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77.xml" ContentType="application/vnd.openxmlformats-officedocument.presentationml.tags+xml"/>
  <Override PartName="/ppt/tags/tag78.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5.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6.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7.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8.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9.xml" ContentType="application/vnd.openxmlformats-officedocument.theme+xml"/>
  <Override PartName="/ppt/tags/tag79.xml" ContentType="application/vnd.openxmlformats-officedocument.presentationml.tags+xml"/>
  <Override PartName="/ppt/tags/tag80.xml" ContentType="application/vnd.openxmlformats-officedocument.presentationml.tags+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10.xml" ContentType="application/vnd.openxmlformats-officedocument.theme+xml"/>
  <Override PartName="/ppt/tags/tag81.xml" ContentType="application/vnd.openxmlformats-officedocument.presentationml.tags+xml"/>
  <Override PartName="/ppt/tags/tag82.xml" ContentType="application/vnd.openxmlformats-officedocument.presentationml.tags+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11.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12.xml" ContentType="application/vnd.openxmlformats-officedocument.theme+xml"/>
  <Override PartName="/ppt/theme/themeOverride1.xml" ContentType="application/vnd.openxmlformats-officedocument.themeOverride+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theme/theme13.xml" ContentType="application/vnd.openxmlformats-officedocument.theme+xml"/>
  <Override PartName="/ppt/theme/themeOverride2.xml" ContentType="application/vnd.openxmlformats-officedocument.themeOverride+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14.xml" ContentType="application/vnd.openxmlformats-officedocument.theme+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theme/theme15.xml" ContentType="application/vnd.openxmlformats-officedocument.theme+xml"/>
  <Override PartName="/ppt/tags/tag83.xml" ContentType="application/vnd.openxmlformats-officedocument.presentationml.tags+xml"/>
  <Override PartName="/ppt/tags/tag84.xml" ContentType="application/vnd.openxmlformats-officedocument.presentationml.tags+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theme/theme16.xml" ContentType="application/vnd.openxmlformats-officedocument.theme+xml"/>
  <Override PartName="/ppt/tags/tag85.xml" ContentType="application/vnd.openxmlformats-officedocument.presentationml.tags+xml"/>
  <Override PartName="/ppt/tags/tag86.xml" ContentType="application/vnd.openxmlformats-officedocument.presentationml.tags+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theme/theme17.xml" ContentType="application/vnd.openxmlformats-officedocument.them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theme/theme18.xml" ContentType="application/vnd.openxmlformats-officedocument.theme+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theme/theme19.xml" ContentType="application/vnd.openxmlformats-officedocument.theme+xml"/>
  <Override PartName="/ppt/tags/tag90.xml" ContentType="application/vnd.openxmlformats-officedocument.presentationml.tags+xml"/>
  <Override PartName="/ppt/tags/tag91.xml" ContentType="application/vnd.openxmlformats-officedocument.presentationml.tags+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theme/theme20.xml" ContentType="application/vnd.openxmlformats-officedocument.theme+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theme/theme21.xml" ContentType="application/vnd.openxmlformats-officedocument.theme+xml"/>
  <Override PartName="/ppt/tags/tag92.xml" ContentType="application/vnd.openxmlformats-officedocument.presentationml.tags+xml"/>
  <Override PartName="/ppt/tags/tag93.xml" ContentType="application/vnd.openxmlformats-officedocument.presentationml.tags+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theme/theme22.xml" ContentType="application/vnd.openxmlformats-officedocument.theme+xml"/>
  <Override PartName="/ppt/tags/tag94.xml" ContentType="application/vnd.openxmlformats-officedocument.presentationml.tags+xml"/>
  <Override PartName="/ppt/tags/tag95.xml" ContentType="application/vnd.openxmlformats-officedocument.presentationml.tags+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theme/theme23.xml" ContentType="application/vnd.openxmlformats-officedocument.theme+xml"/>
  <Override PartName="/ppt/theme/theme24.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notesSlides/notesSlide19.xml" ContentType="application/vnd.openxmlformats-officedocument.presentationml.notesSlide+xml"/>
  <Override PartName="/ppt/tags/tag476.xml" ContentType="application/vnd.openxmlformats-officedocument.presentationml.tags+xml"/>
  <Override PartName="/ppt/notesSlides/notesSlide20.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charts/chart2.xml" ContentType="application/vnd.openxmlformats-officedocument.drawingml.chart+xml"/>
  <Override PartName="/ppt/drawings/drawing2.xml" ContentType="application/vnd.openxmlformats-officedocument.drawingml.chartshapes+xml"/>
  <Override PartName="/ppt/tags/tag477.xml" ContentType="application/vnd.openxmlformats-officedocument.presentationml.tags+xml"/>
  <Override PartName="/ppt/notesSlides/notesSlide21.xml" ContentType="application/vnd.openxmlformats-officedocument.presentationml.notesSlide+xml"/>
  <Override PartName="/ppt/charts/chart3.xml" ContentType="application/vnd.openxmlformats-officedocument.drawingml.chart+xml"/>
  <Override PartName="/ppt/drawings/drawing3.xml" ContentType="application/vnd.openxmlformats-officedocument.drawingml.chartshapes+xml"/>
  <Override PartName="/ppt/charts/chart4.xml" ContentType="application/vnd.openxmlformats-officedocument.drawingml.chart+xml"/>
  <Override PartName="/ppt/drawings/drawing4.xml" ContentType="application/vnd.openxmlformats-officedocument.drawingml.chartshapes+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478.xml" ContentType="application/vnd.openxmlformats-officedocument.presentationml.tags+xml"/>
  <Override PartName="/ppt/notesSlides/notesSlide22.xml" ContentType="application/vnd.openxmlformats-officedocument.presentationml.notesSlide+xml"/>
  <Override PartName="/ppt/tags/tag479.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480.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10" r:id="rId4"/>
    <p:sldMasterId id="2147483850" r:id="rId5"/>
    <p:sldMasterId id="2147483863" r:id="rId6"/>
    <p:sldMasterId id="2147483891" r:id="rId7"/>
    <p:sldMasterId id="2147483916" r:id="rId8"/>
    <p:sldMasterId id="2147483931" r:id="rId9"/>
    <p:sldMasterId id="2147484073" r:id="rId10"/>
    <p:sldMasterId id="2147484086" r:id="rId11"/>
    <p:sldMasterId id="2147484097" r:id="rId12"/>
    <p:sldMasterId id="2147484126" r:id="rId13"/>
    <p:sldMasterId id="2147484157" r:id="rId14"/>
    <p:sldMasterId id="2147484202" r:id="rId15"/>
    <p:sldMasterId id="2147484215" r:id="rId16"/>
    <p:sldMasterId id="2147484228" r:id="rId17"/>
    <p:sldMasterId id="2147484239" r:id="rId18"/>
    <p:sldMasterId id="2147484261" r:id="rId19"/>
    <p:sldMasterId id="2147484295" r:id="rId20"/>
    <p:sldMasterId id="2147484321" r:id="rId21"/>
    <p:sldMasterId id="2147484335" r:id="rId22"/>
    <p:sldMasterId id="2147484349" r:id="rId23"/>
    <p:sldMasterId id="2147484361" r:id="rId24"/>
    <p:sldMasterId id="2147484375" r:id="rId25"/>
    <p:sldMasterId id="2147484389" r:id="rId26"/>
  </p:sldMasterIdLst>
  <p:notesMasterIdLst>
    <p:notesMasterId r:id="rId106"/>
  </p:notesMasterIdLst>
  <p:sldIdLst>
    <p:sldId id="751" r:id="rId27"/>
    <p:sldId id="752" r:id="rId28"/>
    <p:sldId id="702" r:id="rId29"/>
    <p:sldId id="758" r:id="rId30"/>
    <p:sldId id="648" r:id="rId31"/>
    <p:sldId id="649" r:id="rId32"/>
    <p:sldId id="688" r:id="rId33"/>
    <p:sldId id="677" r:id="rId34"/>
    <p:sldId id="678" r:id="rId35"/>
    <p:sldId id="680" r:id="rId36"/>
    <p:sldId id="681" r:id="rId37"/>
    <p:sldId id="682" r:id="rId38"/>
    <p:sldId id="683" r:id="rId39"/>
    <p:sldId id="684" r:id="rId40"/>
    <p:sldId id="685" r:id="rId41"/>
    <p:sldId id="653" r:id="rId42"/>
    <p:sldId id="712" r:id="rId43"/>
    <p:sldId id="644" r:id="rId44"/>
    <p:sldId id="709" r:id="rId45"/>
    <p:sldId id="705" r:id="rId46"/>
    <p:sldId id="706" r:id="rId47"/>
    <p:sldId id="707" r:id="rId48"/>
    <p:sldId id="710" r:id="rId49"/>
    <p:sldId id="753" r:id="rId50"/>
    <p:sldId id="754" r:id="rId51"/>
    <p:sldId id="755" r:id="rId52"/>
    <p:sldId id="756" r:id="rId53"/>
    <p:sldId id="759" r:id="rId54"/>
    <p:sldId id="760" r:id="rId55"/>
    <p:sldId id="750" r:id="rId56"/>
    <p:sldId id="777" r:id="rId57"/>
    <p:sldId id="714" r:id="rId58"/>
    <p:sldId id="716" r:id="rId59"/>
    <p:sldId id="763" r:id="rId60"/>
    <p:sldId id="787" r:id="rId61"/>
    <p:sldId id="788" r:id="rId62"/>
    <p:sldId id="724" r:id="rId63"/>
    <p:sldId id="725" r:id="rId64"/>
    <p:sldId id="726" r:id="rId65"/>
    <p:sldId id="728" r:id="rId66"/>
    <p:sldId id="729" r:id="rId67"/>
    <p:sldId id="731" r:id="rId68"/>
    <p:sldId id="732" r:id="rId69"/>
    <p:sldId id="733" r:id="rId70"/>
    <p:sldId id="734" r:id="rId71"/>
    <p:sldId id="735" r:id="rId72"/>
    <p:sldId id="739" r:id="rId73"/>
    <p:sldId id="741" r:id="rId74"/>
    <p:sldId id="742" r:id="rId75"/>
    <p:sldId id="737" r:id="rId76"/>
    <p:sldId id="738" r:id="rId77"/>
    <p:sldId id="740" r:id="rId78"/>
    <p:sldId id="767" r:id="rId79"/>
    <p:sldId id="768" r:id="rId80"/>
    <p:sldId id="762" r:id="rId81"/>
    <p:sldId id="769" r:id="rId82"/>
    <p:sldId id="764" r:id="rId83"/>
    <p:sldId id="771" r:id="rId84"/>
    <p:sldId id="772" r:id="rId85"/>
    <p:sldId id="773" r:id="rId86"/>
    <p:sldId id="770" r:id="rId87"/>
    <p:sldId id="774" r:id="rId88"/>
    <p:sldId id="775" r:id="rId89"/>
    <p:sldId id="776" r:id="rId90"/>
    <p:sldId id="778" r:id="rId91"/>
    <p:sldId id="779" r:id="rId92"/>
    <p:sldId id="780" r:id="rId93"/>
    <p:sldId id="781" r:id="rId94"/>
    <p:sldId id="782" r:id="rId95"/>
    <p:sldId id="783" r:id="rId96"/>
    <p:sldId id="784" r:id="rId97"/>
    <p:sldId id="785" r:id="rId98"/>
    <p:sldId id="786" r:id="rId99"/>
    <p:sldId id="749" r:id="rId100"/>
    <p:sldId id="743" r:id="rId101"/>
    <p:sldId id="747" r:id="rId102"/>
    <p:sldId id="765" r:id="rId103"/>
    <p:sldId id="766" r:id="rId104"/>
    <p:sldId id="720" r:id="rId105"/>
  </p:sldIdLst>
  <p:sldSz cx="9144000" cy="5143500" type="screen16x9"/>
  <p:notesSz cx="6858000" cy="9144000"/>
  <p:custDataLst>
    <p:tags r:id="rId107"/>
  </p:custDataLst>
  <p:defaultTextStyle>
    <a:defPPr>
      <a:defRPr lang="es-ES"/>
    </a:defPPr>
    <a:lvl1pPr marL="0" algn="l" defTabSz="914063" rtl="0" eaLnBrk="1" latinLnBrk="0" hangingPunct="1">
      <a:defRPr sz="1800" kern="1200">
        <a:solidFill>
          <a:schemeClr val="tx1"/>
        </a:solidFill>
        <a:latin typeface="+mn-lt"/>
        <a:ea typeface="+mn-ea"/>
        <a:cs typeface="+mn-cs"/>
      </a:defRPr>
    </a:lvl1pPr>
    <a:lvl2pPr marL="457022" algn="l" defTabSz="914063" rtl="0" eaLnBrk="1" latinLnBrk="0" hangingPunct="1">
      <a:defRPr sz="1800" kern="1200">
        <a:solidFill>
          <a:schemeClr val="tx1"/>
        </a:solidFill>
        <a:latin typeface="+mn-lt"/>
        <a:ea typeface="+mn-ea"/>
        <a:cs typeface="+mn-cs"/>
      </a:defRPr>
    </a:lvl2pPr>
    <a:lvl3pPr marL="914063" algn="l" defTabSz="914063" rtl="0" eaLnBrk="1" latinLnBrk="0" hangingPunct="1">
      <a:defRPr sz="1800" kern="1200">
        <a:solidFill>
          <a:schemeClr val="tx1"/>
        </a:solidFill>
        <a:latin typeface="+mn-lt"/>
        <a:ea typeface="+mn-ea"/>
        <a:cs typeface="+mn-cs"/>
      </a:defRPr>
    </a:lvl3pPr>
    <a:lvl4pPr marL="1371090" algn="l" defTabSz="914063" rtl="0" eaLnBrk="1" latinLnBrk="0" hangingPunct="1">
      <a:defRPr sz="1800" kern="1200">
        <a:solidFill>
          <a:schemeClr val="tx1"/>
        </a:solidFill>
        <a:latin typeface="+mn-lt"/>
        <a:ea typeface="+mn-ea"/>
        <a:cs typeface="+mn-cs"/>
      </a:defRPr>
    </a:lvl4pPr>
    <a:lvl5pPr marL="1828124" algn="l" defTabSz="914063" rtl="0" eaLnBrk="1" latinLnBrk="0" hangingPunct="1">
      <a:defRPr sz="1800" kern="1200">
        <a:solidFill>
          <a:schemeClr val="tx1"/>
        </a:solidFill>
        <a:latin typeface="+mn-lt"/>
        <a:ea typeface="+mn-ea"/>
        <a:cs typeface="+mn-cs"/>
      </a:defRPr>
    </a:lvl5pPr>
    <a:lvl6pPr marL="2285145" algn="l" defTabSz="914063" rtl="0" eaLnBrk="1" latinLnBrk="0" hangingPunct="1">
      <a:defRPr sz="1800" kern="1200">
        <a:solidFill>
          <a:schemeClr val="tx1"/>
        </a:solidFill>
        <a:latin typeface="+mn-lt"/>
        <a:ea typeface="+mn-ea"/>
        <a:cs typeface="+mn-cs"/>
      </a:defRPr>
    </a:lvl6pPr>
    <a:lvl7pPr marL="2742167" algn="l" defTabSz="914063" rtl="0" eaLnBrk="1" latinLnBrk="0" hangingPunct="1">
      <a:defRPr sz="1800" kern="1200">
        <a:solidFill>
          <a:schemeClr val="tx1"/>
        </a:solidFill>
        <a:latin typeface="+mn-lt"/>
        <a:ea typeface="+mn-ea"/>
        <a:cs typeface="+mn-cs"/>
      </a:defRPr>
    </a:lvl7pPr>
    <a:lvl8pPr marL="3199200" algn="l" defTabSz="914063" rtl="0" eaLnBrk="1" latinLnBrk="0" hangingPunct="1">
      <a:defRPr sz="1800" kern="1200">
        <a:solidFill>
          <a:schemeClr val="tx1"/>
        </a:solidFill>
        <a:latin typeface="+mn-lt"/>
        <a:ea typeface="+mn-ea"/>
        <a:cs typeface="+mn-cs"/>
      </a:defRPr>
    </a:lvl8pPr>
    <a:lvl9pPr marL="3656228" algn="l" defTabSz="914063"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orenzato, Felipe" initials="LF" lastIdx="2" clrIdx="0">
    <p:extLst>
      <p:ext uri="{19B8F6BF-5375-455C-9EA6-DF929625EA0E}">
        <p15:presenceInfo xmlns:p15="http://schemas.microsoft.com/office/powerpoint/2012/main" userId="S::Felipe.Lorenzato@takeda.com::47a020ed-7d92-4dd2-9c5e-f06fe978701a" providerId="AD"/>
      </p:ext>
    </p:extLst>
  </p:cmAuthor>
  <p:cmAuthor id="2" name="Cuenta Microsoft" initials="CM" lastIdx="2" clrIdx="1">
    <p:extLst>
      <p:ext uri="{19B8F6BF-5375-455C-9EA6-DF929625EA0E}">
        <p15:presenceInfo xmlns:p15="http://schemas.microsoft.com/office/powerpoint/2012/main" userId="64176b6e5078bd46"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65BA6"/>
    <a:srgbClr val="1A1918"/>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9068" autoAdjust="0"/>
  </p:normalViewPr>
  <p:slideViewPr>
    <p:cSldViewPr snapToGrid="0">
      <p:cViewPr varScale="1">
        <p:scale>
          <a:sx n="102" d="100"/>
          <a:sy n="102" d="100"/>
        </p:scale>
        <p:origin x="240" y="64"/>
      </p:cViewPr>
      <p:guideLst>
        <p:guide orient="horz" pos="1620"/>
        <p:guide pos="2880"/>
      </p:guideLst>
    </p:cSldViewPr>
  </p:slideViewPr>
  <p:notesTextViewPr>
    <p:cViewPr>
      <p:scale>
        <a:sx n="1" d="1"/>
        <a:sy n="1" d="1"/>
      </p:scale>
      <p:origin x="0" y="0"/>
    </p:cViewPr>
  </p:notesTextViewPr>
  <p:sorterViewPr>
    <p:cViewPr varScale="1">
      <p:scale>
        <a:sx n="1" d="1"/>
        <a:sy n="1" d="1"/>
      </p:scale>
      <p:origin x="0" y="-12068"/>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3.xml"/><Relationship Id="rId21" Type="http://schemas.openxmlformats.org/officeDocument/2006/relationships/slideMaster" Target="slideMasters/slideMaster18.xml"/><Relationship Id="rId42" Type="http://schemas.openxmlformats.org/officeDocument/2006/relationships/slide" Target="slides/slide16.xml"/><Relationship Id="rId47" Type="http://schemas.openxmlformats.org/officeDocument/2006/relationships/slide" Target="slides/slide21.xml"/><Relationship Id="rId63" Type="http://schemas.openxmlformats.org/officeDocument/2006/relationships/slide" Target="slides/slide37.xml"/><Relationship Id="rId68" Type="http://schemas.openxmlformats.org/officeDocument/2006/relationships/slide" Target="slides/slide42.xml"/><Relationship Id="rId84" Type="http://schemas.openxmlformats.org/officeDocument/2006/relationships/slide" Target="slides/slide58.xml"/><Relationship Id="rId89" Type="http://schemas.openxmlformats.org/officeDocument/2006/relationships/slide" Target="slides/slide63.xml"/><Relationship Id="rId112" Type="http://schemas.openxmlformats.org/officeDocument/2006/relationships/tableStyles" Target="tableStyles.xml"/><Relationship Id="rId16" Type="http://schemas.openxmlformats.org/officeDocument/2006/relationships/slideMaster" Target="slideMasters/slideMaster13.xml"/><Relationship Id="rId107" Type="http://schemas.openxmlformats.org/officeDocument/2006/relationships/tags" Target="tags/tag1.xml"/><Relationship Id="rId11" Type="http://schemas.openxmlformats.org/officeDocument/2006/relationships/slideMaster" Target="slideMasters/slideMaster8.xml"/><Relationship Id="rId32" Type="http://schemas.openxmlformats.org/officeDocument/2006/relationships/slide" Target="slides/slide6.xml"/><Relationship Id="rId37" Type="http://schemas.openxmlformats.org/officeDocument/2006/relationships/slide" Target="slides/slide11.xml"/><Relationship Id="rId53" Type="http://schemas.openxmlformats.org/officeDocument/2006/relationships/slide" Target="slides/slide27.xml"/><Relationship Id="rId58" Type="http://schemas.openxmlformats.org/officeDocument/2006/relationships/slide" Target="slides/slide32.xml"/><Relationship Id="rId74" Type="http://schemas.openxmlformats.org/officeDocument/2006/relationships/slide" Target="slides/slide48.xml"/><Relationship Id="rId79" Type="http://schemas.openxmlformats.org/officeDocument/2006/relationships/slide" Target="slides/slide53.xml"/><Relationship Id="rId102" Type="http://schemas.openxmlformats.org/officeDocument/2006/relationships/slide" Target="slides/slide76.xml"/><Relationship Id="rId5" Type="http://schemas.openxmlformats.org/officeDocument/2006/relationships/slideMaster" Target="slideMasters/slideMaster2.xml"/><Relationship Id="rId90" Type="http://schemas.openxmlformats.org/officeDocument/2006/relationships/slide" Target="slides/slide64.xml"/><Relationship Id="rId95" Type="http://schemas.openxmlformats.org/officeDocument/2006/relationships/slide" Target="slides/slide69.xml"/><Relationship Id="rId22" Type="http://schemas.openxmlformats.org/officeDocument/2006/relationships/slideMaster" Target="slideMasters/slideMaster19.xml"/><Relationship Id="rId27" Type="http://schemas.openxmlformats.org/officeDocument/2006/relationships/slide" Target="slides/slide1.xml"/><Relationship Id="rId43" Type="http://schemas.openxmlformats.org/officeDocument/2006/relationships/slide" Target="slides/slide17.xml"/><Relationship Id="rId48" Type="http://schemas.openxmlformats.org/officeDocument/2006/relationships/slide" Target="slides/slide22.xml"/><Relationship Id="rId64" Type="http://schemas.openxmlformats.org/officeDocument/2006/relationships/slide" Target="slides/slide38.xml"/><Relationship Id="rId69" Type="http://schemas.openxmlformats.org/officeDocument/2006/relationships/slide" Target="slides/slide43.xml"/><Relationship Id="rId80" Type="http://schemas.openxmlformats.org/officeDocument/2006/relationships/slide" Target="slides/slide54.xml"/><Relationship Id="rId85" Type="http://schemas.openxmlformats.org/officeDocument/2006/relationships/slide" Target="slides/slide59.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33" Type="http://schemas.openxmlformats.org/officeDocument/2006/relationships/slide" Target="slides/slide7.xml"/><Relationship Id="rId38" Type="http://schemas.openxmlformats.org/officeDocument/2006/relationships/slide" Target="slides/slide12.xml"/><Relationship Id="rId59" Type="http://schemas.openxmlformats.org/officeDocument/2006/relationships/slide" Target="slides/slide33.xml"/><Relationship Id="rId103" Type="http://schemas.openxmlformats.org/officeDocument/2006/relationships/slide" Target="slides/slide77.xml"/><Relationship Id="rId108" Type="http://schemas.openxmlformats.org/officeDocument/2006/relationships/commentAuthors" Target="commentAuthors.xml"/><Relationship Id="rId54" Type="http://schemas.openxmlformats.org/officeDocument/2006/relationships/slide" Target="slides/slide28.xml"/><Relationship Id="rId70" Type="http://schemas.openxmlformats.org/officeDocument/2006/relationships/slide" Target="slides/slide44.xml"/><Relationship Id="rId75" Type="http://schemas.openxmlformats.org/officeDocument/2006/relationships/slide" Target="slides/slide49.xml"/><Relationship Id="rId91" Type="http://schemas.openxmlformats.org/officeDocument/2006/relationships/slide" Target="slides/slide65.xml"/><Relationship Id="rId96" Type="http://schemas.openxmlformats.org/officeDocument/2006/relationships/slide" Target="slides/slide70.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2.xml"/><Relationship Id="rId36" Type="http://schemas.openxmlformats.org/officeDocument/2006/relationships/slide" Target="slides/slide10.xml"/><Relationship Id="rId49" Type="http://schemas.openxmlformats.org/officeDocument/2006/relationships/slide" Target="slides/slide23.xml"/><Relationship Id="rId57" Type="http://schemas.openxmlformats.org/officeDocument/2006/relationships/slide" Target="slides/slide31.xml"/><Relationship Id="rId106" Type="http://schemas.openxmlformats.org/officeDocument/2006/relationships/notesMaster" Target="notesMasters/notesMaster1.xml"/><Relationship Id="rId10" Type="http://schemas.openxmlformats.org/officeDocument/2006/relationships/slideMaster" Target="slideMasters/slideMaster7.xml"/><Relationship Id="rId31" Type="http://schemas.openxmlformats.org/officeDocument/2006/relationships/slide" Target="slides/slide5.xml"/><Relationship Id="rId44" Type="http://schemas.openxmlformats.org/officeDocument/2006/relationships/slide" Target="slides/slide18.xml"/><Relationship Id="rId52" Type="http://schemas.openxmlformats.org/officeDocument/2006/relationships/slide" Target="slides/slide26.xml"/><Relationship Id="rId60" Type="http://schemas.openxmlformats.org/officeDocument/2006/relationships/slide" Target="slides/slide34.xml"/><Relationship Id="rId65" Type="http://schemas.openxmlformats.org/officeDocument/2006/relationships/slide" Target="slides/slide39.xml"/><Relationship Id="rId73" Type="http://schemas.openxmlformats.org/officeDocument/2006/relationships/slide" Target="slides/slide47.xml"/><Relationship Id="rId78" Type="http://schemas.openxmlformats.org/officeDocument/2006/relationships/slide" Target="slides/slide52.xml"/><Relationship Id="rId81" Type="http://schemas.openxmlformats.org/officeDocument/2006/relationships/slide" Target="slides/slide55.xml"/><Relationship Id="rId86" Type="http://schemas.openxmlformats.org/officeDocument/2006/relationships/slide" Target="slides/slide60.xml"/><Relationship Id="rId94" Type="http://schemas.openxmlformats.org/officeDocument/2006/relationships/slide" Target="slides/slide68.xml"/><Relationship Id="rId99" Type="http://schemas.openxmlformats.org/officeDocument/2006/relationships/slide" Target="slides/slide73.xml"/><Relationship Id="rId101" Type="http://schemas.openxmlformats.org/officeDocument/2006/relationships/slide" Target="slides/slide75.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3.xml"/><Relationship Id="rId109" Type="http://schemas.openxmlformats.org/officeDocument/2006/relationships/presProps" Target="presProps.xml"/><Relationship Id="rId34" Type="http://schemas.openxmlformats.org/officeDocument/2006/relationships/slide" Target="slides/slide8.xml"/><Relationship Id="rId50" Type="http://schemas.openxmlformats.org/officeDocument/2006/relationships/slide" Target="slides/slide24.xml"/><Relationship Id="rId55" Type="http://schemas.openxmlformats.org/officeDocument/2006/relationships/slide" Target="slides/slide29.xml"/><Relationship Id="rId76" Type="http://schemas.openxmlformats.org/officeDocument/2006/relationships/slide" Target="slides/slide50.xml"/><Relationship Id="rId97" Type="http://schemas.openxmlformats.org/officeDocument/2006/relationships/slide" Target="slides/slide71.xml"/><Relationship Id="rId104" Type="http://schemas.openxmlformats.org/officeDocument/2006/relationships/slide" Target="slides/slide78.xml"/><Relationship Id="rId7" Type="http://schemas.openxmlformats.org/officeDocument/2006/relationships/slideMaster" Target="slideMasters/slideMaster4.xml"/><Relationship Id="rId71" Type="http://schemas.openxmlformats.org/officeDocument/2006/relationships/slide" Target="slides/slide45.xml"/><Relationship Id="rId92" Type="http://schemas.openxmlformats.org/officeDocument/2006/relationships/slide" Target="slides/slide66.xml"/><Relationship Id="rId2" Type="http://schemas.openxmlformats.org/officeDocument/2006/relationships/customXml" Target="../customXml/item2.xml"/><Relationship Id="rId29" Type="http://schemas.openxmlformats.org/officeDocument/2006/relationships/slide" Target="slides/slide3.xml"/><Relationship Id="rId24" Type="http://schemas.openxmlformats.org/officeDocument/2006/relationships/slideMaster" Target="slideMasters/slideMaster21.xml"/><Relationship Id="rId40" Type="http://schemas.openxmlformats.org/officeDocument/2006/relationships/slide" Target="slides/slide14.xml"/><Relationship Id="rId45" Type="http://schemas.openxmlformats.org/officeDocument/2006/relationships/slide" Target="slides/slide19.xml"/><Relationship Id="rId66" Type="http://schemas.openxmlformats.org/officeDocument/2006/relationships/slide" Target="slides/slide40.xml"/><Relationship Id="rId87" Type="http://schemas.openxmlformats.org/officeDocument/2006/relationships/slide" Target="slides/slide61.xml"/><Relationship Id="rId110" Type="http://schemas.openxmlformats.org/officeDocument/2006/relationships/viewProps" Target="viewProps.xml"/><Relationship Id="rId61" Type="http://schemas.openxmlformats.org/officeDocument/2006/relationships/slide" Target="slides/slide35.xml"/><Relationship Id="rId82" Type="http://schemas.openxmlformats.org/officeDocument/2006/relationships/slide" Target="slides/slide56.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30" Type="http://schemas.openxmlformats.org/officeDocument/2006/relationships/slide" Target="slides/slide4.xml"/><Relationship Id="rId35" Type="http://schemas.openxmlformats.org/officeDocument/2006/relationships/slide" Target="slides/slide9.xml"/><Relationship Id="rId56" Type="http://schemas.openxmlformats.org/officeDocument/2006/relationships/slide" Target="slides/slide30.xml"/><Relationship Id="rId77" Type="http://schemas.openxmlformats.org/officeDocument/2006/relationships/slide" Target="slides/slide51.xml"/><Relationship Id="rId100" Type="http://schemas.openxmlformats.org/officeDocument/2006/relationships/slide" Target="slides/slide74.xml"/><Relationship Id="rId105" Type="http://schemas.openxmlformats.org/officeDocument/2006/relationships/slide" Target="slides/slide79.xml"/><Relationship Id="rId8" Type="http://schemas.openxmlformats.org/officeDocument/2006/relationships/slideMaster" Target="slideMasters/slideMaster5.xml"/><Relationship Id="rId51" Type="http://schemas.openxmlformats.org/officeDocument/2006/relationships/slide" Target="slides/slide25.xml"/><Relationship Id="rId72" Type="http://schemas.openxmlformats.org/officeDocument/2006/relationships/slide" Target="slides/slide46.xml"/><Relationship Id="rId93" Type="http://schemas.openxmlformats.org/officeDocument/2006/relationships/slide" Target="slides/slide67.xml"/><Relationship Id="rId98" Type="http://schemas.openxmlformats.org/officeDocument/2006/relationships/slide" Target="slides/slide72.xml"/><Relationship Id="rId3" Type="http://schemas.openxmlformats.org/officeDocument/2006/relationships/customXml" Target="../customXml/item3.xml"/><Relationship Id="rId25" Type="http://schemas.openxmlformats.org/officeDocument/2006/relationships/slideMaster" Target="slideMasters/slideMaster22.xml"/><Relationship Id="rId46" Type="http://schemas.openxmlformats.org/officeDocument/2006/relationships/slide" Target="slides/slide20.xml"/><Relationship Id="rId67" Type="http://schemas.openxmlformats.org/officeDocument/2006/relationships/slide" Target="slides/slide41.xml"/><Relationship Id="rId20" Type="http://schemas.openxmlformats.org/officeDocument/2006/relationships/slideMaster" Target="slideMasters/slideMaster17.xml"/><Relationship Id="rId41" Type="http://schemas.openxmlformats.org/officeDocument/2006/relationships/slide" Target="slides/slide15.xml"/><Relationship Id="rId62" Type="http://schemas.openxmlformats.org/officeDocument/2006/relationships/slide" Target="slides/slide36.xml"/><Relationship Id="rId83" Type="http://schemas.openxmlformats.org/officeDocument/2006/relationships/slide" Target="slides/slide57.xml"/><Relationship Id="rId88" Type="http://schemas.openxmlformats.org/officeDocument/2006/relationships/slide" Target="slides/slide62.xml"/><Relationship Id="rId111" Type="http://schemas.openxmlformats.org/officeDocument/2006/relationships/theme" Target="theme/theme1.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Chart%20in%20Microsoft%20PowerPoint" TargetMode="External"/></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oleObject" Target="Chart%20in%20Microsoft%20PowerPoint" TargetMode="External"/></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oleObject" Target="Book1" TargetMode="External"/></Relationships>
</file>

<file path=ppt/charts/_rels/chart4.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oleObject" Target="Book1"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errBars>
            <c:errBarType val="both"/>
            <c:errValType val="cust"/>
            <c:noEndCap val="0"/>
            <c:plus>
              <c:numLit>
                <c:formatCode>General</c:formatCode>
                <c:ptCount val="1"/>
                <c:pt idx="0">
                  <c:v>5.0999999999999996</c:v>
                </c:pt>
              </c:numLit>
            </c:plus>
            <c:minus>
              <c:numLit>
                <c:formatCode>General</c:formatCode>
                <c:ptCount val="1"/>
                <c:pt idx="0">
                  <c:v>6.9</c:v>
                </c:pt>
              </c:numLit>
            </c:minus>
            <c:spPr>
              <a:noFill/>
              <a:ln w="9525" cap="flat" cmpd="sng" algn="ctr">
                <a:solidFill>
                  <a:schemeClr val="dk1">
                    <a:shade val="95000"/>
                    <a:satMod val="105000"/>
                  </a:schemeClr>
                </a:solidFill>
                <a:prstDash val="solid"/>
                <a:round/>
              </a:ln>
              <a:effectLst/>
            </c:spPr>
          </c:errBars>
          <c:cat>
            <c:numRef>
              <c:f>'[Chart in Microsoft PowerPoint]Sheet1'!$A$8</c:f>
              <c:numCache>
                <c:formatCode>General</c:formatCode>
                <c:ptCount val="1"/>
              </c:numCache>
            </c:numRef>
          </c:cat>
          <c:val>
            <c:numRef>
              <c:f>'[Chart in Microsoft PowerPoint]Sheet1'!$B$8</c:f>
              <c:numCache>
                <c:formatCode>General</c:formatCode>
                <c:ptCount val="1"/>
                <c:pt idx="0">
                  <c:v>80.2</c:v>
                </c:pt>
              </c:numCache>
            </c:numRef>
          </c:val>
          <c:extLst xmlns:mc="http://schemas.openxmlformats.org/markup-compatibility/2006" xmlns:c14="http://schemas.microsoft.com/office/drawing/2007/8/2/chart" xmlns:c16="http://schemas.microsoft.com/office/drawing/2014/chart" xmlns:c16r2="http://schemas.microsoft.com/office/drawing/2015/06/chart">
            <c:ext xmlns:c16="http://schemas.microsoft.com/office/drawing/2014/chart" uri="{C3380CC4-5D6E-409C-BE32-E72D297353CC}">
              <c16:uniqueId val="{00000000-E415-4C36-9F23-91C9BC882256}"/>
            </c:ext>
          </c:extLst>
        </c:ser>
        <c:dLbls>
          <c:showLegendKey val="0"/>
          <c:showVal val="0"/>
          <c:showCatName val="0"/>
          <c:showSerName val="0"/>
          <c:showPercent val="0"/>
          <c:showBubbleSize val="0"/>
        </c:dLbls>
        <c:gapWidth val="219"/>
        <c:overlap val="-27"/>
        <c:axId val="2061278656"/>
        <c:axId val="2061281920"/>
      </c:barChart>
      <c:catAx>
        <c:axId val="20612786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AR"/>
          </a:p>
        </c:txPr>
        <c:crossAx val="2061281920"/>
        <c:crosses val="autoZero"/>
        <c:auto val="1"/>
        <c:lblAlgn val="ctr"/>
        <c:lblOffset val="100"/>
        <c:noMultiLvlLbl val="0"/>
      </c:catAx>
      <c:valAx>
        <c:axId val="2061281920"/>
        <c:scaling>
          <c:orientation val="minMax"/>
          <c:max val="100"/>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s"/>
                  <a:t>EV contra VCD (IC del 95%)</a:t>
                </a:r>
              </a:p>
            </c:rich>
          </c:tx>
          <c:overlay val="0"/>
          <c:spPr>
            <a:noFill/>
            <a:ln>
              <a:noFill/>
            </a:ln>
            <a:effectLst/>
          </c:sp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AR"/>
          </a:p>
        </c:txPr>
        <c:crossAx val="206127865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AR"/>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850045790915957"/>
          <c:y val="3.8606986952662362E-2"/>
          <c:w val="0.83883828022434648"/>
          <c:h val="0.91506462870414285"/>
        </c:manualLayout>
      </c:layout>
      <c:barChart>
        <c:barDir val="col"/>
        <c:grouping val="clustered"/>
        <c:varyColors val="0"/>
        <c:ser>
          <c:idx val="0"/>
          <c:order val="0"/>
          <c:spPr>
            <a:solidFill>
              <a:srgbClr val="83BADD"/>
            </a:solidFill>
            <a:ln>
              <a:noFill/>
            </a:ln>
            <a:effectLst/>
          </c:spPr>
          <c:invertIfNegative val="0"/>
          <c:errBars>
            <c:errBarType val="both"/>
            <c:errValType val="cust"/>
            <c:noEndCap val="0"/>
            <c:plus>
              <c:numLit>
                <c:formatCode>General</c:formatCode>
                <c:ptCount val="1"/>
                <c:pt idx="0">
                  <c:v>4.3</c:v>
                </c:pt>
              </c:numLit>
            </c:plus>
            <c:minus>
              <c:numLit>
                <c:formatCode>General</c:formatCode>
                <c:ptCount val="1"/>
                <c:pt idx="0">
                  <c:v>6.8</c:v>
                </c:pt>
              </c:numLit>
            </c:minus>
            <c:spPr>
              <a:noFill/>
              <a:ln w="9525" cap="flat" cmpd="sng" algn="ctr">
                <a:solidFill>
                  <a:schemeClr val="dk1">
                    <a:shade val="95000"/>
                    <a:satMod val="105000"/>
                  </a:schemeClr>
                </a:solidFill>
                <a:prstDash val="solid"/>
                <a:round/>
              </a:ln>
              <a:effectLst/>
            </c:spPr>
          </c:errBars>
          <c:val>
            <c:numRef>
              <c:f>'[Chart in Microsoft PowerPoint]Sheet1'!$A$9</c:f>
              <c:numCache>
                <c:formatCode>General</c:formatCode>
                <c:ptCount val="1"/>
                <c:pt idx="0">
                  <c:v>90.4</c:v>
                </c:pt>
              </c:numCache>
            </c:numRef>
          </c:val>
          <c:extLst xmlns:mc="http://schemas.openxmlformats.org/markup-compatibility/2006" xmlns:c14="http://schemas.microsoft.com/office/drawing/2007/8/2/chart" xmlns:c16="http://schemas.microsoft.com/office/drawing/2014/chart" xmlns:c16r3="http://schemas.microsoft.com/office/drawing/2017/03/chart" xmlns:c16r2="http://schemas.microsoft.com/office/drawing/2015/06/chart">
            <c:ext xmlns:c16="http://schemas.microsoft.com/office/drawing/2014/chart" uri="{C3380CC4-5D6E-409C-BE32-E72D297353CC}">
              <c16:uniqueId val="{00000000-4C99-4AF2-AD1F-9A250C53FEA1}"/>
            </c:ext>
          </c:extLst>
        </c:ser>
        <c:dLbls>
          <c:showLegendKey val="0"/>
          <c:showVal val="0"/>
          <c:showCatName val="0"/>
          <c:showSerName val="0"/>
          <c:showPercent val="0"/>
          <c:showBubbleSize val="0"/>
        </c:dLbls>
        <c:gapWidth val="219"/>
        <c:overlap val="-27"/>
        <c:axId val="2061279744"/>
        <c:axId val="2061284640"/>
      </c:barChart>
      <c:catAx>
        <c:axId val="2061279744"/>
        <c:scaling>
          <c:orientation val="minMax"/>
        </c:scaling>
        <c:delete val="0"/>
        <c:axPos val="b"/>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AR"/>
          </a:p>
        </c:txPr>
        <c:crossAx val="2061284640"/>
        <c:crosses val="autoZero"/>
        <c:auto val="1"/>
        <c:lblAlgn val="ctr"/>
        <c:lblOffset val="100"/>
        <c:noMultiLvlLbl val="0"/>
      </c:catAx>
      <c:valAx>
        <c:axId val="2061284640"/>
        <c:scaling>
          <c:orientation val="minMax"/>
          <c:max val="100"/>
          <c:min val="0"/>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s"/>
                  <a:t>EV versus VCD hospitalizada (IC 95%)</a:t>
                </a:r>
              </a:p>
            </c:rich>
          </c:tx>
          <c:overlay val="0"/>
          <c:spPr>
            <a:noFill/>
            <a:ln>
              <a:noFill/>
            </a:ln>
            <a:effectLst/>
          </c:sp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AR"/>
          </a:p>
        </c:txPr>
        <c:crossAx val="2061279744"/>
        <c:crosses val="autoZero"/>
        <c:crossBetween val="between"/>
      </c:valAx>
      <c:spPr>
        <a:noFill/>
        <a:ln>
          <a:noFill/>
        </a:ln>
        <a:effectLst/>
      </c:spPr>
    </c:plotArea>
    <c:plotVisOnly val="1"/>
    <c:dispBlanksAs val="gap"/>
    <c:showDLblsOverMax val="0"/>
    <c:extLst xmlns:mc="http://schemas.openxmlformats.org/markup-compatibility/2006" xmlns:c14="http://schemas.microsoft.com/office/drawing/2007/8/2/chart" xmlns:c16="http://schemas.microsoft.com/office/drawing/2014/chart" xmlns:c16r3="http://schemas.microsoft.com/office/drawing/2017/03/char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s-AR"/>
    </a:p>
  </c:txPr>
  <c:externalData r:id="rId1">
    <c:autoUpdate val="0"/>
  </c:externalData>
  <c:userShapes r:id="rId2"/>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2!$A$22</c:f>
              <c:strCache>
                <c:ptCount val="1"/>
                <c:pt idx="0">
                  <c:v>Seropositivos</c:v>
                </c:pt>
              </c:strCache>
            </c:strRef>
          </c:tx>
          <c:spPr>
            <a:solidFill>
              <a:srgbClr val="B69DC3"/>
            </a:solidFill>
            <a:ln>
              <a:noFill/>
            </a:ln>
            <a:effectLst/>
          </c:spPr>
          <c:invertIfNegative val="0"/>
          <c:dLbls>
            <c:dLbl>
              <c:idx val="1"/>
              <c:dLblPos val="ctr"/>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xmlns:c16r2="http://schemas.microsoft.com/office/drawing/2015/06/chart">
                <c:ext xmlns:c16="http://schemas.microsoft.com/office/drawing/2014/chart" uri="{C3380CC4-5D6E-409C-BE32-E72D297353CC}">
                  <c16:uniqueId val="{00000001-86D4-4002-8B6A-725094C7C0D1}"/>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2800" b="1" i="0" u="none" strike="noStrike" kern="1200" baseline="0">
                    <a:solidFill>
                      <a:schemeClr val="bg1"/>
                    </a:solidFill>
                    <a:latin typeface="+mn-lt"/>
                    <a:ea typeface="+mn-ea"/>
                    <a:cs typeface="+mn-cs"/>
                  </a:defRPr>
                </a:pPr>
                <a:endParaRPr lang="es-AR"/>
              </a:p>
            </c:txPr>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errBars>
            <c:errBarType val="both"/>
            <c:errValType val="cust"/>
            <c:noEndCap val="0"/>
            <c:plus>
              <c:numLit>
                <c:formatCode>General</c:formatCode>
                <c:ptCount val="1"/>
                <c:pt idx="0">
                  <c:v>7.4</c:v>
                </c:pt>
              </c:numLit>
            </c:plus>
            <c:minus>
              <c:numLit>
                <c:formatCode>General</c:formatCode>
                <c:ptCount val="1"/>
                <c:pt idx="0">
                  <c:v>19.600000000000001</c:v>
                </c:pt>
              </c:numLit>
            </c:minus>
            <c:spPr>
              <a:noFill/>
              <a:ln w="9525" cap="flat" cmpd="sng" algn="ctr">
                <a:solidFill>
                  <a:schemeClr val="tx1">
                    <a:lumMod val="65000"/>
                    <a:lumOff val="35000"/>
                  </a:schemeClr>
                </a:solidFill>
                <a:round/>
              </a:ln>
              <a:effectLst/>
            </c:spPr>
          </c:errBars>
          <c:val>
            <c:numRef>
              <c:f>Sheet2!$B$22</c:f>
              <c:numCache>
                <c:formatCode>General</c:formatCode>
                <c:ptCount val="1"/>
                <c:pt idx="0">
                  <c:v>88.1</c:v>
                </c:pt>
              </c:numCache>
            </c:numRef>
          </c:val>
          <c:extLst xmlns:c16="http://schemas.microsoft.com/office/drawing/2014/chart" xmlns:c15="http://schemas.microsoft.com/office/drawing/2012/chart" xmlns:c14="http://schemas.microsoft.com/office/drawing/2007/8/2/chart" xmlns:mc="http://schemas.openxmlformats.org/markup-compatibility/2006" xmlns:c16r2="http://schemas.microsoft.com/office/drawing/2015/06/chart">
            <c:ext xmlns:c16="http://schemas.microsoft.com/office/drawing/2014/chart" uri="{C3380CC4-5D6E-409C-BE32-E72D297353CC}">
              <c16:uniqueId val="{00000002-86D4-4002-8B6A-725094C7C0D1}"/>
            </c:ext>
          </c:extLst>
        </c:ser>
        <c:ser>
          <c:idx val="1"/>
          <c:order val="1"/>
          <c:tx>
            <c:strRef>
              <c:f>Sheet2!$A$23</c:f>
              <c:strCache>
                <c:ptCount val="1"/>
                <c:pt idx="0">
                  <c:v>Seronegativo</c:v>
                </c:pt>
              </c:strCache>
            </c:strRef>
          </c:tx>
          <c:spPr>
            <a:solidFill>
              <a:srgbClr val="CC4E7A"/>
            </a:solidFill>
            <a:ln>
              <a:noFill/>
            </a:ln>
            <a:effectLst/>
          </c:spPr>
          <c:invertIfNegative val="0"/>
          <c:errBars>
            <c:errBarType val="both"/>
            <c:errValType val="cust"/>
            <c:noEndCap val="0"/>
            <c:plus>
              <c:numLit>
                <c:formatCode>General</c:formatCode>
                <c:ptCount val="1"/>
                <c:pt idx="0">
                  <c:v>4.5</c:v>
                </c:pt>
              </c:numLit>
            </c:plus>
            <c:minus>
              <c:numLit>
                <c:formatCode>General</c:formatCode>
                <c:ptCount val="1"/>
                <c:pt idx="0">
                  <c:v>9.6999999999999993</c:v>
                </c:pt>
              </c:numLit>
            </c:minus>
            <c:spPr>
              <a:noFill/>
              <a:ln w="9525" cap="flat" cmpd="sng" algn="ctr">
                <a:solidFill>
                  <a:schemeClr val="tx1">
                    <a:lumMod val="65000"/>
                    <a:lumOff val="35000"/>
                  </a:schemeClr>
                </a:solidFill>
                <a:round/>
              </a:ln>
              <a:effectLst/>
            </c:spPr>
          </c:errBars>
          <c:val>
            <c:numRef>
              <c:f>Sheet2!$B$23</c:f>
              <c:numCache>
                <c:formatCode>General</c:formatCode>
                <c:ptCount val="1"/>
                <c:pt idx="0">
                  <c:v>91.4</c:v>
                </c:pt>
              </c:numCache>
            </c:numRef>
          </c:val>
          <c:extLst xmlns:c16="http://schemas.microsoft.com/office/drawing/2014/chart" xmlns:c15="http://schemas.microsoft.com/office/drawing/2012/chart" xmlns:c14="http://schemas.microsoft.com/office/drawing/2007/8/2/chart" xmlns:mc="http://schemas.openxmlformats.org/markup-compatibility/2006" xmlns:c16r2="http://schemas.microsoft.com/office/drawing/2015/06/chart">
            <c:ext xmlns:c16="http://schemas.microsoft.com/office/drawing/2014/chart" uri="{C3380CC4-5D6E-409C-BE32-E72D297353CC}">
              <c16:uniqueId val="{00000003-86D4-4002-8B6A-725094C7C0D1}"/>
            </c:ext>
          </c:extLst>
        </c:ser>
        <c:dLbls>
          <c:showLegendKey val="0"/>
          <c:showVal val="0"/>
          <c:showCatName val="0"/>
          <c:showSerName val="0"/>
          <c:showPercent val="0"/>
          <c:showBubbleSize val="0"/>
        </c:dLbls>
        <c:gapWidth val="163"/>
        <c:overlap val="-67"/>
        <c:axId val="2060996528"/>
        <c:axId val="2061001968"/>
      </c:barChart>
      <c:catAx>
        <c:axId val="2060996528"/>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es">
                    <a:solidFill>
                      <a:schemeClr val="tx1"/>
                    </a:solidFill>
                  </a:rPr>
                  <a:t>Seronegativo                                    Seropositivo</a:t>
                </a:r>
              </a:p>
            </c:rich>
          </c:tx>
          <c:overlay val="0"/>
          <c:spPr>
            <a:noFill/>
            <a:ln>
              <a:noFill/>
            </a:ln>
            <a:effectLst/>
          </c:spPr>
        </c:title>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AR"/>
          </a:p>
        </c:txPr>
        <c:crossAx val="2061001968"/>
        <c:crosses val="autoZero"/>
        <c:auto val="1"/>
        <c:lblAlgn val="ctr"/>
        <c:lblOffset val="100"/>
        <c:noMultiLvlLbl val="0"/>
      </c:catAx>
      <c:valAx>
        <c:axId val="2061001968"/>
        <c:scaling>
          <c:orientation val="minMax"/>
          <c:min val="0"/>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s"/>
                  <a:t>EV versus VCD hospitalizada (IC 95%)</a:t>
                </a:r>
              </a:p>
            </c:rich>
          </c:tx>
          <c:overlay val="0"/>
          <c:spPr>
            <a:noFill/>
            <a:ln>
              <a:noFill/>
            </a:ln>
            <a:effectLst/>
          </c:sp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AR"/>
          </a:p>
        </c:txPr>
        <c:crossAx val="206099652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AR"/>
    </a:p>
  </c:txPr>
  <c:externalData r:id="rId1">
    <c:autoUpdate val="0"/>
  </c:externalData>
  <c:userShapes r:id="rId2"/>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2!$A$55</c:f>
              <c:strCache>
                <c:ptCount val="1"/>
                <c:pt idx="0">
                  <c:v>Seropositivos</c:v>
                </c:pt>
              </c:strCache>
            </c:strRef>
          </c:tx>
          <c:spPr>
            <a:solidFill>
              <a:srgbClr val="B69DC3"/>
            </a:solidFill>
            <a:ln>
              <a:noFill/>
            </a:ln>
            <a:effectLst/>
          </c:spPr>
          <c:invertIfNegative val="0"/>
          <c:errBars>
            <c:errBarType val="both"/>
            <c:errValType val="cust"/>
            <c:noEndCap val="0"/>
            <c:plus>
              <c:numLit>
                <c:formatCode>General</c:formatCode>
                <c:ptCount val="1"/>
                <c:pt idx="0">
                  <c:v>11.3</c:v>
                </c:pt>
              </c:numLit>
            </c:plus>
            <c:minus>
              <c:numLit>
                <c:formatCode>General</c:formatCode>
                <c:ptCount val="1"/>
                <c:pt idx="0">
                  <c:v>17.100000000000001</c:v>
                </c:pt>
              </c:numLit>
            </c:minus>
            <c:spPr>
              <a:noFill/>
              <a:ln w="9525" cap="flat" cmpd="sng" algn="ctr">
                <a:solidFill>
                  <a:schemeClr val="tx1">
                    <a:lumMod val="65000"/>
                    <a:lumOff val="35000"/>
                  </a:schemeClr>
                </a:solidFill>
                <a:round/>
              </a:ln>
              <a:effectLst/>
            </c:spPr>
          </c:errBars>
          <c:val>
            <c:numRef>
              <c:f>Sheet2!$B$55</c:f>
              <c:numCache>
                <c:formatCode>General</c:formatCode>
                <c:ptCount val="1"/>
                <c:pt idx="0">
                  <c:v>66.2</c:v>
                </c:pt>
              </c:numCache>
            </c:numRef>
          </c:val>
          <c:extLst xmlns:c16="http://schemas.microsoft.com/office/drawing/2014/chart" xmlns:c15="http://schemas.microsoft.com/office/drawing/2012/chart" xmlns:c14="http://schemas.microsoft.com/office/drawing/2007/8/2/chart" xmlns:mc="http://schemas.openxmlformats.org/markup-compatibility/2006" xmlns:c16r2="http://schemas.microsoft.com/office/drawing/2015/06/chart">
            <c:ext xmlns:c16="http://schemas.microsoft.com/office/drawing/2014/chart" uri="{C3380CC4-5D6E-409C-BE32-E72D297353CC}">
              <c16:uniqueId val="{00000001-760B-486D-B21E-156F92C6A7AC}"/>
            </c:ext>
          </c:extLst>
        </c:ser>
        <c:ser>
          <c:idx val="1"/>
          <c:order val="1"/>
          <c:tx>
            <c:strRef>
              <c:f>Sheet2!$A$56</c:f>
              <c:strCache>
                <c:ptCount val="1"/>
                <c:pt idx="0">
                  <c:v>Seronegativo</c:v>
                </c:pt>
              </c:strCache>
            </c:strRef>
          </c:tx>
          <c:spPr>
            <a:solidFill>
              <a:srgbClr val="CC4E7A"/>
            </a:solidFill>
            <a:ln>
              <a:noFill/>
            </a:ln>
            <a:effectLst/>
          </c:spPr>
          <c:invertIfNegative val="0"/>
          <c:dLbls>
            <c:dLbl>
              <c:idx val="0"/>
              <c:tx>
                <c:rich>
                  <a:bodyPr rot="0" spcFirstLastPara="1" vertOverflow="ellipsis" vert="horz" wrap="square" lIns="38100" tIns="19050" rIns="38100" bIns="19050" anchor="ctr" anchorCtr="1">
                    <a:spAutoFit/>
                  </a:bodyPr>
                  <a:lstStyle/>
                  <a:p>
                    <a:pPr>
                      <a:defRPr sz="2000" b="1" i="0" u="none" strike="noStrike" kern="1200" baseline="0">
                        <a:solidFill>
                          <a:schemeClr val="bg1"/>
                        </a:solidFill>
                        <a:latin typeface="+mn-lt"/>
                        <a:ea typeface="+mn-ea"/>
                        <a:cs typeface="+mn-cs"/>
                      </a:defRPr>
                    </a:pPr>
                    <a:r>
                      <a:rPr lang="en-US" sz="2000" b="1">
                        <a:solidFill>
                          <a:schemeClr val="bg1"/>
                        </a:solidFill>
                      </a:rPr>
                      <a:t>76.1%</a:t>
                    </a:r>
                  </a:p>
                </c:rich>
              </c:tx>
              <c:spPr>
                <a:noFill/>
                <a:ln>
                  <a:noFill/>
                </a:ln>
                <a:effectLst/>
              </c:spPr>
              <c:dLblPos val="ctr"/>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xmlns:c16r2="http://schemas.microsoft.com/office/drawing/2015/06/chart">
                <c:ext xmlns:c16="http://schemas.microsoft.com/office/drawing/2014/chart" uri="{C3380CC4-5D6E-409C-BE32-E72D297353CC}">
                  <c16:uniqueId val="{00000002-760B-486D-B21E-156F92C6A7AC}"/>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1">
                        <a:lumMod val="75000"/>
                        <a:lumOff val="25000"/>
                      </a:schemeClr>
                    </a:solidFill>
                    <a:latin typeface="+mn-lt"/>
                    <a:ea typeface="+mn-ea"/>
                    <a:cs typeface="+mn-cs"/>
                  </a:defRPr>
                </a:pPr>
                <a:endParaRPr lang="es-AR"/>
              </a:p>
            </c:txPr>
            <c:dLblPos val="ctr"/>
            <c:showLegendKey val="0"/>
            <c:showVal val="1"/>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errBars>
            <c:errBarType val="both"/>
            <c:errValType val="cust"/>
            <c:noEndCap val="0"/>
            <c:plus>
              <c:numLit>
                <c:formatCode>General</c:formatCode>
                <c:ptCount val="1"/>
                <c:pt idx="0">
                  <c:v>5.8</c:v>
                </c:pt>
              </c:numLit>
            </c:plus>
            <c:minus>
              <c:numLit>
                <c:formatCode>General</c:formatCode>
                <c:ptCount val="1"/>
                <c:pt idx="0">
                  <c:v>7.6</c:v>
                </c:pt>
              </c:numLit>
            </c:minus>
            <c:spPr>
              <a:noFill/>
              <a:ln w="9525" cap="flat" cmpd="sng" algn="ctr">
                <a:solidFill>
                  <a:schemeClr val="tx1">
                    <a:lumMod val="65000"/>
                    <a:lumOff val="35000"/>
                  </a:schemeClr>
                </a:solidFill>
                <a:round/>
              </a:ln>
              <a:effectLst/>
            </c:spPr>
          </c:errBars>
          <c:val>
            <c:numRef>
              <c:f>Sheet2!$B$56</c:f>
              <c:numCache>
                <c:formatCode>General</c:formatCode>
                <c:ptCount val="1"/>
                <c:pt idx="0">
                  <c:v>76.099999999999994</c:v>
                </c:pt>
              </c:numCache>
            </c:numRef>
          </c:val>
          <c:extLst xmlns:c16="http://schemas.microsoft.com/office/drawing/2014/chart" xmlns:c15="http://schemas.microsoft.com/office/drawing/2012/chart" xmlns:c14="http://schemas.microsoft.com/office/drawing/2007/8/2/chart" xmlns:mc="http://schemas.openxmlformats.org/markup-compatibility/2006" xmlns:c16r2="http://schemas.microsoft.com/office/drawing/2015/06/chart">
            <c:ext xmlns:c16="http://schemas.microsoft.com/office/drawing/2014/chart" uri="{C3380CC4-5D6E-409C-BE32-E72D297353CC}">
              <c16:uniqueId val="{00000003-760B-486D-B21E-156F92C6A7AC}"/>
            </c:ext>
          </c:extLst>
        </c:ser>
        <c:dLbls>
          <c:showLegendKey val="0"/>
          <c:showVal val="0"/>
          <c:showCatName val="0"/>
          <c:showSerName val="0"/>
          <c:showPercent val="0"/>
          <c:showBubbleSize val="0"/>
        </c:dLbls>
        <c:gapWidth val="163"/>
        <c:overlap val="-67"/>
        <c:axId val="2061000336"/>
        <c:axId val="2060993264"/>
      </c:barChart>
      <c:catAx>
        <c:axId val="2061000336"/>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es">
                    <a:solidFill>
                      <a:schemeClr val="tx1"/>
                    </a:solidFill>
                  </a:rPr>
                  <a:t>Seronegativo                                Seropositivo</a:t>
                </a:r>
              </a:p>
            </c:rich>
          </c:tx>
          <c:overlay val="0"/>
          <c:spPr>
            <a:noFill/>
            <a:ln>
              <a:noFill/>
            </a:ln>
            <a:effectLst/>
          </c:spPr>
        </c:title>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AR"/>
          </a:p>
        </c:txPr>
        <c:crossAx val="2060993264"/>
        <c:crosses val="autoZero"/>
        <c:auto val="1"/>
        <c:lblAlgn val="ctr"/>
        <c:lblOffset val="100"/>
        <c:noMultiLvlLbl val="0"/>
      </c:catAx>
      <c:valAx>
        <c:axId val="2060993264"/>
        <c:scaling>
          <c:orientation val="minMax"/>
          <c:min val="0"/>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s"/>
                  <a:t>EV contra VCD (IC del 95%)</a:t>
                </a:r>
              </a:p>
            </c:rich>
          </c:tx>
          <c:overlay val="0"/>
          <c:spPr>
            <a:noFill/>
            <a:ln>
              <a:noFill/>
            </a:ln>
            <a:effectLst/>
          </c:sp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AR"/>
          </a:p>
        </c:txPr>
        <c:crossAx val="206100033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AR"/>
    </a:p>
  </c:txPr>
  <c:externalData r:id="rId1">
    <c:autoUpdate val="0"/>
  </c:externalData>
  <c:userShapes r:id="rId2"/>
</c:chartSpace>
</file>

<file path=ppt/diagrams/_rels/data4.xml.rels><?xml version="1.0" encoding="UTF-8" standalone="yes"?>
<Relationships xmlns="http://schemas.openxmlformats.org/package/2006/relationships"><Relationship Id="rId1" Type="http://schemas.openxmlformats.org/officeDocument/2006/relationships/image" Target="../media/image40.png"/></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16C2099-90E1-41BC-8106-08DC6265E5F1}" type="doc">
      <dgm:prSet loTypeId="urn:microsoft.com/office/officeart/2005/8/layout/list1" loCatId="list" qsTypeId="urn:microsoft.com/office/officeart/2005/8/quickstyle/simple4" qsCatId="simple" csTypeId="urn:microsoft.com/office/officeart/2005/8/colors/colorful4" csCatId="colorful" phldr="1"/>
      <dgm:spPr/>
      <dgm:t>
        <a:bodyPr/>
        <a:lstStyle/>
        <a:p>
          <a:endParaRPr lang="es-AR"/>
        </a:p>
      </dgm:t>
    </dgm:pt>
    <dgm:pt modelId="{599EBDCD-2ED0-4A08-84DE-687A3D5F921B}">
      <dgm:prSet phldrT="[Texto]" custT="1"/>
      <dgm:spPr/>
      <dgm:t>
        <a:bodyPr/>
        <a:lstStyle/>
        <a:p>
          <a:r>
            <a:rPr lang="es-ES_tradnl" sz="1600" dirty="0" err="1" smtClean="0">
              <a:cs typeface="Arial" pitchFamily="34" charset="0"/>
            </a:rPr>
            <a:t>Flavivirus</a:t>
          </a:r>
          <a:r>
            <a:rPr lang="es-ES_tradnl" sz="1600" dirty="0" smtClean="0">
              <a:cs typeface="Arial" pitchFamily="34" charset="0"/>
            </a:rPr>
            <a:t> (RNA). Cuatro serotipos (DEN 1,2,3,4)</a:t>
          </a:r>
          <a:endParaRPr lang="es-AR" sz="1600" dirty="0"/>
        </a:p>
      </dgm:t>
    </dgm:pt>
    <dgm:pt modelId="{DDCAF8C5-208E-470C-8933-AA794018624A}" type="parTrans" cxnId="{312FD0C9-C1E4-46F5-BD50-FA7A7DBCF9D9}">
      <dgm:prSet/>
      <dgm:spPr/>
      <dgm:t>
        <a:bodyPr/>
        <a:lstStyle/>
        <a:p>
          <a:endParaRPr lang="es-AR" sz="1600"/>
        </a:p>
      </dgm:t>
    </dgm:pt>
    <dgm:pt modelId="{A40555C3-CA41-4D16-BDA2-2EDB22F5F30B}" type="sibTrans" cxnId="{312FD0C9-C1E4-46F5-BD50-FA7A7DBCF9D9}">
      <dgm:prSet/>
      <dgm:spPr/>
      <dgm:t>
        <a:bodyPr/>
        <a:lstStyle/>
        <a:p>
          <a:endParaRPr lang="es-AR" sz="1600"/>
        </a:p>
      </dgm:t>
    </dgm:pt>
    <dgm:pt modelId="{3CB1ED4B-3375-4AD3-9621-E9B298A4504E}">
      <dgm:prSet custT="1"/>
      <dgm:spPr/>
      <dgm:t>
        <a:bodyPr/>
        <a:lstStyle/>
        <a:p>
          <a:r>
            <a:rPr lang="es-ES_tradnl" sz="1600" dirty="0" smtClean="0">
              <a:cs typeface="Arial" pitchFamily="34" charset="0"/>
            </a:rPr>
            <a:t>Inmunidad de larga duración contra el mismo serotipo e inmunidad transitoria y parcial contra los demás</a:t>
          </a:r>
          <a:endParaRPr lang="es-ES_tradnl" sz="1600" dirty="0">
            <a:cs typeface="Arial" pitchFamily="34" charset="0"/>
          </a:endParaRPr>
        </a:p>
      </dgm:t>
    </dgm:pt>
    <dgm:pt modelId="{A7CC5606-B26D-4F66-8056-66C6959F4C5D}" type="parTrans" cxnId="{25675930-1E8D-49B7-82EB-60D4196A4685}">
      <dgm:prSet/>
      <dgm:spPr/>
      <dgm:t>
        <a:bodyPr/>
        <a:lstStyle/>
        <a:p>
          <a:endParaRPr lang="es-AR" sz="1600"/>
        </a:p>
      </dgm:t>
    </dgm:pt>
    <dgm:pt modelId="{5CD62863-7EC6-42CC-9C55-47E255B161A8}" type="sibTrans" cxnId="{25675930-1E8D-49B7-82EB-60D4196A4685}">
      <dgm:prSet/>
      <dgm:spPr/>
      <dgm:t>
        <a:bodyPr/>
        <a:lstStyle/>
        <a:p>
          <a:endParaRPr lang="es-AR" sz="1600"/>
        </a:p>
      </dgm:t>
    </dgm:pt>
    <dgm:pt modelId="{E79FBF26-3DB7-4D07-AEC9-C6C2D35A19AA}">
      <dgm:prSet custT="1"/>
      <dgm:spPr/>
      <dgm:t>
        <a:bodyPr/>
        <a:lstStyle/>
        <a:p>
          <a:r>
            <a:rPr lang="es-ES_tradnl" sz="1600" dirty="0" smtClean="0">
              <a:cs typeface="Arial" pitchFamily="34" charset="0"/>
            </a:rPr>
            <a:t>La infección secuencial con diferentes serotipos incrementa el riesgo de dengue hemorrágico</a:t>
          </a:r>
          <a:endParaRPr lang="es-ES_tradnl" sz="1600" dirty="0">
            <a:cs typeface="Arial" pitchFamily="34" charset="0"/>
          </a:endParaRPr>
        </a:p>
      </dgm:t>
    </dgm:pt>
    <dgm:pt modelId="{4DB31619-490C-46C6-A62D-B6CEE85FDDB9}" type="parTrans" cxnId="{419BB652-D1BE-4F76-AB28-D336014B0BF5}">
      <dgm:prSet/>
      <dgm:spPr/>
      <dgm:t>
        <a:bodyPr/>
        <a:lstStyle/>
        <a:p>
          <a:endParaRPr lang="es-AR" sz="1600"/>
        </a:p>
      </dgm:t>
    </dgm:pt>
    <dgm:pt modelId="{DE433C74-1C11-4BF1-819C-9F39C59C701B}" type="sibTrans" cxnId="{419BB652-D1BE-4F76-AB28-D336014B0BF5}">
      <dgm:prSet/>
      <dgm:spPr/>
      <dgm:t>
        <a:bodyPr/>
        <a:lstStyle/>
        <a:p>
          <a:endParaRPr lang="es-AR" sz="1600"/>
        </a:p>
      </dgm:t>
    </dgm:pt>
    <dgm:pt modelId="{B6B215B3-D1CD-4710-9A4D-DE7AF4ED99EB}">
      <dgm:prSet custT="1"/>
      <dgm:spPr/>
      <dgm:t>
        <a:bodyPr/>
        <a:lstStyle/>
        <a:p>
          <a:r>
            <a:rPr lang="es-AR" sz="1600" dirty="0" smtClean="0"/>
            <a:t>Periodo de Incubación: 4-7 días (3-14 días) </a:t>
          </a:r>
          <a:endParaRPr lang="es-ES" sz="1600" dirty="0" smtClean="0">
            <a:cs typeface="Arial" pitchFamily="34" charset="0"/>
          </a:endParaRPr>
        </a:p>
      </dgm:t>
    </dgm:pt>
    <dgm:pt modelId="{676B575A-E1A2-4C6B-A1F9-35EAFE510799}" type="parTrans" cxnId="{0AEC30A7-8F00-493D-B14F-4EAD62EFACF1}">
      <dgm:prSet/>
      <dgm:spPr/>
      <dgm:t>
        <a:bodyPr/>
        <a:lstStyle/>
        <a:p>
          <a:endParaRPr lang="es-AR" sz="1600"/>
        </a:p>
      </dgm:t>
    </dgm:pt>
    <dgm:pt modelId="{DB589D59-D191-4C4F-81D4-CC9301EAE9EA}" type="sibTrans" cxnId="{0AEC30A7-8F00-493D-B14F-4EAD62EFACF1}">
      <dgm:prSet/>
      <dgm:spPr/>
      <dgm:t>
        <a:bodyPr/>
        <a:lstStyle/>
        <a:p>
          <a:endParaRPr lang="es-AR" sz="1600"/>
        </a:p>
      </dgm:t>
    </dgm:pt>
    <dgm:pt modelId="{B7320A3D-9E76-4561-945F-C1AEC2CEB8CA}" type="pres">
      <dgm:prSet presAssocID="{C16C2099-90E1-41BC-8106-08DC6265E5F1}" presName="linear" presStyleCnt="0">
        <dgm:presLayoutVars>
          <dgm:dir/>
          <dgm:animLvl val="lvl"/>
          <dgm:resizeHandles val="exact"/>
        </dgm:presLayoutVars>
      </dgm:prSet>
      <dgm:spPr/>
      <dgm:t>
        <a:bodyPr/>
        <a:lstStyle/>
        <a:p>
          <a:endParaRPr lang="es-AR"/>
        </a:p>
      </dgm:t>
    </dgm:pt>
    <dgm:pt modelId="{06298AC1-6033-41D8-8FBE-93541E1B6009}" type="pres">
      <dgm:prSet presAssocID="{599EBDCD-2ED0-4A08-84DE-687A3D5F921B}" presName="parentLin" presStyleCnt="0"/>
      <dgm:spPr/>
    </dgm:pt>
    <dgm:pt modelId="{BEC52C7F-F91A-487F-8D0E-DCA1C0EA23D1}" type="pres">
      <dgm:prSet presAssocID="{599EBDCD-2ED0-4A08-84DE-687A3D5F921B}" presName="parentLeftMargin" presStyleLbl="node1" presStyleIdx="0" presStyleCnt="4"/>
      <dgm:spPr/>
      <dgm:t>
        <a:bodyPr/>
        <a:lstStyle/>
        <a:p>
          <a:endParaRPr lang="es-AR"/>
        </a:p>
      </dgm:t>
    </dgm:pt>
    <dgm:pt modelId="{854D22A6-57A8-4754-AEC0-7BACC82A9848}" type="pres">
      <dgm:prSet presAssocID="{599EBDCD-2ED0-4A08-84DE-687A3D5F921B}" presName="parentText" presStyleLbl="node1" presStyleIdx="0" presStyleCnt="4">
        <dgm:presLayoutVars>
          <dgm:chMax val="0"/>
          <dgm:bulletEnabled val="1"/>
        </dgm:presLayoutVars>
      </dgm:prSet>
      <dgm:spPr/>
      <dgm:t>
        <a:bodyPr/>
        <a:lstStyle/>
        <a:p>
          <a:endParaRPr lang="es-AR"/>
        </a:p>
      </dgm:t>
    </dgm:pt>
    <dgm:pt modelId="{C3449480-7B4E-4F40-9629-F23060A0687B}" type="pres">
      <dgm:prSet presAssocID="{599EBDCD-2ED0-4A08-84DE-687A3D5F921B}" presName="negativeSpace" presStyleCnt="0"/>
      <dgm:spPr/>
    </dgm:pt>
    <dgm:pt modelId="{103B5682-70F8-471D-AC49-BC2CC5FD6A67}" type="pres">
      <dgm:prSet presAssocID="{599EBDCD-2ED0-4A08-84DE-687A3D5F921B}" presName="childText" presStyleLbl="conFgAcc1" presStyleIdx="0" presStyleCnt="4">
        <dgm:presLayoutVars>
          <dgm:bulletEnabled val="1"/>
        </dgm:presLayoutVars>
      </dgm:prSet>
      <dgm:spPr/>
    </dgm:pt>
    <dgm:pt modelId="{E1171244-8DF9-4966-8067-1C76E9629C7F}" type="pres">
      <dgm:prSet presAssocID="{A40555C3-CA41-4D16-BDA2-2EDB22F5F30B}" presName="spaceBetweenRectangles" presStyleCnt="0"/>
      <dgm:spPr/>
    </dgm:pt>
    <dgm:pt modelId="{C99D8A80-0E06-4A52-95BC-24E8E7ED5E0B}" type="pres">
      <dgm:prSet presAssocID="{3CB1ED4B-3375-4AD3-9621-E9B298A4504E}" presName="parentLin" presStyleCnt="0"/>
      <dgm:spPr/>
    </dgm:pt>
    <dgm:pt modelId="{EA9EADDD-8963-411B-8160-4BF433A1DE27}" type="pres">
      <dgm:prSet presAssocID="{3CB1ED4B-3375-4AD3-9621-E9B298A4504E}" presName="parentLeftMargin" presStyleLbl="node1" presStyleIdx="0" presStyleCnt="4"/>
      <dgm:spPr/>
      <dgm:t>
        <a:bodyPr/>
        <a:lstStyle/>
        <a:p>
          <a:endParaRPr lang="es-AR"/>
        </a:p>
      </dgm:t>
    </dgm:pt>
    <dgm:pt modelId="{5CC4EF02-BB65-4B12-99E7-497C6870883B}" type="pres">
      <dgm:prSet presAssocID="{3CB1ED4B-3375-4AD3-9621-E9B298A4504E}" presName="parentText" presStyleLbl="node1" presStyleIdx="1" presStyleCnt="4">
        <dgm:presLayoutVars>
          <dgm:chMax val="0"/>
          <dgm:bulletEnabled val="1"/>
        </dgm:presLayoutVars>
      </dgm:prSet>
      <dgm:spPr/>
      <dgm:t>
        <a:bodyPr/>
        <a:lstStyle/>
        <a:p>
          <a:endParaRPr lang="es-AR"/>
        </a:p>
      </dgm:t>
    </dgm:pt>
    <dgm:pt modelId="{1DAAB0A5-3CCC-4C2C-984D-7F6CF0D9DDD7}" type="pres">
      <dgm:prSet presAssocID="{3CB1ED4B-3375-4AD3-9621-E9B298A4504E}" presName="negativeSpace" presStyleCnt="0"/>
      <dgm:spPr/>
    </dgm:pt>
    <dgm:pt modelId="{7DC8CF9A-5FF5-44AE-A9C6-24222A91DD72}" type="pres">
      <dgm:prSet presAssocID="{3CB1ED4B-3375-4AD3-9621-E9B298A4504E}" presName="childText" presStyleLbl="conFgAcc1" presStyleIdx="1" presStyleCnt="4">
        <dgm:presLayoutVars>
          <dgm:bulletEnabled val="1"/>
        </dgm:presLayoutVars>
      </dgm:prSet>
      <dgm:spPr/>
    </dgm:pt>
    <dgm:pt modelId="{F993900F-643B-45D7-A9ED-A125E07CF1F7}" type="pres">
      <dgm:prSet presAssocID="{5CD62863-7EC6-42CC-9C55-47E255B161A8}" presName="spaceBetweenRectangles" presStyleCnt="0"/>
      <dgm:spPr/>
    </dgm:pt>
    <dgm:pt modelId="{B1B34725-934C-4998-8863-05E35DE631D0}" type="pres">
      <dgm:prSet presAssocID="{E79FBF26-3DB7-4D07-AEC9-C6C2D35A19AA}" presName="parentLin" presStyleCnt="0"/>
      <dgm:spPr/>
    </dgm:pt>
    <dgm:pt modelId="{47930325-CE6D-4DF0-A098-7273EA7C16B7}" type="pres">
      <dgm:prSet presAssocID="{E79FBF26-3DB7-4D07-AEC9-C6C2D35A19AA}" presName="parentLeftMargin" presStyleLbl="node1" presStyleIdx="1" presStyleCnt="4"/>
      <dgm:spPr/>
      <dgm:t>
        <a:bodyPr/>
        <a:lstStyle/>
        <a:p>
          <a:endParaRPr lang="es-AR"/>
        </a:p>
      </dgm:t>
    </dgm:pt>
    <dgm:pt modelId="{4A739C6F-FCE4-46E7-B534-3999D466C0C9}" type="pres">
      <dgm:prSet presAssocID="{E79FBF26-3DB7-4D07-AEC9-C6C2D35A19AA}" presName="parentText" presStyleLbl="node1" presStyleIdx="2" presStyleCnt="4">
        <dgm:presLayoutVars>
          <dgm:chMax val="0"/>
          <dgm:bulletEnabled val="1"/>
        </dgm:presLayoutVars>
      </dgm:prSet>
      <dgm:spPr/>
      <dgm:t>
        <a:bodyPr/>
        <a:lstStyle/>
        <a:p>
          <a:endParaRPr lang="es-AR"/>
        </a:p>
      </dgm:t>
    </dgm:pt>
    <dgm:pt modelId="{F2312C2B-95E7-42A5-A949-5804B57F60A6}" type="pres">
      <dgm:prSet presAssocID="{E79FBF26-3DB7-4D07-AEC9-C6C2D35A19AA}" presName="negativeSpace" presStyleCnt="0"/>
      <dgm:spPr/>
    </dgm:pt>
    <dgm:pt modelId="{88E00755-A1C9-48D3-AE97-92D99F515277}" type="pres">
      <dgm:prSet presAssocID="{E79FBF26-3DB7-4D07-AEC9-C6C2D35A19AA}" presName="childText" presStyleLbl="conFgAcc1" presStyleIdx="2" presStyleCnt="4">
        <dgm:presLayoutVars>
          <dgm:bulletEnabled val="1"/>
        </dgm:presLayoutVars>
      </dgm:prSet>
      <dgm:spPr/>
    </dgm:pt>
    <dgm:pt modelId="{70751E3E-0AF6-4514-8B6D-6403AAD7591A}" type="pres">
      <dgm:prSet presAssocID="{DE433C74-1C11-4BF1-819C-9F39C59C701B}" presName="spaceBetweenRectangles" presStyleCnt="0"/>
      <dgm:spPr/>
    </dgm:pt>
    <dgm:pt modelId="{1661DC52-614A-47CA-A994-01CC6E3C1B1B}" type="pres">
      <dgm:prSet presAssocID="{B6B215B3-D1CD-4710-9A4D-DE7AF4ED99EB}" presName="parentLin" presStyleCnt="0"/>
      <dgm:spPr/>
    </dgm:pt>
    <dgm:pt modelId="{07EDB9A1-DFBE-4692-896B-6438E66B7940}" type="pres">
      <dgm:prSet presAssocID="{B6B215B3-D1CD-4710-9A4D-DE7AF4ED99EB}" presName="parentLeftMargin" presStyleLbl="node1" presStyleIdx="2" presStyleCnt="4"/>
      <dgm:spPr/>
      <dgm:t>
        <a:bodyPr/>
        <a:lstStyle/>
        <a:p>
          <a:endParaRPr lang="es-AR"/>
        </a:p>
      </dgm:t>
    </dgm:pt>
    <dgm:pt modelId="{B0BB7299-AB0D-4213-B51F-1C241BA5A421}" type="pres">
      <dgm:prSet presAssocID="{B6B215B3-D1CD-4710-9A4D-DE7AF4ED99EB}" presName="parentText" presStyleLbl="node1" presStyleIdx="3" presStyleCnt="4">
        <dgm:presLayoutVars>
          <dgm:chMax val="0"/>
          <dgm:bulletEnabled val="1"/>
        </dgm:presLayoutVars>
      </dgm:prSet>
      <dgm:spPr/>
      <dgm:t>
        <a:bodyPr/>
        <a:lstStyle/>
        <a:p>
          <a:endParaRPr lang="es-AR"/>
        </a:p>
      </dgm:t>
    </dgm:pt>
    <dgm:pt modelId="{68E75630-7D60-47F7-AB59-D031B2E41949}" type="pres">
      <dgm:prSet presAssocID="{B6B215B3-D1CD-4710-9A4D-DE7AF4ED99EB}" presName="negativeSpace" presStyleCnt="0"/>
      <dgm:spPr/>
    </dgm:pt>
    <dgm:pt modelId="{2B0423DE-5F06-4168-BDE6-6619396D5906}" type="pres">
      <dgm:prSet presAssocID="{B6B215B3-D1CD-4710-9A4D-DE7AF4ED99EB}" presName="childText" presStyleLbl="conFgAcc1" presStyleIdx="3" presStyleCnt="4">
        <dgm:presLayoutVars>
          <dgm:bulletEnabled val="1"/>
        </dgm:presLayoutVars>
      </dgm:prSet>
      <dgm:spPr/>
    </dgm:pt>
  </dgm:ptLst>
  <dgm:cxnLst>
    <dgm:cxn modelId="{FB87B218-39F0-46DD-9BF2-B07F2A540E6F}" type="presOf" srcId="{E79FBF26-3DB7-4D07-AEC9-C6C2D35A19AA}" destId="{4A739C6F-FCE4-46E7-B534-3999D466C0C9}" srcOrd="1" destOrd="0" presId="urn:microsoft.com/office/officeart/2005/8/layout/list1"/>
    <dgm:cxn modelId="{0AEC30A7-8F00-493D-B14F-4EAD62EFACF1}" srcId="{C16C2099-90E1-41BC-8106-08DC6265E5F1}" destId="{B6B215B3-D1CD-4710-9A4D-DE7AF4ED99EB}" srcOrd="3" destOrd="0" parTransId="{676B575A-E1A2-4C6B-A1F9-35EAFE510799}" sibTransId="{DB589D59-D191-4C4F-81D4-CC9301EAE9EA}"/>
    <dgm:cxn modelId="{FA913049-86C0-453B-ADDC-E852C8B4E300}" type="presOf" srcId="{3CB1ED4B-3375-4AD3-9621-E9B298A4504E}" destId="{EA9EADDD-8963-411B-8160-4BF433A1DE27}" srcOrd="0" destOrd="0" presId="urn:microsoft.com/office/officeart/2005/8/layout/list1"/>
    <dgm:cxn modelId="{25675930-1E8D-49B7-82EB-60D4196A4685}" srcId="{C16C2099-90E1-41BC-8106-08DC6265E5F1}" destId="{3CB1ED4B-3375-4AD3-9621-E9B298A4504E}" srcOrd="1" destOrd="0" parTransId="{A7CC5606-B26D-4F66-8056-66C6959F4C5D}" sibTransId="{5CD62863-7EC6-42CC-9C55-47E255B161A8}"/>
    <dgm:cxn modelId="{312FD0C9-C1E4-46F5-BD50-FA7A7DBCF9D9}" srcId="{C16C2099-90E1-41BC-8106-08DC6265E5F1}" destId="{599EBDCD-2ED0-4A08-84DE-687A3D5F921B}" srcOrd="0" destOrd="0" parTransId="{DDCAF8C5-208E-470C-8933-AA794018624A}" sibTransId="{A40555C3-CA41-4D16-BDA2-2EDB22F5F30B}"/>
    <dgm:cxn modelId="{EAA3306A-1BD0-40F4-9FF8-5D785034136F}" type="presOf" srcId="{B6B215B3-D1CD-4710-9A4D-DE7AF4ED99EB}" destId="{07EDB9A1-DFBE-4692-896B-6438E66B7940}" srcOrd="0" destOrd="0" presId="urn:microsoft.com/office/officeart/2005/8/layout/list1"/>
    <dgm:cxn modelId="{A5DA256B-ADAC-4276-97EA-76413F475DAB}" type="presOf" srcId="{3CB1ED4B-3375-4AD3-9621-E9B298A4504E}" destId="{5CC4EF02-BB65-4B12-99E7-497C6870883B}" srcOrd="1" destOrd="0" presId="urn:microsoft.com/office/officeart/2005/8/layout/list1"/>
    <dgm:cxn modelId="{419BB652-D1BE-4F76-AB28-D336014B0BF5}" srcId="{C16C2099-90E1-41BC-8106-08DC6265E5F1}" destId="{E79FBF26-3DB7-4D07-AEC9-C6C2D35A19AA}" srcOrd="2" destOrd="0" parTransId="{4DB31619-490C-46C6-A62D-B6CEE85FDDB9}" sibTransId="{DE433C74-1C11-4BF1-819C-9F39C59C701B}"/>
    <dgm:cxn modelId="{9215B7FB-13EA-4F69-929D-E8A4B1A07A73}" type="presOf" srcId="{C16C2099-90E1-41BC-8106-08DC6265E5F1}" destId="{B7320A3D-9E76-4561-945F-C1AEC2CEB8CA}" srcOrd="0" destOrd="0" presId="urn:microsoft.com/office/officeart/2005/8/layout/list1"/>
    <dgm:cxn modelId="{6A1BDC8F-6D6F-4FA0-9269-DCD9C5F20B73}" type="presOf" srcId="{E79FBF26-3DB7-4D07-AEC9-C6C2D35A19AA}" destId="{47930325-CE6D-4DF0-A098-7273EA7C16B7}" srcOrd="0" destOrd="0" presId="urn:microsoft.com/office/officeart/2005/8/layout/list1"/>
    <dgm:cxn modelId="{21FD8F46-D9BC-4E17-8CD3-CABE4BD8A92F}" type="presOf" srcId="{599EBDCD-2ED0-4A08-84DE-687A3D5F921B}" destId="{BEC52C7F-F91A-487F-8D0E-DCA1C0EA23D1}" srcOrd="0" destOrd="0" presId="urn:microsoft.com/office/officeart/2005/8/layout/list1"/>
    <dgm:cxn modelId="{69AC4C70-4790-48E7-B071-8777C0DD871A}" type="presOf" srcId="{599EBDCD-2ED0-4A08-84DE-687A3D5F921B}" destId="{854D22A6-57A8-4754-AEC0-7BACC82A9848}" srcOrd="1" destOrd="0" presId="urn:microsoft.com/office/officeart/2005/8/layout/list1"/>
    <dgm:cxn modelId="{0919C42B-5BA1-43D8-9300-C959D5B58F66}" type="presOf" srcId="{B6B215B3-D1CD-4710-9A4D-DE7AF4ED99EB}" destId="{B0BB7299-AB0D-4213-B51F-1C241BA5A421}" srcOrd="1" destOrd="0" presId="urn:microsoft.com/office/officeart/2005/8/layout/list1"/>
    <dgm:cxn modelId="{FBE62203-0F29-45CB-A014-8D2F2B1F2139}" type="presParOf" srcId="{B7320A3D-9E76-4561-945F-C1AEC2CEB8CA}" destId="{06298AC1-6033-41D8-8FBE-93541E1B6009}" srcOrd="0" destOrd="0" presId="urn:microsoft.com/office/officeart/2005/8/layout/list1"/>
    <dgm:cxn modelId="{95FF8E2D-B4CA-4474-B7B7-35243BAC774F}" type="presParOf" srcId="{06298AC1-6033-41D8-8FBE-93541E1B6009}" destId="{BEC52C7F-F91A-487F-8D0E-DCA1C0EA23D1}" srcOrd="0" destOrd="0" presId="urn:microsoft.com/office/officeart/2005/8/layout/list1"/>
    <dgm:cxn modelId="{456C45FF-8DAC-43F1-AD9B-6F65AF2793CC}" type="presParOf" srcId="{06298AC1-6033-41D8-8FBE-93541E1B6009}" destId="{854D22A6-57A8-4754-AEC0-7BACC82A9848}" srcOrd="1" destOrd="0" presId="urn:microsoft.com/office/officeart/2005/8/layout/list1"/>
    <dgm:cxn modelId="{8D2DF986-6FDE-412B-A057-FA30214731A4}" type="presParOf" srcId="{B7320A3D-9E76-4561-945F-C1AEC2CEB8CA}" destId="{C3449480-7B4E-4F40-9629-F23060A0687B}" srcOrd="1" destOrd="0" presId="urn:microsoft.com/office/officeart/2005/8/layout/list1"/>
    <dgm:cxn modelId="{58B7BD2B-1A45-40F9-96A5-FAABC829DBDA}" type="presParOf" srcId="{B7320A3D-9E76-4561-945F-C1AEC2CEB8CA}" destId="{103B5682-70F8-471D-AC49-BC2CC5FD6A67}" srcOrd="2" destOrd="0" presId="urn:microsoft.com/office/officeart/2005/8/layout/list1"/>
    <dgm:cxn modelId="{932433A1-8394-4BD1-9CCE-06346E2868F0}" type="presParOf" srcId="{B7320A3D-9E76-4561-945F-C1AEC2CEB8CA}" destId="{E1171244-8DF9-4966-8067-1C76E9629C7F}" srcOrd="3" destOrd="0" presId="urn:microsoft.com/office/officeart/2005/8/layout/list1"/>
    <dgm:cxn modelId="{EDCFC2C3-1524-4D8F-963B-5132B7735B71}" type="presParOf" srcId="{B7320A3D-9E76-4561-945F-C1AEC2CEB8CA}" destId="{C99D8A80-0E06-4A52-95BC-24E8E7ED5E0B}" srcOrd="4" destOrd="0" presId="urn:microsoft.com/office/officeart/2005/8/layout/list1"/>
    <dgm:cxn modelId="{71526F69-C967-4DAA-AA4E-102186CC4344}" type="presParOf" srcId="{C99D8A80-0E06-4A52-95BC-24E8E7ED5E0B}" destId="{EA9EADDD-8963-411B-8160-4BF433A1DE27}" srcOrd="0" destOrd="0" presId="urn:microsoft.com/office/officeart/2005/8/layout/list1"/>
    <dgm:cxn modelId="{13EBC07B-E0FF-4602-8D80-EF7728EEE7DC}" type="presParOf" srcId="{C99D8A80-0E06-4A52-95BC-24E8E7ED5E0B}" destId="{5CC4EF02-BB65-4B12-99E7-497C6870883B}" srcOrd="1" destOrd="0" presId="urn:microsoft.com/office/officeart/2005/8/layout/list1"/>
    <dgm:cxn modelId="{6C5C7CF7-28BF-4E12-B5A0-B06307D0A3F1}" type="presParOf" srcId="{B7320A3D-9E76-4561-945F-C1AEC2CEB8CA}" destId="{1DAAB0A5-3CCC-4C2C-984D-7F6CF0D9DDD7}" srcOrd="5" destOrd="0" presId="urn:microsoft.com/office/officeart/2005/8/layout/list1"/>
    <dgm:cxn modelId="{35D05E11-469C-46AE-9399-07E0784F6F22}" type="presParOf" srcId="{B7320A3D-9E76-4561-945F-C1AEC2CEB8CA}" destId="{7DC8CF9A-5FF5-44AE-A9C6-24222A91DD72}" srcOrd="6" destOrd="0" presId="urn:microsoft.com/office/officeart/2005/8/layout/list1"/>
    <dgm:cxn modelId="{4E911436-430B-48E8-BC55-E69954979D7A}" type="presParOf" srcId="{B7320A3D-9E76-4561-945F-C1AEC2CEB8CA}" destId="{F993900F-643B-45D7-A9ED-A125E07CF1F7}" srcOrd="7" destOrd="0" presId="urn:microsoft.com/office/officeart/2005/8/layout/list1"/>
    <dgm:cxn modelId="{FCF908A4-229D-4435-9DB7-A12B88D82F7E}" type="presParOf" srcId="{B7320A3D-9E76-4561-945F-C1AEC2CEB8CA}" destId="{B1B34725-934C-4998-8863-05E35DE631D0}" srcOrd="8" destOrd="0" presId="urn:microsoft.com/office/officeart/2005/8/layout/list1"/>
    <dgm:cxn modelId="{D17ADECB-5E23-4B3B-9716-0C81EBAA2A01}" type="presParOf" srcId="{B1B34725-934C-4998-8863-05E35DE631D0}" destId="{47930325-CE6D-4DF0-A098-7273EA7C16B7}" srcOrd="0" destOrd="0" presId="urn:microsoft.com/office/officeart/2005/8/layout/list1"/>
    <dgm:cxn modelId="{B86E0023-743C-4AAA-A70A-8B41458F125A}" type="presParOf" srcId="{B1B34725-934C-4998-8863-05E35DE631D0}" destId="{4A739C6F-FCE4-46E7-B534-3999D466C0C9}" srcOrd="1" destOrd="0" presId="urn:microsoft.com/office/officeart/2005/8/layout/list1"/>
    <dgm:cxn modelId="{C79B5B16-AF25-481E-99AC-BF9C180BC085}" type="presParOf" srcId="{B7320A3D-9E76-4561-945F-C1AEC2CEB8CA}" destId="{F2312C2B-95E7-42A5-A949-5804B57F60A6}" srcOrd="9" destOrd="0" presId="urn:microsoft.com/office/officeart/2005/8/layout/list1"/>
    <dgm:cxn modelId="{26B6EE55-0C50-42BF-A545-4EE61B46CBF6}" type="presParOf" srcId="{B7320A3D-9E76-4561-945F-C1AEC2CEB8CA}" destId="{88E00755-A1C9-48D3-AE97-92D99F515277}" srcOrd="10" destOrd="0" presId="urn:microsoft.com/office/officeart/2005/8/layout/list1"/>
    <dgm:cxn modelId="{11A24871-3280-467A-A12C-ABCC204F510B}" type="presParOf" srcId="{B7320A3D-9E76-4561-945F-C1AEC2CEB8CA}" destId="{70751E3E-0AF6-4514-8B6D-6403AAD7591A}" srcOrd="11" destOrd="0" presId="urn:microsoft.com/office/officeart/2005/8/layout/list1"/>
    <dgm:cxn modelId="{C2AB3554-5D7E-4E18-A1BC-584FB55DE2C7}" type="presParOf" srcId="{B7320A3D-9E76-4561-945F-C1AEC2CEB8CA}" destId="{1661DC52-614A-47CA-A994-01CC6E3C1B1B}" srcOrd="12" destOrd="0" presId="urn:microsoft.com/office/officeart/2005/8/layout/list1"/>
    <dgm:cxn modelId="{2520572F-C69F-4A8F-B18B-066B17898A8F}" type="presParOf" srcId="{1661DC52-614A-47CA-A994-01CC6E3C1B1B}" destId="{07EDB9A1-DFBE-4692-896B-6438E66B7940}" srcOrd="0" destOrd="0" presId="urn:microsoft.com/office/officeart/2005/8/layout/list1"/>
    <dgm:cxn modelId="{5EBFC26A-7121-4690-9865-52DBAC16CC26}" type="presParOf" srcId="{1661DC52-614A-47CA-A994-01CC6E3C1B1B}" destId="{B0BB7299-AB0D-4213-B51F-1C241BA5A421}" srcOrd="1" destOrd="0" presId="urn:microsoft.com/office/officeart/2005/8/layout/list1"/>
    <dgm:cxn modelId="{BC855257-0C94-4CE7-AAD6-569A99D0A7E9}" type="presParOf" srcId="{B7320A3D-9E76-4561-945F-C1AEC2CEB8CA}" destId="{68E75630-7D60-47F7-AB59-D031B2E41949}" srcOrd="13" destOrd="0" presId="urn:microsoft.com/office/officeart/2005/8/layout/list1"/>
    <dgm:cxn modelId="{0A163B4D-C0B1-477F-B20B-0874E2777D08}" type="presParOf" srcId="{B7320A3D-9E76-4561-945F-C1AEC2CEB8CA}" destId="{2B0423DE-5F06-4168-BDE6-6619396D5906}"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16C2099-90E1-41BC-8106-08DC6265E5F1}" type="doc">
      <dgm:prSet loTypeId="urn:microsoft.com/office/officeart/2005/8/layout/list1" loCatId="list" qsTypeId="urn:microsoft.com/office/officeart/2005/8/quickstyle/simple4" qsCatId="simple" csTypeId="urn:microsoft.com/office/officeart/2005/8/colors/colorful4" csCatId="colorful" phldr="1"/>
      <dgm:spPr/>
      <dgm:t>
        <a:bodyPr/>
        <a:lstStyle/>
        <a:p>
          <a:endParaRPr lang="es-AR"/>
        </a:p>
      </dgm:t>
    </dgm:pt>
    <dgm:pt modelId="{B7320A3D-9E76-4561-945F-C1AEC2CEB8CA}" type="pres">
      <dgm:prSet presAssocID="{C16C2099-90E1-41BC-8106-08DC6265E5F1}" presName="linear" presStyleCnt="0">
        <dgm:presLayoutVars>
          <dgm:dir/>
          <dgm:animLvl val="lvl"/>
          <dgm:resizeHandles val="exact"/>
        </dgm:presLayoutVars>
      </dgm:prSet>
      <dgm:spPr/>
      <dgm:t>
        <a:bodyPr/>
        <a:lstStyle/>
        <a:p>
          <a:endParaRPr lang="es-AR"/>
        </a:p>
      </dgm:t>
    </dgm:pt>
  </dgm:ptLst>
  <dgm:cxnLst>
    <dgm:cxn modelId="{BB3904BC-45F2-4B28-A9CA-A200F9C31285}" type="presOf" srcId="{C16C2099-90E1-41BC-8106-08DC6265E5F1}" destId="{B7320A3D-9E76-4561-945F-C1AEC2CEB8CA}" srcOrd="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D691DC6-948A-4E3A-8875-31BE7E34AD38}" type="doc">
      <dgm:prSet loTypeId="urn:microsoft.com/office/officeart/2005/8/layout/list1" loCatId="list" qsTypeId="urn:microsoft.com/office/officeart/2005/8/quickstyle/simple1" qsCatId="simple" csTypeId="urn:microsoft.com/office/officeart/2005/8/colors/colorful4" csCatId="colorful" phldr="1"/>
      <dgm:spPr/>
      <dgm:t>
        <a:bodyPr/>
        <a:lstStyle/>
        <a:p>
          <a:endParaRPr lang="es-AR"/>
        </a:p>
      </dgm:t>
    </dgm:pt>
    <dgm:pt modelId="{26E999E7-9B09-45A9-8A77-C1ADBBB146F5}">
      <dgm:prSet phldrT="[Texto]" custT="1"/>
      <dgm:spPr/>
      <dgm:t>
        <a:bodyPr/>
        <a:lstStyle/>
        <a:p>
          <a:r>
            <a:rPr lang="es-MX" sz="1800" dirty="0" smtClean="0"/>
            <a:t>Cerca del 70 % de la carga de enfermedad se encuentra en los adolescentes y adultos jóvenes.</a:t>
          </a:r>
          <a:endParaRPr lang="es-AR" sz="1800" dirty="0"/>
        </a:p>
      </dgm:t>
    </dgm:pt>
    <dgm:pt modelId="{471CE3FA-9F94-4BD5-8AA5-9D9C554E8955}" type="parTrans" cxnId="{F680C3B3-F0E8-46EE-89EE-04ACAC5ACE04}">
      <dgm:prSet/>
      <dgm:spPr/>
      <dgm:t>
        <a:bodyPr/>
        <a:lstStyle/>
        <a:p>
          <a:endParaRPr lang="es-AR" sz="6600"/>
        </a:p>
      </dgm:t>
    </dgm:pt>
    <dgm:pt modelId="{FEE5614E-A249-468B-BB8A-2712308BDB3B}" type="sibTrans" cxnId="{F680C3B3-F0E8-46EE-89EE-04ACAC5ACE04}">
      <dgm:prSet/>
      <dgm:spPr/>
      <dgm:t>
        <a:bodyPr/>
        <a:lstStyle/>
        <a:p>
          <a:endParaRPr lang="es-AR" sz="6600"/>
        </a:p>
      </dgm:t>
    </dgm:pt>
    <dgm:pt modelId="{9D28EC63-2E78-40F3-AD4F-9B5B0D772A54}">
      <dgm:prSet custT="1"/>
      <dgm:spPr/>
      <dgm:t>
        <a:bodyPr/>
        <a:lstStyle/>
        <a:p>
          <a:r>
            <a:rPr lang="es-MX" sz="1800" dirty="0" smtClean="0"/>
            <a:t>Es frecuente como etiología febril en viajeros internacionales hacia áreas con riesgo de Dengue.</a:t>
          </a:r>
          <a:endParaRPr lang="es-AR" sz="1800" dirty="0"/>
        </a:p>
      </dgm:t>
    </dgm:pt>
    <dgm:pt modelId="{41064892-6E4A-41AB-A516-E3921D7AE849}" type="parTrans" cxnId="{40B199A9-D06F-4C73-A803-5D8652BC80B6}">
      <dgm:prSet/>
      <dgm:spPr/>
      <dgm:t>
        <a:bodyPr/>
        <a:lstStyle/>
        <a:p>
          <a:endParaRPr lang="es-AR" sz="6600"/>
        </a:p>
      </dgm:t>
    </dgm:pt>
    <dgm:pt modelId="{6E60C5B2-62C4-42B8-93EC-A67C8C886441}" type="sibTrans" cxnId="{40B199A9-D06F-4C73-A803-5D8652BC80B6}">
      <dgm:prSet/>
      <dgm:spPr/>
      <dgm:t>
        <a:bodyPr/>
        <a:lstStyle/>
        <a:p>
          <a:endParaRPr lang="es-AR" sz="6600"/>
        </a:p>
      </dgm:t>
    </dgm:pt>
    <dgm:pt modelId="{91DFB0A3-B8B8-45B0-AD99-71D9E2C54601}">
      <dgm:prSet custT="1"/>
      <dgm:spPr/>
      <dgm:t>
        <a:bodyPr/>
        <a:lstStyle/>
        <a:p>
          <a:r>
            <a:rPr lang="es-MX" sz="1700" dirty="0" smtClean="0"/>
            <a:t>Los factores de riesgo para desarrollar dengue grave: &lt; 1 año, embarazadas, &gt; 65 años, o condiciones subyacentes como diabetes, obesidad, hipertensión, asma, </a:t>
          </a:r>
          <a:r>
            <a:rPr lang="es-MX" sz="1700" dirty="0" err="1" smtClean="0"/>
            <a:t>coagulopatía</a:t>
          </a:r>
          <a:r>
            <a:rPr lang="es-MX" sz="1700" dirty="0" smtClean="0"/>
            <a:t>, enfermedad hepática crónica, enfermedad hemolítica y enfermedad renal.</a:t>
          </a:r>
          <a:endParaRPr lang="es-AR" sz="1700" dirty="0"/>
        </a:p>
      </dgm:t>
    </dgm:pt>
    <dgm:pt modelId="{DF4F096F-7FA5-42B4-AB2F-6D37292D3D9F}" type="parTrans" cxnId="{FE1DB367-83BA-480A-B153-4D61CBB1018A}">
      <dgm:prSet/>
      <dgm:spPr/>
      <dgm:t>
        <a:bodyPr/>
        <a:lstStyle/>
        <a:p>
          <a:endParaRPr lang="es-AR" sz="6600"/>
        </a:p>
      </dgm:t>
    </dgm:pt>
    <dgm:pt modelId="{E958861B-63AC-4678-92F4-A20152AF44D2}" type="sibTrans" cxnId="{FE1DB367-83BA-480A-B153-4D61CBB1018A}">
      <dgm:prSet/>
      <dgm:spPr/>
      <dgm:t>
        <a:bodyPr/>
        <a:lstStyle/>
        <a:p>
          <a:endParaRPr lang="es-AR" sz="6600"/>
        </a:p>
      </dgm:t>
    </dgm:pt>
    <dgm:pt modelId="{3D3C46E4-2BB6-41BA-A5E0-2C7F38C94501}">
      <dgm:prSet custT="1"/>
      <dgm:spPr/>
      <dgm:t>
        <a:bodyPr/>
        <a:lstStyle/>
        <a:p>
          <a:r>
            <a:rPr lang="es-AR" sz="1800" smtClean="0"/>
            <a:t>El principal factor de riesgo de sufrir esta enfermedad es habitar o visitar una región o país con presencia del vector y circulación del virus. </a:t>
          </a:r>
          <a:endParaRPr lang="es-AR" sz="1800" dirty="0"/>
        </a:p>
      </dgm:t>
    </dgm:pt>
    <dgm:pt modelId="{C83CB2A8-9114-49D0-9210-950FC3C1A565}" type="parTrans" cxnId="{0AA39B54-318B-4345-94B3-2DA03726759E}">
      <dgm:prSet/>
      <dgm:spPr/>
      <dgm:t>
        <a:bodyPr/>
        <a:lstStyle/>
        <a:p>
          <a:endParaRPr lang="en-US"/>
        </a:p>
      </dgm:t>
    </dgm:pt>
    <dgm:pt modelId="{3647BA7E-59F0-4320-96CE-66D666E86C0E}" type="sibTrans" cxnId="{0AA39B54-318B-4345-94B3-2DA03726759E}">
      <dgm:prSet/>
      <dgm:spPr/>
      <dgm:t>
        <a:bodyPr/>
        <a:lstStyle/>
        <a:p>
          <a:endParaRPr lang="en-US"/>
        </a:p>
      </dgm:t>
    </dgm:pt>
    <dgm:pt modelId="{080140F1-F9E6-421C-BFF2-7682DECFA585}" type="pres">
      <dgm:prSet presAssocID="{4D691DC6-948A-4E3A-8875-31BE7E34AD38}" presName="linear" presStyleCnt="0">
        <dgm:presLayoutVars>
          <dgm:dir/>
          <dgm:animLvl val="lvl"/>
          <dgm:resizeHandles val="exact"/>
        </dgm:presLayoutVars>
      </dgm:prSet>
      <dgm:spPr/>
      <dgm:t>
        <a:bodyPr/>
        <a:lstStyle/>
        <a:p>
          <a:endParaRPr lang="en-US"/>
        </a:p>
      </dgm:t>
    </dgm:pt>
    <dgm:pt modelId="{4B078653-258A-4E16-8B16-02B3C47E68E5}" type="pres">
      <dgm:prSet presAssocID="{26E999E7-9B09-45A9-8A77-C1ADBBB146F5}" presName="parentLin" presStyleCnt="0"/>
      <dgm:spPr/>
    </dgm:pt>
    <dgm:pt modelId="{2456B37E-FCB7-48CE-AD55-7E9D0E2FF3B0}" type="pres">
      <dgm:prSet presAssocID="{26E999E7-9B09-45A9-8A77-C1ADBBB146F5}" presName="parentLeftMargin" presStyleLbl="node1" presStyleIdx="0" presStyleCnt="4"/>
      <dgm:spPr/>
      <dgm:t>
        <a:bodyPr/>
        <a:lstStyle/>
        <a:p>
          <a:endParaRPr lang="es-AR"/>
        </a:p>
      </dgm:t>
    </dgm:pt>
    <dgm:pt modelId="{F976FFB8-DBA0-4C5E-86C4-68DF291E9828}" type="pres">
      <dgm:prSet presAssocID="{26E999E7-9B09-45A9-8A77-C1ADBBB146F5}" presName="parentText" presStyleLbl="node1" presStyleIdx="0" presStyleCnt="4" custScaleX="136849" custScaleY="84260">
        <dgm:presLayoutVars>
          <dgm:chMax val="0"/>
          <dgm:bulletEnabled val="1"/>
        </dgm:presLayoutVars>
      </dgm:prSet>
      <dgm:spPr/>
      <dgm:t>
        <a:bodyPr/>
        <a:lstStyle/>
        <a:p>
          <a:endParaRPr lang="es-AR"/>
        </a:p>
      </dgm:t>
    </dgm:pt>
    <dgm:pt modelId="{D2BD741B-910A-4DDC-A612-2598F1980F7B}" type="pres">
      <dgm:prSet presAssocID="{26E999E7-9B09-45A9-8A77-C1ADBBB146F5}" presName="negativeSpace" presStyleCnt="0"/>
      <dgm:spPr/>
    </dgm:pt>
    <dgm:pt modelId="{E9169DE2-FD80-4591-92B0-4DD1751BF649}" type="pres">
      <dgm:prSet presAssocID="{26E999E7-9B09-45A9-8A77-C1ADBBB146F5}" presName="childText" presStyleLbl="conFgAcc1" presStyleIdx="0" presStyleCnt="4">
        <dgm:presLayoutVars>
          <dgm:bulletEnabled val="1"/>
        </dgm:presLayoutVars>
      </dgm:prSet>
      <dgm:spPr/>
    </dgm:pt>
    <dgm:pt modelId="{E95B9795-20AA-437F-9545-4D5F2F8A0B4B}" type="pres">
      <dgm:prSet presAssocID="{FEE5614E-A249-468B-BB8A-2712308BDB3B}" presName="spaceBetweenRectangles" presStyleCnt="0"/>
      <dgm:spPr/>
    </dgm:pt>
    <dgm:pt modelId="{FADC5A5F-1303-46E7-8677-7BE21FBC4C76}" type="pres">
      <dgm:prSet presAssocID="{3D3C46E4-2BB6-41BA-A5E0-2C7F38C94501}" presName="parentLin" presStyleCnt="0"/>
      <dgm:spPr/>
    </dgm:pt>
    <dgm:pt modelId="{FC637354-2CFA-4D7E-8479-6EF831039550}" type="pres">
      <dgm:prSet presAssocID="{3D3C46E4-2BB6-41BA-A5E0-2C7F38C94501}" presName="parentLeftMargin" presStyleLbl="node1" presStyleIdx="0" presStyleCnt="4"/>
      <dgm:spPr/>
      <dgm:t>
        <a:bodyPr/>
        <a:lstStyle/>
        <a:p>
          <a:endParaRPr lang="en-US"/>
        </a:p>
      </dgm:t>
    </dgm:pt>
    <dgm:pt modelId="{749FF4EA-0342-4994-84A0-EB571CFEF816}" type="pres">
      <dgm:prSet presAssocID="{3D3C46E4-2BB6-41BA-A5E0-2C7F38C94501}" presName="parentText" presStyleLbl="node1" presStyleIdx="1" presStyleCnt="4" custScaleX="142857">
        <dgm:presLayoutVars>
          <dgm:chMax val="0"/>
          <dgm:bulletEnabled val="1"/>
        </dgm:presLayoutVars>
      </dgm:prSet>
      <dgm:spPr/>
      <dgm:t>
        <a:bodyPr/>
        <a:lstStyle/>
        <a:p>
          <a:endParaRPr lang="en-US"/>
        </a:p>
      </dgm:t>
    </dgm:pt>
    <dgm:pt modelId="{D6B6DEC9-6EA5-4990-9B40-8BF702668E09}" type="pres">
      <dgm:prSet presAssocID="{3D3C46E4-2BB6-41BA-A5E0-2C7F38C94501}" presName="negativeSpace" presStyleCnt="0"/>
      <dgm:spPr/>
    </dgm:pt>
    <dgm:pt modelId="{4F4778A2-5BCC-4418-AF73-BE603E51C1C8}" type="pres">
      <dgm:prSet presAssocID="{3D3C46E4-2BB6-41BA-A5E0-2C7F38C94501}" presName="childText" presStyleLbl="conFgAcc1" presStyleIdx="1" presStyleCnt="4">
        <dgm:presLayoutVars>
          <dgm:bulletEnabled val="1"/>
        </dgm:presLayoutVars>
      </dgm:prSet>
      <dgm:spPr/>
    </dgm:pt>
    <dgm:pt modelId="{B7123526-0B05-4231-8A54-83A08BB80F76}" type="pres">
      <dgm:prSet presAssocID="{3647BA7E-59F0-4320-96CE-66D666E86C0E}" presName="spaceBetweenRectangles" presStyleCnt="0"/>
      <dgm:spPr/>
    </dgm:pt>
    <dgm:pt modelId="{79DD5784-35BF-47C5-9CBB-42C9D45596D5}" type="pres">
      <dgm:prSet presAssocID="{9D28EC63-2E78-40F3-AD4F-9B5B0D772A54}" presName="parentLin" presStyleCnt="0"/>
      <dgm:spPr/>
    </dgm:pt>
    <dgm:pt modelId="{00CE059C-6401-4CA0-B58C-C2D3AF2274D1}" type="pres">
      <dgm:prSet presAssocID="{9D28EC63-2E78-40F3-AD4F-9B5B0D772A54}" presName="parentLeftMargin" presStyleLbl="node1" presStyleIdx="1" presStyleCnt="4"/>
      <dgm:spPr/>
      <dgm:t>
        <a:bodyPr/>
        <a:lstStyle/>
        <a:p>
          <a:endParaRPr lang="en-US"/>
        </a:p>
      </dgm:t>
    </dgm:pt>
    <dgm:pt modelId="{35CE614C-D029-4109-AABA-16DE289F6E6C}" type="pres">
      <dgm:prSet presAssocID="{9D28EC63-2E78-40F3-AD4F-9B5B0D772A54}" presName="parentText" presStyleLbl="node1" presStyleIdx="2" presStyleCnt="4" custScaleX="136849">
        <dgm:presLayoutVars>
          <dgm:chMax val="0"/>
          <dgm:bulletEnabled val="1"/>
        </dgm:presLayoutVars>
      </dgm:prSet>
      <dgm:spPr/>
      <dgm:t>
        <a:bodyPr/>
        <a:lstStyle/>
        <a:p>
          <a:endParaRPr lang="en-US"/>
        </a:p>
      </dgm:t>
    </dgm:pt>
    <dgm:pt modelId="{17E6318E-517B-4BB8-8681-3A8050C97477}" type="pres">
      <dgm:prSet presAssocID="{9D28EC63-2E78-40F3-AD4F-9B5B0D772A54}" presName="negativeSpace" presStyleCnt="0"/>
      <dgm:spPr/>
    </dgm:pt>
    <dgm:pt modelId="{936D24E3-2F81-4CD9-A90D-4F4BAF3B41D7}" type="pres">
      <dgm:prSet presAssocID="{9D28EC63-2E78-40F3-AD4F-9B5B0D772A54}" presName="childText" presStyleLbl="conFgAcc1" presStyleIdx="2" presStyleCnt="4">
        <dgm:presLayoutVars>
          <dgm:bulletEnabled val="1"/>
        </dgm:presLayoutVars>
      </dgm:prSet>
      <dgm:spPr/>
    </dgm:pt>
    <dgm:pt modelId="{24058D86-5F60-40AB-A162-04EE39B201B0}" type="pres">
      <dgm:prSet presAssocID="{6E60C5B2-62C4-42B8-93EC-A67C8C886441}" presName="spaceBetweenRectangles" presStyleCnt="0"/>
      <dgm:spPr/>
    </dgm:pt>
    <dgm:pt modelId="{A22AEA2E-9C45-4FFF-BCD0-2BD7455D9AFB}" type="pres">
      <dgm:prSet presAssocID="{91DFB0A3-B8B8-45B0-AD99-71D9E2C54601}" presName="parentLin" presStyleCnt="0"/>
      <dgm:spPr/>
    </dgm:pt>
    <dgm:pt modelId="{F39D463A-9D90-4364-B613-E8BCAD404AB8}" type="pres">
      <dgm:prSet presAssocID="{91DFB0A3-B8B8-45B0-AD99-71D9E2C54601}" presName="parentLeftMargin" presStyleLbl="node1" presStyleIdx="2" presStyleCnt="4"/>
      <dgm:spPr/>
      <dgm:t>
        <a:bodyPr/>
        <a:lstStyle/>
        <a:p>
          <a:endParaRPr lang="en-US"/>
        </a:p>
      </dgm:t>
    </dgm:pt>
    <dgm:pt modelId="{59D4A107-582F-46D1-AF87-E46923153C32}" type="pres">
      <dgm:prSet presAssocID="{91DFB0A3-B8B8-45B0-AD99-71D9E2C54601}" presName="parentText" presStyleLbl="node1" presStyleIdx="3" presStyleCnt="4" custScaleX="136849" custScaleY="142461">
        <dgm:presLayoutVars>
          <dgm:chMax val="0"/>
          <dgm:bulletEnabled val="1"/>
        </dgm:presLayoutVars>
      </dgm:prSet>
      <dgm:spPr/>
      <dgm:t>
        <a:bodyPr/>
        <a:lstStyle/>
        <a:p>
          <a:endParaRPr lang="en-US"/>
        </a:p>
      </dgm:t>
    </dgm:pt>
    <dgm:pt modelId="{926AFD24-6EFB-4456-9B13-52D71FBBA259}" type="pres">
      <dgm:prSet presAssocID="{91DFB0A3-B8B8-45B0-AD99-71D9E2C54601}" presName="negativeSpace" presStyleCnt="0"/>
      <dgm:spPr/>
    </dgm:pt>
    <dgm:pt modelId="{BA834A3F-6AF0-4D26-B9A0-D7E31E49F0C0}" type="pres">
      <dgm:prSet presAssocID="{91DFB0A3-B8B8-45B0-AD99-71D9E2C54601}" presName="childText" presStyleLbl="conFgAcc1" presStyleIdx="3" presStyleCnt="4">
        <dgm:presLayoutVars>
          <dgm:bulletEnabled val="1"/>
        </dgm:presLayoutVars>
      </dgm:prSet>
      <dgm:spPr/>
    </dgm:pt>
  </dgm:ptLst>
  <dgm:cxnLst>
    <dgm:cxn modelId="{0AA39B54-318B-4345-94B3-2DA03726759E}" srcId="{4D691DC6-948A-4E3A-8875-31BE7E34AD38}" destId="{3D3C46E4-2BB6-41BA-A5E0-2C7F38C94501}" srcOrd="1" destOrd="0" parTransId="{C83CB2A8-9114-49D0-9210-950FC3C1A565}" sibTransId="{3647BA7E-59F0-4320-96CE-66D666E86C0E}"/>
    <dgm:cxn modelId="{F680C3B3-F0E8-46EE-89EE-04ACAC5ACE04}" srcId="{4D691DC6-948A-4E3A-8875-31BE7E34AD38}" destId="{26E999E7-9B09-45A9-8A77-C1ADBBB146F5}" srcOrd="0" destOrd="0" parTransId="{471CE3FA-9F94-4BD5-8AA5-9D9C554E8955}" sibTransId="{FEE5614E-A249-468B-BB8A-2712308BDB3B}"/>
    <dgm:cxn modelId="{40B199A9-D06F-4C73-A803-5D8652BC80B6}" srcId="{4D691DC6-948A-4E3A-8875-31BE7E34AD38}" destId="{9D28EC63-2E78-40F3-AD4F-9B5B0D772A54}" srcOrd="2" destOrd="0" parTransId="{41064892-6E4A-41AB-A516-E3921D7AE849}" sibTransId="{6E60C5B2-62C4-42B8-93EC-A67C8C886441}"/>
    <dgm:cxn modelId="{3D195363-1A11-404E-81A9-B8378A85BC92}" type="presOf" srcId="{26E999E7-9B09-45A9-8A77-C1ADBBB146F5}" destId="{F976FFB8-DBA0-4C5E-86C4-68DF291E9828}" srcOrd="1" destOrd="0" presId="urn:microsoft.com/office/officeart/2005/8/layout/list1"/>
    <dgm:cxn modelId="{7BD30B09-CE65-4023-91C7-7576F9765580}" type="presOf" srcId="{91DFB0A3-B8B8-45B0-AD99-71D9E2C54601}" destId="{59D4A107-582F-46D1-AF87-E46923153C32}" srcOrd="1" destOrd="0" presId="urn:microsoft.com/office/officeart/2005/8/layout/list1"/>
    <dgm:cxn modelId="{7A9FFC59-D06A-444B-9B9F-057B7517B0DA}" type="presOf" srcId="{26E999E7-9B09-45A9-8A77-C1ADBBB146F5}" destId="{2456B37E-FCB7-48CE-AD55-7E9D0E2FF3B0}" srcOrd="0" destOrd="0" presId="urn:microsoft.com/office/officeart/2005/8/layout/list1"/>
    <dgm:cxn modelId="{FE1DB367-83BA-480A-B153-4D61CBB1018A}" srcId="{4D691DC6-948A-4E3A-8875-31BE7E34AD38}" destId="{91DFB0A3-B8B8-45B0-AD99-71D9E2C54601}" srcOrd="3" destOrd="0" parTransId="{DF4F096F-7FA5-42B4-AB2F-6D37292D3D9F}" sibTransId="{E958861B-63AC-4678-92F4-A20152AF44D2}"/>
    <dgm:cxn modelId="{F5133A2F-AF4D-4ACE-A41C-9B73C420C9BE}" type="presOf" srcId="{3D3C46E4-2BB6-41BA-A5E0-2C7F38C94501}" destId="{749FF4EA-0342-4994-84A0-EB571CFEF816}" srcOrd="1" destOrd="0" presId="urn:microsoft.com/office/officeart/2005/8/layout/list1"/>
    <dgm:cxn modelId="{1FA2BAD6-D936-41C0-B7B8-1EB8CBAD1DE7}" type="presOf" srcId="{91DFB0A3-B8B8-45B0-AD99-71D9E2C54601}" destId="{F39D463A-9D90-4364-B613-E8BCAD404AB8}" srcOrd="0" destOrd="0" presId="urn:microsoft.com/office/officeart/2005/8/layout/list1"/>
    <dgm:cxn modelId="{E4B26DF3-6C3A-4101-B46B-E7B01F4FE82E}" type="presOf" srcId="{9D28EC63-2E78-40F3-AD4F-9B5B0D772A54}" destId="{00CE059C-6401-4CA0-B58C-C2D3AF2274D1}" srcOrd="0" destOrd="0" presId="urn:microsoft.com/office/officeart/2005/8/layout/list1"/>
    <dgm:cxn modelId="{21814AE6-FB96-410C-A83B-FC540847A0AB}" type="presOf" srcId="{9D28EC63-2E78-40F3-AD4F-9B5B0D772A54}" destId="{35CE614C-D029-4109-AABA-16DE289F6E6C}" srcOrd="1" destOrd="0" presId="urn:microsoft.com/office/officeart/2005/8/layout/list1"/>
    <dgm:cxn modelId="{7C3DA5D7-9EA2-4D5E-9E5B-A204F27060DE}" type="presOf" srcId="{3D3C46E4-2BB6-41BA-A5E0-2C7F38C94501}" destId="{FC637354-2CFA-4D7E-8479-6EF831039550}" srcOrd="0" destOrd="0" presId="urn:microsoft.com/office/officeart/2005/8/layout/list1"/>
    <dgm:cxn modelId="{B68643EA-3683-4196-BCE6-D9F61688B137}" type="presOf" srcId="{4D691DC6-948A-4E3A-8875-31BE7E34AD38}" destId="{080140F1-F9E6-421C-BFF2-7682DECFA585}" srcOrd="0" destOrd="0" presId="urn:microsoft.com/office/officeart/2005/8/layout/list1"/>
    <dgm:cxn modelId="{EF71BEB0-442B-4A9B-8C04-10328D8F50F0}" type="presParOf" srcId="{080140F1-F9E6-421C-BFF2-7682DECFA585}" destId="{4B078653-258A-4E16-8B16-02B3C47E68E5}" srcOrd="0" destOrd="0" presId="urn:microsoft.com/office/officeart/2005/8/layout/list1"/>
    <dgm:cxn modelId="{6FFCD491-B6E6-4FEF-8A5E-BA56FB35B883}" type="presParOf" srcId="{4B078653-258A-4E16-8B16-02B3C47E68E5}" destId="{2456B37E-FCB7-48CE-AD55-7E9D0E2FF3B0}" srcOrd="0" destOrd="0" presId="urn:microsoft.com/office/officeart/2005/8/layout/list1"/>
    <dgm:cxn modelId="{552FCA32-AA58-4B41-A14F-62739EC61A69}" type="presParOf" srcId="{4B078653-258A-4E16-8B16-02B3C47E68E5}" destId="{F976FFB8-DBA0-4C5E-86C4-68DF291E9828}" srcOrd="1" destOrd="0" presId="urn:microsoft.com/office/officeart/2005/8/layout/list1"/>
    <dgm:cxn modelId="{0F9CB5A5-EE37-4141-9D79-14A358E46711}" type="presParOf" srcId="{080140F1-F9E6-421C-BFF2-7682DECFA585}" destId="{D2BD741B-910A-4DDC-A612-2598F1980F7B}" srcOrd="1" destOrd="0" presId="urn:microsoft.com/office/officeart/2005/8/layout/list1"/>
    <dgm:cxn modelId="{24287881-BD44-4ECA-A4C0-26538C6B89EB}" type="presParOf" srcId="{080140F1-F9E6-421C-BFF2-7682DECFA585}" destId="{E9169DE2-FD80-4591-92B0-4DD1751BF649}" srcOrd="2" destOrd="0" presId="urn:microsoft.com/office/officeart/2005/8/layout/list1"/>
    <dgm:cxn modelId="{373147ED-9845-43D3-B015-15A03FC2F5C1}" type="presParOf" srcId="{080140F1-F9E6-421C-BFF2-7682DECFA585}" destId="{E95B9795-20AA-437F-9545-4D5F2F8A0B4B}" srcOrd="3" destOrd="0" presId="urn:microsoft.com/office/officeart/2005/8/layout/list1"/>
    <dgm:cxn modelId="{3802611C-1FB2-44D2-A89A-208FD4EC4863}" type="presParOf" srcId="{080140F1-F9E6-421C-BFF2-7682DECFA585}" destId="{FADC5A5F-1303-46E7-8677-7BE21FBC4C76}" srcOrd="4" destOrd="0" presId="urn:microsoft.com/office/officeart/2005/8/layout/list1"/>
    <dgm:cxn modelId="{74679606-28F9-44A3-A2D2-11B81B93F795}" type="presParOf" srcId="{FADC5A5F-1303-46E7-8677-7BE21FBC4C76}" destId="{FC637354-2CFA-4D7E-8479-6EF831039550}" srcOrd="0" destOrd="0" presId="urn:microsoft.com/office/officeart/2005/8/layout/list1"/>
    <dgm:cxn modelId="{A8954036-01BE-4225-B4FA-AAAC1E41DD79}" type="presParOf" srcId="{FADC5A5F-1303-46E7-8677-7BE21FBC4C76}" destId="{749FF4EA-0342-4994-84A0-EB571CFEF816}" srcOrd="1" destOrd="0" presId="urn:microsoft.com/office/officeart/2005/8/layout/list1"/>
    <dgm:cxn modelId="{86984C56-21F5-47E2-8B72-9856A021F413}" type="presParOf" srcId="{080140F1-F9E6-421C-BFF2-7682DECFA585}" destId="{D6B6DEC9-6EA5-4990-9B40-8BF702668E09}" srcOrd="5" destOrd="0" presId="urn:microsoft.com/office/officeart/2005/8/layout/list1"/>
    <dgm:cxn modelId="{34B99468-0C27-4078-9F9E-C328A9AC4E97}" type="presParOf" srcId="{080140F1-F9E6-421C-BFF2-7682DECFA585}" destId="{4F4778A2-5BCC-4418-AF73-BE603E51C1C8}" srcOrd="6" destOrd="0" presId="urn:microsoft.com/office/officeart/2005/8/layout/list1"/>
    <dgm:cxn modelId="{9B01D790-63D1-4F4E-A912-4BBEBDE4DA1E}" type="presParOf" srcId="{080140F1-F9E6-421C-BFF2-7682DECFA585}" destId="{B7123526-0B05-4231-8A54-83A08BB80F76}" srcOrd="7" destOrd="0" presId="urn:microsoft.com/office/officeart/2005/8/layout/list1"/>
    <dgm:cxn modelId="{49876AC6-D82D-46C4-913B-3E317BEA47AB}" type="presParOf" srcId="{080140F1-F9E6-421C-BFF2-7682DECFA585}" destId="{79DD5784-35BF-47C5-9CBB-42C9D45596D5}" srcOrd="8" destOrd="0" presId="urn:microsoft.com/office/officeart/2005/8/layout/list1"/>
    <dgm:cxn modelId="{F01FF46C-C7A8-4CC8-89AD-E62D6AEEFC44}" type="presParOf" srcId="{79DD5784-35BF-47C5-9CBB-42C9D45596D5}" destId="{00CE059C-6401-4CA0-B58C-C2D3AF2274D1}" srcOrd="0" destOrd="0" presId="urn:microsoft.com/office/officeart/2005/8/layout/list1"/>
    <dgm:cxn modelId="{CFECAEF6-B73D-4F7E-A43C-43B2AAD953FF}" type="presParOf" srcId="{79DD5784-35BF-47C5-9CBB-42C9D45596D5}" destId="{35CE614C-D029-4109-AABA-16DE289F6E6C}" srcOrd="1" destOrd="0" presId="urn:microsoft.com/office/officeart/2005/8/layout/list1"/>
    <dgm:cxn modelId="{A4D29A67-988A-4523-9E6F-2794D8B4708E}" type="presParOf" srcId="{080140F1-F9E6-421C-BFF2-7682DECFA585}" destId="{17E6318E-517B-4BB8-8681-3A8050C97477}" srcOrd="9" destOrd="0" presId="urn:microsoft.com/office/officeart/2005/8/layout/list1"/>
    <dgm:cxn modelId="{D89FEA19-BD3C-4C13-9139-0C12505D758B}" type="presParOf" srcId="{080140F1-F9E6-421C-BFF2-7682DECFA585}" destId="{936D24E3-2F81-4CD9-A90D-4F4BAF3B41D7}" srcOrd="10" destOrd="0" presId="urn:microsoft.com/office/officeart/2005/8/layout/list1"/>
    <dgm:cxn modelId="{F6FA512C-802F-4022-98A5-DBD7D25039F8}" type="presParOf" srcId="{080140F1-F9E6-421C-BFF2-7682DECFA585}" destId="{24058D86-5F60-40AB-A162-04EE39B201B0}" srcOrd="11" destOrd="0" presId="urn:microsoft.com/office/officeart/2005/8/layout/list1"/>
    <dgm:cxn modelId="{6423CC21-3BF6-4850-91E0-C96152EC3C18}" type="presParOf" srcId="{080140F1-F9E6-421C-BFF2-7682DECFA585}" destId="{A22AEA2E-9C45-4FFF-BCD0-2BD7455D9AFB}" srcOrd="12" destOrd="0" presId="urn:microsoft.com/office/officeart/2005/8/layout/list1"/>
    <dgm:cxn modelId="{C385C494-5F49-4194-8504-BDBD444C32B2}" type="presParOf" srcId="{A22AEA2E-9C45-4FFF-BCD0-2BD7455D9AFB}" destId="{F39D463A-9D90-4364-B613-E8BCAD404AB8}" srcOrd="0" destOrd="0" presId="urn:microsoft.com/office/officeart/2005/8/layout/list1"/>
    <dgm:cxn modelId="{4C313995-F5D6-4E96-B35C-B2568B5E03BC}" type="presParOf" srcId="{A22AEA2E-9C45-4FFF-BCD0-2BD7455D9AFB}" destId="{59D4A107-582F-46D1-AF87-E46923153C32}" srcOrd="1" destOrd="0" presId="urn:microsoft.com/office/officeart/2005/8/layout/list1"/>
    <dgm:cxn modelId="{CB6B5A61-D6CD-42F9-81DF-79BECCA6E616}" type="presParOf" srcId="{080140F1-F9E6-421C-BFF2-7682DECFA585}" destId="{926AFD24-6EFB-4456-9B13-52D71FBBA259}" srcOrd="13" destOrd="0" presId="urn:microsoft.com/office/officeart/2005/8/layout/list1"/>
    <dgm:cxn modelId="{8F59156B-50A1-4A73-AF9E-132E606C9D8F}" type="presParOf" srcId="{080140F1-F9E6-421C-BFF2-7682DECFA585}" destId="{BA834A3F-6AF0-4D26-B9A0-D7E31E49F0C0}" srcOrd="14" destOrd="0" presId="urn:microsoft.com/office/officeart/2005/8/layout/list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94FDE6A-B259-4EAD-BD73-3E7AC87D7770}" type="doc">
      <dgm:prSet loTypeId="urn:microsoft.com/office/officeart/2005/8/layout/process3" loCatId="process" qsTypeId="urn:microsoft.com/office/officeart/2005/8/quickstyle/simple1" qsCatId="simple" csTypeId="urn:microsoft.com/office/officeart/2005/8/colors/accent1_2" csCatId="accent1" phldr="1"/>
      <dgm:spPr/>
      <dgm:t>
        <a:bodyPr/>
        <a:lstStyle/>
        <a:p>
          <a:endParaRPr lang="es-AR"/>
        </a:p>
      </dgm:t>
    </dgm:pt>
    <dgm:pt modelId="{456DDAAB-93F6-4F2F-975D-62BFD1C3E2CF}">
      <dgm:prSet custT="1"/>
      <dgm:spPr/>
      <dgm:t>
        <a:bodyPr/>
        <a:lstStyle/>
        <a:p>
          <a:r>
            <a:rPr lang="es-ES_tradnl" sz="1400" dirty="0" smtClean="0"/>
            <a:t>Personas susceptibles de adquirir el virus e infectarse</a:t>
          </a:r>
        </a:p>
      </dgm:t>
    </dgm:pt>
    <dgm:pt modelId="{C8207F1E-02F5-46B3-B67A-DCD1EA9F67F2}" type="parTrans" cxnId="{49AD0691-5F32-4011-A864-63DB80136E49}">
      <dgm:prSet/>
      <dgm:spPr/>
      <dgm:t>
        <a:bodyPr/>
        <a:lstStyle/>
        <a:p>
          <a:endParaRPr lang="es-AR" sz="2400"/>
        </a:p>
      </dgm:t>
    </dgm:pt>
    <dgm:pt modelId="{082D0F6A-AA0E-418C-A401-EB5179A17A20}" type="sibTrans" cxnId="{49AD0691-5F32-4011-A864-63DB80136E49}">
      <dgm:prSet/>
      <dgm:spPr/>
      <dgm:t>
        <a:bodyPr/>
        <a:lstStyle/>
        <a:p>
          <a:endParaRPr lang="es-AR" sz="2400"/>
        </a:p>
      </dgm:t>
    </dgm:pt>
    <dgm:pt modelId="{B5F1C78B-5F67-4BCA-8981-349C9353694D}">
      <dgm:prSet custT="1"/>
      <dgm:spPr/>
      <dgm:t>
        <a:bodyPr/>
        <a:lstStyle/>
        <a:p>
          <a:r>
            <a:rPr lang="es-ES_tradnl" sz="1400" b="1" dirty="0" smtClean="0">
              <a:solidFill>
                <a:schemeClr val="tx1"/>
              </a:solidFill>
            </a:rPr>
            <a:t>ACCIONES DE PREVENCIÓN DURANTE TODO EL AÑO</a:t>
          </a:r>
        </a:p>
      </dgm:t>
    </dgm:pt>
    <dgm:pt modelId="{D357440A-20E1-4A92-A2C8-D564ADA1090B}" type="parTrans" cxnId="{C4313062-1800-47B2-B21F-CC483E70C507}">
      <dgm:prSet/>
      <dgm:spPr/>
      <dgm:t>
        <a:bodyPr/>
        <a:lstStyle/>
        <a:p>
          <a:endParaRPr lang="es-AR" sz="2400"/>
        </a:p>
      </dgm:t>
    </dgm:pt>
    <dgm:pt modelId="{24DAEFF0-7D7B-4C2A-A951-2BACFB887569}" type="sibTrans" cxnId="{C4313062-1800-47B2-B21F-CC483E70C507}">
      <dgm:prSet/>
      <dgm:spPr/>
      <dgm:t>
        <a:bodyPr/>
        <a:lstStyle/>
        <a:p>
          <a:endParaRPr lang="es-AR" sz="2400"/>
        </a:p>
      </dgm:t>
    </dgm:pt>
    <dgm:pt modelId="{3C11F34B-B08A-4219-A182-11BF35240A7F}">
      <dgm:prSet custT="1"/>
      <dgm:spPr/>
      <dgm:t>
        <a:bodyPr/>
        <a:lstStyle/>
        <a:p>
          <a:r>
            <a:rPr lang="es-ES_tradnl" sz="1400" dirty="0" smtClean="0">
              <a:solidFill>
                <a:schemeClr val="tx1"/>
              </a:solidFill>
            </a:rPr>
            <a:t>Temporada cálida: presencia de mosquito adulto</a:t>
          </a:r>
        </a:p>
      </dgm:t>
    </dgm:pt>
    <dgm:pt modelId="{55F1940C-4DF6-47F1-8165-9619AB419974}" type="parTrans" cxnId="{565AC3C5-4BFB-473F-93AF-C7ECB4DB006C}">
      <dgm:prSet/>
      <dgm:spPr/>
      <dgm:t>
        <a:bodyPr/>
        <a:lstStyle/>
        <a:p>
          <a:endParaRPr lang="es-AR" sz="2400"/>
        </a:p>
      </dgm:t>
    </dgm:pt>
    <dgm:pt modelId="{A2A36FAC-CA20-452D-B848-71B2AC94973C}" type="sibTrans" cxnId="{565AC3C5-4BFB-473F-93AF-C7ECB4DB006C}">
      <dgm:prSet/>
      <dgm:spPr/>
      <dgm:t>
        <a:bodyPr/>
        <a:lstStyle/>
        <a:p>
          <a:endParaRPr lang="es-AR" sz="2400"/>
        </a:p>
      </dgm:t>
    </dgm:pt>
    <dgm:pt modelId="{AF46B83E-8479-49E1-A99E-97B54531EBF9}">
      <dgm:prSet custT="1"/>
      <dgm:spPr/>
      <dgm:t>
        <a:bodyPr/>
        <a:lstStyle/>
        <a:p>
          <a:r>
            <a:rPr lang="es-ES_tradnl" sz="1400" dirty="0" smtClean="0">
              <a:solidFill>
                <a:schemeClr val="tx1"/>
              </a:solidFill>
            </a:rPr>
            <a:t>Temporada fría: escasa presencia de mosquito adulto, la población esta representada por huevos los cuales originaran mosquitos adultos en la siguiente temporada.</a:t>
          </a:r>
          <a:endParaRPr lang="es-ES" sz="1400" dirty="0" smtClean="0">
            <a:solidFill>
              <a:schemeClr val="tx1"/>
            </a:solidFill>
          </a:endParaRPr>
        </a:p>
      </dgm:t>
    </dgm:pt>
    <dgm:pt modelId="{9134E872-006B-430E-A9B2-96A9F255D65C}" type="parTrans" cxnId="{3B28D024-DDAC-40DA-9A2A-6C4B21419BF9}">
      <dgm:prSet/>
      <dgm:spPr/>
      <dgm:t>
        <a:bodyPr/>
        <a:lstStyle/>
        <a:p>
          <a:endParaRPr lang="es-AR" sz="2400"/>
        </a:p>
      </dgm:t>
    </dgm:pt>
    <dgm:pt modelId="{D2F9D6CE-EB83-493C-981F-2CF7FDF95C31}" type="sibTrans" cxnId="{3B28D024-DDAC-40DA-9A2A-6C4B21419BF9}">
      <dgm:prSet/>
      <dgm:spPr/>
      <dgm:t>
        <a:bodyPr/>
        <a:lstStyle/>
        <a:p>
          <a:endParaRPr lang="es-AR" sz="2400"/>
        </a:p>
      </dgm:t>
    </dgm:pt>
    <dgm:pt modelId="{F3B98A82-CA81-4598-9EEF-79994886B648}">
      <dgm:prSet phldrT="[Texto]" custT="1"/>
      <dgm:spPr/>
      <dgm:t>
        <a:bodyPr/>
        <a:lstStyle/>
        <a:p>
          <a:r>
            <a:rPr lang="es-ES_tradnl" sz="1400" dirty="0" smtClean="0"/>
            <a:t> El virus circulando en la sangre de una persona infectada y con capacidad de infectar mosquitos de la especie </a:t>
          </a:r>
          <a:r>
            <a:rPr lang="es-ES_tradnl" sz="1400" i="1" dirty="0" smtClean="0"/>
            <a:t>Aedes</a:t>
          </a:r>
          <a:endParaRPr lang="es-AR" sz="1400" dirty="0"/>
        </a:p>
      </dgm:t>
    </dgm:pt>
    <dgm:pt modelId="{28256261-D1F6-46E2-80AF-B7AE4A17B9AF}" type="parTrans" cxnId="{19185AAE-8F79-4552-A88F-122F2A0E506F}">
      <dgm:prSet/>
      <dgm:spPr/>
      <dgm:t>
        <a:bodyPr/>
        <a:lstStyle/>
        <a:p>
          <a:endParaRPr lang="es-AR" sz="2400"/>
        </a:p>
      </dgm:t>
    </dgm:pt>
    <dgm:pt modelId="{B6B1056E-E42D-4BF4-8E93-79AFD5145A27}" type="sibTrans" cxnId="{19185AAE-8F79-4552-A88F-122F2A0E506F}">
      <dgm:prSet custT="1"/>
      <dgm:spPr/>
      <dgm:t>
        <a:bodyPr/>
        <a:lstStyle/>
        <a:p>
          <a:endParaRPr lang="es-AR" sz="1050"/>
        </a:p>
      </dgm:t>
    </dgm:pt>
    <dgm:pt modelId="{5EA62418-6C26-4E47-A7ED-D49F139BF032}">
      <dgm:prSet phldrT="[Texto]" custT="1"/>
      <dgm:spPr/>
      <dgm:t>
        <a:bodyPr/>
        <a:lstStyle/>
        <a:p>
          <a:r>
            <a:rPr lang="es-ES_tradnl" sz="1400" dirty="0" smtClean="0"/>
            <a:t>Hembras del mosquito </a:t>
          </a:r>
          <a:r>
            <a:rPr lang="es-ES_tradnl" sz="1400" i="1" dirty="0" smtClean="0"/>
            <a:t>Aedes </a:t>
          </a:r>
          <a:r>
            <a:rPr lang="es-ES_tradnl" sz="1400" i="1" dirty="0" err="1" smtClean="0"/>
            <a:t>aegypti</a:t>
          </a:r>
          <a:r>
            <a:rPr lang="es-ES_tradnl" sz="1400" dirty="0" smtClean="0"/>
            <a:t> en cantidades considerables</a:t>
          </a:r>
          <a:endParaRPr lang="es-AR" sz="1400" dirty="0"/>
        </a:p>
      </dgm:t>
    </dgm:pt>
    <dgm:pt modelId="{B38D0A65-7C67-4354-A08D-5788CF548CA5}" type="parTrans" cxnId="{AFAF0CFE-87B7-4022-9C49-0613FD586048}">
      <dgm:prSet/>
      <dgm:spPr/>
      <dgm:t>
        <a:bodyPr/>
        <a:lstStyle/>
        <a:p>
          <a:endParaRPr lang="es-AR" sz="2400"/>
        </a:p>
      </dgm:t>
    </dgm:pt>
    <dgm:pt modelId="{9426CC6D-904F-4241-8B39-D9D24E3B1B1D}" type="sibTrans" cxnId="{AFAF0CFE-87B7-4022-9C49-0613FD586048}">
      <dgm:prSet custT="1"/>
      <dgm:spPr/>
      <dgm:t>
        <a:bodyPr/>
        <a:lstStyle/>
        <a:p>
          <a:endParaRPr lang="es-AR" sz="1050"/>
        </a:p>
      </dgm:t>
    </dgm:pt>
    <dgm:pt modelId="{150D3C6E-2834-40C7-A71D-DA9026E8E09B}">
      <dgm:prSet phldrT="[Texto]" custT="1"/>
      <dgm:spPr/>
      <dgm:t>
        <a:bodyPr/>
        <a:lstStyle/>
        <a:p>
          <a:r>
            <a:rPr lang="es-ES_tradnl" sz="1400" b="1" dirty="0" smtClean="0">
              <a:solidFill>
                <a:schemeClr val="tx1"/>
              </a:solidFill>
            </a:rPr>
            <a:t>AISLAMIENTO ENTOMOLOGICO</a:t>
          </a:r>
          <a:endParaRPr lang="es-AR" sz="1400" dirty="0">
            <a:solidFill>
              <a:schemeClr val="tx1"/>
            </a:solidFill>
          </a:endParaRPr>
        </a:p>
      </dgm:t>
    </dgm:pt>
    <dgm:pt modelId="{6733CF73-9B03-48FF-BC64-0B156CE7B078}" type="parTrans" cxnId="{428E3A54-C487-46AF-BECC-72275E640419}">
      <dgm:prSet/>
      <dgm:spPr/>
      <dgm:t>
        <a:bodyPr/>
        <a:lstStyle/>
        <a:p>
          <a:endParaRPr lang="es-AR" sz="2400"/>
        </a:p>
      </dgm:t>
    </dgm:pt>
    <dgm:pt modelId="{5EB0DB85-6451-4E7A-933D-6AA2560B9902}" type="sibTrans" cxnId="{428E3A54-C487-46AF-BECC-72275E640419}">
      <dgm:prSet/>
      <dgm:spPr/>
      <dgm:t>
        <a:bodyPr/>
        <a:lstStyle/>
        <a:p>
          <a:endParaRPr lang="es-AR" sz="2400"/>
        </a:p>
      </dgm:t>
    </dgm:pt>
    <dgm:pt modelId="{71C6DB00-7283-43A1-B3C3-BC782AE29362}" type="pres">
      <dgm:prSet presAssocID="{594FDE6A-B259-4EAD-BD73-3E7AC87D7770}" presName="linearFlow" presStyleCnt="0">
        <dgm:presLayoutVars>
          <dgm:dir/>
          <dgm:animLvl val="lvl"/>
          <dgm:resizeHandles val="exact"/>
        </dgm:presLayoutVars>
      </dgm:prSet>
      <dgm:spPr/>
      <dgm:t>
        <a:bodyPr/>
        <a:lstStyle/>
        <a:p>
          <a:endParaRPr lang="en-US"/>
        </a:p>
      </dgm:t>
    </dgm:pt>
    <dgm:pt modelId="{B5E48A97-D01F-405C-8159-667FC7F8E95B}" type="pres">
      <dgm:prSet presAssocID="{5EA62418-6C26-4E47-A7ED-D49F139BF032}" presName="composite" presStyleCnt="0"/>
      <dgm:spPr/>
    </dgm:pt>
    <dgm:pt modelId="{CDE2F46C-3841-4E4E-8194-7E996E74082B}" type="pres">
      <dgm:prSet presAssocID="{5EA62418-6C26-4E47-A7ED-D49F139BF032}" presName="parTx" presStyleLbl="node1" presStyleIdx="0" presStyleCnt="3">
        <dgm:presLayoutVars>
          <dgm:chMax val="0"/>
          <dgm:chPref val="0"/>
          <dgm:bulletEnabled val="1"/>
        </dgm:presLayoutVars>
      </dgm:prSet>
      <dgm:spPr/>
      <dgm:t>
        <a:bodyPr/>
        <a:lstStyle/>
        <a:p>
          <a:endParaRPr lang="en-US"/>
        </a:p>
      </dgm:t>
    </dgm:pt>
    <dgm:pt modelId="{4C0577E3-A362-4CF6-966E-3B6556669648}" type="pres">
      <dgm:prSet presAssocID="{5EA62418-6C26-4E47-A7ED-D49F139BF032}" presName="parSh" presStyleLbl="node1" presStyleIdx="0" presStyleCnt="3" custScaleX="108266" custLinFactNeighborX="9899" custLinFactNeighborY="607"/>
      <dgm:spPr/>
      <dgm:t>
        <a:bodyPr/>
        <a:lstStyle/>
        <a:p>
          <a:endParaRPr lang="en-US"/>
        </a:p>
      </dgm:t>
    </dgm:pt>
    <dgm:pt modelId="{E741D3AB-824F-457B-AA15-BB20B706BEE7}" type="pres">
      <dgm:prSet presAssocID="{5EA62418-6C26-4E47-A7ED-D49F139BF032}" presName="desTx" presStyleLbl="fgAcc1" presStyleIdx="0" presStyleCnt="3" custScaleY="40662" custLinFactNeighborX="3044" custLinFactNeighborY="-15888">
        <dgm:presLayoutVars>
          <dgm:bulletEnabled val="1"/>
        </dgm:presLayoutVars>
      </dgm:prSet>
      <dgm:spPr>
        <a:blipFill rotWithShape="0">
          <a:blip xmlns:r="http://schemas.openxmlformats.org/officeDocument/2006/relationships" r:embed="rId1"/>
          <a:stretch>
            <a:fillRect/>
          </a:stretch>
        </a:blipFill>
      </dgm:spPr>
      <dgm:t>
        <a:bodyPr/>
        <a:lstStyle/>
        <a:p>
          <a:endParaRPr lang="es-AR"/>
        </a:p>
      </dgm:t>
    </dgm:pt>
    <dgm:pt modelId="{73689192-24FA-48B8-8E5D-0BEEBF159364}" type="pres">
      <dgm:prSet presAssocID="{9426CC6D-904F-4241-8B39-D9D24E3B1B1D}" presName="sibTrans" presStyleLbl="sibTrans2D1" presStyleIdx="0" presStyleCnt="2"/>
      <dgm:spPr/>
      <dgm:t>
        <a:bodyPr/>
        <a:lstStyle/>
        <a:p>
          <a:endParaRPr lang="en-US"/>
        </a:p>
      </dgm:t>
    </dgm:pt>
    <dgm:pt modelId="{8F4704EE-ABEA-4398-8DF7-35F1AB2DF87B}" type="pres">
      <dgm:prSet presAssocID="{9426CC6D-904F-4241-8B39-D9D24E3B1B1D}" presName="connTx" presStyleLbl="sibTrans2D1" presStyleIdx="0" presStyleCnt="2"/>
      <dgm:spPr/>
      <dgm:t>
        <a:bodyPr/>
        <a:lstStyle/>
        <a:p>
          <a:endParaRPr lang="en-US"/>
        </a:p>
      </dgm:t>
    </dgm:pt>
    <dgm:pt modelId="{150A0FB6-9040-4441-A205-57EA440077F4}" type="pres">
      <dgm:prSet presAssocID="{F3B98A82-CA81-4598-9EEF-79994886B648}" presName="composite" presStyleCnt="0"/>
      <dgm:spPr/>
    </dgm:pt>
    <dgm:pt modelId="{79DA89FC-5BA0-4480-B79A-581F8FEE1964}" type="pres">
      <dgm:prSet presAssocID="{F3B98A82-CA81-4598-9EEF-79994886B648}" presName="parTx" presStyleLbl="node1" presStyleIdx="0" presStyleCnt="3">
        <dgm:presLayoutVars>
          <dgm:chMax val="0"/>
          <dgm:chPref val="0"/>
          <dgm:bulletEnabled val="1"/>
        </dgm:presLayoutVars>
      </dgm:prSet>
      <dgm:spPr/>
      <dgm:t>
        <a:bodyPr/>
        <a:lstStyle/>
        <a:p>
          <a:endParaRPr lang="en-US"/>
        </a:p>
      </dgm:t>
    </dgm:pt>
    <dgm:pt modelId="{EFA9FAC0-258E-4C1C-8145-054ED0DDDA13}" type="pres">
      <dgm:prSet presAssocID="{F3B98A82-CA81-4598-9EEF-79994886B648}" presName="parSh" presStyleLbl="node1" presStyleIdx="1" presStyleCnt="3" custScaleX="116412" custLinFactNeighborX="3120" custLinFactNeighborY="-7889"/>
      <dgm:spPr/>
      <dgm:t>
        <a:bodyPr/>
        <a:lstStyle/>
        <a:p>
          <a:endParaRPr lang="en-US"/>
        </a:p>
      </dgm:t>
    </dgm:pt>
    <dgm:pt modelId="{A5EA6331-B48E-42F1-B7F5-8169BC8DC251}" type="pres">
      <dgm:prSet presAssocID="{F3B98A82-CA81-4598-9EEF-79994886B648}" presName="desTx" presStyleLbl="fgAcc1" presStyleIdx="1" presStyleCnt="3" custScaleY="19392" custLinFactNeighborX="2436" custLinFactNeighborY="-29246">
        <dgm:presLayoutVars>
          <dgm:bulletEnabled val="1"/>
        </dgm:presLayoutVars>
      </dgm:prSet>
      <dgm:spPr/>
      <dgm:t>
        <a:bodyPr/>
        <a:lstStyle/>
        <a:p>
          <a:endParaRPr lang="es-AR"/>
        </a:p>
      </dgm:t>
    </dgm:pt>
    <dgm:pt modelId="{8212438C-913D-43D8-852E-8005A48E92EB}" type="pres">
      <dgm:prSet presAssocID="{B6B1056E-E42D-4BF4-8E93-79AFD5145A27}" presName="sibTrans" presStyleLbl="sibTrans2D1" presStyleIdx="1" presStyleCnt="2"/>
      <dgm:spPr/>
      <dgm:t>
        <a:bodyPr/>
        <a:lstStyle/>
        <a:p>
          <a:endParaRPr lang="en-US"/>
        </a:p>
      </dgm:t>
    </dgm:pt>
    <dgm:pt modelId="{15436D82-49FD-4D64-BC4B-7F8FC873E9AA}" type="pres">
      <dgm:prSet presAssocID="{B6B1056E-E42D-4BF4-8E93-79AFD5145A27}" presName="connTx" presStyleLbl="sibTrans2D1" presStyleIdx="1" presStyleCnt="2"/>
      <dgm:spPr/>
      <dgm:t>
        <a:bodyPr/>
        <a:lstStyle/>
        <a:p>
          <a:endParaRPr lang="en-US"/>
        </a:p>
      </dgm:t>
    </dgm:pt>
    <dgm:pt modelId="{941A92C8-E9E8-4BE5-8C5A-4D987C41FD2F}" type="pres">
      <dgm:prSet presAssocID="{456DDAAB-93F6-4F2F-975D-62BFD1C3E2CF}" presName="composite" presStyleCnt="0"/>
      <dgm:spPr/>
    </dgm:pt>
    <dgm:pt modelId="{C01E4CEB-102F-4FD7-8B80-F8652A96AEA3}" type="pres">
      <dgm:prSet presAssocID="{456DDAAB-93F6-4F2F-975D-62BFD1C3E2CF}" presName="parTx" presStyleLbl="node1" presStyleIdx="1" presStyleCnt="3">
        <dgm:presLayoutVars>
          <dgm:chMax val="0"/>
          <dgm:chPref val="0"/>
          <dgm:bulletEnabled val="1"/>
        </dgm:presLayoutVars>
      </dgm:prSet>
      <dgm:spPr/>
      <dgm:t>
        <a:bodyPr/>
        <a:lstStyle/>
        <a:p>
          <a:endParaRPr lang="es-AR"/>
        </a:p>
      </dgm:t>
    </dgm:pt>
    <dgm:pt modelId="{44C78BF6-14FF-42C3-AE39-D6D68D392D52}" type="pres">
      <dgm:prSet presAssocID="{456DDAAB-93F6-4F2F-975D-62BFD1C3E2CF}" presName="parSh" presStyleLbl="node1" presStyleIdx="2" presStyleCnt="3" custLinFactNeighborX="2609" custLinFactNeighborY="11296"/>
      <dgm:spPr/>
      <dgm:t>
        <a:bodyPr/>
        <a:lstStyle/>
        <a:p>
          <a:endParaRPr lang="es-AR"/>
        </a:p>
      </dgm:t>
    </dgm:pt>
    <dgm:pt modelId="{A0BC582E-EEA5-45A9-BB82-08657DD48550}" type="pres">
      <dgm:prSet presAssocID="{456DDAAB-93F6-4F2F-975D-62BFD1C3E2CF}" presName="desTx" presStyleLbl="fgAcc1" presStyleIdx="2" presStyleCnt="3" custScaleX="160768" custScaleY="64640" custLinFactNeighborX="-18335" custLinFactNeighborY="-2190">
        <dgm:presLayoutVars>
          <dgm:bulletEnabled val="1"/>
        </dgm:presLayoutVars>
      </dgm:prSet>
      <dgm:spPr/>
      <dgm:t>
        <a:bodyPr/>
        <a:lstStyle/>
        <a:p>
          <a:endParaRPr lang="es-AR"/>
        </a:p>
      </dgm:t>
    </dgm:pt>
  </dgm:ptLst>
  <dgm:cxnLst>
    <dgm:cxn modelId="{D0195FCF-75EF-4C53-A1CF-212241553145}" type="presOf" srcId="{F3B98A82-CA81-4598-9EEF-79994886B648}" destId="{EFA9FAC0-258E-4C1C-8145-054ED0DDDA13}" srcOrd="1" destOrd="0" presId="urn:microsoft.com/office/officeart/2005/8/layout/process3"/>
    <dgm:cxn modelId="{D478158D-CAE1-4B10-A738-F6BB43110E32}" type="presOf" srcId="{F3B98A82-CA81-4598-9EEF-79994886B648}" destId="{79DA89FC-5BA0-4480-B79A-581F8FEE1964}" srcOrd="0" destOrd="0" presId="urn:microsoft.com/office/officeart/2005/8/layout/process3"/>
    <dgm:cxn modelId="{AFAF0CFE-87B7-4022-9C49-0613FD586048}" srcId="{594FDE6A-B259-4EAD-BD73-3E7AC87D7770}" destId="{5EA62418-6C26-4E47-A7ED-D49F139BF032}" srcOrd="0" destOrd="0" parTransId="{B38D0A65-7C67-4354-A08D-5788CF548CA5}" sibTransId="{9426CC6D-904F-4241-8B39-D9D24E3B1B1D}"/>
    <dgm:cxn modelId="{9E94961E-52A8-444A-935B-AB4E24E5B441}" type="presOf" srcId="{5EA62418-6C26-4E47-A7ED-D49F139BF032}" destId="{4C0577E3-A362-4CF6-966E-3B6556669648}" srcOrd="1" destOrd="0" presId="urn:microsoft.com/office/officeart/2005/8/layout/process3"/>
    <dgm:cxn modelId="{C4313062-1800-47B2-B21F-CC483E70C507}" srcId="{456DDAAB-93F6-4F2F-975D-62BFD1C3E2CF}" destId="{B5F1C78B-5F67-4BCA-8981-349C9353694D}" srcOrd="0" destOrd="0" parTransId="{D357440A-20E1-4A92-A2C8-D564ADA1090B}" sibTransId="{24DAEFF0-7D7B-4C2A-A951-2BACFB887569}"/>
    <dgm:cxn modelId="{DCC60802-1E32-49A7-A97E-82BAE7193AB3}" type="presOf" srcId="{9426CC6D-904F-4241-8B39-D9D24E3B1B1D}" destId="{8F4704EE-ABEA-4398-8DF7-35F1AB2DF87B}" srcOrd="1" destOrd="0" presId="urn:microsoft.com/office/officeart/2005/8/layout/process3"/>
    <dgm:cxn modelId="{95E20E98-1342-426B-AE05-EE542E3DE627}" type="presOf" srcId="{150D3C6E-2834-40C7-A71D-DA9026E8E09B}" destId="{A5EA6331-B48E-42F1-B7F5-8169BC8DC251}" srcOrd="0" destOrd="0" presId="urn:microsoft.com/office/officeart/2005/8/layout/process3"/>
    <dgm:cxn modelId="{428E3A54-C487-46AF-BECC-72275E640419}" srcId="{F3B98A82-CA81-4598-9EEF-79994886B648}" destId="{150D3C6E-2834-40C7-A71D-DA9026E8E09B}" srcOrd="0" destOrd="0" parTransId="{6733CF73-9B03-48FF-BC64-0B156CE7B078}" sibTransId="{5EB0DB85-6451-4E7A-933D-6AA2560B9902}"/>
    <dgm:cxn modelId="{FB32B1EF-8EFF-4BCE-B377-7DE1F5C1942B}" type="presOf" srcId="{9426CC6D-904F-4241-8B39-D9D24E3B1B1D}" destId="{73689192-24FA-48B8-8E5D-0BEEBF159364}" srcOrd="0" destOrd="0" presId="urn:microsoft.com/office/officeart/2005/8/layout/process3"/>
    <dgm:cxn modelId="{19185AAE-8F79-4552-A88F-122F2A0E506F}" srcId="{594FDE6A-B259-4EAD-BD73-3E7AC87D7770}" destId="{F3B98A82-CA81-4598-9EEF-79994886B648}" srcOrd="1" destOrd="0" parTransId="{28256261-D1F6-46E2-80AF-B7AE4A17B9AF}" sibTransId="{B6B1056E-E42D-4BF4-8E93-79AFD5145A27}"/>
    <dgm:cxn modelId="{26671A34-2378-4A5F-BF5E-3634CB4728D7}" type="presOf" srcId="{B6B1056E-E42D-4BF4-8E93-79AFD5145A27}" destId="{15436D82-49FD-4D64-BC4B-7F8FC873E9AA}" srcOrd="1" destOrd="0" presId="urn:microsoft.com/office/officeart/2005/8/layout/process3"/>
    <dgm:cxn modelId="{DA8E192C-FF47-4337-862D-BAD46409005B}" type="presOf" srcId="{AF46B83E-8479-49E1-A99E-97B54531EBF9}" destId="{A0BC582E-EEA5-45A9-BB82-08657DD48550}" srcOrd="0" destOrd="2" presId="urn:microsoft.com/office/officeart/2005/8/layout/process3"/>
    <dgm:cxn modelId="{1052B6E8-4C2A-4DDB-ADB9-AEFA5FCFFC1D}" type="presOf" srcId="{456DDAAB-93F6-4F2F-975D-62BFD1C3E2CF}" destId="{C01E4CEB-102F-4FD7-8B80-F8652A96AEA3}" srcOrd="0" destOrd="0" presId="urn:microsoft.com/office/officeart/2005/8/layout/process3"/>
    <dgm:cxn modelId="{49AD0691-5F32-4011-A864-63DB80136E49}" srcId="{594FDE6A-B259-4EAD-BD73-3E7AC87D7770}" destId="{456DDAAB-93F6-4F2F-975D-62BFD1C3E2CF}" srcOrd="2" destOrd="0" parTransId="{C8207F1E-02F5-46B3-B67A-DCD1EA9F67F2}" sibTransId="{082D0F6A-AA0E-418C-A401-EB5179A17A20}"/>
    <dgm:cxn modelId="{DC2E40B7-7874-4B20-81ED-1AFE02E7B6EC}" type="presOf" srcId="{B6B1056E-E42D-4BF4-8E93-79AFD5145A27}" destId="{8212438C-913D-43D8-852E-8005A48E92EB}" srcOrd="0" destOrd="0" presId="urn:microsoft.com/office/officeart/2005/8/layout/process3"/>
    <dgm:cxn modelId="{D6EC5BF9-7614-4E44-91EC-194D0670BAFE}" type="presOf" srcId="{5EA62418-6C26-4E47-A7ED-D49F139BF032}" destId="{CDE2F46C-3841-4E4E-8194-7E996E74082B}" srcOrd="0" destOrd="0" presId="urn:microsoft.com/office/officeart/2005/8/layout/process3"/>
    <dgm:cxn modelId="{61D57919-D621-4E5F-B836-BD246AE975C7}" type="presOf" srcId="{456DDAAB-93F6-4F2F-975D-62BFD1C3E2CF}" destId="{44C78BF6-14FF-42C3-AE39-D6D68D392D52}" srcOrd="1" destOrd="0" presId="urn:microsoft.com/office/officeart/2005/8/layout/process3"/>
    <dgm:cxn modelId="{D4441B32-0CA5-40AF-90EF-994CC94D0EA7}" type="presOf" srcId="{594FDE6A-B259-4EAD-BD73-3E7AC87D7770}" destId="{71C6DB00-7283-43A1-B3C3-BC782AE29362}" srcOrd="0" destOrd="0" presId="urn:microsoft.com/office/officeart/2005/8/layout/process3"/>
    <dgm:cxn modelId="{1658BC14-8BE0-4F5F-AF7F-6FC66DD9D6B8}" type="presOf" srcId="{3C11F34B-B08A-4219-A182-11BF35240A7F}" destId="{A0BC582E-EEA5-45A9-BB82-08657DD48550}" srcOrd="0" destOrd="1" presId="urn:microsoft.com/office/officeart/2005/8/layout/process3"/>
    <dgm:cxn modelId="{565AC3C5-4BFB-473F-93AF-C7ECB4DB006C}" srcId="{456DDAAB-93F6-4F2F-975D-62BFD1C3E2CF}" destId="{3C11F34B-B08A-4219-A182-11BF35240A7F}" srcOrd="1" destOrd="0" parTransId="{55F1940C-4DF6-47F1-8165-9619AB419974}" sibTransId="{A2A36FAC-CA20-452D-B848-71B2AC94973C}"/>
    <dgm:cxn modelId="{3B28D024-DDAC-40DA-9A2A-6C4B21419BF9}" srcId="{456DDAAB-93F6-4F2F-975D-62BFD1C3E2CF}" destId="{AF46B83E-8479-49E1-A99E-97B54531EBF9}" srcOrd="2" destOrd="0" parTransId="{9134E872-006B-430E-A9B2-96A9F255D65C}" sibTransId="{D2F9D6CE-EB83-493C-981F-2CF7FDF95C31}"/>
    <dgm:cxn modelId="{7EB6120E-7236-4871-A65B-EE9871560450}" type="presOf" srcId="{B5F1C78B-5F67-4BCA-8981-349C9353694D}" destId="{A0BC582E-EEA5-45A9-BB82-08657DD48550}" srcOrd="0" destOrd="0" presId="urn:microsoft.com/office/officeart/2005/8/layout/process3"/>
    <dgm:cxn modelId="{01759413-15D4-47DD-A40D-A72FAD6A9DE6}" type="presParOf" srcId="{71C6DB00-7283-43A1-B3C3-BC782AE29362}" destId="{B5E48A97-D01F-405C-8159-667FC7F8E95B}" srcOrd="0" destOrd="0" presId="urn:microsoft.com/office/officeart/2005/8/layout/process3"/>
    <dgm:cxn modelId="{AB77C801-111B-41C3-A881-C449B31AA225}" type="presParOf" srcId="{B5E48A97-D01F-405C-8159-667FC7F8E95B}" destId="{CDE2F46C-3841-4E4E-8194-7E996E74082B}" srcOrd="0" destOrd="0" presId="urn:microsoft.com/office/officeart/2005/8/layout/process3"/>
    <dgm:cxn modelId="{1E7AD431-6F0A-4AB2-A908-154E338C3CCD}" type="presParOf" srcId="{B5E48A97-D01F-405C-8159-667FC7F8E95B}" destId="{4C0577E3-A362-4CF6-966E-3B6556669648}" srcOrd="1" destOrd="0" presId="urn:microsoft.com/office/officeart/2005/8/layout/process3"/>
    <dgm:cxn modelId="{6C1807BB-491E-42A9-8408-3888658EDD80}" type="presParOf" srcId="{B5E48A97-D01F-405C-8159-667FC7F8E95B}" destId="{E741D3AB-824F-457B-AA15-BB20B706BEE7}" srcOrd="2" destOrd="0" presId="urn:microsoft.com/office/officeart/2005/8/layout/process3"/>
    <dgm:cxn modelId="{D7363A0F-E6D4-470D-973A-5CEBA9AC4FB6}" type="presParOf" srcId="{71C6DB00-7283-43A1-B3C3-BC782AE29362}" destId="{73689192-24FA-48B8-8E5D-0BEEBF159364}" srcOrd="1" destOrd="0" presId="urn:microsoft.com/office/officeart/2005/8/layout/process3"/>
    <dgm:cxn modelId="{68E01807-9667-4811-A2B8-62B5E502B48F}" type="presParOf" srcId="{73689192-24FA-48B8-8E5D-0BEEBF159364}" destId="{8F4704EE-ABEA-4398-8DF7-35F1AB2DF87B}" srcOrd="0" destOrd="0" presId="urn:microsoft.com/office/officeart/2005/8/layout/process3"/>
    <dgm:cxn modelId="{78141F02-5934-420C-A36A-0328FD77BCD6}" type="presParOf" srcId="{71C6DB00-7283-43A1-B3C3-BC782AE29362}" destId="{150A0FB6-9040-4441-A205-57EA440077F4}" srcOrd="2" destOrd="0" presId="urn:microsoft.com/office/officeart/2005/8/layout/process3"/>
    <dgm:cxn modelId="{7523C66F-6B3F-4940-9B4D-F1E7A7698589}" type="presParOf" srcId="{150A0FB6-9040-4441-A205-57EA440077F4}" destId="{79DA89FC-5BA0-4480-B79A-581F8FEE1964}" srcOrd="0" destOrd="0" presId="urn:microsoft.com/office/officeart/2005/8/layout/process3"/>
    <dgm:cxn modelId="{EF8AD2BA-32D8-4F52-9719-ED9894FC0C0A}" type="presParOf" srcId="{150A0FB6-9040-4441-A205-57EA440077F4}" destId="{EFA9FAC0-258E-4C1C-8145-054ED0DDDA13}" srcOrd="1" destOrd="0" presId="urn:microsoft.com/office/officeart/2005/8/layout/process3"/>
    <dgm:cxn modelId="{F17FE314-18EB-4ECE-A4DC-9900F0C7F336}" type="presParOf" srcId="{150A0FB6-9040-4441-A205-57EA440077F4}" destId="{A5EA6331-B48E-42F1-B7F5-8169BC8DC251}" srcOrd="2" destOrd="0" presId="urn:microsoft.com/office/officeart/2005/8/layout/process3"/>
    <dgm:cxn modelId="{FAD48067-7CF0-404C-B529-691CEA8EC856}" type="presParOf" srcId="{71C6DB00-7283-43A1-B3C3-BC782AE29362}" destId="{8212438C-913D-43D8-852E-8005A48E92EB}" srcOrd="3" destOrd="0" presId="urn:microsoft.com/office/officeart/2005/8/layout/process3"/>
    <dgm:cxn modelId="{26ED5FFC-8F11-45E8-B378-C68E5F258FCF}" type="presParOf" srcId="{8212438C-913D-43D8-852E-8005A48E92EB}" destId="{15436D82-49FD-4D64-BC4B-7F8FC873E9AA}" srcOrd="0" destOrd="0" presId="urn:microsoft.com/office/officeart/2005/8/layout/process3"/>
    <dgm:cxn modelId="{CA812DCF-FF0D-4040-96D2-0860010AB8CD}" type="presParOf" srcId="{71C6DB00-7283-43A1-B3C3-BC782AE29362}" destId="{941A92C8-E9E8-4BE5-8C5A-4D987C41FD2F}" srcOrd="4" destOrd="0" presId="urn:microsoft.com/office/officeart/2005/8/layout/process3"/>
    <dgm:cxn modelId="{6B1624D3-FFA7-48B4-A459-D105DAA3062C}" type="presParOf" srcId="{941A92C8-E9E8-4BE5-8C5A-4D987C41FD2F}" destId="{C01E4CEB-102F-4FD7-8B80-F8652A96AEA3}" srcOrd="0" destOrd="0" presId="urn:microsoft.com/office/officeart/2005/8/layout/process3"/>
    <dgm:cxn modelId="{217C23EA-6628-4929-BD6C-0623C8ADD3FF}" type="presParOf" srcId="{941A92C8-E9E8-4BE5-8C5A-4D987C41FD2F}" destId="{44C78BF6-14FF-42C3-AE39-D6D68D392D52}" srcOrd="1" destOrd="0" presId="urn:microsoft.com/office/officeart/2005/8/layout/process3"/>
    <dgm:cxn modelId="{2E27AC7B-C43A-4713-AFC0-C804C3A17DE0}" type="presParOf" srcId="{941A92C8-E9E8-4BE5-8C5A-4D987C41FD2F}" destId="{A0BC582E-EEA5-45A9-BB82-08657DD48550}" srcOrd="2" destOrd="0" presId="urn:microsoft.com/office/officeart/2005/8/layout/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2BF66D9-EDF1-49B5-AFF5-1AD8B4B99D95}" type="doc">
      <dgm:prSet loTypeId="urn:microsoft.com/office/officeart/2005/8/layout/radial5" loCatId="relationship" qsTypeId="urn:microsoft.com/office/officeart/2005/8/quickstyle/simple4" qsCatId="simple" csTypeId="urn:microsoft.com/office/officeart/2005/8/colors/colorful2" csCatId="colorful" phldr="1"/>
      <dgm:spPr/>
      <dgm:t>
        <a:bodyPr/>
        <a:lstStyle/>
        <a:p>
          <a:endParaRPr lang="es-AR"/>
        </a:p>
      </dgm:t>
    </dgm:pt>
    <dgm:pt modelId="{6485B3D1-E246-47A3-B460-EC8452993FDA}">
      <dgm:prSet phldrT="[Texto]" custT="1"/>
      <dgm:spPr/>
      <dgm:t>
        <a:bodyPr/>
        <a:lstStyle/>
        <a:p>
          <a:r>
            <a:rPr lang="es-ES_tradnl" sz="3200" dirty="0"/>
            <a:t>SFAI</a:t>
          </a:r>
          <a:endParaRPr lang="es-AR" sz="3200" dirty="0"/>
        </a:p>
      </dgm:t>
    </dgm:pt>
    <dgm:pt modelId="{50ACA242-B70C-4A19-BA8A-AEA8D09927F7}" type="parTrans" cxnId="{CBCEB99F-1E93-44DB-99D4-64278B3F332D}">
      <dgm:prSet/>
      <dgm:spPr/>
      <dgm:t>
        <a:bodyPr/>
        <a:lstStyle/>
        <a:p>
          <a:endParaRPr lang="es-AR" sz="4400"/>
        </a:p>
      </dgm:t>
    </dgm:pt>
    <dgm:pt modelId="{10293C9D-1E90-44D3-B159-B5D79DF41C76}" type="sibTrans" cxnId="{CBCEB99F-1E93-44DB-99D4-64278B3F332D}">
      <dgm:prSet/>
      <dgm:spPr/>
      <dgm:t>
        <a:bodyPr/>
        <a:lstStyle/>
        <a:p>
          <a:endParaRPr lang="es-AR" sz="4400"/>
        </a:p>
      </dgm:t>
    </dgm:pt>
    <dgm:pt modelId="{7662C342-D52E-4E01-B585-3F94500604A1}">
      <dgm:prSet phldrT="[Texto]" custT="1"/>
      <dgm:spPr/>
      <dgm:t>
        <a:bodyPr/>
        <a:lstStyle/>
        <a:p>
          <a:r>
            <a:rPr lang="es-ES_tradnl" sz="1800" dirty="0"/>
            <a:t>Dengue</a:t>
          </a:r>
          <a:endParaRPr lang="es-AR" sz="1800" dirty="0"/>
        </a:p>
      </dgm:t>
    </dgm:pt>
    <dgm:pt modelId="{3FE257C8-1135-433A-AE33-73589DFF26A7}" type="parTrans" cxnId="{4FC487E3-4102-46BD-A80D-D1E4A6403236}">
      <dgm:prSet custT="1"/>
      <dgm:spPr/>
      <dgm:t>
        <a:bodyPr/>
        <a:lstStyle/>
        <a:p>
          <a:endParaRPr lang="es-AR" sz="1800"/>
        </a:p>
      </dgm:t>
    </dgm:pt>
    <dgm:pt modelId="{8307286E-4C9C-4528-98F6-13D8556C6271}" type="sibTrans" cxnId="{4FC487E3-4102-46BD-A80D-D1E4A6403236}">
      <dgm:prSet/>
      <dgm:spPr/>
      <dgm:t>
        <a:bodyPr/>
        <a:lstStyle/>
        <a:p>
          <a:endParaRPr lang="es-AR" sz="4400"/>
        </a:p>
      </dgm:t>
    </dgm:pt>
    <dgm:pt modelId="{733DFDF3-E0A9-49D9-BB31-C74214216CF1}">
      <dgm:prSet phldrT="[Texto]" custT="1"/>
      <dgm:spPr/>
      <dgm:t>
        <a:bodyPr/>
        <a:lstStyle/>
        <a:p>
          <a:r>
            <a:rPr lang="es-ES_tradnl" sz="1800" dirty="0" err="1"/>
            <a:t>Zika</a:t>
          </a:r>
          <a:r>
            <a:rPr lang="es-ES_tradnl" sz="1800" dirty="0"/>
            <a:t> </a:t>
          </a:r>
          <a:endParaRPr lang="es-AR" sz="1800" dirty="0"/>
        </a:p>
      </dgm:t>
    </dgm:pt>
    <dgm:pt modelId="{7065F30D-2AC0-438E-8D28-3E8A379447D5}" type="parTrans" cxnId="{C5D0A879-C399-494C-9D93-F28A214F626F}">
      <dgm:prSet custT="1"/>
      <dgm:spPr/>
      <dgm:t>
        <a:bodyPr/>
        <a:lstStyle/>
        <a:p>
          <a:endParaRPr lang="es-AR" sz="1800"/>
        </a:p>
      </dgm:t>
    </dgm:pt>
    <dgm:pt modelId="{527984B9-4955-4863-81EE-69AF017E7DD0}" type="sibTrans" cxnId="{C5D0A879-C399-494C-9D93-F28A214F626F}">
      <dgm:prSet/>
      <dgm:spPr/>
      <dgm:t>
        <a:bodyPr/>
        <a:lstStyle/>
        <a:p>
          <a:endParaRPr lang="es-AR" sz="4400"/>
        </a:p>
      </dgm:t>
    </dgm:pt>
    <dgm:pt modelId="{FF92967C-1E7A-4753-B388-F4C4FF0B95E8}">
      <dgm:prSet phldrT="[Texto]" custT="1"/>
      <dgm:spPr/>
      <dgm:t>
        <a:bodyPr/>
        <a:lstStyle/>
        <a:p>
          <a:r>
            <a:rPr lang="es-ES_tradnl" sz="1200" dirty="0" err="1"/>
            <a:t>Chikungunya</a:t>
          </a:r>
          <a:endParaRPr lang="es-AR" sz="1200" dirty="0"/>
        </a:p>
      </dgm:t>
    </dgm:pt>
    <dgm:pt modelId="{D6FA2380-DA74-409C-B25E-1DDC72DFC2CD}" type="parTrans" cxnId="{D06CAB43-7821-48E4-855D-CF7674CA7968}">
      <dgm:prSet custT="1"/>
      <dgm:spPr/>
      <dgm:t>
        <a:bodyPr/>
        <a:lstStyle/>
        <a:p>
          <a:endParaRPr lang="es-AR" sz="1800"/>
        </a:p>
      </dgm:t>
    </dgm:pt>
    <dgm:pt modelId="{F79223CB-7F15-4C6F-8E47-3EF1419DA617}" type="sibTrans" cxnId="{D06CAB43-7821-48E4-855D-CF7674CA7968}">
      <dgm:prSet/>
      <dgm:spPr/>
      <dgm:t>
        <a:bodyPr/>
        <a:lstStyle/>
        <a:p>
          <a:endParaRPr lang="es-AR" sz="4400"/>
        </a:p>
      </dgm:t>
    </dgm:pt>
    <dgm:pt modelId="{8AD98490-9493-460C-B964-2AF4855B8020}">
      <dgm:prSet phldrT="[Texto]" custT="1"/>
      <dgm:spPr/>
      <dgm:t>
        <a:bodyPr/>
        <a:lstStyle/>
        <a:p>
          <a:r>
            <a:rPr lang="es-ES_tradnl" sz="1600" dirty="0"/>
            <a:t>Fiebre Amarilla</a:t>
          </a:r>
          <a:endParaRPr lang="es-AR" sz="1600" dirty="0"/>
        </a:p>
      </dgm:t>
    </dgm:pt>
    <dgm:pt modelId="{23FC7E04-9A2A-4171-81A9-1E0DEE6246C8}" type="parTrans" cxnId="{335331E3-BAF8-46A4-B446-C8B0302E460D}">
      <dgm:prSet custT="1"/>
      <dgm:spPr/>
      <dgm:t>
        <a:bodyPr/>
        <a:lstStyle/>
        <a:p>
          <a:endParaRPr lang="es-AR" sz="1800"/>
        </a:p>
      </dgm:t>
    </dgm:pt>
    <dgm:pt modelId="{07A69DA2-8BF8-46C8-B66D-5152ECF526C2}" type="sibTrans" cxnId="{335331E3-BAF8-46A4-B446-C8B0302E460D}">
      <dgm:prSet/>
      <dgm:spPr/>
      <dgm:t>
        <a:bodyPr/>
        <a:lstStyle/>
        <a:p>
          <a:endParaRPr lang="es-AR" sz="4400"/>
        </a:p>
      </dgm:t>
    </dgm:pt>
    <dgm:pt modelId="{FE8559E4-152E-4E31-92DD-C96D3EBCDF6E}">
      <dgm:prSet phldrT="[Texto]" custT="1"/>
      <dgm:spPr/>
      <dgm:t>
        <a:bodyPr/>
        <a:lstStyle/>
        <a:p>
          <a:r>
            <a:rPr lang="es-ES_tradnl" sz="1600" dirty="0"/>
            <a:t>Encefalitis de San Luis</a:t>
          </a:r>
          <a:endParaRPr lang="es-AR" sz="1600" dirty="0"/>
        </a:p>
      </dgm:t>
    </dgm:pt>
    <dgm:pt modelId="{BE7329C5-B588-449E-9D09-88F50CCD1D21}" type="parTrans" cxnId="{CD69215E-B4E1-41B7-923E-C693DC6FC2B9}">
      <dgm:prSet custT="1"/>
      <dgm:spPr/>
      <dgm:t>
        <a:bodyPr/>
        <a:lstStyle/>
        <a:p>
          <a:endParaRPr lang="es-AR" sz="1800"/>
        </a:p>
      </dgm:t>
    </dgm:pt>
    <dgm:pt modelId="{7C3384D4-D385-4508-B917-053A9DD2A542}" type="sibTrans" cxnId="{CD69215E-B4E1-41B7-923E-C693DC6FC2B9}">
      <dgm:prSet/>
      <dgm:spPr/>
      <dgm:t>
        <a:bodyPr/>
        <a:lstStyle/>
        <a:p>
          <a:endParaRPr lang="es-AR" sz="4400"/>
        </a:p>
      </dgm:t>
    </dgm:pt>
    <dgm:pt modelId="{9B40BF3A-957F-4EF8-8504-7F5CE40A8A65}">
      <dgm:prSet phldrT="[Texto]" custT="1"/>
      <dgm:spPr/>
      <dgm:t>
        <a:bodyPr/>
        <a:lstStyle/>
        <a:p>
          <a:r>
            <a:rPr lang="es-ES_tradnl" sz="1600" dirty="0"/>
            <a:t>Fiebre del Nilo Occidental</a:t>
          </a:r>
          <a:endParaRPr lang="es-AR" sz="1600" dirty="0"/>
        </a:p>
      </dgm:t>
    </dgm:pt>
    <dgm:pt modelId="{FAA12B58-6F42-42A2-9B19-61E05DD8B077}" type="parTrans" cxnId="{9A247BFF-9A69-4796-B18C-4560AFCBD9DC}">
      <dgm:prSet/>
      <dgm:spPr/>
      <dgm:t>
        <a:bodyPr/>
        <a:lstStyle/>
        <a:p>
          <a:endParaRPr lang="es-AR"/>
        </a:p>
      </dgm:t>
    </dgm:pt>
    <dgm:pt modelId="{22E04529-C2EB-49AB-AF4A-549C52F7E1FE}" type="sibTrans" cxnId="{9A247BFF-9A69-4796-B18C-4560AFCBD9DC}">
      <dgm:prSet/>
      <dgm:spPr/>
      <dgm:t>
        <a:bodyPr/>
        <a:lstStyle/>
        <a:p>
          <a:endParaRPr lang="es-AR"/>
        </a:p>
      </dgm:t>
    </dgm:pt>
    <dgm:pt modelId="{1F440868-066F-426D-8323-38AA8095B9F6}" type="pres">
      <dgm:prSet presAssocID="{F2BF66D9-EDF1-49B5-AFF5-1AD8B4B99D95}" presName="Name0" presStyleCnt="0">
        <dgm:presLayoutVars>
          <dgm:chMax val="1"/>
          <dgm:dir/>
          <dgm:animLvl val="ctr"/>
          <dgm:resizeHandles val="exact"/>
        </dgm:presLayoutVars>
      </dgm:prSet>
      <dgm:spPr/>
      <dgm:t>
        <a:bodyPr/>
        <a:lstStyle/>
        <a:p>
          <a:endParaRPr lang="es-ES"/>
        </a:p>
      </dgm:t>
    </dgm:pt>
    <dgm:pt modelId="{CCA9C264-8755-4B14-92A6-F8F959186F2A}" type="pres">
      <dgm:prSet presAssocID="{6485B3D1-E246-47A3-B460-EC8452993FDA}" presName="centerShape" presStyleLbl="node0" presStyleIdx="0" presStyleCnt="1" custScaleX="144030"/>
      <dgm:spPr/>
      <dgm:t>
        <a:bodyPr/>
        <a:lstStyle/>
        <a:p>
          <a:endParaRPr lang="es-ES"/>
        </a:p>
      </dgm:t>
    </dgm:pt>
    <dgm:pt modelId="{33857C97-BDA2-4E80-B6C8-FFD8FE2811DB}" type="pres">
      <dgm:prSet presAssocID="{3FE257C8-1135-433A-AE33-73589DFF26A7}" presName="parTrans" presStyleLbl="sibTrans2D1" presStyleIdx="0" presStyleCnt="6"/>
      <dgm:spPr/>
      <dgm:t>
        <a:bodyPr/>
        <a:lstStyle/>
        <a:p>
          <a:endParaRPr lang="es-ES"/>
        </a:p>
      </dgm:t>
    </dgm:pt>
    <dgm:pt modelId="{7318DDF6-51C2-408F-9779-E2B97CE57574}" type="pres">
      <dgm:prSet presAssocID="{3FE257C8-1135-433A-AE33-73589DFF26A7}" presName="connectorText" presStyleLbl="sibTrans2D1" presStyleIdx="0" presStyleCnt="6"/>
      <dgm:spPr/>
      <dgm:t>
        <a:bodyPr/>
        <a:lstStyle/>
        <a:p>
          <a:endParaRPr lang="es-ES"/>
        </a:p>
      </dgm:t>
    </dgm:pt>
    <dgm:pt modelId="{4C41E91A-4D3A-4F75-B21B-0BB193160E08}" type="pres">
      <dgm:prSet presAssocID="{7662C342-D52E-4E01-B585-3F94500604A1}" presName="node" presStyleLbl="node1" presStyleIdx="0" presStyleCnt="6" custScaleX="117921">
        <dgm:presLayoutVars>
          <dgm:bulletEnabled val="1"/>
        </dgm:presLayoutVars>
      </dgm:prSet>
      <dgm:spPr/>
      <dgm:t>
        <a:bodyPr/>
        <a:lstStyle/>
        <a:p>
          <a:endParaRPr lang="es-ES"/>
        </a:p>
      </dgm:t>
    </dgm:pt>
    <dgm:pt modelId="{3D27EDCC-E4C1-4B06-BC34-310289955094}" type="pres">
      <dgm:prSet presAssocID="{7065F30D-2AC0-438E-8D28-3E8A379447D5}" presName="parTrans" presStyleLbl="sibTrans2D1" presStyleIdx="1" presStyleCnt="6"/>
      <dgm:spPr/>
      <dgm:t>
        <a:bodyPr/>
        <a:lstStyle/>
        <a:p>
          <a:endParaRPr lang="es-ES"/>
        </a:p>
      </dgm:t>
    </dgm:pt>
    <dgm:pt modelId="{0580D0D4-1890-483B-99BF-78E9A3ABDD8D}" type="pres">
      <dgm:prSet presAssocID="{7065F30D-2AC0-438E-8D28-3E8A379447D5}" presName="connectorText" presStyleLbl="sibTrans2D1" presStyleIdx="1" presStyleCnt="6"/>
      <dgm:spPr/>
      <dgm:t>
        <a:bodyPr/>
        <a:lstStyle/>
        <a:p>
          <a:endParaRPr lang="es-ES"/>
        </a:p>
      </dgm:t>
    </dgm:pt>
    <dgm:pt modelId="{10BA4066-FDC2-47A9-981B-C51C46E09ED4}" type="pres">
      <dgm:prSet presAssocID="{733DFDF3-E0A9-49D9-BB31-C74214216CF1}" presName="node" presStyleLbl="node1" presStyleIdx="1" presStyleCnt="6" custScaleX="124097">
        <dgm:presLayoutVars>
          <dgm:bulletEnabled val="1"/>
        </dgm:presLayoutVars>
      </dgm:prSet>
      <dgm:spPr/>
      <dgm:t>
        <a:bodyPr/>
        <a:lstStyle/>
        <a:p>
          <a:endParaRPr lang="es-ES"/>
        </a:p>
      </dgm:t>
    </dgm:pt>
    <dgm:pt modelId="{615D4DCF-3622-4B4C-B5F2-AE81FBD07F73}" type="pres">
      <dgm:prSet presAssocID="{D6FA2380-DA74-409C-B25E-1DDC72DFC2CD}" presName="parTrans" presStyleLbl="sibTrans2D1" presStyleIdx="2" presStyleCnt="6"/>
      <dgm:spPr/>
      <dgm:t>
        <a:bodyPr/>
        <a:lstStyle/>
        <a:p>
          <a:endParaRPr lang="es-ES"/>
        </a:p>
      </dgm:t>
    </dgm:pt>
    <dgm:pt modelId="{4EBF11A6-C7A3-4CC0-BD87-FE043BD269BE}" type="pres">
      <dgm:prSet presAssocID="{D6FA2380-DA74-409C-B25E-1DDC72DFC2CD}" presName="connectorText" presStyleLbl="sibTrans2D1" presStyleIdx="2" presStyleCnt="6"/>
      <dgm:spPr/>
      <dgm:t>
        <a:bodyPr/>
        <a:lstStyle/>
        <a:p>
          <a:endParaRPr lang="es-ES"/>
        </a:p>
      </dgm:t>
    </dgm:pt>
    <dgm:pt modelId="{A8C4C065-3B05-448D-9ABB-03FC1F4FE740}" type="pres">
      <dgm:prSet presAssocID="{FF92967C-1E7A-4753-B388-F4C4FF0B95E8}" presName="node" presStyleLbl="node1" presStyleIdx="2" presStyleCnt="6" custScaleX="124863">
        <dgm:presLayoutVars>
          <dgm:bulletEnabled val="1"/>
        </dgm:presLayoutVars>
      </dgm:prSet>
      <dgm:spPr/>
      <dgm:t>
        <a:bodyPr/>
        <a:lstStyle/>
        <a:p>
          <a:endParaRPr lang="es-ES"/>
        </a:p>
      </dgm:t>
    </dgm:pt>
    <dgm:pt modelId="{523C0A48-9FA0-4D21-8E10-A4EE52266546}" type="pres">
      <dgm:prSet presAssocID="{23FC7E04-9A2A-4171-81A9-1E0DEE6246C8}" presName="parTrans" presStyleLbl="sibTrans2D1" presStyleIdx="3" presStyleCnt="6"/>
      <dgm:spPr/>
      <dgm:t>
        <a:bodyPr/>
        <a:lstStyle/>
        <a:p>
          <a:endParaRPr lang="es-ES"/>
        </a:p>
      </dgm:t>
    </dgm:pt>
    <dgm:pt modelId="{93FBF7A4-A207-4187-AD93-98EA70E28ADB}" type="pres">
      <dgm:prSet presAssocID="{23FC7E04-9A2A-4171-81A9-1E0DEE6246C8}" presName="connectorText" presStyleLbl="sibTrans2D1" presStyleIdx="3" presStyleCnt="6"/>
      <dgm:spPr/>
      <dgm:t>
        <a:bodyPr/>
        <a:lstStyle/>
        <a:p>
          <a:endParaRPr lang="es-ES"/>
        </a:p>
      </dgm:t>
    </dgm:pt>
    <dgm:pt modelId="{310018F4-EFAC-41F4-87A6-3E8496A2A118}" type="pres">
      <dgm:prSet presAssocID="{8AD98490-9493-460C-B964-2AF4855B8020}" presName="node" presStyleLbl="node1" presStyleIdx="3" presStyleCnt="6" custScaleX="129840">
        <dgm:presLayoutVars>
          <dgm:bulletEnabled val="1"/>
        </dgm:presLayoutVars>
      </dgm:prSet>
      <dgm:spPr/>
      <dgm:t>
        <a:bodyPr/>
        <a:lstStyle/>
        <a:p>
          <a:endParaRPr lang="es-ES"/>
        </a:p>
      </dgm:t>
    </dgm:pt>
    <dgm:pt modelId="{3815A5AC-E38F-47B8-90F3-137B33681914}" type="pres">
      <dgm:prSet presAssocID="{BE7329C5-B588-449E-9D09-88F50CCD1D21}" presName="parTrans" presStyleLbl="sibTrans2D1" presStyleIdx="4" presStyleCnt="6"/>
      <dgm:spPr/>
      <dgm:t>
        <a:bodyPr/>
        <a:lstStyle/>
        <a:p>
          <a:endParaRPr lang="es-ES"/>
        </a:p>
      </dgm:t>
    </dgm:pt>
    <dgm:pt modelId="{F28B6BB8-9DC6-413D-B3B5-C5547AC5AFD5}" type="pres">
      <dgm:prSet presAssocID="{BE7329C5-B588-449E-9D09-88F50CCD1D21}" presName="connectorText" presStyleLbl="sibTrans2D1" presStyleIdx="4" presStyleCnt="6"/>
      <dgm:spPr/>
      <dgm:t>
        <a:bodyPr/>
        <a:lstStyle/>
        <a:p>
          <a:endParaRPr lang="es-ES"/>
        </a:p>
      </dgm:t>
    </dgm:pt>
    <dgm:pt modelId="{3C4C94DA-9416-4B8F-BE4A-D5D1E56C2E18}" type="pres">
      <dgm:prSet presAssocID="{FE8559E4-152E-4E31-92DD-C96D3EBCDF6E}" presName="node" presStyleLbl="node1" presStyleIdx="4" presStyleCnt="6" custScaleX="144246">
        <dgm:presLayoutVars>
          <dgm:bulletEnabled val="1"/>
        </dgm:presLayoutVars>
      </dgm:prSet>
      <dgm:spPr/>
      <dgm:t>
        <a:bodyPr/>
        <a:lstStyle/>
        <a:p>
          <a:endParaRPr lang="es-ES"/>
        </a:p>
      </dgm:t>
    </dgm:pt>
    <dgm:pt modelId="{868D8BA9-4316-4BB2-99D3-4FEFDE4452D3}" type="pres">
      <dgm:prSet presAssocID="{FAA12B58-6F42-42A2-9B19-61E05DD8B077}" presName="parTrans" presStyleLbl="sibTrans2D1" presStyleIdx="5" presStyleCnt="6"/>
      <dgm:spPr/>
      <dgm:t>
        <a:bodyPr/>
        <a:lstStyle/>
        <a:p>
          <a:endParaRPr lang="es-ES"/>
        </a:p>
      </dgm:t>
    </dgm:pt>
    <dgm:pt modelId="{22BF9908-3D8A-4855-950F-89A43AF99CA1}" type="pres">
      <dgm:prSet presAssocID="{FAA12B58-6F42-42A2-9B19-61E05DD8B077}" presName="connectorText" presStyleLbl="sibTrans2D1" presStyleIdx="5" presStyleCnt="6"/>
      <dgm:spPr/>
      <dgm:t>
        <a:bodyPr/>
        <a:lstStyle/>
        <a:p>
          <a:endParaRPr lang="es-ES"/>
        </a:p>
      </dgm:t>
    </dgm:pt>
    <dgm:pt modelId="{17329FAC-1791-4989-AC65-44B9A8F02E1C}" type="pres">
      <dgm:prSet presAssocID="{9B40BF3A-957F-4EF8-8504-7F5CE40A8A65}" presName="node" presStyleLbl="node1" presStyleIdx="5" presStyleCnt="6" custScaleX="143292">
        <dgm:presLayoutVars>
          <dgm:bulletEnabled val="1"/>
        </dgm:presLayoutVars>
      </dgm:prSet>
      <dgm:spPr/>
      <dgm:t>
        <a:bodyPr/>
        <a:lstStyle/>
        <a:p>
          <a:endParaRPr lang="es-ES"/>
        </a:p>
      </dgm:t>
    </dgm:pt>
  </dgm:ptLst>
  <dgm:cxnLst>
    <dgm:cxn modelId="{CB38A306-CE17-4199-B00E-0771548D34AF}" type="presOf" srcId="{3FE257C8-1135-433A-AE33-73589DFF26A7}" destId="{7318DDF6-51C2-408F-9779-E2B97CE57574}" srcOrd="1" destOrd="0" presId="urn:microsoft.com/office/officeart/2005/8/layout/radial5"/>
    <dgm:cxn modelId="{D6CF4BD9-18D2-4FF1-A9B9-68AB9032E461}" type="presOf" srcId="{7662C342-D52E-4E01-B585-3F94500604A1}" destId="{4C41E91A-4D3A-4F75-B21B-0BB193160E08}" srcOrd="0" destOrd="0" presId="urn:microsoft.com/office/officeart/2005/8/layout/radial5"/>
    <dgm:cxn modelId="{CF6B2D9A-7391-4838-A171-33EE9B51D8F4}" type="presOf" srcId="{FE8559E4-152E-4E31-92DD-C96D3EBCDF6E}" destId="{3C4C94DA-9416-4B8F-BE4A-D5D1E56C2E18}" srcOrd="0" destOrd="0" presId="urn:microsoft.com/office/officeart/2005/8/layout/radial5"/>
    <dgm:cxn modelId="{335331E3-BAF8-46A4-B446-C8B0302E460D}" srcId="{6485B3D1-E246-47A3-B460-EC8452993FDA}" destId="{8AD98490-9493-460C-B964-2AF4855B8020}" srcOrd="3" destOrd="0" parTransId="{23FC7E04-9A2A-4171-81A9-1E0DEE6246C8}" sibTransId="{07A69DA2-8BF8-46C8-B66D-5152ECF526C2}"/>
    <dgm:cxn modelId="{048C2CE9-6DA2-4E0C-BD80-4B5C7EAFB78D}" type="presOf" srcId="{7065F30D-2AC0-438E-8D28-3E8A379447D5}" destId="{3D27EDCC-E4C1-4B06-BC34-310289955094}" srcOrd="0" destOrd="0" presId="urn:microsoft.com/office/officeart/2005/8/layout/radial5"/>
    <dgm:cxn modelId="{685FE875-BF97-4EFA-A091-DA42CDD161D4}" type="presOf" srcId="{BE7329C5-B588-449E-9D09-88F50CCD1D21}" destId="{3815A5AC-E38F-47B8-90F3-137B33681914}" srcOrd="0" destOrd="0" presId="urn:microsoft.com/office/officeart/2005/8/layout/radial5"/>
    <dgm:cxn modelId="{5E10CB35-D7C5-4D9B-B054-12929A6E5EEF}" type="presOf" srcId="{9B40BF3A-957F-4EF8-8504-7F5CE40A8A65}" destId="{17329FAC-1791-4989-AC65-44B9A8F02E1C}" srcOrd="0" destOrd="0" presId="urn:microsoft.com/office/officeart/2005/8/layout/radial5"/>
    <dgm:cxn modelId="{C5D0A879-C399-494C-9D93-F28A214F626F}" srcId="{6485B3D1-E246-47A3-B460-EC8452993FDA}" destId="{733DFDF3-E0A9-49D9-BB31-C74214216CF1}" srcOrd="1" destOrd="0" parTransId="{7065F30D-2AC0-438E-8D28-3E8A379447D5}" sibTransId="{527984B9-4955-4863-81EE-69AF017E7DD0}"/>
    <dgm:cxn modelId="{CD69215E-B4E1-41B7-923E-C693DC6FC2B9}" srcId="{6485B3D1-E246-47A3-B460-EC8452993FDA}" destId="{FE8559E4-152E-4E31-92DD-C96D3EBCDF6E}" srcOrd="4" destOrd="0" parTransId="{BE7329C5-B588-449E-9D09-88F50CCD1D21}" sibTransId="{7C3384D4-D385-4508-B917-053A9DD2A542}"/>
    <dgm:cxn modelId="{8E29370D-1BD4-4F41-A8E5-8357F7AFBB5C}" type="presOf" srcId="{23FC7E04-9A2A-4171-81A9-1E0DEE6246C8}" destId="{93FBF7A4-A207-4187-AD93-98EA70E28ADB}" srcOrd="1" destOrd="0" presId="urn:microsoft.com/office/officeart/2005/8/layout/radial5"/>
    <dgm:cxn modelId="{9A247BFF-9A69-4796-B18C-4560AFCBD9DC}" srcId="{6485B3D1-E246-47A3-B460-EC8452993FDA}" destId="{9B40BF3A-957F-4EF8-8504-7F5CE40A8A65}" srcOrd="5" destOrd="0" parTransId="{FAA12B58-6F42-42A2-9B19-61E05DD8B077}" sibTransId="{22E04529-C2EB-49AB-AF4A-549C52F7E1FE}"/>
    <dgm:cxn modelId="{96672D16-B1F8-4B1E-9619-CBB3B7DB3307}" type="presOf" srcId="{6485B3D1-E246-47A3-B460-EC8452993FDA}" destId="{CCA9C264-8755-4B14-92A6-F8F959186F2A}" srcOrd="0" destOrd="0" presId="urn:microsoft.com/office/officeart/2005/8/layout/radial5"/>
    <dgm:cxn modelId="{24EE73ED-D129-4D15-83B6-547DC7487B86}" type="presOf" srcId="{23FC7E04-9A2A-4171-81A9-1E0DEE6246C8}" destId="{523C0A48-9FA0-4D21-8E10-A4EE52266546}" srcOrd="0" destOrd="0" presId="urn:microsoft.com/office/officeart/2005/8/layout/radial5"/>
    <dgm:cxn modelId="{E7D9DC1B-9593-427E-9D2B-A49CE81FC0A0}" type="presOf" srcId="{FAA12B58-6F42-42A2-9B19-61E05DD8B077}" destId="{868D8BA9-4316-4BB2-99D3-4FEFDE4452D3}" srcOrd="0" destOrd="0" presId="urn:microsoft.com/office/officeart/2005/8/layout/radial5"/>
    <dgm:cxn modelId="{82523AC2-18AF-4D2C-9DFD-67EB6B168075}" type="presOf" srcId="{D6FA2380-DA74-409C-B25E-1DDC72DFC2CD}" destId="{4EBF11A6-C7A3-4CC0-BD87-FE043BD269BE}" srcOrd="1" destOrd="0" presId="urn:microsoft.com/office/officeart/2005/8/layout/radial5"/>
    <dgm:cxn modelId="{75F75502-631E-4B5C-8A73-C7A00195B0D9}" type="presOf" srcId="{3FE257C8-1135-433A-AE33-73589DFF26A7}" destId="{33857C97-BDA2-4E80-B6C8-FFD8FE2811DB}" srcOrd="0" destOrd="0" presId="urn:microsoft.com/office/officeart/2005/8/layout/radial5"/>
    <dgm:cxn modelId="{1FEA126F-9E9B-4091-B21A-7D636B03D400}" type="presOf" srcId="{733DFDF3-E0A9-49D9-BB31-C74214216CF1}" destId="{10BA4066-FDC2-47A9-981B-C51C46E09ED4}" srcOrd="0" destOrd="0" presId="urn:microsoft.com/office/officeart/2005/8/layout/radial5"/>
    <dgm:cxn modelId="{2FFDA45C-952F-42FF-9AD9-45A4C022AA3B}" type="presOf" srcId="{7065F30D-2AC0-438E-8D28-3E8A379447D5}" destId="{0580D0D4-1890-483B-99BF-78E9A3ABDD8D}" srcOrd="1" destOrd="0" presId="urn:microsoft.com/office/officeart/2005/8/layout/radial5"/>
    <dgm:cxn modelId="{9F5FBC8B-675C-4475-9627-23554F7128F6}" type="presOf" srcId="{8AD98490-9493-460C-B964-2AF4855B8020}" destId="{310018F4-EFAC-41F4-87A6-3E8496A2A118}" srcOrd="0" destOrd="0" presId="urn:microsoft.com/office/officeart/2005/8/layout/radial5"/>
    <dgm:cxn modelId="{4FC487E3-4102-46BD-A80D-D1E4A6403236}" srcId="{6485B3D1-E246-47A3-B460-EC8452993FDA}" destId="{7662C342-D52E-4E01-B585-3F94500604A1}" srcOrd="0" destOrd="0" parTransId="{3FE257C8-1135-433A-AE33-73589DFF26A7}" sibTransId="{8307286E-4C9C-4528-98F6-13D8556C6271}"/>
    <dgm:cxn modelId="{8EABAE0E-EC7F-435F-8C82-25825A080205}" type="presOf" srcId="{BE7329C5-B588-449E-9D09-88F50CCD1D21}" destId="{F28B6BB8-9DC6-413D-B3B5-C5547AC5AFD5}" srcOrd="1" destOrd="0" presId="urn:microsoft.com/office/officeart/2005/8/layout/radial5"/>
    <dgm:cxn modelId="{CBCEB99F-1E93-44DB-99D4-64278B3F332D}" srcId="{F2BF66D9-EDF1-49B5-AFF5-1AD8B4B99D95}" destId="{6485B3D1-E246-47A3-B460-EC8452993FDA}" srcOrd="0" destOrd="0" parTransId="{50ACA242-B70C-4A19-BA8A-AEA8D09927F7}" sibTransId="{10293C9D-1E90-44D3-B159-B5D79DF41C76}"/>
    <dgm:cxn modelId="{7B5E7F6C-92B1-44E9-B8A3-F46B5E9AD826}" type="presOf" srcId="{FAA12B58-6F42-42A2-9B19-61E05DD8B077}" destId="{22BF9908-3D8A-4855-950F-89A43AF99CA1}" srcOrd="1" destOrd="0" presId="urn:microsoft.com/office/officeart/2005/8/layout/radial5"/>
    <dgm:cxn modelId="{7082CCA7-505C-455A-86CA-BFF1ACEDDE2D}" type="presOf" srcId="{D6FA2380-DA74-409C-B25E-1DDC72DFC2CD}" destId="{615D4DCF-3622-4B4C-B5F2-AE81FBD07F73}" srcOrd="0" destOrd="0" presId="urn:microsoft.com/office/officeart/2005/8/layout/radial5"/>
    <dgm:cxn modelId="{AC4C87AE-01EA-49D6-B20B-62E9CD324B5C}" type="presOf" srcId="{F2BF66D9-EDF1-49B5-AFF5-1AD8B4B99D95}" destId="{1F440868-066F-426D-8323-38AA8095B9F6}" srcOrd="0" destOrd="0" presId="urn:microsoft.com/office/officeart/2005/8/layout/radial5"/>
    <dgm:cxn modelId="{03700461-A5F5-4080-AB78-FA4A604E3DE8}" type="presOf" srcId="{FF92967C-1E7A-4753-B388-F4C4FF0B95E8}" destId="{A8C4C065-3B05-448D-9ABB-03FC1F4FE740}" srcOrd="0" destOrd="0" presId="urn:microsoft.com/office/officeart/2005/8/layout/radial5"/>
    <dgm:cxn modelId="{D06CAB43-7821-48E4-855D-CF7674CA7968}" srcId="{6485B3D1-E246-47A3-B460-EC8452993FDA}" destId="{FF92967C-1E7A-4753-B388-F4C4FF0B95E8}" srcOrd="2" destOrd="0" parTransId="{D6FA2380-DA74-409C-B25E-1DDC72DFC2CD}" sibTransId="{F79223CB-7F15-4C6F-8E47-3EF1419DA617}"/>
    <dgm:cxn modelId="{C096F4DF-2D72-4048-B79B-2548580BED3A}" type="presParOf" srcId="{1F440868-066F-426D-8323-38AA8095B9F6}" destId="{CCA9C264-8755-4B14-92A6-F8F959186F2A}" srcOrd="0" destOrd="0" presId="urn:microsoft.com/office/officeart/2005/8/layout/radial5"/>
    <dgm:cxn modelId="{1AABC009-EB62-410D-B078-A5CE2E2921B6}" type="presParOf" srcId="{1F440868-066F-426D-8323-38AA8095B9F6}" destId="{33857C97-BDA2-4E80-B6C8-FFD8FE2811DB}" srcOrd="1" destOrd="0" presId="urn:microsoft.com/office/officeart/2005/8/layout/radial5"/>
    <dgm:cxn modelId="{FBDB31D9-A05B-4245-9B00-32A32CCCB23D}" type="presParOf" srcId="{33857C97-BDA2-4E80-B6C8-FFD8FE2811DB}" destId="{7318DDF6-51C2-408F-9779-E2B97CE57574}" srcOrd="0" destOrd="0" presId="urn:microsoft.com/office/officeart/2005/8/layout/radial5"/>
    <dgm:cxn modelId="{6312BB0E-8B6F-4F93-BDCF-BF548800C84A}" type="presParOf" srcId="{1F440868-066F-426D-8323-38AA8095B9F6}" destId="{4C41E91A-4D3A-4F75-B21B-0BB193160E08}" srcOrd="2" destOrd="0" presId="urn:microsoft.com/office/officeart/2005/8/layout/radial5"/>
    <dgm:cxn modelId="{B3A1CE3C-B5A5-4BB5-ADE4-BD1F8CC511C0}" type="presParOf" srcId="{1F440868-066F-426D-8323-38AA8095B9F6}" destId="{3D27EDCC-E4C1-4B06-BC34-310289955094}" srcOrd="3" destOrd="0" presId="urn:microsoft.com/office/officeart/2005/8/layout/radial5"/>
    <dgm:cxn modelId="{B7A25C2B-6E4A-4900-BA94-D6638BE35727}" type="presParOf" srcId="{3D27EDCC-E4C1-4B06-BC34-310289955094}" destId="{0580D0D4-1890-483B-99BF-78E9A3ABDD8D}" srcOrd="0" destOrd="0" presId="urn:microsoft.com/office/officeart/2005/8/layout/radial5"/>
    <dgm:cxn modelId="{6624FE41-D0B6-451D-8D7D-BB9AC9D1C794}" type="presParOf" srcId="{1F440868-066F-426D-8323-38AA8095B9F6}" destId="{10BA4066-FDC2-47A9-981B-C51C46E09ED4}" srcOrd="4" destOrd="0" presId="urn:microsoft.com/office/officeart/2005/8/layout/radial5"/>
    <dgm:cxn modelId="{81830A2D-10B4-41BC-9EA6-41E7AE2476BE}" type="presParOf" srcId="{1F440868-066F-426D-8323-38AA8095B9F6}" destId="{615D4DCF-3622-4B4C-B5F2-AE81FBD07F73}" srcOrd="5" destOrd="0" presId="urn:microsoft.com/office/officeart/2005/8/layout/radial5"/>
    <dgm:cxn modelId="{398FE5F3-5820-49D7-9FE9-30B4C5EFCD74}" type="presParOf" srcId="{615D4DCF-3622-4B4C-B5F2-AE81FBD07F73}" destId="{4EBF11A6-C7A3-4CC0-BD87-FE043BD269BE}" srcOrd="0" destOrd="0" presId="urn:microsoft.com/office/officeart/2005/8/layout/radial5"/>
    <dgm:cxn modelId="{14C241B4-26C7-485B-8ACF-071CC2E8E008}" type="presParOf" srcId="{1F440868-066F-426D-8323-38AA8095B9F6}" destId="{A8C4C065-3B05-448D-9ABB-03FC1F4FE740}" srcOrd="6" destOrd="0" presId="urn:microsoft.com/office/officeart/2005/8/layout/radial5"/>
    <dgm:cxn modelId="{40E5B5E1-FEF6-45BC-ABA8-9155A3A24B8F}" type="presParOf" srcId="{1F440868-066F-426D-8323-38AA8095B9F6}" destId="{523C0A48-9FA0-4D21-8E10-A4EE52266546}" srcOrd="7" destOrd="0" presId="urn:microsoft.com/office/officeart/2005/8/layout/radial5"/>
    <dgm:cxn modelId="{5A28F1A3-31C7-4D71-BE0D-F40E2854F734}" type="presParOf" srcId="{523C0A48-9FA0-4D21-8E10-A4EE52266546}" destId="{93FBF7A4-A207-4187-AD93-98EA70E28ADB}" srcOrd="0" destOrd="0" presId="urn:microsoft.com/office/officeart/2005/8/layout/radial5"/>
    <dgm:cxn modelId="{85AC4FD5-821A-4422-A888-65DB42A932D3}" type="presParOf" srcId="{1F440868-066F-426D-8323-38AA8095B9F6}" destId="{310018F4-EFAC-41F4-87A6-3E8496A2A118}" srcOrd="8" destOrd="0" presId="urn:microsoft.com/office/officeart/2005/8/layout/radial5"/>
    <dgm:cxn modelId="{72D0A364-CA87-45AA-95FE-DE9E3D020D22}" type="presParOf" srcId="{1F440868-066F-426D-8323-38AA8095B9F6}" destId="{3815A5AC-E38F-47B8-90F3-137B33681914}" srcOrd="9" destOrd="0" presId="urn:microsoft.com/office/officeart/2005/8/layout/radial5"/>
    <dgm:cxn modelId="{EB390898-CCE3-465D-A567-DFCAEFC74383}" type="presParOf" srcId="{3815A5AC-E38F-47B8-90F3-137B33681914}" destId="{F28B6BB8-9DC6-413D-B3B5-C5547AC5AFD5}" srcOrd="0" destOrd="0" presId="urn:microsoft.com/office/officeart/2005/8/layout/radial5"/>
    <dgm:cxn modelId="{1D61569B-16F2-446E-80BF-6907E15BD653}" type="presParOf" srcId="{1F440868-066F-426D-8323-38AA8095B9F6}" destId="{3C4C94DA-9416-4B8F-BE4A-D5D1E56C2E18}" srcOrd="10" destOrd="0" presId="urn:microsoft.com/office/officeart/2005/8/layout/radial5"/>
    <dgm:cxn modelId="{25C7D95D-76F5-4A3E-92BA-D4847EC0DEAC}" type="presParOf" srcId="{1F440868-066F-426D-8323-38AA8095B9F6}" destId="{868D8BA9-4316-4BB2-99D3-4FEFDE4452D3}" srcOrd="11" destOrd="0" presId="urn:microsoft.com/office/officeart/2005/8/layout/radial5"/>
    <dgm:cxn modelId="{48485B2E-65F5-4DE5-A1B0-1BE1332D1567}" type="presParOf" srcId="{868D8BA9-4316-4BB2-99D3-4FEFDE4452D3}" destId="{22BF9908-3D8A-4855-950F-89A43AF99CA1}" srcOrd="0" destOrd="0" presId="urn:microsoft.com/office/officeart/2005/8/layout/radial5"/>
    <dgm:cxn modelId="{E956E52E-22D8-431C-8425-024095E0E6BF}" type="presParOf" srcId="{1F440868-066F-426D-8323-38AA8095B9F6}" destId="{17329FAC-1791-4989-AC65-44B9A8F02E1C}" srcOrd="12" destOrd="0" presId="urn:microsoft.com/office/officeart/2005/8/layout/radial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C16C2099-90E1-41BC-8106-08DC6265E5F1}" type="doc">
      <dgm:prSet loTypeId="urn:microsoft.com/office/officeart/2005/8/layout/list1" loCatId="list" qsTypeId="urn:microsoft.com/office/officeart/2005/8/quickstyle/simple4" qsCatId="simple" csTypeId="urn:microsoft.com/office/officeart/2005/8/colors/colorful4" csCatId="colorful" phldr="1"/>
      <dgm:spPr/>
      <dgm:t>
        <a:bodyPr/>
        <a:lstStyle/>
        <a:p>
          <a:endParaRPr lang="es-AR"/>
        </a:p>
      </dgm:t>
    </dgm:pt>
    <dgm:pt modelId="{599EBDCD-2ED0-4A08-84DE-687A3D5F921B}">
      <dgm:prSet phldrT="[Texto]" custT="1"/>
      <dgm:spPr/>
      <dgm:t>
        <a:bodyPr/>
        <a:lstStyle/>
        <a:p>
          <a:r>
            <a:rPr lang="es-AR" sz="2000" dirty="0" smtClean="0"/>
            <a:t>Características de la Vacuna </a:t>
          </a:r>
          <a:endParaRPr lang="es-AR" sz="2000" dirty="0"/>
        </a:p>
      </dgm:t>
    </dgm:pt>
    <dgm:pt modelId="{DDCAF8C5-208E-470C-8933-AA794018624A}" type="parTrans" cxnId="{312FD0C9-C1E4-46F5-BD50-FA7A7DBCF9D9}">
      <dgm:prSet/>
      <dgm:spPr/>
      <dgm:t>
        <a:bodyPr/>
        <a:lstStyle/>
        <a:p>
          <a:endParaRPr lang="es-AR" sz="1600"/>
        </a:p>
      </dgm:t>
    </dgm:pt>
    <dgm:pt modelId="{A40555C3-CA41-4D16-BDA2-2EDB22F5F30B}" type="sibTrans" cxnId="{312FD0C9-C1E4-46F5-BD50-FA7A7DBCF9D9}">
      <dgm:prSet/>
      <dgm:spPr/>
      <dgm:t>
        <a:bodyPr/>
        <a:lstStyle/>
        <a:p>
          <a:endParaRPr lang="es-AR" sz="1600"/>
        </a:p>
      </dgm:t>
    </dgm:pt>
    <dgm:pt modelId="{3CB1ED4B-3375-4AD3-9621-E9B298A4504E}">
      <dgm:prSet custT="1"/>
      <dgm:spPr/>
      <dgm:t>
        <a:bodyPr/>
        <a:lstStyle/>
        <a:p>
          <a:r>
            <a:rPr lang="es-ES_tradnl" sz="2000" dirty="0" err="1" smtClean="0">
              <a:cs typeface="Arial" pitchFamily="34" charset="0"/>
            </a:rPr>
            <a:t>Inmunogenicidad</a:t>
          </a:r>
          <a:r>
            <a:rPr lang="es-ES_tradnl" sz="2000" dirty="0" smtClean="0">
              <a:cs typeface="Arial" pitchFamily="34" charset="0"/>
            </a:rPr>
            <a:t> y Eficacia </a:t>
          </a:r>
          <a:endParaRPr lang="es-ES_tradnl" sz="2000" dirty="0">
            <a:cs typeface="Arial" pitchFamily="34" charset="0"/>
          </a:endParaRPr>
        </a:p>
      </dgm:t>
    </dgm:pt>
    <dgm:pt modelId="{A7CC5606-B26D-4F66-8056-66C6959F4C5D}" type="parTrans" cxnId="{25675930-1E8D-49B7-82EB-60D4196A4685}">
      <dgm:prSet/>
      <dgm:spPr/>
      <dgm:t>
        <a:bodyPr/>
        <a:lstStyle/>
        <a:p>
          <a:endParaRPr lang="es-AR" sz="1600"/>
        </a:p>
      </dgm:t>
    </dgm:pt>
    <dgm:pt modelId="{5CD62863-7EC6-42CC-9C55-47E255B161A8}" type="sibTrans" cxnId="{25675930-1E8D-49B7-82EB-60D4196A4685}">
      <dgm:prSet/>
      <dgm:spPr/>
      <dgm:t>
        <a:bodyPr/>
        <a:lstStyle/>
        <a:p>
          <a:endParaRPr lang="es-AR" sz="1600"/>
        </a:p>
      </dgm:t>
    </dgm:pt>
    <dgm:pt modelId="{E79FBF26-3DB7-4D07-AEC9-C6C2D35A19AA}">
      <dgm:prSet custT="1"/>
      <dgm:spPr/>
      <dgm:t>
        <a:bodyPr/>
        <a:lstStyle/>
        <a:p>
          <a:r>
            <a:rPr lang="es-ES_tradnl" sz="2000" dirty="0" smtClean="0">
              <a:cs typeface="Arial" pitchFamily="34" charset="0"/>
            </a:rPr>
            <a:t>Seguridad.</a:t>
          </a:r>
          <a:endParaRPr lang="es-ES_tradnl" sz="2000" dirty="0">
            <a:cs typeface="Arial" pitchFamily="34" charset="0"/>
          </a:endParaRPr>
        </a:p>
      </dgm:t>
    </dgm:pt>
    <dgm:pt modelId="{4DB31619-490C-46C6-A62D-B6CEE85FDDB9}" type="parTrans" cxnId="{419BB652-D1BE-4F76-AB28-D336014B0BF5}">
      <dgm:prSet/>
      <dgm:spPr/>
      <dgm:t>
        <a:bodyPr/>
        <a:lstStyle/>
        <a:p>
          <a:endParaRPr lang="es-AR" sz="1600"/>
        </a:p>
      </dgm:t>
    </dgm:pt>
    <dgm:pt modelId="{DE433C74-1C11-4BF1-819C-9F39C59C701B}" type="sibTrans" cxnId="{419BB652-D1BE-4F76-AB28-D336014B0BF5}">
      <dgm:prSet/>
      <dgm:spPr/>
      <dgm:t>
        <a:bodyPr/>
        <a:lstStyle/>
        <a:p>
          <a:endParaRPr lang="es-AR" sz="1600"/>
        </a:p>
      </dgm:t>
    </dgm:pt>
    <dgm:pt modelId="{B6B215B3-D1CD-4710-9A4D-DE7AF4ED99EB}">
      <dgm:prSet custT="1"/>
      <dgm:spPr/>
      <dgm:t>
        <a:bodyPr/>
        <a:lstStyle/>
        <a:p>
          <a:r>
            <a:rPr lang="es-AR" sz="2000" dirty="0" smtClean="0">
              <a:cs typeface="Arial" pitchFamily="34" charset="0"/>
            </a:rPr>
            <a:t>Indicaciones-Estrategia integrada </a:t>
          </a:r>
          <a:endParaRPr lang="es-ES" sz="2000" dirty="0" smtClean="0">
            <a:cs typeface="Arial" pitchFamily="34" charset="0"/>
          </a:endParaRPr>
        </a:p>
      </dgm:t>
    </dgm:pt>
    <dgm:pt modelId="{676B575A-E1A2-4C6B-A1F9-35EAFE510799}" type="parTrans" cxnId="{0AEC30A7-8F00-493D-B14F-4EAD62EFACF1}">
      <dgm:prSet/>
      <dgm:spPr/>
      <dgm:t>
        <a:bodyPr/>
        <a:lstStyle/>
        <a:p>
          <a:endParaRPr lang="es-AR" sz="1600"/>
        </a:p>
      </dgm:t>
    </dgm:pt>
    <dgm:pt modelId="{DB589D59-D191-4C4F-81D4-CC9301EAE9EA}" type="sibTrans" cxnId="{0AEC30A7-8F00-493D-B14F-4EAD62EFACF1}">
      <dgm:prSet/>
      <dgm:spPr/>
      <dgm:t>
        <a:bodyPr/>
        <a:lstStyle/>
        <a:p>
          <a:endParaRPr lang="es-AR" sz="1600"/>
        </a:p>
      </dgm:t>
    </dgm:pt>
    <dgm:pt modelId="{B7320A3D-9E76-4561-945F-C1AEC2CEB8CA}" type="pres">
      <dgm:prSet presAssocID="{C16C2099-90E1-41BC-8106-08DC6265E5F1}" presName="linear" presStyleCnt="0">
        <dgm:presLayoutVars>
          <dgm:dir/>
          <dgm:animLvl val="lvl"/>
          <dgm:resizeHandles val="exact"/>
        </dgm:presLayoutVars>
      </dgm:prSet>
      <dgm:spPr/>
      <dgm:t>
        <a:bodyPr/>
        <a:lstStyle/>
        <a:p>
          <a:endParaRPr lang="es-AR"/>
        </a:p>
      </dgm:t>
    </dgm:pt>
    <dgm:pt modelId="{06298AC1-6033-41D8-8FBE-93541E1B6009}" type="pres">
      <dgm:prSet presAssocID="{599EBDCD-2ED0-4A08-84DE-687A3D5F921B}" presName="parentLin" presStyleCnt="0"/>
      <dgm:spPr/>
    </dgm:pt>
    <dgm:pt modelId="{BEC52C7F-F91A-487F-8D0E-DCA1C0EA23D1}" type="pres">
      <dgm:prSet presAssocID="{599EBDCD-2ED0-4A08-84DE-687A3D5F921B}" presName="parentLeftMargin" presStyleLbl="node1" presStyleIdx="0" presStyleCnt="4"/>
      <dgm:spPr/>
      <dgm:t>
        <a:bodyPr/>
        <a:lstStyle/>
        <a:p>
          <a:endParaRPr lang="es-AR"/>
        </a:p>
      </dgm:t>
    </dgm:pt>
    <dgm:pt modelId="{854D22A6-57A8-4754-AEC0-7BACC82A9848}" type="pres">
      <dgm:prSet presAssocID="{599EBDCD-2ED0-4A08-84DE-687A3D5F921B}" presName="parentText" presStyleLbl="node1" presStyleIdx="0" presStyleCnt="4">
        <dgm:presLayoutVars>
          <dgm:chMax val="0"/>
          <dgm:bulletEnabled val="1"/>
        </dgm:presLayoutVars>
      </dgm:prSet>
      <dgm:spPr/>
      <dgm:t>
        <a:bodyPr/>
        <a:lstStyle/>
        <a:p>
          <a:endParaRPr lang="es-AR"/>
        </a:p>
      </dgm:t>
    </dgm:pt>
    <dgm:pt modelId="{C3449480-7B4E-4F40-9629-F23060A0687B}" type="pres">
      <dgm:prSet presAssocID="{599EBDCD-2ED0-4A08-84DE-687A3D5F921B}" presName="negativeSpace" presStyleCnt="0"/>
      <dgm:spPr/>
    </dgm:pt>
    <dgm:pt modelId="{103B5682-70F8-471D-AC49-BC2CC5FD6A67}" type="pres">
      <dgm:prSet presAssocID="{599EBDCD-2ED0-4A08-84DE-687A3D5F921B}" presName="childText" presStyleLbl="conFgAcc1" presStyleIdx="0" presStyleCnt="4">
        <dgm:presLayoutVars>
          <dgm:bulletEnabled val="1"/>
        </dgm:presLayoutVars>
      </dgm:prSet>
      <dgm:spPr/>
    </dgm:pt>
    <dgm:pt modelId="{E1171244-8DF9-4966-8067-1C76E9629C7F}" type="pres">
      <dgm:prSet presAssocID="{A40555C3-CA41-4D16-BDA2-2EDB22F5F30B}" presName="spaceBetweenRectangles" presStyleCnt="0"/>
      <dgm:spPr/>
    </dgm:pt>
    <dgm:pt modelId="{C99D8A80-0E06-4A52-95BC-24E8E7ED5E0B}" type="pres">
      <dgm:prSet presAssocID="{3CB1ED4B-3375-4AD3-9621-E9B298A4504E}" presName="parentLin" presStyleCnt="0"/>
      <dgm:spPr/>
    </dgm:pt>
    <dgm:pt modelId="{EA9EADDD-8963-411B-8160-4BF433A1DE27}" type="pres">
      <dgm:prSet presAssocID="{3CB1ED4B-3375-4AD3-9621-E9B298A4504E}" presName="parentLeftMargin" presStyleLbl="node1" presStyleIdx="0" presStyleCnt="4"/>
      <dgm:spPr/>
      <dgm:t>
        <a:bodyPr/>
        <a:lstStyle/>
        <a:p>
          <a:endParaRPr lang="es-AR"/>
        </a:p>
      </dgm:t>
    </dgm:pt>
    <dgm:pt modelId="{5CC4EF02-BB65-4B12-99E7-497C6870883B}" type="pres">
      <dgm:prSet presAssocID="{3CB1ED4B-3375-4AD3-9621-E9B298A4504E}" presName="parentText" presStyleLbl="node1" presStyleIdx="1" presStyleCnt="4">
        <dgm:presLayoutVars>
          <dgm:chMax val="0"/>
          <dgm:bulletEnabled val="1"/>
        </dgm:presLayoutVars>
      </dgm:prSet>
      <dgm:spPr/>
      <dgm:t>
        <a:bodyPr/>
        <a:lstStyle/>
        <a:p>
          <a:endParaRPr lang="es-AR"/>
        </a:p>
      </dgm:t>
    </dgm:pt>
    <dgm:pt modelId="{1DAAB0A5-3CCC-4C2C-984D-7F6CF0D9DDD7}" type="pres">
      <dgm:prSet presAssocID="{3CB1ED4B-3375-4AD3-9621-E9B298A4504E}" presName="negativeSpace" presStyleCnt="0"/>
      <dgm:spPr/>
    </dgm:pt>
    <dgm:pt modelId="{7DC8CF9A-5FF5-44AE-A9C6-24222A91DD72}" type="pres">
      <dgm:prSet presAssocID="{3CB1ED4B-3375-4AD3-9621-E9B298A4504E}" presName="childText" presStyleLbl="conFgAcc1" presStyleIdx="1" presStyleCnt="4">
        <dgm:presLayoutVars>
          <dgm:bulletEnabled val="1"/>
        </dgm:presLayoutVars>
      </dgm:prSet>
      <dgm:spPr/>
    </dgm:pt>
    <dgm:pt modelId="{F993900F-643B-45D7-A9ED-A125E07CF1F7}" type="pres">
      <dgm:prSet presAssocID="{5CD62863-7EC6-42CC-9C55-47E255B161A8}" presName="spaceBetweenRectangles" presStyleCnt="0"/>
      <dgm:spPr/>
    </dgm:pt>
    <dgm:pt modelId="{B1B34725-934C-4998-8863-05E35DE631D0}" type="pres">
      <dgm:prSet presAssocID="{E79FBF26-3DB7-4D07-AEC9-C6C2D35A19AA}" presName="parentLin" presStyleCnt="0"/>
      <dgm:spPr/>
    </dgm:pt>
    <dgm:pt modelId="{47930325-CE6D-4DF0-A098-7273EA7C16B7}" type="pres">
      <dgm:prSet presAssocID="{E79FBF26-3DB7-4D07-AEC9-C6C2D35A19AA}" presName="parentLeftMargin" presStyleLbl="node1" presStyleIdx="1" presStyleCnt="4"/>
      <dgm:spPr/>
      <dgm:t>
        <a:bodyPr/>
        <a:lstStyle/>
        <a:p>
          <a:endParaRPr lang="es-AR"/>
        </a:p>
      </dgm:t>
    </dgm:pt>
    <dgm:pt modelId="{4A739C6F-FCE4-46E7-B534-3999D466C0C9}" type="pres">
      <dgm:prSet presAssocID="{E79FBF26-3DB7-4D07-AEC9-C6C2D35A19AA}" presName="parentText" presStyleLbl="node1" presStyleIdx="2" presStyleCnt="4">
        <dgm:presLayoutVars>
          <dgm:chMax val="0"/>
          <dgm:bulletEnabled val="1"/>
        </dgm:presLayoutVars>
      </dgm:prSet>
      <dgm:spPr/>
      <dgm:t>
        <a:bodyPr/>
        <a:lstStyle/>
        <a:p>
          <a:endParaRPr lang="es-AR"/>
        </a:p>
      </dgm:t>
    </dgm:pt>
    <dgm:pt modelId="{F2312C2B-95E7-42A5-A949-5804B57F60A6}" type="pres">
      <dgm:prSet presAssocID="{E79FBF26-3DB7-4D07-AEC9-C6C2D35A19AA}" presName="negativeSpace" presStyleCnt="0"/>
      <dgm:spPr/>
    </dgm:pt>
    <dgm:pt modelId="{88E00755-A1C9-48D3-AE97-92D99F515277}" type="pres">
      <dgm:prSet presAssocID="{E79FBF26-3DB7-4D07-AEC9-C6C2D35A19AA}" presName="childText" presStyleLbl="conFgAcc1" presStyleIdx="2" presStyleCnt="4">
        <dgm:presLayoutVars>
          <dgm:bulletEnabled val="1"/>
        </dgm:presLayoutVars>
      </dgm:prSet>
      <dgm:spPr/>
    </dgm:pt>
    <dgm:pt modelId="{70751E3E-0AF6-4514-8B6D-6403AAD7591A}" type="pres">
      <dgm:prSet presAssocID="{DE433C74-1C11-4BF1-819C-9F39C59C701B}" presName="spaceBetweenRectangles" presStyleCnt="0"/>
      <dgm:spPr/>
    </dgm:pt>
    <dgm:pt modelId="{1661DC52-614A-47CA-A994-01CC6E3C1B1B}" type="pres">
      <dgm:prSet presAssocID="{B6B215B3-D1CD-4710-9A4D-DE7AF4ED99EB}" presName="parentLin" presStyleCnt="0"/>
      <dgm:spPr/>
    </dgm:pt>
    <dgm:pt modelId="{07EDB9A1-DFBE-4692-896B-6438E66B7940}" type="pres">
      <dgm:prSet presAssocID="{B6B215B3-D1CD-4710-9A4D-DE7AF4ED99EB}" presName="parentLeftMargin" presStyleLbl="node1" presStyleIdx="2" presStyleCnt="4"/>
      <dgm:spPr/>
      <dgm:t>
        <a:bodyPr/>
        <a:lstStyle/>
        <a:p>
          <a:endParaRPr lang="es-AR"/>
        </a:p>
      </dgm:t>
    </dgm:pt>
    <dgm:pt modelId="{B0BB7299-AB0D-4213-B51F-1C241BA5A421}" type="pres">
      <dgm:prSet presAssocID="{B6B215B3-D1CD-4710-9A4D-DE7AF4ED99EB}" presName="parentText" presStyleLbl="node1" presStyleIdx="3" presStyleCnt="4" custLinFactNeighborX="-3403">
        <dgm:presLayoutVars>
          <dgm:chMax val="0"/>
          <dgm:bulletEnabled val="1"/>
        </dgm:presLayoutVars>
      </dgm:prSet>
      <dgm:spPr/>
      <dgm:t>
        <a:bodyPr/>
        <a:lstStyle/>
        <a:p>
          <a:endParaRPr lang="es-AR"/>
        </a:p>
      </dgm:t>
    </dgm:pt>
    <dgm:pt modelId="{68E75630-7D60-47F7-AB59-D031B2E41949}" type="pres">
      <dgm:prSet presAssocID="{B6B215B3-D1CD-4710-9A4D-DE7AF4ED99EB}" presName="negativeSpace" presStyleCnt="0"/>
      <dgm:spPr/>
    </dgm:pt>
    <dgm:pt modelId="{2B0423DE-5F06-4168-BDE6-6619396D5906}" type="pres">
      <dgm:prSet presAssocID="{B6B215B3-D1CD-4710-9A4D-DE7AF4ED99EB}" presName="childText" presStyleLbl="conFgAcc1" presStyleIdx="3" presStyleCnt="4">
        <dgm:presLayoutVars>
          <dgm:bulletEnabled val="1"/>
        </dgm:presLayoutVars>
      </dgm:prSet>
      <dgm:spPr/>
    </dgm:pt>
  </dgm:ptLst>
  <dgm:cxnLst>
    <dgm:cxn modelId="{2FBA8C57-7A8D-41E7-B682-7731DB4E206A}" type="presOf" srcId="{3CB1ED4B-3375-4AD3-9621-E9B298A4504E}" destId="{EA9EADDD-8963-411B-8160-4BF433A1DE27}" srcOrd="0" destOrd="0" presId="urn:microsoft.com/office/officeart/2005/8/layout/list1"/>
    <dgm:cxn modelId="{09A70139-BBAE-43C8-852C-CD244ECA7D0E}" type="presOf" srcId="{B6B215B3-D1CD-4710-9A4D-DE7AF4ED99EB}" destId="{B0BB7299-AB0D-4213-B51F-1C241BA5A421}" srcOrd="1" destOrd="0" presId="urn:microsoft.com/office/officeart/2005/8/layout/list1"/>
    <dgm:cxn modelId="{312FD0C9-C1E4-46F5-BD50-FA7A7DBCF9D9}" srcId="{C16C2099-90E1-41BC-8106-08DC6265E5F1}" destId="{599EBDCD-2ED0-4A08-84DE-687A3D5F921B}" srcOrd="0" destOrd="0" parTransId="{DDCAF8C5-208E-470C-8933-AA794018624A}" sibTransId="{A40555C3-CA41-4D16-BDA2-2EDB22F5F30B}"/>
    <dgm:cxn modelId="{7FC74011-8D7A-45BA-8E3B-E790BEE4836F}" type="presOf" srcId="{599EBDCD-2ED0-4A08-84DE-687A3D5F921B}" destId="{854D22A6-57A8-4754-AEC0-7BACC82A9848}" srcOrd="1" destOrd="0" presId="urn:microsoft.com/office/officeart/2005/8/layout/list1"/>
    <dgm:cxn modelId="{ED3D62BB-F42C-41FD-9B73-1FD539D087FE}" type="presOf" srcId="{E79FBF26-3DB7-4D07-AEC9-C6C2D35A19AA}" destId="{47930325-CE6D-4DF0-A098-7273EA7C16B7}" srcOrd="0" destOrd="0" presId="urn:microsoft.com/office/officeart/2005/8/layout/list1"/>
    <dgm:cxn modelId="{401B5D05-627E-47ED-B47D-7AA8097F2CEE}" type="presOf" srcId="{3CB1ED4B-3375-4AD3-9621-E9B298A4504E}" destId="{5CC4EF02-BB65-4B12-99E7-497C6870883B}" srcOrd="1" destOrd="0" presId="urn:microsoft.com/office/officeart/2005/8/layout/list1"/>
    <dgm:cxn modelId="{A3726B0E-DFB9-4178-B1D6-94412583D2EF}" type="presOf" srcId="{599EBDCD-2ED0-4A08-84DE-687A3D5F921B}" destId="{BEC52C7F-F91A-487F-8D0E-DCA1C0EA23D1}" srcOrd="0" destOrd="0" presId="urn:microsoft.com/office/officeart/2005/8/layout/list1"/>
    <dgm:cxn modelId="{25675930-1E8D-49B7-82EB-60D4196A4685}" srcId="{C16C2099-90E1-41BC-8106-08DC6265E5F1}" destId="{3CB1ED4B-3375-4AD3-9621-E9B298A4504E}" srcOrd="1" destOrd="0" parTransId="{A7CC5606-B26D-4F66-8056-66C6959F4C5D}" sibTransId="{5CD62863-7EC6-42CC-9C55-47E255B161A8}"/>
    <dgm:cxn modelId="{A3F14A2C-8A34-4DC8-BFA4-C7E57EEB5958}" type="presOf" srcId="{E79FBF26-3DB7-4D07-AEC9-C6C2D35A19AA}" destId="{4A739C6F-FCE4-46E7-B534-3999D466C0C9}" srcOrd="1" destOrd="0" presId="urn:microsoft.com/office/officeart/2005/8/layout/list1"/>
    <dgm:cxn modelId="{A0733103-CB3C-4C4A-98BD-D149BB798463}" type="presOf" srcId="{B6B215B3-D1CD-4710-9A4D-DE7AF4ED99EB}" destId="{07EDB9A1-DFBE-4692-896B-6438E66B7940}" srcOrd="0" destOrd="0" presId="urn:microsoft.com/office/officeart/2005/8/layout/list1"/>
    <dgm:cxn modelId="{0AEC30A7-8F00-493D-B14F-4EAD62EFACF1}" srcId="{C16C2099-90E1-41BC-8106-08DC6265E5F1}" destId="{B6B215B3-D1CD-4710-9A4D-DE7AF4ED99EB}" srcOrd="3" destOrd="0" parTransId="{676B575A-E1A2-4C6B-A1F9-35EAFE510799}" sibTransId="{DB589D59-D191-4C4F-81D4-CC9301EAE9EA}"/>
    <dgm:cxn modelId="{419BB652-D1BE-4F76-AB28-D336014B0BF5}" srcId="{C16C2099-90E1-41BC-8106-08DC6265E5F1}" destId="{E79FBF26-3DB7-4D07-AEC9-C6C2D35A19AA}" srcOrd="2" destOrd="0" parTransId="{4DB31619-490C-46C6-A62D-B6CEE85FDDB9}" sibTransId="{DE433C74-1C11-4BF1-819C-9F39C59C701B}"/>
    <dgm:cxn modelId="{085B335F-7FEE-4BFB-8758-85333FDF7135}" type="presOf" srcId="{C16C2099-90E1-41BC-8106-08DC6265E5F1}" destId="{B7320A3D-9E76-4561-945F-C1AEC2CEB8CA}" srcOrd="0" destOrd="0" presId="urn:microsoft.com/office/officeart/2005/8/layout/list1"/>
    <dgm:cxn modelId="{5C86BD63-E00E-4BCE-A48D-5D2DB542C878}" type="presParOf" srcId="{B7320A3D-9E76-4561-945F-C1AEC2CEB8CA}" destId="{06298AC1-6033-41D8-8FBE-93541E1B6009}" srcOrd="0" destOrd="0" presId="urn:microsoft.com/office/officeart/2005/8/layout/list1"/>
    <dgm:cxn modelId="{03FA0F1C-25B4-4179-9C96-C3599ACFA4DB}" type="presParOf" srcId="{06298AC1-6033-41D8-8FBE-93541E1B6009}" destId="{BEC52C7F-F91A-487F-8D0E-DCA1C0EA23D1}" srcOrd="0" destOrd="0" presId="urn:microsoft.com/office/officeart/2005/8/layout/list1"/>
    <dgm:cxn modelId="{6CE2E9E9-8D22-47AF-A436-A7B4BBFC7838}" type="presParOf" srcId="{06298AC1-6033-41D8-8FBE-93541E1B6009}" destId="{854D22A6-57A8-4754-AEC0-7BACC82A9848}" srcOrd="1" destOrd="0" presId="urn:microsoft.com/office/officeart/2005/8/layout/list1"/>
    <dgm:cxn modelId="{E1A691FD-B391-4907-957E-CC768572932E}" type="presParOf" srcId="{B7320A3D-9E76-4561-945F-C1AEC2CEB8CA}" destId="{C3449480-7B4E-4F40-9629-F23060A0687B}" srcOrd="1" destOrd="0" presId="urn:microsoft.com/office/officeart/2005/8/layout/list1"/>
    <dgm:cxn modelId="{124283BD-4179-4F21-955E-10E67B367DFC}" type="presParOf" srcId="{B7320A3D-9E76-4561-945F-C1AEC2CEB8CA}" destId="{103B5682-70F8-471D-AC49-BC2CC5FD6A67}" srcOrd="2" destOrd="0" presId="urn:microsoft.com/office/officeart/2005/8/layout/list1"/>
    <dgm:cxn modelId="{F372C858-8F9E-4272-BC9D-0D14B41943F1}" type="presParOf" srcId="{B7320A3D-9E76-4561-945F-C1AEC2CEB8CA}" destId="{E1171244-8DF9-4966-8067-1C76E9629C7F}" srcOrd="3" destOrd="0" presId="urn:microsoft.com/office/officeart/2005/8/layout/list1"/>
    <dgm:cxn modelId="{60FCB582-3BC7-4E2E-BE09-5AEFE72EA93D}" type="presParOf" srcId="{B7320A3D-9E76-4561-945F-C1AEC2CEB8CA}" destId="{C99D8A80-0E06-4A52-95BC-24E8E7ED5E0B}" srcOrd="4" destOrd="0" presId="urn:microsoft.com/office/officeart/2005/8/layout/list1"/>
    <dgm:cxn modelId="{AB3E1599-68A4-4C18-A155-39CC96F4ED50}" type="presParOf" srcId="{C99D8A80-0E06-4A52-95BC-24E8E7ED5E0B}" destId="{EA9EADDD-8963-411B-8160-4BF433A1DE27}" srcOrd="0" destOrd="0" presId="urn:microsoft.com/office/officeart/2005/8/layout/list1"/>
    <dgm:cxn modelId="{62B23DA7-E8F1-4570-9F2D-05F994C5BDAA}" type="presParOf" srcId="{C99D8A80-0E06-4A52-95BC-24E8E7ED5E0B}" destId="{5CC4EF02-BB65-4B12-99E7-497C6870883B}" srcOrd="1" destOrd="0" presId="urn:microsoft.com/office/officeart/2005/8/layout/list1"/>
    <dgm:cxn modelId="{8A67D3CF-615F-4F24-806B-AB28AF4FB41A}" type="presParOf" srcId="{B7320A3D-9E76-4561-945F-C1AEC2CEB8CA}" destId="{1DAAB0A5-3CCC-4C2C-984D-7F6CF0D9DDD7}" srcOrd="5" destOrd="0" presId="urn:microsoft.com/office/officeart/2005/8/layout/list1"/>
    <dgm:cxn modelId="{E67D0072-0654-4FFB-BFD8-19430053F41C}" type="presParOf" srcId="{B7320A3D-9E76-4561-945F-C1AEC2CEB8CA}" destId="{7DC8CF9A-5FF5-44AE-A9C6-24222A91DD72}" srcOrd="6" destOrd="0" presId="urn:microsoft.com/office/officeart/2005/8/layout/list1"/>
    <dgm:cxn modelId="{DDF176B8-6CC4-40E5-8098-26A7687DFB6F}" type="presParOf" srcId="{B7320A3D-9E76-4561-945F-C1AEC2CEB8CA}" destId="{F993900F-643B-45D7-A9ED-A125E07CF1F7}" srcOrd="7" destOrd="0" presId="urn:microsoft.com/office/officeart/2005/8/layout/list1"/>
    <dgm:cxn modelId="{DC4A7C08-4E3C-41F3-8142-568415262E4E}" type="presParOf" srcId="{B7320A3D-9E76-4561-945F-C1AEC2CEB8CA}" destId="{B1B34725-934C-4998-8863-05E35DE631D0}" srcOrd="8" destOrd="0" presId="urn:microsoft.com/office/officeart/2005/8/layout/list1"/>
    <dgm:cxn modelId="{D66A7E02-2BE2-4DCC-9771-F4D3BD6A2850}" type="presParOf" srcId="{B1B34725-934C-4998-8863-05E35DE631D0}" destId="{47930325-CE6D-4DF0-A098-7273EA7C16B7}" srcOrd="0" destOrd="0" presId="urn:microsoft.com/office/officeart/2005/8/layout/list1"/>
    <dgm:cxn modelId="{6ED51C31-9CF9-4A5B-8F16-C9DE171D4DD8}" type="presParOf" srcId="{B1B34725-934C-4998-8863-05E35DE631D0}" destId="{4A739C6F-FCE4-46E7-B534-3999D466C0C9}" srcOrd="1" destOrd="0" presId="urn:microsoft.com/office/officeart/2005/8/layout/list1"/>
    <dgm:cxn modelId="{B54F6B49-74E1-4608-8F20-0994A77ADD43}" type="presParOf" srcId="{B7320A3D-9E76-4561-945F-C1AEC2CEB8CA}" destId="{F2312C2B-95E7-42A5-A949-5804B57F60A6}" srcOrd="9" destOrd="0" presId="urn:microsoft.com/office/officeart/2005/8/layout/list1"/>
    <dgm:cxn modelId="{6EDB4ECF-B47B-4476-AD25-7ECC51092377}" type="presParOf" srcId="{B7320A3D-9E76-4561-945F-C1AEC2CEB8CA}" destId="{88E00755-A1C9-48D3-AE97-92D99F515277}" srcOrd="10" destOrd="0" presId="urn:microsoft.com/office/officeart/2005/8/layout/list1"/>
    <dgm:cxn modelId="{9E58B291-D8D6-4BF4-847C-F275A6322CC2}" type="presParOf" srcId="{B7320A3D-9E76-4561-945F-C1AEC2CEB8CA}" destId="{70751E3E-0AF6-4514-8B6D-6403AAD7591A}" srcOrd="11" destOrd="0" presId="urn:microsoft.com/office/officeart/2005/8/layout/list1"/>
    <dgm:cxn modelId="{FEE75C42-FF54-4A09-99B9-630B195EB953}" type="presParOf" srcId="{B7320A3D-9E76-4561-945F-C1AEC2CEB8CA}" destId="{1661DC52-614A-47CA-A994-01CC6E3C1B1B}" srcOrd="12" destOrd="0" presId="urn:microsoft.com/office/officeart/2005/8/layout/list1"/>
    <dgm:cxn modelId="{B54D827C-9488-4B3F-B484-E2F3606F6AF3}" type="presParOf" srcId="{1661DC52-614A-47CA-A994-01CC6E3C1B1B}" destId="{07EDB9A1-DFBE-4692-896B-6438E66B7940}" srcOrd="0" destOrd="0" presId="urn:microsoft.com/office/officeart/2005/8/layout/list1"/>
    <dgm:cxn modelId="{A47DAD6E-4F9C-474D-99B7-0E68163F32E8}" type="presParOf" srcId="{1661DC52-614A-47CA-A994-01CC6E3C1B1B}" destId="{B0BB7299-AB0D-4213-B51F-1C241BA5A421}" srcOrd="1" destOrd="0" presId="urn:microsoft.com/office/officeart/2005/8/layout/list1"/>
    <dgm:cxn modelId="{085266D9-8657-4213-AEB1-A09ACC260DDB}" type="presParOf" srcId="{B7320A3D-9E76-4561-945F-C1AEC2CEB8CA}" destId="{68E75630-7D60-47F7-AB59-D031B2E41949}" srcOrd="13" destOrd="0" presId="urn:microsoft.com/office/officeart/2005/8/layout/list1"/>
    <dgm:cxn modelId="{03138BC4-B06C-47B5-B010-F6619547488E}" type="presParOf" srcId="{B7320A3D-9E76-4561-945F-C1AEC2CEB8CA}" destId="{2B0423DE-5F06-4168-BDE6-6619396D5906}"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2DFE5439-1936-4FC8-B39F-DE5E97D7001A}" type="doc">
      <dgm:prSet loTypeId="urn:microsoft.com/office/officeart/2005/8/layout/pyramid1" loCatId="pyramid" qsTypeId="urn:microsoft.com/office/officeart/2005/8/quickstyle/simple1" qsCatId="simple" csTypeId="urn:microsoft.com/office/officeart/2005/8/colors/accent1_2" csCatId="accent1" phldr="1"/>
      <dgm:spPr/>
    </dgm:pt>
    <dgm:pt modelId="{236A29CD-2016-4429-AF02-C14BF591270D}">
      <dgm:prSet phldrT="[Text]" custT="1"/>
      <dgm:spPr>
        <a:solidFill>
          <a:srgbClr val="E7E7E7"/>
        </a:solidFill>
      </dgm:spPr>
      <dgm:t>
        <a:bodyPr/>
        <a:lstStyle/>
        <a:p>
          <a:endParaRPr lang="en-GB" sz="1400" b="1">
            <a:solidFill>
              <a:schemeClr val="bg1"/>
            </a:solidFill>
          </a:endParaRPr>
        </a:p>
        <a:p>
          <a:endParaRPr lang="en-GB" sz="1400" b="1">
            <a:solidFill>
              <a:schemeClr val="bg1"/>
            </a:solidFill>
          </a:endParaRPr>
        </a:p>
      </dgm:t>
    </dgm:pt>
    <dgm:pt modelId="{0E56B016-2F02-4A8D-86D4-FBD85E9FB4FD}" type="parTrans" cxnId="{03B659E6-98C9-4067-9874-8EB4244CD028}">
      <dgm:prSet/>
      <dgm:spPr/>
      <dgm:t>
        <a:bodyPr/>
        <a:lstStyle/>
        <a:p>
          <a:endParaRPr lang="en-GB" sz="1400" b="1">
            <a:solidFill>
              <a:schemeClr val="bg1"/>
            </a:solidFill>
          </a:endParaRPr>
        </a:p>
      </dgm:t>
    </dgm:pt>
    <dgm:pt modelId="{3732E6BE-9E4F-4FF4-A314-BB698E3DA66D}" type="sibTrans" cxnId="{03B659E6-98C9-4067-9874-8EB4244CD028}">
      <dgm:prSet/>
      <dgm:spPr/>
      <dgm:t>
        <a:bodyPr/>
        <a:lstStyle/>
        <a:p>
          <a:endParaRPr lang="en-GB" sz="1400" b="1">
            <a:solidFill>
              <a:schemeClr val="bg1"/>
            </a:solidFill>
          </a:endParaRPr>
        </a:p>
      </dgm:t>
    </dgm:pt>
    <dgm:pt modelId="{D0F3E8EF-B7D2-4187-AABF-67E9D6067326}">
      <dgm:prSet phldrT="[Text]" custT="1"/>
      <dgm:spPr>
        <a:solidFill>
          <a:srgbClr val="83BADD"/>
        </a:solidFill>
      </dgm:spPr>
      <dgm:t>
        <a:bodyPr/>
        <a:lstStyle/>
        <a:p>
          <a:endParaRPr lang="en-GB" sz="1400" b="1">
            <a:solidFill>
              <a:schemeClr val="bg1"/>
            </a:solidFill>
          </a:endParaRPr>
        </a:p>
      </dgm:t>
    </dgm:pt>
    <dgm:pt modelId="{2BE25E62-EAAE-4A4C-88E0-BFBA23BE9A94}" type="parTrans" cxnId="{F95B9935-E8E0-4A8D-BA89-A40680A0443C}">
      <dgm:prSet/>
      <dgm:spPr/>
      <dgm:t>
        <a:bodyPr/>
        <a:lstStyle/>
        <a:p>
          <a:endParaRPr lang="en-GB" sz="1400" b="1">
            <a:solidFill>
              <a:schemeClr val="bg1"/>
            </a:solidFill>
          </a:endParaRPr>
        </a:p>
      </dgm:t>
    </dgm:pt>
    <dgm:pt modelId="{B4995604-4077-4230-9559-06A4D019D007}" type="sibTrans" cxnId="{F95B9935-E8E0-4A8D-BA89-A40680A0443C}">
      <dgm:prSet/>
      <dgm:spPr/>
      <dgm:t>
        <a:bodyPr/>
        <a:lstStyle/>
        <a:p>
          <a:endParaRPr lang="en-GB" sz="1400" b="1">
            <a:solidFill>
              <a:schemeClr val="bg1"/>
            </a:solidFill>
          </a:endParaRPr>
        </a:p>
      </dgm:t>
    </dgm:pt>
    <dgm:pt modelId="{82D00F26-85A9-44D1-9DA4-70FE92AFB8AE}">
      <dgm:prSet phldrT="[Text]" custT="1"/>
      <dgm:spPr>
        <a:solidFill>
          <a:srgbClr val="ABB436"/>
        </a:solidFill>
      </dgm:spPr>
      <dgm:t>
        <a:bodyPr/>
        <a:lstStyle/>
        <a:p>
          <a:endParaRPr lang="en-GB" sz="1400" b="1">
            <a:solidFill>
              <a:schemeClr val="bg1"/>
            </a:solidFill>
          </a:endParaRPr>
        </a:p>
      </dgm:t>
    </dgm:pt>
    <dgm:pt modelId="{4945D5BE-C2E2-4162-BE7F-CFF3A6FD666F}" type="parTrans" cxnId="{9EB8E877-5996-4637-9D25-FC30F9F83DF7}">
      <dgm:prSet/>
      <dgm:spPr/>
      <dgm:t>
        <a:bodyPr/>
        <a:lstStyle/>
        <a:p>
          <a:endParaRPr lang="en-GB" sz="1400" b="1">
            <a:solidFill>
              <a:schemeClr val="bg1"/>
            </a:solidFill>
          </a:endParaRPr>
        </a:p>
      </dgm:t>
    </dgm:pt>
    <dgm:pt modelId="{33B0A69F-A479-4CD4-8BDE-74B4EE2A83E3}" type="sibTrans" cxnId="{9EB8E877-5996-4637-9D25-FC30F9F83DF7}">
      <dgm:prSet/>
      <dgm:spPr/>
      <dgm:t>
        <a:bodyPr/>
        <a:lstStyle/>
        <a:p>
          <a:endParaRPr lang="en-GB" sz="1400" b="1">
            <a:solidFill>
              <a:schemeClr val="bg1"/>
            </a:solidFill>
          </a:endParaRPr>
        </a:p>
      </dgm:t>
    </dgm:pt>
    <dgm:pt modelId="{F1A7968D-8A94-4EB9-A3FF-76441A1D6E7D}" type="pres">
      <dgm:prSet presAssocID="{2DFE5439-1936-4FC8-B39F-DE5E97D7001A}" presName="Name0" presStyleCnt="0">
        <dgm:presLayoutVars>
          <dgm:dir/>
          <dgm:animLvl val="lvl"/>
          <dgm:resizeHandles val="exact"/>
        </dgm:presLayoutVars>
      </dgm:prSet>
      <dgm:spPr/>
    </dgm:pt>
    <dgm:pt modelId="{FCF5C252-DD1F-46FD-A36F-A67648A7FA99}" type="pres">
      <dgm:prSet presAssocID="{236A29CD-2016-4429-AF02-C14BF591270D}" presName="Name8" presStyleCnt="0"/>
      <dgm:spPr/>
    </dgm:pt>
    <dgm:pt modelId="{716B1A27-0EEC-46B7-949A-0BE59FADC736}" type="pres">
      <dgm:prSet presAssocID="{236A29CD-2016-4429-AF02-C14BF591270D}" presName="level" presStyleLbl="node1" presStyleIdx="0" presStyleCnt="3" custLinFactNeighborY="2180">
        <dgm:presLayoutVars>
          <dgm:chMax val="1"/>
          <dgm:bulletEnabled val="1"/>
        </dgm:presLayoutVars>
      </dgm:prSet>
      <dgm:spPr/>
      <dgm:t>
        <a:bodyPr/>
        <a:lstStyle/>
        <a:p>
          <a:endParaRPr lang="es-ES"/>
        </a:p>
      </dgm:t>
    </dgm:pt>
    <dgm:pt modelId="{2CF71312-6183-40BD-9A0E-B949823F6160}" type="pres">
      <dgm:prSet presAssocID="{236A29CD-2016-4429-AF02-C14BF591270D}" presName="levelTx" presStyleLbl="revTx" presStyleIdx="0" presStyleCnt="0">
        <dgm:presLayoutVars>
          <dgm:chMax val="1"/>
          <dgm:bulletEnabled val="1"/>
        </dgm:presLayoutVars>
      </dgm:prSet>
      <dgm:spPr/>
      <dgm:t>
        <a:bodyPr/>
        <a:lstStyle/>
        <a:p>
          <a:endParaRPr lang="es-ES"/>
        </a:p>
      </dgm:t>
    </dgm:pt>
    <dgm:pt modelId="{3EE363F2-4AB1-440F-8F0A-FAC801BFDDBB}" type="pres">
      <dgm:prSet presAssocID="{D0F3E8EF-B7D2-4187-AABF-67E9D6067326}" presName="Name8" presStyleCnt="0"/>
      <dgm:spPr/>
    </dgm:pt>
    <dgm:pt modelId="{DE0E1591-D093-4F25-B476-4DAD740E21C0}" type="pres">
      <dgm:prSet presAssocID="{D0F3E8EF-B7D2-4187-AABF-67E9D6067326}" presName="level" presStyleLbl="node1" presStyleIdx="1" presStyleCnt="3">
        <dgm:presLayoutVars>
          <dgm:chMax val="1"/>
          <dgm:bulletEnabled val="1"/>
        </dgm:presLayoutVars>
      </dgm:prSet>
      <dgm:spPr/>
      <dgm:t>
        <a:bodyPr/>
        <a:lstStyle/>
        <a:p>
          <a:endParaRPr lang="es-ES"/>
        </a:p>
      </dgm:t>
    </dgm:pt>
    <dgm:pt modelId="{519A5C65-4C03-43D6-874A-CB0F31C02163}" type="pres">
      <dgm:prSet presAssocID="{D0F3E8EF-B7D2-4187-AABF-67E9D6067326}" presName="levelTx" presStyleLbl="revTx" presStyleIdx="0" presStyleCnt="0">
        <dgm:presLayoutVars>
          <dgm:chMax val="1"/>
          <dgm:bulletEnabled val="1"/>
        </dgm:presLayoutVars>
      </dgm:prSet>
      <dgm:spPr/>
      <dgm:t>
        <a:bodyPr/>
        <a:lstStyle/>
        <a:p>
          <a:endParaRPr lang="es-ES"/>
        </a:p>
      </dgm:t>
    </dgm:pt>
    <dgm:pt modelId="{96ED8077-1209-4FEB-BE40-974EEE8B51BC}" type="pres">
      <dgm:prSet presAssocID="{82D00F26-85A9-44D1-9DA4-70FE92AFB8AE}" presName="Name8" presStyleCnt="0"/>
      <dgm:spPr/>
    </dgm:pt>
    <dgm:pt modelId="{DA540EB8-C202-4A53-9A45-A23B148058CC}" type="pres">
      <dgm:prSet presAssocID="{82D00F26-85A9-44D1-9DA4-70FE92AFB8AE}" presName="level" presStyleLbl="node1" presStyleIdx="2" presStyleCnt="3">
        <dgm:presLayoutVars>
          <dgm:chMax val="1"/>
          <dgm:bulletEnabled val="1"/>
        </dgm:presLayoutVars>
      </dgm:prSet>
      <dgm:spPr/>
      <dgm:t>
        <a:bodyPr/>
        <a:lstStyle/>
        <a:p>
          <a:endParaRPr lang="es-ES"/>
        </a:p>
      </dgm:t>
    </dgm:pt>
    <dgm:pt modelId="{CB749DEF-659A-4B30-81E6-D7648A40AE22}" type="pres">
      <dgm:prSet presAssocID="{82D00F26-85A9-44D1-9DA4-70FE92AFB8AE}" presName="levelTx" presStyleLbl="revTx" presStyleIdx="0" presStyleCnt="0">
        <dgm:presLayoutVars>
          <dgm:chMax val="1"/>
          <dgm:bulletEnabled val="1"/>
        </dgm:presLayoutVars>
      </dgm:prSet>
      <dgm:spPr/>
      <dgm:t>
        <a:bodyPr/>
        <a:lstStyle/>
        <a:p>
          <a:endParaRPr lang="es-ES"/>
        </a:p>
      </dgm:t>
    </dgm:pt>
  </dgm:ptLst>
  <dgm:cxnLst>
    <dgm:cxn modelId="{F21501F0-7821-45FE-BCD9-492109F8BADA}" type="presOf" srcId="{2DFE5439-1936-4FC8-B39F-DE5E97D7001A}" destId="{F1A7968D-8A94-4EB9-A3FF-76441A1D6E7D}" srcOrd="0" destOrd="0" presId="urn:microsoft.com/office/officeart/2005/8/layout/pyramid1"/>
    <dgm:cxn modelId="{C76435E2-293A-44FD-A209-F847D88DFC06}" type="presOf" srcId="{D0F3E8EF-B7D2-4187-AABF-67E9D6067326}" destId="{519A5C65-4C03-43D6-874A-CB0F31C02163}" srcOrd="1" destOrd="0" presId="urn:microsoft.com/office/officeart/2005/8/layout/pyramid1"/>
    <dgm:cxn modelId="{55639696-D309-4A46-B95A-25393E4F4147}" type="presOf" srcId="{236A29CD-2016-4429-AF02-C14BF591270D}" destId="{716B1A27-0EEC-46B7-949A-0BE59FADC736}" srcOrd="0" destOrd="0" presId="urn:microsoft.com/office/officeart/2005/8/layout/pyramid1"/>
    <dgm:cxn modelId="{02BC4141-5433-432D-9FFB-18BD47C77F02}" type="presOf" srcId="{82D00F26-85A9-44D1-9DA4-70FE92AFB8AE}" destId="{CB749DEF-659A-4B30-81E6-D7648A40AE22}" srcOrd="1" destOrd="0" presId="urn:microsoft.com/office/officeart/2005/8/layout/pyramid1"/>
    <dgm:cxn modelId="{03B659E6-98C9-4067-9874-8EB4244CD028}" srcId="{2DFE5439-1936-4FC8-B39F-DE5E97D7001A}" destId="{236A29CD-2016-4429-AF02-C14BF591270D}" srcOrd="0" destOrd="0" parTransId="{0E56B016-2F02-4A8D-86D4-FBD85E9FB4FD}" sibTransId="{3732E6BE-9E4F-4FF4-A314-BB698E3DA66D}"/>
    <dgm:cxn modelId="{1818E3BD-8660-48CA-85D7-411548FB5A8A}" type="presOf" srcId="{236A29CD-2016-4429-AF02-C14BF591270D}" destId="{2CF71312-6183-40BD-9A0E-B949823F6160}" srcOrd="1" destOrd="0" presId="urn:microsoft.com/office/officeart/2005/8/layout/pyramid1"/>
    <dgm:cxn modelId="{F95B9935-E8E0-4A8D-BA89-A40680A0443C}" srcId="{2DFE5439-1936-4FC8-B39F-DE5E97D7001A}" destId="{D0F3E8EF-B7D2-4187-AABF-67E9D6067326}" srcOrd="1" destOrd="0" parTransId="{2BE25E62-EAAE-4A4C-88E0-BFBA23BE9A94}" sibTransId="{B4995604-4077-4230-9559-06A4D019D007}"/>
    <dgm:cxn modelId="{9EB8E877-5996-4637-9D25-FC30F9F83DF7}" srcId="{2DFE5439-1936-4FC8-B39F-DE5E97D7001A}" destId="{82D00F26-85A9-44D1-9DA4-70FE92AFB8AE}" srcOrd="2" destOrd="0" parTransId="{4945D5BE-C2E2-4162-BE7F-CFF3A6FD666F}" sibTransId="{33B0A69F-A479-4CD4-8BDE-74B4EE2A83E3}"/>
    <dgm:cxn modelId="{F61D422A-5F0F-4052-B2DE-3AB12D360E2A}" type="presOf" srcId="{82D00F26-85A9-44D1-9DA4-70FE92AFB8AE}" destId="{DA540EB8-C202-4A53-9A45-A23B148058CC}" srcOrd="0" destOrd="0" presId="urn:microsoft.com/office/officeart/2005/8/layout/pyramid1"/>
    <dgm:cxn modelId="{B2F55994-43C5-4683-9E4C-8AFBF21987BB}" type="presOf" srcId="{D0F3E8EF-B7D2-4187-AABF-67E9D6067326}" destId="{DE0E1591-D093-4F25-B476-4DAD740E21C0}" srcOrd="0" destOrd="0" presId="urn:microsoft.com/office/officeart/2005/8/layout/pyramid1"/>
    <dgm:cxn modelId="{AB893900-437B-494D-839D-D261C41C48C0}" type="presParOf" srcId="{F1A7968D-8A94-4EB9-A3FF-76441A1D6E7D}" destId="{FCF5C252-DD1F-46FD-A36F-A67648A7FA99}" srcOrd="0" destOrd="0" presId="urn:microsoft.com/office/officeart/2005/8/layout/pyramid1"/>
    <dgm:cxn modelId="{322E13F6-9D90-4722-9025-E845BDC66E4C}" type="presParOf" srcId="{FCF5C252-DD1F-46FD-A36F-A67648A7FA99}" destId="{716B1A27-0EEC-46B7-949A-0BE59FADC736}" srcOrd="0" destOrd="0" presId="urn:microsoft.com/office/officeart/2005/8/layout/pyramid1"/>
    <dgm:cxn modelId="{6CF60BCF-149F-41E0-9281-5EC1D1C16F1D}" type="presParOf" srcId="{FCF5C252-DD1F-46FD-A36F-A67648A7FA99}" destId="{2CF71312-6183-40BD-9A0E-B949823F6160}" srcOrd="1" destOrd="0" presId="urn:microsoft.com/office/officeart/2005/8/layout/pyramid1"/>
    <dgm:cxn modelId="{31059D88-D4A4-4911-BA13-BA641407595C}" type="presParOf" srcId="{F1A7968D-8A94-4EB9-A3FF-76441A1D6E7D}" destId="{3EE363F2-4AB1-440F-8F0A-FAC801BFDDBB}" srcOrd="1" destOrd="0" presId="urn:microsoft.com/office/officeart/2005/8/layout/pyramid1"/>
    <dgm:cxn modelId="{32DF11DC-E311-4FED-B43C-7141390570AD}" type="presParOf" srcId="{3EE363F2-4AB1-440F-8F0A-FAC801BFDDBB}" destId="{DE0E1591-D093-4F25-B476-4DAD740E21C0}" srcOrd="0" destOrd="0" presId="urn:microsoft.com/office/officeart/2005/8/layout/pyramid1"/>
    <dgm:cxn modelId="{25C121E7-2D51-4932-9E1B-D3801A5C8A6E}" type="presParOf" srcId="{3EE363F2-4AB1-440F-8F0A-FAC801BFDDBB}" destId="{519A5C65-4C03-43D6-874A-CB0F31C02163}" srcOrd="1" destOrd="0" presId="urn:microsoft.com/office/officeart/2005/8/layout/pyramid1"/>
    <dgm:cxn modelId="{D7031A63-E064-462F-8100-00BB51F70864}" type="presParOf" srcId="{F1A7968D-8A94-4EB9-A3FF-76441A1D6E7D}" destId="{96ED8077-1209-4FEB-BE40-974EEE8B51BC}" srcOrd="2" destOrd="0" presId="urn:microsoft.com/office/officeart/2005/8/layout/pyramid1"/>
    <dgm:cxn modelId="{A44E9A37-F9AF-4720-981B-CF16E18DDA28}" type="presParOf" srcId="{96ED8077-1209-4FEB-BE40-974EEE8B51BC}" destId="{DA540EB8-C202-4A53-9A45-A23B148058CC}" srcOrd="0" destOrd="0" presId="urn:microsoft.com/office/officeart/2005/8/layout/pyramid1"/>
    <dgm:cxn modelId="{B99735D0-585B-421A-B13B-9DE5BA14E097}" type="presParOf" srcId="{96ED8077-1209-4FEB-BE40-974EEE8B51BC}" destId="{CB749DEF-659A-4B30-81E6-D7648A40AE22}" srcOrd="1" destOrd="0" presId="urn:microsoft.com/office/officeart/2005/8/layout/pyramid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8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8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8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drawings/drawing1.xml><?xml version="1.0" encoding="utf-8"?>
<c:userShapes xmlns:c="http://schemas.openxmlformats.org/drawingml/2006/chart">
  <cdr:relSizeAnchor xmlns:cdr="http://schemas.openxmlformats.org/drawingml/2006/chartDrawing">
    <cdr:from>
      <cdr:x>0.46844</cdr:x>
      <cdr:y>0.41125</cdr:y>
    </cdr:from>
    <cdr:to>
      <cdr:x>0.66351</cdr:x>
      <cdr:y>0.73103</cdr:y>
    </cdr:to>
    <cdr:sp macro="" textlink="">
      <cdr:nvSpPr>
        <cdr:cNvPr id="2" name="TextBox 1">
          <a:extLst xmlns:a="http://schemas.openxmlformats.org/drawingml/2006/main">
            <a:ext uri="{FF2B5EF4-FFF2-40B4-BE49-F238E27FC236}">
              <a16:creationId xmlns="" xmlns:a16="http://schemas.microsoft.com/office/drawing/2014/main" id="{D93B495B-1AA0-464B-B1AD-3FF19BA5D12F}"/>
            </a:ext>
          </a:extLst>
        </cdr:cNvPr>
        <cdr:cNvSpPr txBox="1"/>
      </cdr:nvSpPr>
      <cdr:spPr>
        <a:xfrm xmlns:a="http://schemas.openxmlformats.org/drawingml/2006/main">
          <a:off x="1575173" y="1005655"/>
          <a:ext cx="655924" cy="78199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GB" sz="2000" dirty="0">
              <a:solidFill>
                <a:schemeClr val="bg1"/>
              </a:solidFill>
            </a:rPr>
            <a:t>80.2%</a:t>
          </a:r>
        </a:p>
        <a:p xmlns:a="http://schemas.openxmlformats.org/drawingml/2006/main">
          <a:pPr algn="ctr"/>
          <a:r>
            <a:rPr lang="en-GB" sz="1200" dirty="0">
              <a:solidFill>
                <a:schemeClr val="bg1"/>
              </a:solidFill>
            </a:rPr>
            <a:t>(73.3, 85.3) </a:t>
          </a:r>
        </a:p>
      </cdr:txBody>
    </cdr:sp>
  </cdr:relSizeAnchor>
</c:userShapes>
</file>

<file path=ppt/drawings/drawing2.xml><?xml version="1.0" encoding="utf-8"?>
<c:userShapes xmlns:c="http://schemas.openxmlformats.org/drawingml/2006/chart">
  <cdr:relSizeAnchor xmlns:cdr="http://schemas.openxmlformats.org/drawingml/2006/chartDrawing">
    <cdr:from>
      <cdr:x>0.44223</cdr:x>
      <cdr:y>0.33705</cdr:y>
    </cdr:from>
    <cdr:to>
      <cdr:x>0.66304</cdr:x>
      <cdr:y>0.69697</cdr:y>
    </cdr:to>
    <cdr:sp macro="" textlink="">
      <cdr:nvSpPr>
        <cdr:cNvPr id="2" name="TextBox 1">
          <a:extLst xmlns:a="http://schemas.openxmlformats.org/drawingml/2006/main">
            <a:ext uri="{FF2B5EF4-FFF2-40B4-BE49-F238E27FC236}">
              <a16:creationId xmlns="" xmlns:a16="http://schemas.microsoft.com/office/drawing/2014/main" id="{C83DA8B9-BC73-4709-A25F-B9BA87937ADF}"/>
            </a:ext>
          </a:extLst>
        </cdr:cNvPr>
        <cdr:cNvSpPr txBox="1"/>
      </cdr:nvSpPr>
      <cdr:spPr>
        <a:xfrm xmlns:a="http://schemas.openxmlformats.org/drawingml/2006/main">
          <a:off x="1982709" y="1108757"/>
          <a:ext cx="989985" cy="118397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GB" sz="2000" dirty="0">
              <a:solidFill>
                <a:schemeClr val="bg1"/>
              </a:solidFill>
            </a:rPr>
            <a:t>90.4%</a:t>
          </a:r>
        </a:p>
        <a:p xmlns:a="http://schemas.openxmlformats.org/drawingml/2006/main">
          <a:pPr algn="ctr"/>
          <a:r>
            <a:rPr lang="en-GB" sz="1200" dirty="0">
              <a:solidFill>
                <a:schemeClr val="bg1"/>
              </a:solidFill>
            </a:rPr>
            <a:t>(82.6, 94.7)</a:t>
          </a:r>
        </a:p>
      </cdr:txBody>
    </cdr:sp>
  </cdr:relSizeAnchor>
</c:userShapes>
</file>

<file path=ppt/drawings/drawing3.xml><?xml version="1.0" encoding="utf-8"?>
<c:userShapes xmlns:c="http://schemas.openxmlformats.org/drawingml/2006/chart">
  <cdr:relSizeAnchor xmlns:cdr="http://schemas.openxmlformats.org/drawingml/2006/chartDrawing">
    <cdr:from>
      <cdr:x>0.3</cdr:x>
      <cdr:y>0.60187</cdr:y>
    </cdr:from>
    <cdr:to>
      <cdr:x>0.5</cdr:x>
      <cdr:y>0.70285</cdr:y>
    </cdr:to>
    <cdr:sp macro="" textlink="">
      <cdr:nvSpPr>
        <cdr:cNvPr id="2" name="TextBox 1">
          <a:extLst xmlns:a="http://schemas.openxmlformats.org/drawingml/2006/main">
            <a:ext uri="{FF2B5EF4-FFF2-40B4-BE49-F238E27FC236}">
              <a16:creationId xmlns="" xmlns:a16="http://schemas.microsoft.com/office/drawing/2014/main" id="{CC21386F-F628-4A7E-AB0C-58E0463E05CB}"/>
            </a:ext>
          </a:extLst>
        </cdr:cNvPr>
        <cdr:cNvSpPr txBox="1"/>
      </cdr:nvSpPr>
      <cdr:spPr>
        <a:xfrm xmlns:a="http://schemas.openxmlformats.org/drawingml/2006/main">
          <a:off x="1371600" y="1651057"/>
          <a:ext cx="914400" cy="27699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GB" sz="1400" dirty="0">
              <a:solidFill>
                <a:schemeClr val="bg1"/>
              </a:solidFill>
            </a:rPr>
            <a:t>68.5, 95.5</a:t>
          </a:r>
        </a:p>
      </cdr:txBody>
    </cdr:sp>
  </cdr:relSizeAnchor>
  <cdr:relSizeAnchor xmlns:cdr="http://schemas.openxmlformats.org/drawingml/2006/chartDrawing">
    <cdr:from>
      <cdr:x>0.6348</cdr:x>
      <cdr:y>0.57668</cdr:y>
    </cdr:from>
    <cdr:to>
      <cdr:x>0.8348</cdr:x>
      <cdr:y>0.67766</cdr:y>
    </cdr:to>
    <cdr:sp macro="" textlink="">
      <cdr:nvSpPr>
        <cdr:cNvPr id="3" name="TextBox 1">
          <a:extLst xmlns:a="http://schemas.openxmlformats.org/drawingml/2006/main">
            <a:ext uri="{FF2B5EF4-FFF2-40B4-BE49-F238E27FC236}">
              <a16:creationId xmlns="" xmlns:a16="http://schemas.microsoft.com/office/drawing/2014/main" id="{B9B36CDD-6BD1-4EC5-B67D-1F5253A172FC}"/>
            </a:ext>
          </a:extLst>
        </cdr:cNvPr>
        <cdr:cNvSpPr txBox="1"/>
      </cdr:nvSpPr>
      <cdr:spPr>
        <a:xfrm xmlns:a="http://schemas.openxmlformats.org/drawingml/2006/main">
          <a:off x="2902324" y="1581946"/>
          <a:ext cx="914400" cy="276999"/>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GB" sz="1400" dirty="0">
              <a:solidFill>
                <a:schemeClr val="bg1"/>
              </a:solidFill>
            </a:rPr>
            <a:t>81.7, 95.9</a:t>
          </a:r>
        </a:p>
      </cdr:txBody>
    </cdr:sp>
  </cdr:relSizeAnchor>
  <cdr:relSizeAnchor xmlns:cdr="http://schemas.openxmlformats.org/drawingml/2006/chartDrawing">
    <cdr:from>
      <cdr:x>0.30052</cdr:x>
      <cdr:y>0.43925</cdr:y>
    </cdr:from>
    <cdr:to>
      <cdr:x>0.5417</cdr:x>
      <cdr:y>0.79888</cdr:y>
    </cdr:to>
    <cdr:sp macro="" textlink="">
      <cdr:nvSpPr>
        <cdr:cNvPr id="4" name="3 CuadroTexto"/>
        <cdr:cNvSpPr txBox="1"/>
      </cdr:nvSpPr>
      <cdr:spPr>
        <a:xfrm xmlns:a="http://schemas.openxmlformats.org/drawingml/2006/main">
          <a:off x="1139410" y="1116816"/>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s-AR" sz="1800" dirty="0" smtClean="0">
              <a:solidFill>
                <a:schemeClr val="bg1"/>
              </a:solidFill>
            </a:rPr>
            <a:t>88.1%</a:t>
          </a:r>
          <a:endParaRPr lang="es-ES" sz="1800" dirty="0">
            <a:solidFill>
              <a:schemeClr val="bg1"/>
            </a:solidFill>
          </a:endParaRPr>
        </a:p>
      </cdr:txBody>
    </cdr:sp>
  </cdr:relSizeAnchor>
</c:userShapes>
</file>

<file path=ppt/drawings/drawing4.xml><?xml version="1.0" encoding="utf-8"?>
<c:userShapes xmlns:c="http://schemas.openxmlformats.org/drawingml/2006/chart">
  <cdr:relSizeAnchor xmlns:cdr="http://schemas.openxmlformats.org/drawingml/2006/chartDrawing">
    <cdr:from>
      <cdr:x>0.30499</cdr:x>
      <cdr:y>0.59934</cdr:y>
    </cdr:from>
    <cdr:to>
      <cdr:x>0.48734</cdr:x>
      <cdr:y>0.88355</cdr:y>
    </cdr:to>
    <cdr:sp macro="" textlink="">
      <cdr:nvSpPr>
        <cdr:cNvPr id="2" name="TextBox 1">
          <a:extLst xmlns:a="http://schemas.openxmlformats.org/drawingml/2006/main">
            <a:ext uri="{FF2B5EF4-FFF2-40B4-BE49-F238E27FC236}">
              <a16:creationId xmlns="" xmlns:a16="http://schemas.microsoft.com/office/drawing/2014/main" id="{5F0027FC-597D-4DE7-95D0-CFDFE132CE26}"/>
            </a:ext>
          </a:extLst>
        </cdr:cNvPr>
        <cdr:cNvSpPr txBox="1"/>
      </cdr:nvSpPr>
      <cdr:spPr>
        <a:xfrm xmlns:a="http://schemas.openxmlformats.org/drawingml/2006/main">
          <a:off x="1529347" y="1928209"/>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GB" sz="1400" dirty="0">
              <a:solidFill>
                <a:schemeClr val="bg1"/>
              </a:solidFill>
            </a:rPr>
            <a:t>49.1, 77.5</a:t>
          </a:r>
        </a:p>
      </cdr:txBody>
    </cdr:sp>
  </cdr:relSizeAnchor>
  <cdr:relSizeAnchor xmlns:cdr="http://schemas.openxmlformats.org/drawingml/2006/chartDrawing">
    <cdr:from>
      <cdr:x>0.63375</cdr:x>
      <cdr:y>0.57372</cdr:y>
    </cdr:from>
    <cdr:to>
      <cdr:x>0.81611</cdr:x>
      <cdr:y>0.85793</cdr:y>
    </cdr:to>
    <cdr:sp macro="" textlink="">
      <cdr:nvSpPr>
        <cdr:cNvPr id="3" name="TextBox 2">
          <a:extLst xmlns:a="http://schemas.openxmlformats.org/drawingml/2006/main">
            <a:ext uri="{FF2B5EF4-FFF2-40B4-BE49-F238E27FC236}">
              <a16:creationId xmlns="" xmlns:a16="http://schemas.microsoft.com/office/drawing/2014/main" id="{31BDAAD0-BA5E-4576-9E41-D02DD166D2D7}"/>
            </a:ext>
          </a:extLst>
        </cdr:cNvPr>
        <cdr:cNvSpPr txBox="1"/>
      </cdr:nvSpPr>
      <cdr:spPr>
        <a:xfrm xmlns:a="http://schemas.openxmlformats.org/drawingml/2006/main">
          <a:off x="3177941" y="1845783"/>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GB" sz="1400" dirty="0">
              <a:solidFill>
                <a:schemeClr val="bg1"/>
              </a:solidFill>
            </a:rPr>
            <a:t>68.5, 81.9</a:t>
          </a:r>
        </a:p>
      </cdr:txBody>
    </cdr:sp>
  </cdr:relSizeAnchor>
  <cdr:relSizeAnchor xmlns:cdr="http://schemas.openxmlformats.org/drawingml/2006/chartDrawing">
    <cdr:from>
      <cdr:x>0.29939</cdr:x>
      <cdr:y>0.40813</cdr:y>
    </cdr:from>
    <cdr:to>
      <cdr:x>0.48363</cdr:x>
      <cdr:y>0.80232</cdr:y>
    </cdr:to>
    <cdr:sp macro="" textlink="">
      <cdr:nvSpPr>
        <cdr:cNvPr id="4" name="3 CuadroTexto"/>
        <cdr:cNvSpPr txBox="1"/>
      </cdr:nvSpPr>
      <cdr:spPr>
        <a:xfrm xmlns:a="http://schemas.openxmlformats.org/drawingml/2006/main">
          <a:off x="1125976" y="984789"/>
          <a:ext cx="692876" cy="951157"/>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s-AR" sz="2000" dirty="0" smtClean="0">
              <a:solidFill>
                <a:schemeClr val="bg1"/>
              </a:solidFill>
            </a:rPr>
            <a:t>66.2 %</a:t>
          </a:r>
          <a:endParaRPr lang="es-ES" sz="2000" dirty="0">
            <a:solidFill>
              <a:schemeClr val="bg1"/>
            </a:solidFill>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s-ES"/>
          </a:p>
        </p:txBody>
      </p:sp>
      <p:sp>
        <p:nvSpPr>
          <p:cNvPr id="3" name="2 Marcador de fecha"/>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F3F0314-9FC0-449A-A986-352540FE8F27}" type="datetimeFigureOut">
              <a:rPr lang="es-ES" smtClean="0"/>
              <a:pPr/>
              <a:t>07/08/2024</a:t>
            </a:fld>
            <a:endParaRPr lang="es-ES"/>
          </a:p>
        </p:txBody>
      </p:sp>
      <p:sp>
        <p:nvSpPr>
          <p:cNvPr id="4" name="3 Marcador de imagen de diapositiva"/>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s-ES"/>
          </a:p>
        </p:txBody>
      </p:sp>
      <p:sp>
        <p:nvSpPr>
          <p:cNvPr id="5" name="4 Marcador de notas"/>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5 Marcador de pie de página"/>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s-ES"/>
          </a:p>
        </p:txBody>
      </p:sp>
      <p:sp>
        <p:nvSpPr>
          <p:cNvPr id="7" name="6 Marcador de número de diapositiva"/>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E34F451-D373-444E-9B3A-FE5EF8E9211B}" type="slidenum">
              <a:rPr lang="es-ES" smtClean="0"/>
              <a:pPr/>
              <a:t>‹Nº›</a:t>
            </a:fld>
            <a:endParaRPr lang="es-ES"/>
          </a:p>
        </p:txBody>
      </p:sp>
    </p:spTree>
    <p:extLst>
      <p:ext uri="{BB962C8B-B14F-4D97-AF65-F5344CB8AC3E}">
        <p14:creationId xmlns:p14="http://schemas.microsoft.com/office/powerpoint/2010/main" val="227739147"/>
      </p:ext>
    </p:extLst>
  </p:cSld>
  <p:clrMap bg1="lt1" tx1="dk1" bg2="lt2" tx2="dk2" accent1="accent1" accent2="accent2" accent3="accent3" accent4="accent4" accent5="accent5" accent6="accent6" hlink="hlink" folHlink="folHlink"/>
  <p:notesStyle>
    <a:lvl1pPr marL="0" algn="l" defTabSz="914063" rtl="0" eaLnBrk="1" latinLnBrk="0" hangingPunct="1">
      <a:defRPr sz="1200" kern="1200">
        <a:solidFill>
          <a:schemeClr val="tx1"/>
        </a:solidFill>
        <a:latin typeface="+mn-lt"/>
        <a:ea typeface="+mn-ea"/>
        <a:cs typeface="+mn-cs"/>
      </a:defRPr>
    </a:lvl1pPr>
    <a:lvl2pPr marL="457022" algn="l" defTabSz="914063" rtl="0" eaLnBrk="1" latinLnBrk="0" hangingPunct="1">
      <a:defRPr sz="1200" kern="1200">
        <a:solidFill>
          <a:schemeClr val="tx1"/>
        </a:solidFill>
        <a:latin typeface="+mn-lt"/>
        <a:ea typeface="+mn-ea"/>
        <a:cs typeface="+mn-cs"/>
      </a:defRPr>
    </a:lvl2pPr>
    <a:lvl3pPr marL="914063" algn="l" defTabSz="914063" rtl="0" eaLnBrk="1" latinLnBrk="0" hangingPunct="1">
      <a:defRPr sz="1200" kern="1200">
        <a:solidFill>
          <a:schemeClr val="tx1"/>
        </a:solidFill>
        <a:latin typeface="+mn-lt"/>
        <a:ea typeface="+mn-ea"/>
        <a:cs typeface="+mn-cs"/>
      </a:defRPr>
    </a:lvl3pPr>
    <a:lvl4pPr marL="1371090" algn="l" defTabSz="914063" rtl="0" eaLnBrk="1" latinLnBrk="0" hangingPunct="1">
      <a:defRPr sz="1200" kern="1200">
        <a:solidFill>
          <a:schemeClr val="tx1"/>
        </a:solidFill>
        <a:latin typeface="+mn-lt"/>
        <a:ea typeface="+mn-ea"/>
        <a:cs typeface="+mn-cs"/>
      </a:defRPr>
    </a:lvl4pPr>
    <a:lvl5pPr marL="1828124" algn="l" defTabSz="914063" rtl="0" eaLnBrk="1" latinLnBrk="0" hangingPunct="1">
      <a:defRPr sz="1200" kern="1200">
        <a:solidFill>
          <a:schemeClr val="tx1"/>
        </a:solidFill>
        <a:latin typeface="+mn-lt"/>
        <a:ea typeface="+mn-ea"/>
        <a:cs typeface="+mn-cs"/>
      </a:defRPr>
    </a:lvl5pPr>
    <a:lvl6pPr marL="2285145" algn="l" defTabSz="914063" rtl="0" eaLnBrk="1" latinLnBrk="0" hangingPunct="1">
      <a:defRPr sz="1200" kern="1200">
        <a:solidFill>
          <a:schemeClr val="tx1"/>
        </a:solidFill>
        <a:latin typeface="+mn-lt"/>
        <a:ea typeface="+mn-ea"/>
        <a:cs typeface="+mn-cs"/>
      </a:defRPr>
    </a:lvl6pPr>
    <a:lvl7pPr marL="2742167" algn="l" defTabSz="914063" rtl="0" eaLnBrk="1" latinLnBrk="0" hangingPunct="1">
      <a:defRPr sz="1200" kern="1200">
        <a:solidFill>
          <a:schemeClr val="tx1"/>
        </a:solidFill>
        <a:latin typeface="+mn-lt"/>
        <a:ea typeface="+mn-ea"/>
        <a:cs typeface="+mn-cs"/>
      </a:defRPr>
    </a:lvl7pPr>
    <a:lvl8pPr marL="3199200" algn="l" defTabSz="914063" rtl="0" eaLnBrk="1" latinLnBrk="0" hangingPunct="1">
      <a:defRPr sz="1200" kern="1200">
        <a:solidFill>
          <a:schemeClr val="tx1"/>
        </a:solidFill>
        <a:latin typeface="+mn-lt"/>
        <a:ea typeface="+mn-ea"/>
        <a:cs typeface="+mn-cs"/>
      </a:defRPr>
    </a:lvl8pPr>
    <a:lvl9pPr marL="3656228" algn="l" defTabSz="9140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assets-dam.takeda.com/raw/upload/v1674594191/legacy-dotcom/siteassets/system/what-we-do/areas-of-focus/vaccines/pdf/ACC_Qdenga_SmPC.pdf" TargetMode="External"/><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pPr marL="171450" indent="-171450">
              <a:buFont typeface="Wingdings" charset="2"/>
              <a:buChar char="Ø"/>
            </a:pPr>
            <a:endParaRPr lang="es-ES" sz="1200" b="0" i="0" kern="1200" dirty="0" smtClean="0">
              <a:solidFill>
                <a:schemeClr val="tx1"/>
              </a:solidFill>
              <a:effectLst/>
              <a:latin typeface="+mn-lt"/>
              <a:ea typeface="+mn-ea"/>
              <a:cs typeface="+mn-cs"/>
            </a:endParaRPr>
          </a:p>
        </p:txBody>
      </p:sp>
      <p:sp>
        <p:nvSpPr>
          <p:cNvPr id="4" name="3 Marcador de número de diapositiva"/>
          <p:cNvSpPr>
            <a:spLocks noGrp="1"/>
          </p:cNvSpPr>
          <p:nvPr>
            <p:ph type="sldNum" sz="quarter" idx="10"/>
          </p:nvPr>
        </p:nvSpPr>
        <p:spPr/>
        <p:txBody>
          <a:bodyPr/>
          <a:lstStyle/>
          <a:p>
            <a:fld id="{09F82A0A-137D-47E5-BFA3-B591C455EB1A}" type="slidenum">
              <a:rPr lang="es-AR" smtClean="0"/>
              <a:t>3</a:t>
            </a:fld>
            <a:endParaRPr lang="es-AR"/>
          </a:p>
        </p:txBody>
      </p:sp>
    </p:spTree>
    <p:extLst>
      <p:ext uri="{BB962C8B-B14F-4D97-AF65-F5344CB8AC3E}">
        <p14:creationId xmlns:p14="http://schemas.microsoft.com/office/powerpoint/2010/main" val="916730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smtClean="0"/>
              <a:t>En el análisis de la curva epidémica de dengue a nivel país se registra un descenso en el número de casos semanales en la penúltima17 semana analizada respecto de la anterior (para la semana 13 se registraron hasta el momento 29.840 casos, casi un 32% inferior a lo registrado para la SE12). Si bien hay que tomar con prudencia los casos de las últimas semanas, porque pueden modificarse de acuerdo a la sucesiva integración de información por parte de los notificadores, este fenómeno no ocurría desde la SE50/2023 desde la cual se había verificado una tendencia ininterrumpida al aumento de casos hasta la SE12/2024. El mismo comportamiento de descenso en el número de casos en la SE13 respecto a la anterior se registra en las curvas de las regiones Centro, NOA, Cuyo y Sur, mientras que en la región NEA la tendencia en descenso continua desde hace 9 semanas. </a:t>
            </a:r>
          </a:p>
          <a:p>
            <a:endParaRPr lang="es-ES" dirty="0" smtClean="0"/>
          </a:p>
          <a:p>
            <a:pPr marL="0" marR="0" indent="0" algn="l" defTabSz="914063" rtl="0" eaLnBrk="1" fontAlgn="auto" latinLnBrk="0" hangingPunct="1">
              <a:lnSpc>
                <a:spcPct val="100000"/>
              </a:lnSpc>
              <a:spcBef>
                <a:spcPts val="0"/>
              </a:spcBef>
              <a:spcAft>
                <a:spcPts val="0"/>
              </a:spcAft>
              <a:buClrTx/>
              <a:buSzTx/>
              <a:buFontTx/>
              <a:buNone/>
              <a:tabLst/>
              <a:defRPr/>
            </a:pPr>
            <a:r>
              <a:rPr lang="es-ES" dirty="0" smtClean="0"/>
              <a:t>• Circulación viral persistente durante todo el período en la región NEA y adelantamiento del aumento estacional respecto a años epidémicos previos </a:t>
            </a:r>
            <a:endParaRPr lang="es-AR" dirty="0" smtClean="0"/>
          </a:p>
          <a:p>
            <a:endParaRPr lang="es-AR" dirty="0"/>
          </a:p>
        </p:txBody>
      </p:sp>
      <p:sp>
        <p:nvSpPr>
          <p:cNvPr id="4" name="Marcador de número de diapositiva 3"/>
          <p:cNvSpPr>
            <a:spLocks noGrp="1"/>
          </p:cNvSpPr>
          <p:nvPr>
            <p:ph type="sldNum" sz="quarter" idx="10"/>
          </p:nvPr>
        </p:nvSpPr>
        <p:spPr/>
        <p:txBody>
          <a:bodyPr/>
          <a:lstStyle/>
          <a:p>
            <a:fld id="{4E34F451-D373-444E-9B3A-FE5EF8E9211B}" type="slidenum">
              <a:rPr lang="es-ES" smtClean="0"/>
              <a:pPr/>
              <a:t>25</a:t>
            </a:fld>
            <a:endParaRPr lang="es-ES"/>
          </a:p>
        </p:txBody>
      </p:sp>
    </p:spTree>
    <p:extLst>
      <p:ext uri="{BB962C8B-B14F-4D97-AF65-F5344CB8AC3E}">
        <p14:creationId xmlns:p14="http://schemas.microsoft.com/office/powerpoint/2010/main" val="25795803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AR" dirty="0"/>
          </a:p>
        </p:txBody>
      </p:sp>
      <p:sp>
        <p:nvSpPr>
          <p:cNvPr id="4" name="Marcador de número de diapositiva 3"/>
          <p:cNvSpPr>
            <a:spLocks noGrp="1"/>
          </p:cNvSpPr>
          <p:nvPr>
            <p:ph type="sldNum" sz="quarter" idx="10"/>
          </p:nvPr>
        </p:nvSpPr>
        <p:spPr/>
        <p:txBody>
          <a:bodyPr/>
          <a:lstStyle/>
          <a:p>
            <a:fld id="{4E34F451-D373-444E-9B3A-FE5EF8E9211B}" type="slidenum">
              <a:rPr lang="es-ES" smtClean="0"/>
              <a:pPr/>
              <a:t>26</a:t>
            </a:fld>
            <a:endParaRPr lang="es-ES"/>
          </a:p>
        </p:txBody>
      </p:sp>
    </p:spTree>
    <p:extLst>
      <p:ext uri="{BB962C8B-B14F-4D97-AF65-F5344CB8AC3E}">
        <p14:creationId xmlns:p14="http://schemas.microsoft.com/office/powerpoint/2010/main" val="24581771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AR" dirty="0"/>
          </a:p>
        </p:txBody>
      </p:sp>
      <p:sp>
        <p:nvSpPr>
          <p:cNvPr id="4" name="Marcador de número de diapositiva 3"/>
          <p:cNvSpPr>
            <a:spLocks noGrp="1"/>
          </p:cNvSpPr>
          <p:nvPr>
            <p:ph type="sldNum" sz="quarter" idx="10"/>
          </p:nvPr>
        </p:nvSpPr>
        <p:spPr/>
        <p:txBody>
          <a:bodyPr/>
          <a:lstStyle/>
          <a:p>
            <a:fld id="{4E34F451-D373-444E-9B3A-FE5EF8E9211B}" type="slidenum">
              <a:rPr lang="es-ES" smtClean="0"/>
              <a:pPr/>
              <a:t>27</a:t>
            </a:fld>
            <a:endParaRPr lang="es-ES"/>
          </a:p>
        </p:txBody>
      </p:sp>
    </p:spTree>
    <p:extLst>
      <p:ext uri="{BB962C8B-B14F-4D97-AF65-F5344CB8AC3E}">
        <p14:creationId xmlns:p14="http://schemas.microsoft.com/office/powerpoint/2010/main" val="22381608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pPr marL="171450" indent="-171450">
              <a:buFont typeface="Wingdings" charset="2"/>
              <a:buChar char="Ø"/>
            </a:pPr>
            <a:endParaRPr lang="es-ES" sz="1200" b="0" i="0" kern="1200" dirty="0" smtClean="0">
              <a:solidFill>
                <a:schemeClr val="tx1"/>
              </a:solidFill>
              <a:effectLst/>
              <a:latin typeface="+mn-lt"/>
              <a:ea typeface="+mn-ea"/>
              <a:cs typeface="+mn-cs"/>
            </a:endParaRPr>
          </a:p>
        </p:txBody>
      </p:sp>
      <p:sp>
        <p:nvSpPr>
          <p:cNvPr id="4" name="3 Marcador de número de diapositiva"/>
          <p:cNvSpPr>
            <a:spLocks noGrp="1"/>
          </p:cNvSpPr>
          <p:nvPr>
            <p:ph type="sldNum" sz="quarter" idx="10"/>
          </p:nvPr>
        </p:nvSpPr>
        <p:spPr/>
        <p:txBody>
          <a:bodyPr/>
          <a:lstStyle/>
          <a:p>
            <a:fld id="{09F82A0A-137D-47E5-BFA3-B591C455EB1A}" type="slidenum">
              <a:rPr lang="es-AR" smtClean="0">
                <a:solidFill>
                  <a:prstClr val="black"/>
                </a:solidFill>
              </a:rPr>
              <a:pPr/>
              <a:t>30</a:t>
            </a:fld>
            <a:endParaRPr lang="es-AR">
              <a:solidFill>
                <a:prstClr val="black"/>
              </a:solidFill>
            </a:endParaRPr>
          </a:p>
        </p:txBody>
      </p:sp>
    </p:spTree>
    <p:extLst>
      <p:ext uri="{BB962C8B-B14F-4D97-AF65-F5344CB8AC3E}">
        <p14:creationId xmlns:p14="http://schemas.microsoft.com/office/powerpoint/2010/main" val="916730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85"/>
        <p:cNvGrpSpPr/>
        <p:nvPr/>
      </p:nvGrpSpPr>
      <p:grpSpPr>
        <a:xfrm>
          <a:off x="0" y="0"/>
          <a:ext cx="0" cy="0"/>
          <a:chOff x="0" y="0"/>
          <a:chExt cx="0" cy="0"/>
        </a:xfrm>
      </p:grpSpPr>
      <p:sp>
        <p:nvSpPr>
          <p:cNvPr id="486" name="Google Shape;486;p1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
        <p:nvSpPr>
          <p:cNvPr id="487" name="Google Shape;487;p1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900"/>
              <a:buNone/>
            </a:pPr>
            <a:r>
              <a:rPr lang="en-US" sz="900"/>
              <a:t>indondesia. ASiA donde esta el 70% de la carga de enfermedad. Planteado previo primo infeccion. Analisis por grupo etario de Pivotal menos eficacia clinica en 4-5 años y cae titulos de anticuerpos neutralizantes de 46-60 años. Tambien plantea viremia transitoria.  </a:t>
            </a:r>
            <a:r>
              <a:rPr lang="en-US" sz="900" u="sng">
                <a:solidFill>
                  <a:srgbClr val="000000"/>
                </a:solidFill>
                <a:hlinkClick r:id="rId3">
                  <a:extLst>
                    <a:ext uri="{A12FA001-AC4F-418D-AE19-62706E023703}">
                      <ahyp:hlinkClr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val="tx"/>
                    </a:ext>
                  </a:extLst>
                </a:hlinkClick>
              </a:rPr>
              <a:t>https://assets-dam.takeda.com/raw/upload/v1674594191/legacy-dotcom/siteassets/system/what-we-do/areas-of-focus/vaccines/pdf/ACC_Qdenga_SmPC.pdf</a:t>
            </a:r>
            <a:r>
              <a:rPr lang="en-US" sz="900"/>
              <a:t> pag 11 y 13 </a:t>
            </a:r>
            <a:endParaRPr/>
          </a:p>
        </p:txBody>
      </p:sp>
      <p:sp>
        <p:nvSpPr>
          <p:cNvPr id="488" name="Google Shape;488;p16:notes"/>
          <p:cNvSpPr txBox="1"/>
          <p:nvPr/>
        </p:nvSpPr>
        <p:spPr>
          <a:xfrm>
            <a:off x="3884612" y="8685212"/>
            <a:ext cx="2971800" cy="458787"/>
          </a:xfrm>
          <a:prstGeom prst="rect">
            <a:avLst/>
          </a:prstGeom>
          <a:noFill/>
          <a:ln>
            <a:noFill/>
          </a:ln>
        </p:spPr>
        <p:txBody>
          <a:bodyPr spcFirstLastPara="1" wrap="square" lIns="91425" tIns="45700" rIns="91425" bIns="45700" anchor="b" anchorCtr="0">
            <a:noAutofit/>
          </a:bodyPr>
          <a:lstStyle/>
          <a:p>
            <a:pPr algn="r" defTabSz="912690">
              <a:buClr>
                <a:srgbClr val="000000"/>
              </a:buClr>
              <a:buSzPts val="1400"/>
              <a:buFont typeface="Arial"/>
              <a:buNone/>
            </a:pPr>
            <a:fld id="{00000000-1234-1234-1234-123412341234}" type="slidenum">
              <a:rPr lang="en-US" sz="1400">
                <a:solidFill>
                  <a:srgbClr val="000000"/>
                </a:solidFill>
                <a:latin typeface="Arial"/>
                <a:ea typeface="Arial"/>
                <a:cs typeface="Arial"/>
                <a:sym typeface="Arial"/>
              </a:rPr>
              <a:pPr algn="r" defTabSz="912690">
                <a:buClr>
                  <a:srgbClr val="000000"/>
                </a:buClr>
                <a:buSzPts val="1400"/>
                <a:buFont typeface="Arial"/>
                <a:buNone/>
              </a:pPr>
              <a:t>31</a:t>
            </a:fld>
            <a:endParaRPr sz="1400">
              <a:solidFill>
                <a:srgbClr val="000000"/>
              </a:solidFill>
              <a:latin typeface="Arial"/>
              <a:ea typeface="Arial"/>
              <a:cs typeface="Arial"/>
              <a:sym typeface="Arial"/>
            </a:endParaRPr>
          </a:p>
        </p:txBody>
      </p:sp>
    </p:spTree>
    <p:extLst>
      <p:ext uri="{BB962C8B-B14F-4D97-AF65-F5344CB8AC3E}">
        <p14:creationId xmlns:p14="http://schemas.microsoft.com/office/powerpoint/2010/main" val="35615923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14400">
              <a:defRPr/>
            </a:pPr>
            <a:fld id="{CEDB620F-9065-4E0D-8D9D-4F204AB69C9B}" type="slidenum">
              <a:rPr kumimoji="1" lang="en-US" altLang="ja-JP" smtClean="0">
                <a:solidFill>
                  <a:prstClr val="black"/>
                </a:solidFill>
              </a:rPr>
              <a:pPr defTabSz="914400">
                <a:defRPr/>
              </a:pPr>
              <a:t>32</a:t>
            </a:fld>
            <a:endParaRPr kumimoji="1" lang="en-US" altLang="ja-JP">
              <a:solidFill>
                <a:prstClr val="black"/>
              </a:solidFill>
            </a:endParaRPr>
          </a:p>
        </p:txBody>
      </p:sp>
    </p:spTree>
    <p:extLst>
      <p:ext uri="{BB962C8B-B14F-4D97-AF65-F5344CB8AC3E}">
        <p14:creationId xmlns:p14="http://schemas.microsoft.com/office/powerpoint/2010/main" val="41161860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
              <a:t>TAK-003 consiste en un DEN-2 recombinante atenuado vivo y tres virus quiméricos basados en el esqueleto de DEN-2 que contiene las proteínas M y de envoltura de DEN 1, 3 y 4. lo que hace que la vacuna retenga las 16 proteínas del dengue,</a:t>
            </a:r>
          </a:p>
          <a:p>
            <a:r>
              <a:rPr lang="es"/>
              <a:t>De esta manera asegura la activación de diferentes brazos de mecanismos inmunológicos.</a:t>
            </a:r>
          </a:p>
        </p:txBody>
      </p:sp>
      <p:sp>
        <p:nvSpPr>
          <p:cNvPr id="4" name="Slide Number Placeholder 3"/>
          <p:cNvSpPr>
            <a:spLocks noGrp="1"/>
          </p:cNvSpPr>
          <p:nvPr>
            <p:ph type="sldNum" sz="quarter" idx="5"/>
          </p:nvPr>
        </p:nvSpPr>
        <p:spPr/>
        <p:txBody>
          <a:bodyPr/>
          <a:lstStyle/>
          <a:p>
            <a:pPr defTabSz="914400">
              <a:defRPr/>
            </a:pPr>
            <a:fld id="{CEDB620F-9065-4E0D-8D9D-4F204AB69C9B}" type="slidenum">
              <a:rPr lang="en-US" altLang="ja-JP" smtClean="0">
                <a:solidFill>
                  <a:prstClr val="black"/>
                </a:solidFill>
                <a:ea typeface="游ゴシック" panose="020B0400000000000000" pitchFamily="34" charset="-128"/>
              </a:rPr>
              <a:pPr defTabSz="914400">
                <a:defRPr/>
              </a:pPr>
              <a:t>33</a:t>
            </a:fld>
            <a:endParaRPr lang="en-US" altLang="ja-JP">
              <a:solidFill>
                <a:prstClr val="black"/>
              </a:solidFill>
              <a:ea typeface="游ゴシック" panose="020B0400000000000000" pitchFamily="34" charset="-128"/>
            </a:endParaRPr>
          </a:p>
        </p:txBody>
      </p:sp>
    </p:spTree>
    <p:extLst>
      <p:ext uri="{BB962C8B-B14F-4D97-AF65-F5344CB8AC3E}">
        <p14:creationId xmlns:p14="http://schemas.microsoft.com/office/powerpoint/2010/main" val="33528391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1200" dirty="0"/>
              <a:t>TAK-003 ha tenido un ambicioso programa clínico que abarca 18 ensayos clínicos en 13 países y 88 centros de investigación.  Más de 28,000 participantes recibieron TAK-003 o placebo, con ~ 19,000 receptores de al menos una dosis de la vacuna.  </a:t>
            </a:r>
            <a:r>
              <a:rPr lang="es" altLang="en-US" sz="800" dirty="0"/>
              <a:t>Nuestro extenso programa de desarrollo clínico incluye 5 estudios de fase 1, 4 estudios de fase 2 (313 es fase 2) y 6 estudios de fase 3.  </a:t>
            </a:r>
          </a:p>
          <a:p>
            <a:pPr>
              <a:defRPr/>
            </a:pPr>
            <a:endParaRPr lang="en-US" altLang="en-US" sz="800" dirty="0"/>
          </a:p>
          <a:p>
            <a:pPr>
              <a:defRPr/>
            </a:pPr>
            <a:r>
              <a:rPr lang="es" sz="1000" dirty="0">
                <a:latin typeface="Arial"/>
              </a:rPr>
              <a:t>La eficacia, seguridad e inmunogenicidad de dos dosis de TDV se están evaluando actualmente en un ensayo clínico aleatorizado de fase 3 a gran escala en niños de 4 a 16 años que viven en América Latina y Asia, DEN-301</a:t>
            </a:r>
            <a:r>
              <a:rPr lang="es" altLang="en-US" sz="800" dirty="0"/>
              <a:t>.</a:t>
            </a:r>
            <a:endParaRPr lang="en-US" u="none"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A9BB172-D16F-4816-9D83-5C66E70B21A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80232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381000" y="685800"/>
            <a:ext cx="6096000" cy="3429000"/>
          </a:xfrm>
        </p:spPr>
      </p:sp>
      <p:sp>
        <p:nvSpPr>
          <p:cNvPr id="3" name="2 Marcador de notas"/>
          <p:cNvSpPr>
            <a:spLocks noGrp="1"/>
          </p:cNvSpPr>
          <p:nvPr>
            <p:ph type="body" idx="1"/>
          </p:nvPr>
        </p:nvSpPr>
        <p:spPr/>
        <p:txBody>
          <a:bodyPr/>
          <a:lstStyle/>
          <a:p>
            <a:endParaRPr lang="es-AR" dirty="0"/>
          </a:p>
        </p:txBody>
      </p:sp>
      <p:sp>
        <p:nvSpPr>
          <p:cNvPr id="4" name="3 Marcador de número de diapositiva"/>
          <p:cNvSpPr>
            <a:spLocks noGrp="1"/>
          </p:cNvSpPr>
          <p:nvPr>
            <p:ph type="sldNum" sz="quarter" idx="10"/>
          </p:nvPr>
        </p:nvSpPr>
        <p:spPr/>
        <p:txBody>
          <a:bodyPr/>
          <a:lstStyle/>
          <a:p>
            <a:fld id="{E6EC7165-C8ED-4983-B0C1-6E3D1F17829F}" type="slidenum">
              <a:rPr lang="es-AR" smtClean="0">
                <a:solidFill>
                  <a:prstClr val="black"/>
                </a:solidFill>
              </a:rPr>
              <a:pPr/>
              <a:t>36</a:t>
            </a:fld>
            <a:endParaRPr lang="es-AR">
              <a:solidFill>
                <a:prstClr val="black"/>
              </a:solidFill>
            </a:endParaRPr>
          </a:p>
        </p:txBody>
      </p:sp>
    </p:spTree>
    <p:extLst>
      <p:ext uri="{BB962C8B-B14F-4D97-AF65-F5344CB8AC3E}">
        <p14:creationId xmlns:p14="http://schemas.microsoft.com/office/powerpoint/2010/main" val="14437588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14400">
              <a:defRPr/>
            </a:pPr>
            <a:fld id="{CEDB620F-9065-4E0D-8D9D-4F204AB69C9B}" type="slidenum">
              <a:rPr lang="en-US" altLang="ja-JP" smtClean="0">
                <a:solidFill>
                  <a:prstClr val="black"/>
                </a:solidFill>
                <a:ea typeface="游ゴシック" panose="020B0400000000000000" pitchFamily="34" charset="-128"/>
              </a:rPr>
              <a:pPr defTabSz="914400">
                <a:defRPr/>
              </a:pPr>
              <a:t>39</a:t>
            </a:fld>
            <a:endParaRPr lang="en-US" altLang="ja-JP">
              <a:solidFill>
                <a:prstClr val="black"/>
              </a:solidFill>
              <a:ea typeface="游ゴシック" panose="020B0400000000000000" pitchFamily="34" charset="-128"/>
            </a:endParaRPr>
          </a:p>
        </p:txBody>
      </p:sp>
    </p:spTree>
    <p:extLst>
      <p:ext uri="{BB962C8B-B14F-4D97-AF65-F5344CB8AC3E}">
        <p14:creationId xmlns:p14="http://schemas.microsoft.com/office/powerpoint/2010/main" val="834218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pPr marL="171450" indent="-171450">
              <a:buFont typeface="Wingdings" charset="2"/>
              <a:buChar char="Ø"/>
            </a:pPr>
            <a:endParaRPr lang="es-ES" sz="1200" b="0" i="0" kern="1200" dirty="0" smtClean="0">
              <a:solidFill>
                <a:schemeClr val="tx1"/>
              </a:solidFill>
              <a:effectLst/>
              <a:latin typeface="+mn-lt"/>
              <a:ea typeface="+mn-ea"/>
              <a:cs typeface="+mn-cs"/>
            </a:endParaRPr>
          </a:p>
        </p:txBody>
      </p:sp>
      <p:sp>
        <p:nvSpPr>
          <p:cNvPr id="4" name="3 Marcador de número de diapositiva"/>
          <p:cNvSpPr>
            <a:spLocks noGrp="1"/>
          </p:cNvSpPr>
          <p:nvPr>
            <p:ph type="sldNum" sz="quarter" idx="10"/>
          </p:nvPr>
        </p:nvSpPr>
        <p:spPr/>
        <p:txBody>
          <a:bodyPr/>
          <a:lstStyle/>
          <a:p>
            <a:fld id="{09F82A0A-137D-47E5-BFA3-B591C455EB1A}" type="slidenum">
              <a:rPr lang="es-AR" smtClean="0"/>
              <a:t>4</a:t>
            </a:fld>
            <a:endParaRPr lang="es-AR"/>
          </a:p>
        </p:txBody>
      </p:sp>
    </p:spTree>
    <p:extLst>
      <p:ext uri="{BB962C8B-B14F-4D97-AF65-F5344CB8AC3E}">
        <p14:creationId xmlns:p14="http://schemas.microsoft.com/office/powerpoint/2010/main" val="19363410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3361">
              <a:defRPr/>
            </a:pPr>
            <a:r>
              <a:rPr lang="es" b="1" dirty="0"/>
              <a:t>Información  de derechos de autor: </a:t>
            </a:r>
            <a:r>
              <a:rPr lang="es" b="0" dirty="0"/>
              <a:t>Estas imágenes no están protegidas por derechos de autor; por lo tanto, pueden ser utilizadas externamente.</a:t>
            </a:r>
            <a:endParaRPr lang="en-US" altLang="en-US" b="0" dirty="0"/>
          </a:p>
          <a:p>
            <a:endParaRPr lang="en-GB" dirty="0"/>
          </a:p>
          <a:p>
            <a:r>
              <a:rPr lang="es" dirty="0"/>
              <a:t>Destacado: Explicar la densidad de incidencia: El número de casos confirmados del número total de sujetos multiplicado por 100 años-persona</a:t>
            </a:r>
          </a:p>
          <a:p>
            <a:r>
              <a:rPr lang="es" dirty="0"/>
              <a:t>Incidencia = (Número de casos/número total de sujetos por grupo) * 100 años-persona</a:t>
            </a:r>
          </a:p>
        </p:txBody>
      </p:sp>
      <p:sp>
        <p:nvSpPr>
          <p:cNvPr id="4" name="Slide Number Placeholder 3"/>
          <p:cNvSpPr>
            <a:spLocks noGrp="1"/>
          </p:cNvSpPr>
          <p:nvPr>
            <p:ph type="sldNum" sz="quarter" idx="5"/>
          </p:nvPr>
        </p:nvSpPr>
        <p:spPr/>
        <p:txBody>
          <a:bodyPr/>
          <a:lstStyle/>
          <a:p>
            <a:pPr defTabSz="923361">
              <a:defRPr/>
            </a:pPr>
            <a:fld id="{CEDB620F-9065-4E0D-8D9D-4F204AB69C9B}" type="slidenum">
              <a:rPr kumimoji="1" lang="ja-JP" altLang="en-US">
                <a:solidFill>
                  <a:prstClr val="black"/>
                </a:solidFill>
              </a:rPr>
              <a:pPr defTabSz="923361">
                <a:defRPr/>
              </a:pPr>
              <a:t>40</a:t>
            </a:fld>
            <a:endParaRPr kumimoji="1" lang="ja-JP" altLang="en-US">
              <a:solidFill>
                <a:prstClr val="black"/>
              </a:solidFill>
            </a:endParaRPr>
          </a:p>
        </p:txBody>
      </p:sp>
    </p:spTree>
    <p:extLst>
      <p:ext uri="{BB962C8B-B14F-4D97-AF65-F5344CB8AC3E}">
        <p14:creationId xmlns:p14="http://schemas.microsoft.com/office/powerpoint/2010/main" val="16675978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3361">
              <a:defRPr/>
            </a:pPr>
            <a:r>
              <a:rPr lang="es" b="1"/>
              <a:t>Información de derechos de autor: </a:t>
            </a:r>
            <a:r>
              <a:rPr lang="es" b="0"/>
              <a:t>Estos gráficos no están protegidos por derechos de autor; por lo tanto, pueden usarse externamente.</a:t>
            </a:r>
            <a:endParaRPr lang="en-US" altLang="en-US" b="0"/>
          </a:p>
          <a:p>
            <a:endParaRPr lang="en-GB"/>
          </a:p>
          <a:p>
            <a:r>
              <a:rPr lang="es"/>
              <a:t>Lo más destacado: La eficacia de la vacuna fue comparable independientemente del estado serológico basal y se mantuvo en los cuatro serotipos; DENV-4 probablemente tiene más fluctuación debido al número limitado de casos (evidenciado por IC amplios)</a:t>
            </a:r>
          </a:p>
        </p:txBody>
      </p:sp>
      <p:sp>
        <p:nvSpPr>
          <p:cNvPr id="4" name="Slide Number Placeholder 3"/>
          <p:cNvSpPr>
            <a:spLocks noGrp="1"/>
          </p:cNvSpPr>
          <p:nvPr>
            <p:ph type="sldNum" sz="quarter" idx="5"/>
          </p:nvPr>
        </p:nvSpPr>
        <p:spPr/>
        <p:txBody>
          <a:bodyPr/>
          <a:lstStyle/>
          <a:p>
            <a:pPr defTabSz="923361">
              <a:defRPr/>
            </a:pPr>
            <a:fld id="{CEDB620F-9065-4E0D-8D9D-4F204AB69C9B}" type="slidenum">
              <a:rPr kumimoji="1" lang="ja-JP" altLang="en-US">
                <a:solidFill>
                  <a:prstClr val="black"/>
                </a:solidFill>
              </a:rPr>
              <a:pPr defTabSz="923361">
                <a:defRPr/>
              </a:pPr>
              <a:t>41</a:t>
            </a:fld>
            <a:endParaRPr kumimoji="1" lang="ja-JP" altLang="en-US">
              <a:solidFill>
                <a:prstClr val="black"/>
              </a:solidFill>
            </a:endParaRPr>
          </a:p>
        </p:txBody>
      </p:sp>
    </p:spTree>
    <p:extLst>
      <p:ext uri="{BB962C8B-B14F-4D97-AF65-F5344CB8AC3E}">
        <p14:creationId xmlns:p14="http://schemas.microsoft.com/office/powerpoint/2010/main" val="211008445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14400">
              <a:defRPr/>
            </a:pPr>
            <a:fld id="{15C1C3D9-43E5-4B7E-91E6-F392515E8AB5}" type="slidenum">
              <a:rPr lang="en-GB" smtClean="0">
                <a:solidFill>
                  <a:prstClr val="black"/>
                </a:solidFill>
              </a:rPr>
              <a:pPr defTabSz="914400">
                <a:defRPr/>
              </a:pPr>
              <a:t>42</a:t>
            </a:fld>
            <a:endParaRPr lang="en-GB">
              <a:solidFill>
                <a:prstClr val="black"/>
              </a:solidFill>
            </a:endParaRPr>
          </a:p>
        </p:txBody>
      </p:sp>
    </p:spTree>
    <p:extLst>
      <p:ext uri="{BB962C8B-B14F-4D97-AF65-F5344CB8AC3E}">
        <p14:creationId xmlns:p14="http://schemas.microsoft.com/office/powerpoint/2010/main" val="231228568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14400">
              <a:defRPr/>
            </a:pPr>
            <a:fld id="{CEDB620F-9065-4E0D-8D9D-4F204AB69C9B}" type="slidenum">
              <a:rPr kumimoji="1" lang="en-US" altLang="ja-JP" smtClean="0">
                <a:solidFill>
                  <a:prstClr val="black"/>
                </a:solidFill>
              </a:rPr>
              <a:pPr defTabSz="914400">
                <a:defRPr/>
              </a:pPr>
              <a:t>44</a:t>
            </a:fld>
            <a:endParaRPr kumimoji="1" lang="en-US" altLang="ja-JP">
              <a:solidFill>
                <a:prstClr val="black"/>
              </a:solidFill>
            </a:endParaRPr>
          </a:p>
        </p:txBody>
      </p:sp>
    </p:spTree>
    <p:extLst>
      <p:ext uri="{BB962C8B-B14F-4D97-AF65-F5344CB8AC3E}">
        <p14:creationId xmlns:p14="http://schemas.microsoft.com/office/powerpoint/2010/main" val="341033205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14400">
              <a:defRPr/>
            </a:pPr>
            <a:fld id="{CEDB620F-9065-4E0D-8D9D-4F204AB69C9B}" type="slidenum">
              <a:rPr kumimoji="1" lang="en-US" altLang="ja-JP" smtClean="0">
                <a:solidFill>
                  <a:prstClr val="black"/>
                </a:solidFill>
              </a:rPr>
              <a:pPr defTabSz="914400">
                <a:defRPr/>
              </a:pPr>
              <a:t>45</a:t>
            </a:fld>
            <a:endParaRPr kumimoji="1" lang="en-US" altLang="ja-JP">
              <a:solidFill>
                <a:prstClr val="black"/>
              </a:solidFill>
            </a:endParaRPr>
          </a:p>
        </p:txBody>
      </p:sp>
    </p:spTree>
    <p:extLst>
      <p:ext uri="{BB962C8B-B14F-4D97-AF65-F5344CB8AC3E}">
        <p14:creationId xmlns:p14="http://schemas.microsoft.com/office/powerpoint/2010/main" val="349944879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AR" sz="1200" b="1" i="1" kern="1200" dirty="0" smtClean="0">
                <a:solidFill>
                  <a:schemeClr val="tx1"/>
                </a:solidFill>
                <a:effectLst/>
                <a:latin typeface="+mn-lt"/>
                <a:ea typeface="+mn-ea"/>
                <a:cs typeface="+mn-cs"/>
              </a:rPr>
              <a:t>Los pacientes con dengue y signos de alarma, se clasifican como dengue grave si tienen los siguientes criterios: </a:t>
            </a:r>
            <a:endParaRPr lang="es-AR" sz="1200" kern="1200" dirty="0" smtClean="0">
              <a:solidFill>
                <a:schemeClr val="tx1"/>
              </a:solidFill>
              <a:effectLst/>
              <a:latin typeface="+mn-lt"/>
              <a:ea typeface="+mn-ea"/>
              <a:cs typeface="+mn-cs"/>
            </a:endParaRPr>
          </a:p>
          <a:p>
            <a:pPr lvl="0"/>
            <a:r>
              <a:rPr lang="es-AR" sz="1200" b="1" kern="1200" dirty="0" err="1" smtClean="0">
                <a:solidFill>
                  <a:schemeClr val="tx1"/>
                </a:solidFill>
                <a:effectLst/>
                <a:latin typeface="+mn-lt"/>
                <a:ea typeface="+mn-ea"/>
                <a:cs typeface="+mn-cs"/>
              </a:rPr>
              <a:t>Shoch</a:t>
            </a:r>
            <a:r>
              <a:rPr lang="es-AR" sz="1200" b="1" kern="1200" dirty="0" smtClean="0">
                <a:solidFill>
                  <a:schemeClr val="tx1"/>
                </a:solidFill>
                <a:effectLst/>
                <a:latin typeface="+mn-lt"/>
                <a:ea typeface="+mn-ea"/>
                <a:cs typeface="+mn-cs"/>
              </a:rPr>
              <a:t> hipovolémico, por fuga de plasma </a:t>
            </a:r>
            <a:endParaRPr lang="es-AR" sz="1200" kern="1200" dirty="0" smtClean="0">
              <a:solidFill>
                <a:schemeClr val="tx1"/>
              </a:solidFill>
              <a:effectLst/>
              <a:latin typeface="+mn-lt"/>
              <a:ea typeface="+mn-ea"/>
              <a:cs typeface="+mn-cs"/>
            </a:endParaRPr>
          </a:p>
          <a:p>
            <a:pPr lvl="0"/>
            <a:r>
              <a:rPr lang="es-AR" sz="1200" b="1" kern="1200" dirty="0" err="1" smtClean="0">
                <a:solidFill>
                  <a:schemeClr val="tx1"/>
                </a:solidFill>
                <a:effectLst/>
                <a:latin typeface="+mn-lt"/>
                <a:ea typeface="+mn-ea"/>
                <a:cs typeface="+mn-cs"/>
              </a:rPr>
              <a:t>Distres</a:t>
            </a:r>
            <a:r>
              <a:rPr lang="es-AR" sz="1200" b="1" kern="1200" dirty="0" smtClean="0">
                <a:solidFill>
                  <a:schemeClr val="tx1"/>
                </a:solidFill>
                <a:effectLst/>
                <a:latin typeface="+mn-lt"/>
                <a:ea typeface="+mn-ea"/>
                <a:cs typeface="+mn-cs"/>
              </a:rPr>
              <a:t> respiratorio, por acumulación de líquidos </a:t>
            </a:r>
            <a:endParaRPr lang="es-AR" sz="1200" kern="1200" dirty="0" smtClean="0">
              <a:solidFill>
                <a:schemeClr val="tx1"/>
              </a:solidFill>
              <a:effectLst/>
              <a:latin typeface="+mn-lt"/>
              <a:ea typeface="+mn-ea"/>
              <a:cs typeface="+mn-cs"/>
            </a:endParaRPr>
          </a:p>
          <a:p>
            <a:pPr lvl="0"/>
            <a:r>
              <a:rPr lang="es-AR" sz="1200" b="1" kern="1200" dirty="0" smtClean="0">
                <a:solidFill>
                  <a:schemeClr val="tx1"/>
                </a:solidFill>
                <a:effectLst/>
                <a:latin typeface="+mn-lt"/>
                <a:ea typeface="+mn-ea"/>
                <a:cs typeface="+mn-cs"/>
              </a:rPr>
              <a:t>Sangrado grave </a:t>
            </a:r>
            <a:endParaRPr lang="es-AR" sz="1200" kern="1200" dirty="0" smtClean="0">
              <a:solidFill>
                <a:schemeClr val="tx1"/>
              </a:solidFill>
              <a:effectLst/>
              <a:latin typeface="+mn-lt"/>
              <a:ea typeface="+mn-ea"/>
              <a:cs typeface="+mn-cs"/>
            </a:endParaRPr>
          </a:p>
          <a:p>
            <a:pPr lvl="0"/>
            <a:r>
              <a:rPr lang="es-AR" sz="1200" b="1" kern="1200" dirty="0" smtClean="0">
                <a:solidFill>
                  <a:schemeClr val="tx1"/>
                </a:solidFill>
                <a:effectLst/>
                <a:latin typeface="+mn-lt"/>
                <a:ea typeface="+mn-ea"/>
                <a:cs typeface="+mn-cs"/>
              </a:rPr>
              <a:t>Daño orgánico importante</a:t>
            </a:r>
            <a:endParaRPr lang="es-AR" sz="1200" kern="1200" dirty="0" smtClean="0">
              <a:solidFill>
                <a:schemeClr val="tx1"/>
              </a:solidFill>
              <a:effectLst/>
              <a:latin typeface="+mn-lt"/>
              <a:ea typeface="+mn-ea"/>
              <a:cs typeface="+mn-cs"/>
            </a:endParaRPr>
          </a:p>
          <a:p>
            <a:endParaRPr lang="es-AR" dirty="0"/>
          </a:p>
        </p:txBody>
      </p:sp>
      <p:sp>
        <p:nvSpPr>
          <p:cNvPr id="4" name="Marcador de número de diapositiva 3"/>
          <p:cNvSpPr>
            <a:spLocks noGrp="1"/>
          </p:cNvSpPr>
          <p:nvPr>
            <p:ph type="sldNum" sz="quarter" idx="10"/>
          </p:nvPr>
        </p:nvSpPr>
        <p:spPr/>
        <p:txBody>
          <a:bodyPr/>
          <a:lstStyle/>
          <a:p>
            <a:fld id="{4E34F451-D373-444E-9B3A-FE5EF8E9211B}" type="slidenum">
              <a:rPr lang="es-ES" smtClean="0"/>
              <a:pPr/>
              <a:t>46</a:t>
            </a:fld>
            <a:endParaRPr lang="es-ES"/>
          </a:p>
        </p:txBody>
      </p:sp>
    </p:spTree>
    <p:extLst>
      <p:ext uri="{BB962C8B-B14F-4D97-AF65-F5344CB8AC3E}">
        <p14:creationId xmlns:p14="http://schemas.microsoft.com/office/powerpoint/2010/main" val="321637343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500"/>
              </a:spcBef>
            </a:pPr>
            <a:r>
              <a:rPr lang="es" sz="1200">
                <a:solidFill>
                  <a:srgbClr val="EA5633"/>
                </a:solidFill>
                <a:latin typeface="Franklin Gothic Medium" panose="020B0603020102020204" pitchFamily="34" charset="0"/>
              </a:rPr>
              <a:t>Muertes durante DEN-301</a:t>
            </a:r>
          </a:p>
          <a:p>
            <a:pPr>
              <a:spcBef>
                <a:spcPts val="500"/>
              </a:spcBef>
            </a:pPr>
            <a:r>
              <a:rPr lang="es" sz="1200" b="0">
                <a:solidFill>
                  <a:schemeClr val="tx1"/>
                </a:solidFill>
                <a:latin typeface="Franklin Gothic Book" panose="020B0503020102020204" pitchFamily="34" charset="0"/>
              </a:rPr>
              <a:t>Las </a:t>
            </a:r>
            <a:r>
              <a:rPr lang="es" sz="1200" b="0">
                <a:solidFill>
                  <a:srgbClr val="00B050"/>
                </a:solidFill>
                <a:latin typeface="Franklin Gothic Book" panose="020B0503020102020204" pitchFamily="34" charset="0"/>
              </a:rPr>
              <a:t>diecisiete</a:t>
            </a:r>
            <a:r>
              <a:rPr lang="es" sz="1200" b="0">
                <a:solidFill>
                  <a:schemeClr val="tx1"/>
                </a:solidFill>
                <a:latin typeface="Franklin Gothic Book" panose="020B0503020102020204" pitchFamily="34" charset="0"/>
              </a:rPr>
              <a:t> muertes ocurridas entre 18  y </a:t>
            </a:r>
            <a:r>
              <a:rPr lang="es" sz="1200" b="0">
                <a:solidFill>
                  <a:srgbClr val="00B050"/>
                </a:solidFill>
                <a:latin typeface="Franklin Gothic Book" panose="020B0503020102020204" pitchFamily="34" charset="0"/>
              </a:rPr>
              <a:t>54 </a:t>
            </a:r>
            <a:r>
              <a:rPr lang="es" sz="1200">
                <a:solidFill>
                  <a:schemeClr val="tx1"/>
                </a:solidFill>
                <a:latin typeface="Franklin Gothic Book" panose="020B0503020102020204" pitchFamily="34" charset="0"/>
              </a:rPr>
              <a:t>meses después de la segunda dosis se debieron a las siguientes circunstancias: adenocarcinoma de colon, accidente de tráfico, herida por elemento punzante, lesión pulmonar traumática secundaria a ahogamiento, suicidio consumado, disfunción orgánica múltiple secundaria a intento de suicidio y lesión cerebral traumática.</a:t>
            </a:r>
            <a:endParaRPr lang="en-US" sz="1200" i="1" baseline="30000">
              <a:solidFill>
                <a:schemeClr val="tx1"/>
              </a:solidFill>
              <a:latin typeface="Franklin Gothic Book" panose="020B0503020102020204" pitchFamily="34" charset="0"/>
            </a:endParaRPr>
          </a:p>
          <a:p>
            <a:endParaRPr lang="en-US"/>
          </a:p>
          <a:p>
            <a:r>
              <a:rPr lang="es"/>
              <a:t>- EAG que conduce a la interrupción del estudio = muertes (todas consideradas no relacionadas con el producto médico en investigación)</a:t>
            </a:r>
          </a:p>
        </p:txBody>
      </p:sp>
      <p:sp>
        <p:nvSpPr>
          <p:cNvPr id="4" name="Slide Number Placeholder 3"/>
          <p:cNvSpPr>
            <a:spLocks noGrp="1"/>
          </p:cNvSpPr>
          <p:nvPr>
            <p:ph type="sldNum" sz="quarter" idx="5"/>
          </p:nvPr>
        </p:nvSpPr>
        <p:spPr/>
        <p:txBody>
          <a:bodyPr/>
          <a:lstStyle/>
          <a:p>
            <a:pPr defTabSz="914400">
              <a:defRPr/>
            </a:pPr>
            <a:fld id="{CEDB620F-9065-4E0D-8D9D-4F204AB69C9B}" type="slidenum">
              <a:rPr kumimoji="1" lang="en-US" altLang="ja-JP" smtClean="0">
                <a:solidFill>
                  <a:prstClr val="black"/>
                </a:solidFill>
              </a:rPr>
              <a:pPr defTabSz="914400">
                <a:defRPr/>
              </a:pPr>
              <a:t>47</a:t>
            </a:fld>
            <a:endParaRPr kumimoji="1" lang="en-US" altLang="ja-JP">
              <a:solidFill>
                <a:prstClr val="black"/>
              </a:solidFill>
            </a:endParaRPr>
          </a:p>
        </p:txBody>
      </p:sp>
    </p:spTree>
    <p:extLst>
      <p:ext uri="{BB962C8B-B14F-4D97-AF65-F5344CB8AC3E}">
        <p14:creationId xmlns:p14="http://schemas.microsoft.com/office/powerpoint/2010/main" val="70931560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dirty="0"/>
          </a:p>
        </p:txBody>
      </p:sp>
      <p:sp>
        <p:nvSpPr>
          <p:cNvPr id="4" name="Slide Number Placeholder 3"/>
          <p:cNvSpPr>
            <a:spLocks noGrp="1"/>
          </p:cNvSpPr>
          <p:nvPr>
            <p:ph type="sldNum" sz="quarter" idx="5"/>
          </p:nvPr>
        </p:nvSpPr>
        <p:spPr/>
        <p:txBody>
          <a:bodyPr/>
          <a:lstStyle/>
          <a:p>
            <a:fld id="{49E0EA7B-6822-4EC8-8C65-EACC542A1394}" type="slidenum">
              <a:rPr lang="en-US" smtClean="0"/>
              <a:t>55</a:t>
            </a:fld>
            <a:endParaRPr lang="en-US"/>
          </a:p>
        </p:txBody>
      </p:sp>
    </p:spTree>
    <p:extLst>
      <p:ext uri="{BB962C8B-B14F-4D97-AF65-F5344CB8AC3E}">
        <p14:creationId xmlns:p14="http://schemas.microsoft.com/office/powerpoint/2010/main" val="371938694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Así</a:t>
            </a:r>
            <a:r>
              <a:rPr lang="en-US" dirty="0"/>
              <a:t> </a:t>
            </a:r>
            <a:r>
              <a:rPr lang="en-US" dirty="0" err="1"/>
              <a:t>llegamos</a:t>
            </a:r>
            <a:r>
              <a:rPr lang="en-US" dirty="0"/>
              <a:t> a la </a:t>
            </a:r>
            <a:r>
              <a:rPr lang="en-US" dirty="0" err="1"/>
              <a:t>vacuna</a:t>
            </a:r>
            <a:r>
              <a:rPr lang="en-US" dirty="0"/>
              <a:t> candidate con </a:t>
            </a:r>
            <a:r>
              <a:rPr lang="en-US" dirty="0" err="1"/>
              <a:t>una</a:t>
            </a:r>
            <a:r>
              <a:rPr lang="en-US" dirty="0"/>
              <a:t> </a:t>
            </a:r>
            <a:r>
              <a:rPr lang="en-US" dirty="0" err="1"/>
              <a:t>inidcacion</a:t>
            </a:r>
            <a:r>
              <a:rPr lang="en-US" dirty="0"/>
              <a:t> para personas </a:t>
            </a:r>
            <a:r>
              <a:rPr lang="en-US" dirty="0" err="1"/>
              <a:t>mayores</a:t>
            </a:r>
            <a:r>
              <a:rPr lang="en-US" dirty="0"/>
              <a:t> de 4 </a:t>
            </a:r>
            <a:r>
              <a:rPr lang="en-US" dirty="0" err="1"/>
              <a:t>años</a:t>
            </a:r>
            <a:r>
              <a:rPr lang="en-US" dirty="0"/>
              <a:t> </a:t>
            </a:r>
            <a:r>
              <a:rPr lang="en-US" dirty="0" err="1"/>
              <a:t>independientemente</a:t>
            </a:r>
            <a:r>
              <a:rPr lang="en-US" dirty="0"/>
              <a:t> del </a:t>
            </a:r>
            <a:r>
              <a:rPr lang="en-US" dirty="0" err="1"/>
              <a:t>estado</a:t>
            </a:r>
            <a:r>
              <a:rPr lang="en-US" dirty="0"/>
              <a:t> </a:t>
            </a:r>
            <a:r>
              <a:rPr lang="en-US" dirty="0" err="1"/>
              <a:t>serológico</a:t>
            </a:r>
            <a:r>
              <a:rPr lang="en-US" dirty="0"/>
              <a:t> . Un </a:t>
            </a:r>
            <a:r>
              <a:rPr lang="en-US" dirty="0" err="1"/>
              <a:t>esquema</a:t>
            </a:r>
            <a:r>
              <a:rPr lang="en-US" dirty="0"/>
              <a:t> de dos </a:t>
            </a:r>
            <a:r>
              <a:rPr lang="en-US" dirty="0" err="1"/>
              <a:t>dosis</a:t>
            </a:r>
            <a:r>
              <a:rPr lang="en-US" dirty="0"/>
              <a:t> con interval de 3 meses, de </a:t>
            </a:r>
            <a:r>
              <a:rPr lang="en-US" dirty="0" err="1"/>
              <a:t>administracion</a:t>
            </a:r>
            <a:r>
              <a:rPr lang="en-US" dirty="0"/>
              <a:t> </a:t>
            </a:r>
            <a:r>
              <a:rPr lang="en-US" dirty="0" err="1"/>
              <a:t>subcutánea</a:t>
            </a:r>
            <a:endParaRPr lang="en-US" dirty="0"/>
          </a:p>
        </p:txBody>
      </p:sp>
      <p:sp>
        <p:nvSpPr>
          <p:cNvPr id="4" name="Slide Number Placeholder 3"/>
          <p:cNvSpPr>
            <a:spLocks noGrp="1"/>
          </p:cNvSpPr>
          <p:nvPr>
            <p:ph type="sldNum" sz="quarter" idx="5"/>
          </p:nvPr>
        </p:nvSpPr>
        <p:spPr/>
        <p:txBody>
          <a:bodyPr/>
          <a:lstStyle/>
          <a:p>
            <a:pPr defTabSz="914400">
              <a:defRPr/>
            </a:pPr>
            <a:fld id="{698272F8-52FF-4FF4-8F4A-67E76EC94E21}" type="slidenum">
              <a:rPr kumimoji="1" lang="en-US" smtClean="0">
                <a:solidFill>
                  <a:prstClr val="black"/>
                </a:solidFill>
              </a:rPr>
              <a:pPr defTabSz="914400">
                <a:defRPr/>
              </a:pPr>
              <a:t>56</a:t>
            </a:fld>
            <a:endParaRPr kumimoji="1" lang="en-US">
              <a:solidFill>
                <a:prstClr val="black"/>
              </a:solidFill>
            </a:endParaRPr>
          </a:p>
        </p:txBody>
      </p:sp>
    </p:spTree>
    <p:extLst>
      <p:ext uri="{BB962C8B-B14F-4D97-AF65-F5344CB8AC3E}">
        <p14:creationId xmlns:p14="http://schemas.microsoft.com/office/powerpoint/2010/main" val="412580848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0"/>
        <p:cNvGrpSpPr/>
        <p:nvPr/>
      </p:nvGrpSpPr>
      <p:grpSpPr>
        <a:xfrm>
          <a:off x="0" y="0"/>
          <a:ext cx="0" cy="0"/>
          <a:chOff x="0" y="0"/>
          <a:chExt cx="0" cy="0"/>
        </a:xfrm>
      </p:grpSpPr>
      <p:sp>
        <p:nvSpPr>
          <p:cNvPr id="451" name="Google Shape;451;p1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
        <p:nvSpPr>
          <p:cNvPr id="452" name="Google Shape;452;p1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453" name="Google Shape;453;p14:notes"/>
          <p:cNvSpPr txBox="1"/>
          <p:nvPr/>
        </p:nvSpPr>
        <p:spPr>
          <a:xfrm>
            <a:off x="3884612" y="8685212"/>
            <a:ext cx="2971800" cy="458787"/>
          </a:xfrm>
          <a:prstGeom prst="rect">
            <a:avLst/>
          </a:prstGeom>
          <a:noFill/>
          <a:ln>
            <a:noFill/>
          </a:ln>
        </p:spPr>
        <p:txBody>
          <a:bodyPr spcFirstLastPara="1" wrap="square" lIns="91425" tIns="45700" rIns="91425" bIns="45700" anchor="b" anchorCtr="0">
            <a:noAutofit/>
          </a:bodyPr>
          <a:lstStyle/>
          <a:p>
            <a:pPr algn="r" defTabSz="912690">
              <a:buClr>
                <a:srgbClr val="000000"/>
              </a:buClr>
              <a:buSzPts val="1400"/>
              <a:buFont typeface="Arial"/>
              <a:buNone/>
            </a:pPr>
            <a:fld id="{00000000-1234-1234-1234-123412341234}" type="slidenum">
              <a:rPr lang="en-US" sz="1400">
                <a:solidFill>
                  <a:srgbClr val="000000"/>
                </a:solidFill>
                <a:latin typeface="Arial"/>
                <a:ea typeface="Arial"/>
                <a:cs typeface="Arial"/>
                <a:sym typeface="Arial"/>
              </a:rPr>
              <a:pPr algn="r" defTabSz="912690">
                <a:buClr>
                  <a:srgbClr val="000000"/>
                </a:buClr>
                <a:buSzPts val="1400"/>
                <a:buFont typeface="Arial"/>
                <a:buNone/>
              </a:pPr>
              <a:t>75</a:t>
            </a:fld>
            <a:endParaRPr sz="1400">
              <a:solidFill>
                <a:srgbClr val="000000"/>
              </a:solidFill>
              <a:latin typeface="Arial"/>
              <a:ea typeface="Arial"/>
              <a:cs typeface="Arial"/>
              <a:sym typeface="Arial"/>
            </a:endParaRPr>
          </a:p>
        </p:txBody>
      </p:sp>
    </p:spTree>
    <p:extLst>
      <p:ext uri="{BB962C8B-B14F-4D97-AF65-F5344CB8AC3E}">
        <p14:creationId xmlns:p14="http://schemas.microsoft.com/office/powerpoint/2010/main" val="20704137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fld id="{8BC9B0A7-1A20-4C96-A26C-CEC1E05FB44D}" type="slidenum">
              <a:rPr lang="es-ES" altLang="es-AR">
                <a:solidFill>
                  <a:prstClr val="black"/>
                </a:solidFill>
              </a:rPr>
              <a:pPr/>
              <a:t>5</a:t>
            </a:fld>
            <a:endParaRPr lang="es-ES" altLang="es-AR">
              <a:solidFill>
                <a:prstClr val="black"/>
              </a:solidFill>
            </a:endParaRPr>
          </a:p>
        </p:txBody>
      </p:sp>
      <p:sp>
        <p:nvSpPr>
          <p:cNvPr id="142338" name="Rectangle 7"/>
          <p:cNvSpPr txBox="1">
            <a:spLocks noGrp="1" noChangeArrowheads="1"/>
          </p:cNvSpPr>
          <p:nvPr/>
        </p:nvSpPr>
        <p:spPr bwMode="auto">
          <a:xfrm>
            <a:off x="3885275" y="8686362"/>
            <a:ext cx="2972725" cy="457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998" tIns="45999" rIns="91998" bIns="45999" anchor="b"/>
          <a:lstStyle>
            <a:lvl1pPr algn="l" defTabSz="920750">
              <a:defRPr>
                <a:solidFill>
                  <a:schemeClr val="tx1"/>
                </a:solidFill>
                <a:latin typeface="Arial" charset="0"/>
                <a:cs typeface="Arial" charset="0"/>
              </a:defRPr>
            </a:lvl1pPr>
            <a:lvl2pPr marL="747713" indent="-287338" algn="l" defTabSz="920750">
              <a:defRPr>
                <a:solidFill>
                  <a:schemeClr val="tx1"/>
                </a:solidFill>
                <a:latin typeface="Arial" charset="0"/>
                <a:cs typeface="Arial" charset="0"/>
              </a:defRPr>
            </a:lvl2pPr>
            <a:lvl3pPr marL="1149350" indent="-228600" algn="l" defTabSz="920750">
              <a:defRPr>
                <a:solidFill>
                  <a:schemeClr val="tx1"/>
                </a:solidFill>
                <a:latin typeface="Arial" charset="0"/>
                <a:cs typeface="Arial" charset="0"/>
              </a:defRPr>
            </a:lvl3pPr>
            <a:lvl4pPr marL="1609725" indent="-230188" algn="l" defTabSz="920750">
              <a:defRPr>
                <a:solidFill>
                  <a:schemeClr val="tx1"/>
                </a:solidFill>
                <a:latin typeface="Arial" charset="0"/>
                <a:cs typeface="Arial" charset="0"/>
              </a:defRPr>
            </a:lvl4pPr>
            <a:lvl5pPr marL="2070100" indent="-230188" algn="l" defTabSz="920750">
              <a:defRPr>
                <a:solidFill>
                  <a:schemeClr val="tx1"/>
                </a:solidFill>
                <a:latin typeface="Arial" charset="0"/>
                <a:cs typeface="Arial" charset="0"/>
              </a:defRPr>
            </a:lvl5pPr>
            <a:lvl6pPr marL="2527300" indent="-230188" defTabSz="920750" fontAlgn="base">
              <a:spcBef>
                <a:spcPct val="0"/>
              </a:spcBef>
              <a:spcAft>
                <a:spcPct val="0"/>
              </a:spcAft>
              <a:defRPr>
                <a:solidFill>
                  <a:schemeClr val="tx1"/>
                </a:solidFill>
                <a:latin typeface="Arial" charset="0"/>
                <a:cs typeface="Arial" charset="0"/>
              </a:defRPr>
            </a:lvl6pPr>
            <a:lvl7pPr marL="2984500" indent="-230188" defTabSz="920750" fontAlgn="base">
              <a:spcBef>
                <a:spcPct val="0"/>
              </a:spcBef>
              <a:spcAft>
                <a:spcPct val="0"/>
              </a:spcAft>
              <a:defRPr>
                <a:solidFill>
                  <a:schemeClr val="tx1"/>
                </a:solidFill>
                <a:latin typeface="Arial" charset="0"/>
                <a:cs typeface="Arial" charset="0"/>
              </a:defRPr>
            </a:lvl7pPr>
            <a:lvl8pPr marL="3441700" indent="-230188" defTabSz="920750" fontAlgn="base">
              <a:spcBef>
                <a:spcPct val="0"/>
              </a:spcBef>
              <a:spcAft>
                <a:spcPct val="0"/>
              </a:spcAft>
              <a:defRPr>
                <a:solidFill>
                  <a:schemeClr val="tx1"/>
                </a:solidFill>
                <a:latin typeface="Arial" charset="0"/>
                <a:cs typeface="Arial" charset="0"/>
              </a:defRPr>
            </a:lvl8pPr>
            <a:lvl9pPr marL="3898900" indent="-230188" defTabSz="920750" fontAlgn="base">
              <a:spcBef>
                <a:spcPct val="0"/>
              </a:spcBef>
              <a:spcAft>
                <a:spcPct val="0"/>
              </a:spcAft>
              <a:defRPr>
                <a:solidFill>
                  <a:schemeClr val="tx1"/>
                </a:solidFill>
                <a:latin typeface="Arial" charset="0"/>
                <a:cs typeface="Arial" charset="0"/>
              </a:defRPr>
            </a:lvl9pPr>
          </a:lstStyle>
          <a:p>
            <a:pPr algn="r" eaLnBrk="0" hangingPunct="0"/>
            <a:fld id="{0CDBBCCB-9E7A-4934-ADFB-27B3C5C761C2}" type="slidenum">
              <a:rPr lang="es-ES_tradnl" altLang="es-AR" sz="1200">
                <a:solidFill>
                  <a:prstClr val="black"/>
                </a:solidFill>
                <a:latin typeface="Times New Roman" pitchFamily="18" charset="0"/>
              </a:rPr>
              <a:pPr algn="r" eaLnBrk="0" hangingPunct="0"/>
              <a:t>5</a:t>
            </a:fld>
            <a:endParaRPr lang="es-ES_tradnl" altLang="es-AR" sz="1200">
              <a:solidFill>
                <a:prstClr val="black"/>
              </a:solidFill>
              <a:latin typeface="Times New Roman" pitchFamily="18" charset="0"/>
            </a:endParaRPr>
          </a:p>
        </p:txBody>
      </p:sp>
      <p:sp>
        <p:nvSpPr>
          <p:cNvPr id="142339" name="Rectangle 2"/>
          <p:cNvSpPr>
            <a:spLocks noGrp="1" noRot="1" noChangeAspect="1" noChangeArrowheads="1" noTextEdit="1"/>
          </p:cNvSpPr>
          <p:nvPr>
            <p:ph type="sldImg"/>
          </p:nvPr>
        </p:nvSpPr>
        <p:spPr>
          <a:xfrm>
            <a:off x="384175" y="687388"/>
            <a:ext cx="6092825" cy="3427412"/>
          </a:xfrm>
          <a:ln/>
        </p:spPr>
      </p:sp>
      <p:sp>
        <p:nvSpPr>
          <p:cNvPr id="142340" name="Rectangle 3"/>
          <p:cNvSpPr>
            <a:spLocks noGrp="1" noChangeArrowheads="1"/>
          </p:cNvSpPr>
          <p:nvPr>
            <p:ph type="body" idx="1"/>
          </p:nvPr>
        </p:nvSpPr>
        <p:spPr>
          <a:xfrm>
            <a:off x="915816" y="4342450"/>
            <a:ext cx="5026369" cy="4114361"/>
          </a:xfrm>
        </p:spPr>
        <p:txBody>
          <a:bodyPr lIns="91998" tIns="45999" rIns="91998" bIns="45999"/>
          <a:lstStyle/>
          <a:p>
            <a:pPr marL="171450" indent="-171450">
              <a:buFont typeface="Wingdings" charset="2"/>
              <a:buChar char="Ø"/>
            </a:pPr>
            <a:endParaRPr lang="es-ES_tradnl" altLang="es-AR" b="1" dirty="0"/>
          </a:p>
        </p:txBody>
      </p:sp>
    </p:spTree>
    <p:extLst>
      <p:ext uri="{BB962C8B-B14F-4D97-AF65-F5344CB8AC3E}">
        <p14:creationId xmlns:p14="http://schemas.microsoft.com/office/powerpoint/2010/main" val="337591193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14400">
              <a:defRPr/>
            </a:pPr>
            <a:fld id="{CEDB620F-9065-4E0D-8D9D-4F204AB69C9B}" type="slidenum">
              <a:rPr kumimoji="1" lang="en-US" altLang="ja-JP" smtClean="0">
                <a:solidFill>
                  <a:prstClr val="black"/>
                </a:solidFill>
              </a:rPr>
              <a:pPr defTabSz="914400">
                <a:defRPr/>
              </a:pPr>
              <a:t>77</a:t>
            </a:fld>
            <a:endParaRPr kumimoji="1" lang="en-US" altLang="ja-JP">
              <a:solidFill>
                <a:prstClr val="black"/>
              </a:solidFill>
            </a:endParaRPr>
          </a:p>
        </p:txBody>
      </p:sp>
    </p:spTree>
    <p:extLst>
      <p:ext uri="{BB962C8B-B14F-4D97-AF65-F5344CB8AC3E}">
        <p14:creationId xmlns:p14="http://schemas.microsoft.com/office/powerpoint/2010/main" val="156467612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5"/>
          </p:nvPr>
        </p:nvSpPr>
        <p:spPr/>
        <p:txBody>
          <a:bodyPr/>
          <a:lstStyle/>
          <a:p>
            <a:pPr defTabSz="914400">
              <a:defRPr/>
            </a:pPr>
            <a:fld id="{CEDB620F-9065-4E0D-8D9D-4F204AB69C9B}" type="slidenum">
              <a:rPr kumimoji="1" lang="en-US" altLang="ja-JP" smtClean="0">
                <a:solidFill>
                  <a:prstClr val="black"/>
                </a:solidFill>
              </a:rPr>
              <a:pPr defTabSz="914400">
                <a:defRPr/>
              </a:pPr>
              <a:t>78</a:t>
            </a:fld>
            <a:endParaRPr kumimoji="1" lang="en-US" altLang="ja-JP">
              <a:solidFill>
                <a:prstClr val="black"/>
              </a:solidFill>
            </a:endParaRPr>
          </a:p>
        </p:txBody>
      </p:sp>
    </p:spTree>
    <p:extLst>
      <p:ext uri="{BB962C8B-B14F-4D97-AF65-F5344CB8AC3E}">
        <p14:creationId xmlns:p14="http://schemas.microsoft.com/office/powerpoint/2010/main" val="175480462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7"/>
        <p:cNvGrpSpPr/>
        <p:nvPr/>
      </p:nvGrpSpPr>
      <p:grpSpPr>
        <a:xfrm>
          <a:off x="0" y="0"/>
          <a:ext cx="0" cy="0"/>
          <a:chOff x="0" y="0"/>
          <a:chExt cx="0" cy="0"/>
        </a:xfrm>
      </p:grpSpPr>
      <p:sp>
        <p:nvSpPr>
          <p:cNvPr id="308" name="Google Shape;308;p1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309" name="Google Shape;309;p1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574019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endParaRPr lang="es-AR" dirty="0"/>
          </a:p>
        </p:txBody>
      </p:sp>
      <p:sp>
        <p:nvSpPr>
          <p:cNvPr id="4" name="Marcador de número de diapositiva 3"/>
          <p:cNvSpPr>
            <a:spLocks noGrp="1"/>
          </p:cNvSpPr>
          <p:nvPr>
            <p:ph type="sldNum" sz="quarter" idx="10"/>
          </p:nvPr>
        </p:nvSpPr>
        <p:spPr/>
        <p:txBody>
          <a:bodyPr/>
          <a:lstStyle/>
          <a:p>
            <a:fld id="{4E34F451-D373-444E-9B3A-FE5EF8E9211B}" type="slidenum">
              <a:rPr lang="es-ES" smtClean="0"/>
              <a:pPr/>
              <a:t>6</a:t>
            </a:fld>
            <a:endParaRPr lang="es-ES"/>
          </a:p>
        </p:txBody>
      </p:sp>
    </p:spTree>
    <p:extLst>
      <p:ext uri="{BB962C8B-B14F-4D97-AF65-F5344CB8AC3E}">
        <p14:creationId xmlns:p14="http://schemas.microsoft.com/office/powerpoint/2010/main" val="21982647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indent="0" algn="l" defTabSz="914063" rtl="0" eaLnBrk="1" fontAlgn="auto" latinLnBrk="0" hangingPunct="1">
              <a:lnSpc>
                <a:spcPct val="100000"/>
              </a:lnSpc>
              <a:spcBef>
                <a:spcPts val="0"/>
              </a:spcBef>
              <a:spcAft>
                <a:spcPts val="0"/>
              </a:spcAft>
              <a:buClrTx/>
              <a:buSzTx/>
              <a:buFontTx/>
              <a:buNone/>
              <a:tabLst/>
              <a:defRPr/>
            </a:pPr>
            <a:r>
              <a:rPr lang="es-AR" sz="1200" kern="1200" dirty="0" smtClean="0">
                <a:solidFill>
                  <a:schemeClr val="tx1"/>
                </a:solidFill>
                <a:effectLst/>
                <a:latin typeface="+mn-lt"/>
                <a:ea typeface="+mn-ea"/>
                <a:cs typeface="+mn-cs"/>
              </a:rPr>
              <a:t>La transmisión vertical es rara; muy pocos casos se han reportado, y se ha asociado al serotipo 2, por su capacidad para cruzar la barrera placentaria. </a:t>
            </a:r>
          </a:p>
          <a:p>
            <a:endParaRPr lang="es-AR" dirty="0" smtClean="0"/>
          </a:p>
          <a:p>
            <a:r>
              <a:rPr lang="es-ES" sz="1200" b="0" i="0" kern="1200" dirty="0" smtClean="0">
                <a:solidFill>
                  <a:schemeClr val="tx1"/>
                </a:solidFill>
                <a:effectLst/>
                <a:latin typeface="+mn-lt"/>
                <a:ea typeface="+mn-ea"/>
                <a:cs typeface="+mn-cs"/>
              </a:rPr>
              <a:t>Los huevos pueden resistir la sequedad y sobrevivir por más de seis meses. Cuando el recipiente se vuelve a llenar de agua, los huevos se convierten en larvas. El ciclo de vida del mosquito, de huevo a adulto, puede completarse en tan solo 7 u 8 días. Los mosquitos adultos viven aproximadamente tres semanas.</a:t>
            </a:r>
            <a:endParaRPr lang="es-AR" dirty="0"/>
          </a:p>
        </p:txBody>
      </p:sp>
      <p:sp>
        <p:nvSpPr>
          <p:cNvPr id="4" name="Marcador de número de diapositiva 3"/>
          <p:cNvSpPr>
            <a:spLocks noGrp="1"/>
          </p:cNvSpPr>
          <p:nvPr>
            <p:ph type="sldNum" sz="quarter" idx="10"/>
          </p:nvPr>
        </p:nvSpPr>
        <p:spPr/>
        <p:txBody>
          <a:bodyPr/>
          <a:lstStyle/>
          <a:p>
            <a:fld id="{4E34F451-D373-444E-9B3A-FE5EF8E9211B}" type="slidenum">
              <a:rPr lang="es-ES" smtClean="0"/>
              <a:pPr/>
              <a:t>8</a:t>
            </a:fld>
            <a:endParaRPr lang="es-ES"/>
          </a:p>
        </p:txBody>
      </p:sp>
    </p:spTree>
    <p:extLst>
      <p:ext uri="{BB962C8B-B14F-4D97-AF65-F5344CB8AC3E}">
        <p14:creationId xmlns:p14="http://schemas.microsoft.com/office/powerpoint/2010/main" val="7946739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sz="1200" b="0" i="0" kern="1200" dirty="0" smtClean="0">
                <a:solidFill>
                  <a:schemeClr val="tx1"/>
                </a:solidFill>
                <a:effectLst/>
                <a:latin typeface="+mn-lt"/>
                <a:ea typeface="+mn-ea"/>
                <a:cs typeface="+mn-cs"/>
              </a:rPr>
              <a:t>El Aedes </a:t>
            </a:r>
            <a:r>
              <a:rPr lang="es-ES" sz="1200" b="0" i="0" kern="1200" dirty="0" err="1" smtClean="0">
                <a:solidFill>
                  <a:schemeClr val="tx1"/>
                </a:solidFill>
                <a:effectLst/>
                <a:latin typeface="+mn-lt"/>
                <a:ea typeface="+mn-ea"/>
                <a:cs typeface="+mn-cs"/>
              </a:rPr>
              <a:t>aegypti</a:t>
            </a:r>
            <a:r>
              <a:rPr lang="es-ES" sz="1200" b="0" i="0" kern="1200" dirty="0" smtClean="0">
                <a:solidFill>
                  <a:schemeClr val="tx1"/>
                </a:solidFill>
                <a:effectLst/>
                <a:latin typeface="+mn-lt"/>
                <a:ea typeface="+mn-ea"/>
                <a:cs typeface="+mn-cs"/>
              </a:rPr>
              <a:t>, es una especie tropical y subtropical originaria de África, ampliamente distribuida por el mundo. El Aedes </a:t>
            </a:r>
            <a:r>
              <a:rPr lang="es-ES" sz="1200" b="0" i="0" kern="1200" dirty="0" err="1" smtClean="0">
                <a:solidFill>
                  <a:schemeClr val="tx1"/>
                </a:solidFill>
                <a:effectLst/>
                <a:latin typeface="+mn-lt"/>
                <a:ea typeface="+mn-ea"/>
                <a:cs typeface="+mn-cs"/>
              </a:rPr>
              <a:t>albopictus</a:t>
            </a:r>
            <a:r>
              <a:rPr lang="es-ES" sz="1200" b="0" i="0" kern="1200" dirty="0" smtClean="0">
                <a:solidFill>
                  <a:schemeClr val="tx1"/>
                </a:solidFill>
                <a:effectLst/>
                <a:latin typeface="+mn-lt"/>
                <a:ea typeface="+mn-ea"/>
                <a:cs typeface="+mn-cs"/>
              </a:rPr>
              <a:t> se considera un vector secundario de las enfermedades, y se le ha atribuido clásicamente un menor potencial de transmisión.</a:t>
            </a:r>
            <a:endParaRPr lang="es-AR" dirty="0"/>
          </a:p>
        </p:txBody>
      </p:sp>
      <p:sp>
        <p:nvSpPr>
          <p:cNvPr id="4" name="Marcador de número de diapositiva 3"/>
          <p:cNvSpPr>
            <a:spLocks noGrp="1"/>
          </p:cNvSpPr>
          <p:nvPr>
            <p:ph type="sldNum" sz="quarter" idx="10"/>
          </p:nvPr>
        </p:nvSpPr>
        <p:spPr/>
        <p:txBody>
          <a:bodyPr/>
          <a:lstStyle/>
          <a:p>
            <a:fld id="{4E34F451-D373-444E-9B3A-FE5EF8E9211B}" type="slidenum">
              <a:rPr lang="es-ES" smtClean="0"/>
              <a:pPr/>
              <a:t>9</a:t>
            </a:fld>
            <a:endParaRPr lang="es-ES"/>
          </a:p>
        </p:txBody>
      </p:sp>
    </p:spTree>
    <p:extLst>
      <p:ext uri="{BB962C8B-B14F-4D97-AF65-F5344CB8AC3E}">
        <p14:creationId xmlns:p14="http://schemas.microsoft.com/office/powerpoint/2010/main" val="24251500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endParaRPr lang="es-ES_tradnl" dirty="0"/>
          </a:p>
        </p:txBody>
      </p:sp>
      <p:sp>
        <p:nvSpPr>
          <p:cNvPr id="4" name="Marcador de número de diapositiva 3"/>
          <p:cNvSpPr>
            <a:spLocks noGrp="1"/>
          </p:cNvSpPr>
          <p:nvPr>
            <p:ph type="sldNum" sz="quarter" idx="10"/>
          </p:nvPr>
        </p:nvSpPr>
        <p:spPr/>
        <p:txBody>
          <a:bodyPr/>
          <a:lstStyle/>
          <a:p>
            <a:fld id="{09F82A0A-137D-47E5-BFA3-B591C455EB1A}" type="slidenum">
              <a:rPr lang="es-AR" smtClean="0"/>
              <a:t>16</a:t>
            </a:fld>
            <a:endParaRPr lang="es-AR"/>
          </a:p>
        </p:txBody>
      </p:sp>
    </p:spTree>
    <p:extLst>
      <p:ext uri="{BB962C8B-B14F-4D97-AF65-F5344CB8AC3E}">
        <p14:creationId xmlns:p14="http://schemas.microsoft.com/office/powerpoint/2010/main" val="28042281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pPr marL="171450" indent="-171450">
              <a:buFont typeface="Wingdings" charset="2"/>
              <a:buChar char="Ø"/>
            </a:pPr>
            <a:endParaRPr lang="es-ES_tradnl" sz="1200" kern="1200" dirty="0">
              <a:solidFill>
                <a:schemeClr val="tx1"/>
              </a:solidFill>
              <a:effectLst/>
              <a:latin typeface="+mn-lt"/>
              <a:ea typeface="+mn-ea"/>
              <a:cs typeface="+mn-cs"/>
            </a:endParaRPr>
          </a:p>
        </p:txBody>
      </p:sp>
      <p:sp>
        <p:nvSpPr>
          <p:cNvPr id="4" name="Marcador de número de diapositiva 3"/>
          <p:cNvSpPr>
            <a:spLocks noGrp="1"/>
          </p:cNvSpPr>
          <p:nvPr>
            <p:ph type="sldNum" sz="quarter" idx="10"/>
          </p:nvPr>
        </p:nvSpPr>
        <p:spPr/>
        <p:txBody>
          <a:bodyPr/>
          <a:lstStyle/>
          <a:p>
            <a:fld id="{09F82A0A-137D-47E5-BFA3-B591C455EB1A}" type="slidenum">
              <a:rPr lang="es-AR" smtClean="0"/>
              <a:t>18</a:t>
            </a:fld>
            <a:endParaRPr lang="es-AR"/>
          </a:p>
        </p:txBody>
      </p:sp>
    </p:spTree>
    <p:extLst>
      <p:ext uri="{BB962C8B-B14F-4D97-AF65-F5344CB8AC3E}">
        <p14:creationId xmlns:p14="http://schemas.microsoft.com/office/powerpoint/2010/main" val="508518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dirty="0" smtClean="0"/>
              <a:t>En la Región de las Américas, el 2023 fue el año de mayor registro de casos, con un total de 4.569.464 casos, incluyendo 7.665 (0,17%) casos graves y 2.363 fallecidos (tasa de letalidad de 0,052%). Durante el año 2024 y hasta la semana epidemiológica (SE) 11, se notificaron 3.665.589 casos de dengue a la Plataforma de Información de Salud para las Américas (PLISA). De este total, 3.073 fueron caracterizados como dengue grave (0,1%) y se registraron 1.187 casos fatales (tasa de letalidad 0,032%). El total de casos notificados a través de PLISA en 2024 representa un incremento de 286% en comparación al mismo periodo del 2023 y 446% con respecto al promedio de los últimos 5 años en la Región de las Américas (Gráfico 1). </a:t>
            </a:r>
            <a:endParaRPr lang="es-AR" dirty="0"/>
          </a:p>
        </p:txBody>
      </p:sp>
      <p:sp>
        <p:nvSpPr>
          <p:cNvPr id="4" name="Marcador de número de diapositiva 3"/>
          <p:cNvSpPr>
            <a:spLocks noGrp="1"/>
          </p:cNvSpPr>
          <p:nvPr>
            <p:ph type="sldNum" sz="quarter" idx="10"/>
          </p:nvPr>
        </p:nvSpPr>
        <p:spPr/>
        <p:txBody>
          <a:bodyPr/>
          <a:lstStyle/>
          <a:p>
            <a:fld id="{4E34F451-D373-444E-9B3A-FE5EF8E9211B}" type="slidenum">
              <a:rPr lang="es-ES" smtClean="0"/>
              <a:pPr/>
              <a:t>24</a:t>
            </a:fld>
            <a:endParaRPr lang="es-ES"/>
          </a:p>
        </p:txBody>
      </p:sp>
    </p:spTree>
    <p:extLst>
      <p:ext uri="{BB962C8B-B14F-4D97-AF65-F5344CB8AC3E}">
        <p14:creationId xmlns:p14="http://schemas.microsoft.com/office/powerpoint/2010/main" val="260936480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5.xml"/><Relationship Id="rId7" Type="http://schemas.openxmlformats.org/officeDocument/2006/relationships/image" Target="../media/image3.png"/><Relationship Id="rId2" Type="http://schemas.openxmlformats.org/officeDocument/2006/relationships/tags" Target="../tags/tag3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 Id="rId9"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emf"/><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emf"/><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60.xml"/><Relationship Id="rId13" Type="http://schemas.openxmlformats.org/officeDocument/2006/relationships/tags" Target="../tags/tag65.xml"/><Relationship Id="rId18" Type="http://schemas.openxmlformats.org/officeDocument/2006/relationships/image" Target="../media/image8.emf"/><Relationship Id="rId3" Type="http://schemas.openxmlformats.org/officeDocument/2006/relationships/tags" Target="../tags/tag55.xml"/><Relationship Id="rId7" Type="http://schemas.openxmlformats.org/officeDocument/2006/relationships/tags" Target="../tags/tag59.xml"/><Relationship Id="rId12" Type="http://schemas.openxmlformats.org/officeDocument/2006/relationships/tags" Target="../tags/tag64.xml"/><Relationship Id="rId17" Type="http://schemas.openxmlformats.org/officeDocument/2006/relationships/oleObject" Target="../embeddings/oleObject11.bin"/><Relationship Id="rId2" Type="http://schemas.openxmlformats.org/officeDocument/2006/relationships/tags" Target="../tags/tag54.xml"/><Relationship Id="rId16" Type="http://schemas.openxmlformats.org/officeDocument/2006/relationships/slideMaster" Target="../slideMasters/slideMaster1.xml"/><Relationship Id="rId1" Type="http://schemas.openxmlformats.org/officeDocument/2006/relationships/vmlDrawing" Target="../drawings/vmlDrawing11.vml"/><Relationship Id="rId6" Type="http://schemas.openxmlformats.org/officeDocument/2006/relationships/tags" Target="../tags/tag58.xml"/><Relationship Id="rId11" Type="http://schemas.openxmlformats.org/officeDocument/2006/relationships/tags" Target="../tags/tag63.xml"/><Relationship Id="rId5" Type="http://schemas.openxmlformats.org/officeDocument/2006/relationships/tags" Target="../tags/tag57.xml"/><Relationship Id="rId15" Type="http://schemas.openxmlformats.org/officeDocument/2006/relationships/tags" Target="../tags/tag67.xml"/><Relationship Id="rId10" Type="http://schemas.openxmlformats.org/officeDocument/2006/relationships/tags" Target="../tags/tag62.xml"/><Relationship Id="rId4" Type="http://schemas.openxmlformats.org/officeDocument/2006/relationships/tags" Target="../tags/tag56.xml"/><Relationship Id="rId9" Type="http://schemas.openxmlformats.org/officeDocument/2006/relationships/tags" Target="../tags/tag61.xml"/><Relationship Id="rId14" Type="http://schemas.openxmlformats.org/officeDocument/2006/relationships/tags" Target="../tags/tag66.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2.emf"/><Relationship Id="rId1" Type="http://schemas.openxmlformats.org/officeDocument/2006/relationships/slideMaster" Target="../slideMasters/slideMaster9.xml"/><Relationship Id="rId4" Type="http://schemas.openxmlformats.org/officeDocument/2006/relationships/image" Target="../media/image25.pn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emf"/><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emf"/><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74.xml"/><Relationship Id="rId3" Type="http://schemas.openxmlformats.org/officeDocument/2006/relationships/tags" Target="../tags/tag69.xml"/><Relationship Id="rId7" Type="http://schemas.openxmlformats.org/officeDocument/2006/relationships/tags" Target="../tags/tag73.xml"/><Relationship Id="rId2" Type="http://schemas.openxmlformats.org/officeDocument/2006/relationships/tags" Target="../tags/tag68.xml"/><Relationship Id="rId1" Type="http://schemas.openxmlformats.org/officeDocument/2006/relationships/vmlDrawing" Target="../drawings/vmlDrawing12.vml"/><Relationship Id="rId6" Type="http://schemas.openxmlformats.org/officeDocument/2006/relationships/tags" Target="../tags/tag72.xml"/><Relationship Id="rId11" Type="http://schemas.openxmlformats.org/officeDocument/2006/relationships/image" Target="../media/image8.emf"/><Relationship Id="rId5" Type="http://schemas.openxmlformats.org/officeDocument/2006/relationships/tags" Target="../tags/tag71.xml"/><Relationship Id="rId10" Type="http://schemas.openxmlformats.org/officeDocument/2006/relationships/oleObject" Target="../embeddings/oleObject12.bin"/><Relationship Id="rId4" Type="http://schemas.openxmlformats.org/officeDocument/2006/relationships/tags" Target="../tags/tag70.xml"/><Relationship Id="rId9"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13.vml"/><Relationship Id="rId6" Type="http://schemas.openxmlformats.org/officeDocument/2006/relationships/image" Target="../media/image6.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8.emf"/><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emf"/><Relationship Id="rId1" Type="http://schemas.openxmlformats.org/officeDocument/2006/relationships/slideMaster" Target="../slideMasters/slideMaster10.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10.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10.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2.emf"/><Relationship Id="rId1" Type="http://schemas.openxmlformats.org/officeDocument/2006/relationships/slideMaster" Target="../slideMasters/slideMaster10.xml"/><Relationship Id="rId4" Type="http://schemas.openxmlformats.org/officeDocument/2006/relationships/image" Target="../media/image25.png"/></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emf"/><Relationship Id="rId1" Type="http://schemas.openxmlformats.org/officeDocument/2006/relationships/slideMaster" Target="../slideMasters/slideMaster10.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emf"/><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emf"/><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8.emf"/><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slideMaster" Target="../slideMasters/slideMaster12.xml"/><Relationship Id="rId1" Type="http://schemas.openxmlformats.org/officeDocument/2006/relationships/themeOverride" Target="../theme/themeOverride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slideMaster" Target="../slideMasters/slideMaster13.xml"/><Relationship Id="rId1" Type="http://schemas.openxmlformats.org/officeDocument/2006/relationships/themeOverride" Target="../theme/themeOverride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3.v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8.emf"/><Relationship Id="rId1" Type="http://schemas.openxmlformats.org/officeDocument/2006/relationships/slideMaster" Target="../slideMasters/slideMaster14.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8.emf"/><Relationship Id="rId1" Type="http://schemas.openxmlformats.org/officeDocument/2006/relationships/slideMaster" Target="../slideMasters/slideMaster14.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emf"/><Relationship Id="rId1" Type="http://schemas.openxmlformats.org/officeDocument/2006/relationships/slideMaster" Target="../slideMasters/slideMaster1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9.png"/><Relationship Id="rId1" Type="http://schemas.openxmlformats.org/officeDocument/2006/relationships/slideMaster" Target="../slideMasters/slideMaster15.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9.png"/><Relationship Id="rId1" Type="http://schemas.openxmlformats.org/officeDocument/2006/relationships/slideMaster" Target="../slideMasters/slideMaster15.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2.emf"/><Relationship Id="rId1" Type="http://schemas.openxmlformats.org/officeDocument/2006/relationships/slideMaster" Target="../slideMasters/slideMaster15.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5.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5.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5.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5.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5.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5.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5.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5.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5.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18.emf"/><Relationship Id="rId1" Type="http://schemas.openxmlformats.org/officeDocument/2006/relationships/slideMaster" Target="../slideMasters/slideMaster15.xml"/><Relationship Id="rId4" Type="http://schemas.openxmlformats.org/officeDocument/2006/relationships/image" Target="../media/image32.jpeg"/></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9.png"/><Relationship Id="rId1" Type="http://schemas.openxmlformats.org/officeDocument/2006/relationships/slideMaster" Target="../slideMasters/slideMaster16.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9.png"/><Relationship Id="rId1" Type="http://schemas.openxmlformats.org/officeDocument/2006/relationships/slideMaster" Target="../slideMasters/slideMaster16.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2.emf"/><Relationship Id="rId1" Type="http://schemas.openxmlformats.org/officeDocument/2006/relationships/slideMaster" Target="../slideMasters/slideMaster16.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6.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6.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6.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6.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6.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6.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6.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6.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18.emf"/><Relationship Id="rId1" Type="http://schemas.openxmlformats.org/officeDocument/2006/relationships/slideMaster" Target="../slideMasters/slideMaster16.xml"/><Relationship Id="rId4" Type="http://schemas.openxmlformats.org/officeDocument/2006/relationships/image" Target="../media/image32.jpeg"/></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9.png"/><Relationship Id="rId1" Type="http://schemas.openxmlformats.org/officeDocument/2006/relationships/slideMaster" Target="../slideMasters/slideMaster17.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9.png"/><Relationship Id="rId1" Type="http://schemas.openxmlformats.org/officeDocument/2006/relationships/slideMaster" Target="../slideMasters/slideMaster17.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2.emf"/><Relationship Id="rId1" Type="http://schemas.openxmlformats.org/officeDocument/2006/relationships/slideMaster" Target="../slideMasters/slideMaster17.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7.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7.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7.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7.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7.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7.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7.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7.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7.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7.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7.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9.png"/><Relationship Id="rId1" Type="http://schemas.openxmlformats.org/officeDocument/2006/relationships/slideMaster" Target="../slideMasters/slideMaster17.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7.xml"/></Relationships>
</file>

<file path=ppt/slideLayouts/_rels/slideLayout275.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89.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8.emf"/><Relationship Id="rId1" Type="http://schemas.openxmlformats.org/officeDocument/2006/relationships/slideMaster" Target="../slideMasters/slideMaster18.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8.emf"/><Relationship Id="rId1" Type="http://schemas.openxmlformats.org/officeDocument/2006/relationships/slideMaster" Target="../slideMasters/slideMaster1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emf"/><Relationship Id="rId1" Type="http://schemas.openxmlformats.org/officeDocument/2006/relationships/slideMaster" Target="../slideMasters/slideMaster18.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Master" Target="../slideMasters/slideMaster18.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8.xml"/></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9.png"/><Relationship Id="rId1" Type="http://schemas.openxmlformats.org/officeDocument/2006/relationships/slideMaster" Target="../slideMasters/slideMaster18.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8.xml"/></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9.png"/><Relationship Id="rId1" Type="http://schemas.openxmlformats.org/officeDocument/2006/relationships/slideMaster" Target="../slideMasters/slideMaster18.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8.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8.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8.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8.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8.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5.vml"/><Relationship Id="rId6" Type="http://schemas.openxmlformats.org/officeDocument/2006/relationships/image" Target="../media/image6.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6.vml"/><Relationship Id="rId6" Type="http://schemas.openxmlformats.org/officeDocument/2006/relationships/image" Target="../media/image6.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7.vml"/><Relationship Id="rId6" Type="http://schemas.openxmlformats.org/officeDocument/2006/relationships/image" Target="../media/image6.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vmlDrawing" Target="../drawings/vmlDrawing8.vml"/><Relationship Id="rId5" Type="http://schemas.openxmlformats.org/officeDocument/2006/relationships/image" Target="../media/image6.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48.xml"/><Relationship Id="rId7"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vmlDrawing" Target="../drawings/vmlDrawing9.vml"/><Relationship Id="rId6" Type="http://schemas.openxmlformats.org/officeDocument/2006/relationships/tags" Target="../tags/tag51.xml"/><Relationship Id="rId5" Type="http://schemas.openxmlformats.org/officeDocument/2006/relationships/tags" Target="../tags/tag50.xml"/><Relationship Id="rId4" Type="http://schemas.openxmlformats.org/officeDocument/2006/relationships/tags" Target="../tags/tag49.xml"/><Relationship Id="rId9" Type="http://schemas.openxmlformats.org/officeDocument/2006/relationships/image" Target="../media/image7.emf"/></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10.vml"/><Relationship Id="rId6" Type="http://schemas.openxmlformats.org/officeDocument/2006/relationships/image" Target="../media/image7.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8.emf"/><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8.emf"/><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ltGray">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04523201"/>
              </p:ext>
            </p:extLst>
          </p:nvPr>
        </p:nvGraphicFramePr>
        <p:xfrm>
          <a:off x="1622" y="1219"/>
          <a:ext cx="1619" cy="1214"/>
        </p:xfrm>
        <a:graphic>
          <a:graphicData uri="http://schemas.openxmlformats.org/presentationml/2006/ole">
            <mc:AlternateContent xmlns:mc="http://schemas.openxmlformats.org/markup-compatibility/2006">
              <mc:Choice xmlns:v="urn:schemas-microsoft-com:vml" Requires="v">
                <p:oleObj spid="_x0000_s2145"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22" y="1219"/>
                        <a:ext cx="1619" cy="121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 xmlns:a16="http://schemas.microsoft.com/office/drawing/2014/main" id="{A08C2CFA-1C7A-49CB-B6CF-EC7CA819AC54}"/>
              </a:ext>
            </a:extLst>
          </p:cNvPr>
          <p:cNvSpPr/>
          <p:nvPr userDrawn="1">
            <p:custDataLst>
              <p:tags r:id="rId3"/>
            </p:custDataLst>
          </p:nvPr>
        </p:nvSpPr>
        <p:spPr>
          <a:xfrm>
            <a:off x="2" y="77"/>
            <a:ext cx="119063" cy="119063"/>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85800"/>
            <a:endParaRPr lang="en-GB" sz="2400" b="1">
              <a:solidFill>
                <a:srgbClr val="000000"/>
              </a:solidFill>
              <a:latin typeface="Arial" panose="020B0604020202020204" pitchFamily="34" charset="0"/>
              <a:sym typeface="Arial" panose="020B0604020202020204" pitchFamily="34" charset="0"/>
            </a:endParaRPr>
          </a:p>
        </p:txBody>
      </p:sp>
      <p:sp>
        <p:nvSpPr>
          <p:cNvPr id="13314" name="Title"/>
          <p:cNvSpPr>
            <a:spLocks noGrp="1" noChangeArrowheads="1"/>
          </p:cNvSpPr>
          <p:nvPr userDrawn="1">
            <p:ph type="ctrTitle"/>
          </p:nvPr>
        </p:nvSpPr>
        <p:spPr bwMode="gray">
          <a:xfrm>
            <a:off x="662680" y="1005081"/>
            <a:ext cx="6358614" cy="369332"/>
          </a:xfrm>
          <a:prstGeom prst="rect">
            <a:avLst/>
          </a:prstGeom>
        </p:spPr>
        <p:txBody>
          <a:bodyPr/>
          <a:lstStyle>
            <a:lvl1pPr>
              <a:defRPr lang="x-none" sz="2400" b="1" baseline="0">
                <a:solidFill>
                  <a:schemeClr val="bg1"/>
                </a:solidFill>
                <a:latin typeface="+mj-lt"/>
                <a:ea typeface="+mj-ea"/>
              </a:defRPr>
            </a:lvl1pPr>
          </a:lstStyle>
          <a:p>
            <a:pPr lvl="0" latinLnBrk="0"/>
            <a:r>
              <a:rPr lang="en-GB" noProof="0"/>
              <a:t>Click to edit Master title style</a:t>
            </a:r>
          </a:p>
        </p:txBody>
      </p:sp>
      <p:sp>
        <p:nvSpPr>
          <p:cNvPr id="13315" name="Subtitle"/>
          <p:cNvSpPr>
            <a:spLocks noGrp="1" noChangeArrowheads="1"/>
          </p:cNvSpPr>
          <p:nvPr userDrawn="1">
            <p:ph type="subTitle" idx="1"/>
          </p:nvPr>
        </p:nvSpPr>
        <p:spPr bwMode="gray">
          <a:xfrm>
            <a:off x="662680" y="2164491"/>
            <a:ext cx="6358614" cy="184666"/>
          </a:xfrm>
          <a:prstGeom prst="rect">
            <a:avLst/>
          </a:prstGeom>
        </p:spPr>
        <p:txBody>
          <a:bodyPr wrap="square">
            <a:spAutoFit/>
          </a:bodyPr>
          <a:lstStyle>
            <a:lvl1pPr>
              <a:defRPr lang="x-none" sz="1200" cap="none" baseline="0">
                <a:solidFill>
                  <a:schemeClr val="bg1"/>
                </a:solidFill>
                <a:latin typeface="+mn-lt"/>
                <a:ea typeface="+mn-ea"/>
              </a:defRPr>
            </a:lvl1pPr>
          </a:lstStyle>
          <a:p>
            <a:pPr lvl="0" latinLnBrk="0"/>
            <a:r>
              <a:rPr lang="en-GB" noProof="0"/>
              <a:t>Click to edit Master subtitle style</a:t>
            </a:r>
          </a:p>
        </p:txBody>
      </p:sp>
      <p:sp>
        <p:nvSpPr>
          <p:cNvPr id="57" name="Document type" hidden="1"/>
          <p:cNvSpPr txBox="1">
            <a:spLocks noChangeArrowheads="1"/>
          </p:cNvSpPr>
          <p:nvPr userDrawn="1"/>
        </p:nvSpPr>
        <p:spPr bwMode="gray">
          <a:xfrm>
            <a:off x="662680" y="3131733"/>
            <a:ext cx="6358614"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defTabSz="685800" hangingPunct="1">
              <a:defRPr lang="x-none"/>
            </a:pPr>
            <a:r>
              <a:rPr lang="en-GB" sz="1200">
                <a:solidFill>
                  <a:srgbClr val="FFFFFF"/>
                </a:solidFill>
                <a:latin typeface="Georgia"/>
              </a:rPr>
              <a:t>Document type | Date</a:t>
            </a:r>
          </a:p>
        </p:txBody>
      </p:sp>
      <p:grpSp>
        <p:nvGrpSpPr>
          <p:cNvPr id="9" name="Group 8">
            <a:extLst>
              <a:ext uri="{FF2B5EF4-FFF2-40B4-BE49-F238E27FC236}">
                <a16:creationId xmlns="" xmlns:a16="http://schemas.microsoft.com/office/drawing/2014/main" id="{4AB4ECAE-56F4-49DD-8096-D205706D9A6D}"/>
              </a:ext>
            </a:extLst>
          </p:cNvPr>
          <p:cNvGrpSpPr/>
          <p:nvPr userDrawn="1"/>
        </p:nvGrpSpPr>
        <p:grpSpPr>
          <a:xfrm>
            <a:off x="662680" y="3621133"/>
            <a:ext cx="3756500" cy="1026000"/>
            <a:chOff x="931334" y="4828178"/>
            <a:chExt cx="5008666" cy="1368000"/>
          </a:xfrm>
        </p:grpSpPr>
        <p:pic>
          <p:nvPicPr>
            <p:cNvPr id="11" name="Picture 10">
              <a:extLst>
                <a:ext uri="{FF2B5EF4-FFF2-40B4-BE49-F238E27FC236}">
                  <a16:creationId xmlns="" xmlns:a16="http://schemas.microsoft.com/office/drawing/2014/main" id="{C8CB2EB2-F28C-47EC-A387-549E335969E0}"/>
                </a:ext>
              </a:extLst>
            </p:cNvPr>
            <p:cNvPicPr>
              <a:picLocks noChangeAspect="1"/>
            </p:cNvPicPr>
            <p:nvPr/>
          </p:nvPicPr>
          <p:blipFill>
            <a:blip r:embed="rId7" cstate="print"/>
            <a:stretch>
              <a:fillRect/>
            </a:stretch>
          </p:blipFill>
          <p:spPr>
            <a:xfrm>
              <a:off x="931334" y="4828178"/>
              <a:ext cx="1368000" cy="1368000"/>
            </a:xfrm>
            <a:prstGeom prst="rect">
              <a:avLst/>
            </a:prstGeom>
          </p:spPr>
        </p:pic>
        <p:pic>
          <p:nvPicPr>
            <p:cNvPr id="12" name="Picture 11">
              <a:extLst>
                <a:ext uri="{FF2B5EF4-FFF2-40B4-BE49-F238E27FC236}">
                  <a16:creationId xmlns="" xmlns:a16="http://schemas.microsoft.com/office/drawing/2014/main" id="{F0374ACA-2198-42C5-B666-B2EB466D024B}"/>
                </a:ext>
              </a:extLst>
            </p:cNvPr>
            <p:cNvPicPr>
              <a:picLocks noChangeAspect="1"/>
            </p:cNvPicPr>
            <p:nvPr/>
          </p:nvPicPr>
          <p:blipFill>
            <a:blip r:embed="rId8" cstate="print"/>
            <a:stretch>
              <a:fillRect/>
            </a:stretch>
          </p:blipFill>
          <p:spPr>
            <a:xfrm>
              <a:off x="2751667" y="4828178"/>
              <a:ext cx="1368000" cy="1368000"/>
            </a:xfrm>
            <a:prstGeom prst="rect">
              <a:avLst/>
            </a:prstGeom>
          </p:spPr>
        </p:pic>
        <p:pic>
          <p:nvPicPr>
            <p:cNvPr id="13" name="Picture 12">
              <a:extLst>
                <a:ext uri="{FF2B5EF4-FFF2-40B4-BE49-F238E27FC236}">
                  <a16:creationId xmlns="" xmlns:a16="http://schemas.microsoft.com/office/drawing/2014/main" id="{A3836E23-C597-4904-8A14-F4E4B36599FD}"/>
                </a:ext>
              </a:extLst>
            </p:cNvPr>
            <p:cNvPicPr>
              <a:picLocks noChangeAspect="1"/>
            </p:cNvPicPr>
            <p:nvPr/>
          </p:nvPicPr>
          <p:blipFill>
            <a:blip r:embed="rId9" cstate="print"/>
            <a:stretch>
              <a:fillRect/>
            </a:stretch>
          </p:blipFill>
          <p:spPr>
            <a:xfrm>
              <a:off x="4572000" y="4828178"/>
              <a:ext cx="1368000" cy="1368000"/>
            </a:xfrm>
            <a:prstGeom prst="rect">
              <a:avLst/>
            </a:prstGeom>
          </p:spPr>
        </p:pic>
      </p:grpSp>
    </p:spTree>
    <p:extLst>
      <p:ext uri="{BB962C8B-B14F-4D97-AF65-F5344CB8AC3E}">
        <p14:creationId xmlns:p14="http://schemas.microsoft.com/office/powerpoint/2010/main" val="6437314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Big text (Red)">
    <p:bg>
      <p:bgPr>
        <a:solidFill>
          <a:schemeClr val="accent1"/>
        </a:solidFill>
        <a:effectLst/>
      </p:bgPr>
    </p:bg>
    <p:spTree>
      <p:nvGrpSpPr>
        <p:cNvPr id="1" name=""/>
        <p:cNvGrpSpPr/>
        <p:nvPr/>
      </p:nvGrpSpPr>
      <p:grpSpPr>
        <a:xfrm>
          <a:off x="0" y="0"/>
          <a:ext cx="0" cy="0"/>
          <a:chOff x="0" y="0"/>
          <a:chExt cx="0" cy="0"/>
        </a:xfrm>
      </p:grpSpPr>
      <p:sp>
        <p:nvSpPr>
          <p:cNvPr id="9" name="Oval 8">
            <a:extLst>
              <a:ext uri="{FF2B5EF4-FFF2-40B4-BE49-F238E27FC236}">
                <a16:creationId xmlns="" xmlns:a16="http://schemas.microsoft.com/office/drawing/2014/main" id="{43D9C3A7-D395-5C4E-9E38-A1839CBBDD3A}"/>
              </a:ext>
            </a:extLst>
          </p:cNvPr>
          <p:cNvSpPr/>
          <p:nvPr userDrawn="1"/>
        </p:nvSpPr>
        <p:spPr>
          <a:xfrm>
            <a:off x="8114734" y="4588162"/>
            <a:ext cx="400616" cy="400616"/>
          </a:xfrm>
          <a:prstGeom prst="ellipse">
            <a:avLst/>
          </a:prstGeom>
          <a:solidFill>
            <a:srgbClr val="E8585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en-US" sz="1400">
              <a:solidFill>
                <a:srgbClr val="FFFFFF"/>
              </a:solidFill>
              <a:latin typeface="Georgia Regular" charset="0"/>
            </a:endParaRPr>
          </a:p>
        </p:txBody>
      </p:sp>
      <p:sp>
        <p:nvSpPr>
          <p:cNvPr id="5" name="TextBox 4">
            <a:extLst>
              <a:ext uri="{FF2B5EF4-FFF2-40B4-BE49-F238E27FC236}">
                <a16:creationId xmlns="" xmlns:a16="http://schemas.microsoft.com/office/drawing/2014/main" id="{666C59E4-4B47-D74A-8F1F-22748AB05FC8}"/>
              </a:ext>
            </a:extLst>
          </p:cNvPr>
          <p:cNvSpPr txBox="1"/>
          <p:nvPr userDrawn="1"/>
        </p:nvSpPr>
        <p:spPr>
          <a:xfrm>
            <a:off x="8172167" y="4701985"/>
            <a:ext cx="285750" cy="284693"/>
          </a:xfrm>
          <a:prstGeom prst="rect">
            <a:avLst/>
          </a:prstGeom>
          <a:noFill/>
        </p:spPr>
        <p:txBody>
          <a:bodyPr wrap="square" lIns="68580" tIns="34290" rIns="68580" bIns="34290" rtlCol="0">
            <a:spAutoFit/>
          </a:bodyPr>
          <a:lstStyle/>
          <a:p>
            <a:pPr algn="ctr" defTabSz="685800"/>
            <a:fld id="{1DBE37EB-5830-6541-81BA-748AEB24FC36}" type="slidenum">
              <a:rPr lang="en-US" sz="700" b="1" smtClean="0">
                <a:solidFill>
                  <a:srgbClr val="FFFFFF"/>
                </a:solidFill>
                <a:latin typeface="Arial Bold" charset="0"/>
              </a:rPr>
              <a:pPr algn="ctr" defTabSz="685800"/>
              <a:t>‹Nº›</a:t>
            </a:fld>
            <a:endParaRPr lang="en-US" sz="700" b="1">
              <a:solidFill>
                <a:srgbClr val="FFFFFF"/>
              </a:solidFill>
              <a:latin typeface="Arial Bold" charset="0"/>
            </a:endParaRPr>
          </a:p>
        </p:txBody>
      </p:sp>
      <p:sp>
        <p:nvSpPr>
          <p:cNvPr id="11" name="Title Placeholder 1">
            <a:extLst>
              <a:ext uri="{FF2B5EF4-FFF2-40B4-BE49-F238E27FC236}">
                <a16:creationId xmlns="" xmlns:a16="http://schemas.microsoft.com/office/drawing/2014/main" id="{20C38A6B-379E-7C42-B08F-C02E59DA9CB6}"/>
              </a:ext>
            </a:extLst>
          </p:cNvPr>
          <p:cNvSpPr>
            <a:spLocks noGrp="1"/>
          </p:cNvSpPr>
          <p:nvPr>
            <p:ph type="title"/>
          </p:nvPr>
        </p:nvSpPr>
        <p:spPr>
          <a:xfrm>
            <a:off x="628650" y="894926"/>
            <a:ext cx="7886700" cy="2970411"/>
          </a:xfrm>
          <a:prstGeom prst="rect">
            <a:avLst/>
          </a:prstGeom>
        </p:spPr>
        <p:txBody>
          <a:bodyPr vert="horz" lIns="68580" tIns="34290" rIns="68580" bIns="34290" rtlCol="0" anchor="ctr">
            <a:noAutofit/>
          </a:bodyPr>
          <a:lstStyle>
            <a:lvl1pPr algn="ct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8710629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19" name="Rectangle 6">
            <a:extLst>
              <a:ext uri="{FF2B5EF4-FFF2-40B4-BE49-F238E27FC236}">
                <a16:creationId xmlns="" xmlns:a16="http://schemas.microsoft.com/office/drawing/2014/main" id="{18D4B9FA-39D5-DC46-AEE9-0F3C6ECD9555}"/>
              </a:ext>
            </a:extLst>
          </p:cNvPr>
          <p:cNvSpPr/>
          <p:nvPr userDrawn="1"/>
        </p:nvSpPr>
        <p:spPr>
          <a:xfrm>
            <a:off x="0" y="2006100"/>
            <a:ext cx="107504" cy="113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07" tIns="34289" rIns="68507" bIns="34289" anchor="ctr"/>
          <a:lstStyle/>
          <a:p>
            <a:pPr algn="ctr" defTabSz="684967"/>
            <a:endParaRPr lang="en-US" altLang="en-US" sz="1400">
              <a:solidFill>
                <a:srgbClr val="FFFFFF"/>
              </a:solidFill>
            </a:endParaRPr>
          </a:p>
        </p:txBody>
      </p:sp>
      <p:sp>
        <p:nvSpPr>
          <p:cNvPr id="21" name="Title 1">
            <a:extLst>
              <a:ext uri="{FF2B5EF4-FFF2-40B4-BE49-F238E27FC236}">
                <a16:creationId xmlns="" xmlns:a16="http://schemas.microsoft.com/office/drawing/2014/main" id="{BBB8651D-A822-B447-BA6F-5B2ACD54EA33}"/>
              </a:ext>
            </a:extLst>
          </p:cNvPr>
          <p:cNvSpPr>
            <a:spLocks noGrp="1"/>
          </p:cNvSpPr>
          <p:nvPr>
            <p:ph type="ctrTitle" hasCustomPrompt="1"/>
          </p:nvPr>
        </p:nvSpPr>
        <p:spPr>
          <a:xfrm>
            <a:off x="733671" y="2006102"/>
            <a:ext cx="5845440" cy="1134001"/>
          </a:xfrm>
        </p:spPr>
        <p:txBody>
          <a:bodyPr wrap="square" tIns="0" rIns="0" bIns="0" anchor="ctr" anchorCtr="0">
            <a:noAutofit/>
          </a:bodyPr>
          <a:lstStyle>
            <a:lvl1pPr>
              <a:lnSpc>
                <a:spcPts val="2835"/>
              </a:lnSpc>
              <a:defRPr sz="2100" b="0" i="0" baseline="0">
                <a:solidFill>
                  <a:schemeClr val="tx2"/>
                </a:solidFill>
                <a:latin typeface="Calibri" pitchFamily="34" charset="0"/>
                <a:ea typeface="メイリオ" pitchFamily="50" charset="-128"/>
                <a:cs typeface="Calibri" pitchFamily="34" charset="0"/>
              </a:defRPr>
            </a:lvl1pPr>
          </a:lstStyle>
          <a:p>
            <a:r>
              <a:rPr lang="en-GB"/>
              <a:t>Add your section title here</a:t>
            </a:r>
          </a:p>
        </p:txBody>
      </p:sp>
      <p:pic>
        <p:nvPicPr>
          <p:cNvPr id="8" name="Picture 12" descr="Takeda_Logo_Pos_RGB.emf">
            <a:extLst>
              <a:ext uri="{FF2B5EF4-FFF2-40B4-BE49-F238E27FC236}">
                <a16:creationId xmlns="" xmlns:a16="http://schemas.microsoft.com/office/drawing/2014/main" id="{1560E966-F000-3844-8319-54C2333D663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7975658" y="233604"/>
            <a:ext cx="772806" cy="259904"/>
          </a:xfrm>
          <a:prstGeom prst="rect">
            <a:avLst/>
          </a:prstGeom>
          <a:noFill/>
          <a:ln w="9525">
            <a:noFill/>
            <a:miter lim="800000"/>
            <a:headEnd/>
            <a:tailEnd/>
          </a:ln>
        </p:spPr>
      </p:pic>
      <p:pic>
        <p:nvPicPr>
          <p:cNvPr id="9" name="Picture 8">
            <a:extLst>
              <a:ext uri="{FF2B5EF4-FFF2-40B4-BE49-F238E27FC236}">
                <a16:creationId xmlns="" xmlns:a16="http://schemas.microsoft.com/office/drawing/2014/main" id="{E0653B6F-108F-2440-ACBE-14F409A1ADB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937746" y="4604928"/>
            <a:ext cx="1008126" cy="603504"/>
          </a:xfrm>
          <a:prstGeom prst="rect">
            <a:avLst/>
          </a:prstGeom>
        </p:spPr>
      </p:pic>
      <p:sp>
        <p:nvSpPr>
          <p:cNvPr id="3" name="Slide Number Placeholder 2">
            <a:extLst>
              <a:ext uri="{FF2B5EF4-FFF2-40B4-BE49-F238E27FC236}">
                <a16:creationId xmlns="" xmlns:a16="http://schemas.microsoft.com/office/drawing/2014/main" id="{F46F0BAC-8161-48BF-90C0-1FB60ED42732}"/>
              </a:ext>
            </a:extLst>
          </p:cNvPr>
          <p:cNvSpPr>
            <a:spLocks noGrp="1"/>
          </p:cNvSpPr>
          <p:nvPr>
            <p:ph type="sldNum" sz="quarter" idx="11"/>
          </p:nvPr>
        </p:nvSpPr>
        <p:spPr/>
        <p:txBody>
          <a:bodyPr/>
          <a:lstStyle/>
          <a:p>
            <a:fld id="{E9B57936-92EF-4126-AE48-1D9D36D15E98}" type="slidenum">
              <a:rPr lang="ja-JP" altLang="en-US" smtClean="0">
                <a:solidFill>
                  <a:srgbClr val="A1A4AC"/>
                </a:solidFill>
              </a:rPr>
              <a:pPr/>
              <a:t>‹Nº›</a:t>
            </a:fld>
            <a:endParaRPr lang="ja-JP" altLang="en-US">
              <a:solidFill>
                <a:srgbClr val="A1A4AC"/>
              </a:solidFill>
            </a:endParaRPr>
          </a:p>
        </p:txBody>
      </p:sp>
      <p:sp>
        <p:nvSpPr>
          <p:cNvPr id="2" name="Footer Placeholder 1">
            <a:extLst>
              <a:ext uri="{FF2B5EF4-FFF2-40B4-BE49-F238E27FC236}">
                <a16:creationId xmlns="" xmlns:a16="http://schemas.microsoft.com/office/drawing/2014/main" id="{3636BDCA-B376-4A50-9C0F-6977B57BF899}"/>
              </a:ext>
            </a:extLst>
          </p:cNvPr>
          <p:cNvSpPr>
            <a:spLocks noGrp="1"/>
          </p:cNvSpPr>
          <p:nvPr>
            <p:ph type="ftr" sz="quarter" idx="12"/>
          </p:nvPr>
        </p:nvSpPr>
        <p:spPr/>
        <p:txBody>
          <a:bodyPr/>
          <a:lstStyle/>
          <a:p>
            <a:r>
              <a:rPr lang="en-GB" altLang="ja-JP">
                <a:solidFill>
                  <a:srgbClr val="000000">
                    <a:tint val="75000"/>
                  </a:srgbClr>
                </a:solidFill>
              </a:rPr>
              <a:t>Long-term efficacy and safety of Takeda’s dengue vaccine candidate (TAK-003) after 4.5 years of follow-up | TBC | Approval </a:t>
            </a:r>
            <a:r>
              <a:rPr lang="en-US" altLang="ja-JP">
                <a:solidFill>
                  <a:srgbClr val="000000">
                    <a:tint val="75000"/>
                  </a:srgbClr>
                </a:solidFill>
              </a:rPr>
              <a:t>date: March 2023</a:t>
            </a:r>
            <a:endParaRPr lang="ja-JP" altLang="en-US" sz="100">
              <a:solidFill>
                <a:srgbClr val="000000">
                  <a:tint val="75000"/>
                </a:srgbClr>
              </a:solidFill>
            </a:endParaRPr>
          </a:p>
        </p:txBody>
      </p:sp>
    </p:spTree>
    <p:extLst>
      <p:ext uri="{BB962C8B-B14F-4D97-AF65-F5344CB8AC3E}">
        <p14:creationId xmlns:p14="http://schemas.microsoft.com/office/powerpoint/2010/main" val="48090313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675D4F24-3AD1-7943-A1A9-EB84047B5123}"/>
              </a:ext>
            </a:extLst>
          </p:cNvPr>
          <p:cNvSpPr>
            <a:spLocks noGrp="1"/>
          </p:cNvSpPr>
          <p:nvPr>
            <p:ph type="body" sz="quarter" idx="13" hasCustomPrompt="1"/>
          </p:nvPr>
        </p:nvSpPr>
        <p:spPr>
          <a:xfrm>
            <a:off x="395289" y="926921"/>
            <a:ext cx="8343899" cy="3480567"/>
          </a:xfrm>
        </p:spPr>
        <p:txBody>
          <a:bodyPr/>
          <a:lstStyle>
            <a:lvl1pPr>
              <a:buClr>
                <a:srgbClr val="4C4948"/>
              </a:buClr>
              <a:defRPr>
                <a:solidFill>
                  <a:schemeClr val="tx2"/>
                </a:solidFill>
              </a:defRPr>
            </a:lvl1pPr>
            <a:lvl2pPr>
              <a:buClr>
                <a:srgbClr val="4C4948"/>
              </a:buClr>
              <a:defRPr>
                <a:solidFill>
                  <a:schemeClr val="tx2"/>
                </a:solidFill>
              </a:defRPr>
            </a:lvl2pPr>
            <a:lvl3pPr>
              <a:buClr>
                <a:srgbClr val="4C4948"/>
              </a:buClr>
              <a:defRPr>
                <a:solidFill>
                  <a:schemeClr val="tx2"/>
                </a:solidFill>
              </a:defRPr>
            </a:lvl3pPr>
            <a:lvl4pPr>
              <a:buClr>
                <a:srgbClr val="4C4948"/>
              </a:buClr>
              <a:defRPr>
                <a:solidFill>
                  <a:schemeClr val="tx2"/>
                </a:solidFill>
              </a:defRPr>
            </a:lvl4pPr>
            <a:lvl5pPr>
              <a:buClr>
                <a:srgbClr val="4C4948"/>
              </a:buClr>
              <a:defRPr>
                <a:solidFill>
                  <a:schemeClr val="tx2"/>
                </a:solidFill>
              </a:defRPr>
            </a:lvl5pPr>
          </a:lstStyle>
          <a:p>
            <a:pPr lvl="0"/>
            <a:r>
              <a:rPr lang="en-US"/>
              <a:t>Add your text her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 xmlns:a16="http://schemas.microsoft.com/office/drawing/2014/main" id="{FC71F690-8ECF-4851-9B1B-65F80621D3C2}"/>
              </a:ext>
            </a:extLst>
          </p:cNvPr>
          <p:cNvSpPr>
            <a:spLocks noGrp="1"/>
          </p:cNvSpPr>
          <p:nvPr>
            <p:ph type="body" sz="quarter" idx="14" hasCustomPrompt="1"/>
          </p:nvPr>
        </p:nvSpPr>
        <p:spPr>
          <a:xfrm>
            <a:off x="395289" y="4431390"/>
            <a:ext cx="7529513" cy="340727"/>
          </a:xfrm>
        </p:spPr>
        <p:txBody>
          <a:bodyPr bIns="0" anchor="b" anchorCtr="0">
            <a:noAutofit/>
          </a:bodyPr>
          <a:lstStyle>
            <a:lvl1pPr marL="0" indent="0">
              <a:spcBef>
                <a:spcPts val="0"/>
              </a:spcBef>
              <a:buFontTx/>
              <a:buNone/>
              <a:defRPr sz="700">
                <a:solidFill>
                  <a:srgbClr val="34373F"/>
                </a:solidFill>
              </a:defRPr>
            </a:lvl1pPr>
          </a:lstStyle>
          <a:p>
            <a:r>
              <a:rPr lang="en-US"/>
              <a:t>Footnotes.</a:t>
            </a:r>
          </a:p>
          <a:p>
            <a:r>
              <a:rPr lang="en-US"/>
              <a:t>Abbreviations.</a:t>
            </a:r>
          </a:p>
          <a:p>
            <a:r>
              <a:rPr lang="en-US"/>
              <a:t>References.</a:t>
            </a:r>
          </a:p>
        </p:txBody>
      </p:sp>
      <p:sp>
        <p:nvSpPr>
          <p:cNvPr id="5" name="Slide Number Placeholder 4">
            <a:extLst>
              <a:ext uri="{FF2B5EF4-FFF2-40B4-BE49-F238E27FC236}">
                <a16:creationId xmlns="" xmlns:a16="http://schemas.microsoft.com/office/drawing/2014/main" id="{D866840B-298E-4CFC-A58E-46D1C350B59F}"/>
              </a:ext>
            </a:extLst>
          </p:cNvPr>
          <p:cNvSpPr>
            <a:spLocks noGrp="1"/>
          </p:cNvSpPr>
          <p:nvPr>
            <p:ph type="sldNum" sz="quarter" idx="16"/>
          </p:nvPr>
        </p:nvSpPr>
        <p:spPr/>
        <p:txBody>
          <a:bodyPr/>
          <a:lstStyle/>
          <a:p>
            <a:fld id="{E9B57936-92EF-4126-AE48-1D9D36D15E98}" type="slidenum">
              <a:rPr lang="ja-JP" altLang="en-US" smtClean="0">
                <a:solidFill>
                  <a:srgbClr val="A1A4AC"/>
                </a:solidFill>
              </a:rPr>
              <a:pPr/>
              <a:t>‹Nº›</a:t>
            </a:fld>
            <a:endParaRPr lang="ja-JP" altLang="en-US">
              <a:solidFill>
                <a:srgbClr val="A1A4AC"/>
              </a:solidFill>
            </a:endParaRPr>
          </a:p>
        </p:txBody>
      </p:sp>
      <p:sp>
        <p:nvSpPr>
          <p:cNvPr id="8" name="Title 7">
            <a:extLst>
              <a:ext uri="{FF2B5EF4-FFF2-40B4-BE49-F238E27FC236}">
                <a16:creationId xmlns="" xmlns:a16="http://schemas.microsoft.com/office/drawing/2014/main" id="{8F0341E0-7C1E-44B6-B63F-9834CF4F1267}"/>
              </a:ext>
            </a:extLst>
          </p:cNvPr>
          <p:cNvSpPr>
            <a:spLocks noGrp="1"/>
          </p:cNvSpPr>
          <p:nvPr>
            <p:ph type="title"/>
          </p:nvPr>
        </p:nvSpPr>
        <p:spPr>
          <a:xfrm>
            <a:off x="395289" y="99585"/>
            <a:ext cx="7357234" cy="527957"/>
          </a:xfrm>
        </p:spPr>
        <p:txBody>
          <a:bodyPr bIns="0"/>
          <a:lstStyle/>
          <a:p>
            <a:r>
              <a:rPr lang="en-US"/>
              <a:t>Click to edit Master title style</a:t>
            </a:r>
          </a:p>
        </p:txBody>
      </p:sp>
      <p:sp>
        <p:nvSpPr>
          <p:cNvPr id="6" name="Footer Placeholder 5">
            <a:extLst>
              <a:ext uri="{FF2B5EF4-FFF2-40B4-BE49-F238E27FC236}">
                <a16:creationId xmlns="" xmlns:a16="http://schemas.microsoft.com/office/drawing/2014/main" id="{A139C958-1D42-46C5-9663-C1E0F49EEACC}"/>
              </a:ext>
            </a:extLst>
          </p:cNvPr>
          <p:cNvSpPr>
            <a:spLocks noGrp="1"/>
          </p:cNvSpPr>
          <p:nvPr>
            <p:ph type="ftr" sz="quarter" idx="17"/>
          </p:nvPr>
        </p:nvSpPr>
        <p:spPr/>
        <p:txBody>
          <a:bodyPr/>
          <a:lstStyle/>
          <a:p>
            <a:r>
              <a:rPr lang="en-GB" altLang="ja-JP">
                <a:solidFill>
                  <a:srgbClr val="000000">
                    <a:tint val="75000"/>
                  </a:srgbClr>
                </a:solidFill>
              </a:rPr>
              <a:t>Long-term efficacy and safety of Takeda’s dengue vaccine candidate (TAK-003) after 4.5 years of follow-up | TBC | Approval </a:t>
            </a:r>
            <a:r>
              <a:rPr lang="en-US" altLang="ja-JP">
                <a:solidFill>
                  <a:srgbClr val="000000">
                    <a:tint val="75000"/>
                  </a:srgbClr>
                </a:solidFill>
              </a:rPr>
              <a:t>date: March 2023</a:t>
            </a:r>
            <a:endParaRPr lang="ja-JP" altLang="en-US" sz="200">
              <a:solidFill>
                <a:srgbClr val="000000">
                  <a:tint val="75000"/>
                </a:srgbClr>
              </a:solidFill>
            </a:endParaRPr>
          </a:p>
        </p:txBody>
      </p:sp>
    </p:spTree>
    <p:extLst>
      <p:ext uri="{BB962C8B-B14F-4D97-AF65-F5344CB8AC3E}">
        <p14:creationId xmlns:p14="http://schemas.microsoft.com/office/powerpoint/2010/main" val="150966256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6" name="Text Placeholder 3">
            <a:extLst>
              <a:ext uri="{FF2B5EF4-FFF2-40B4-BE49-F238E27FC236}">
                <a16:creationId xmlns="" xmlns:a16="http://schemas.microsoft.com/office/drawing/2014/main" id="{B08CFEF5-24AE-495E-BBF3-2FCF473E5A90}"/>
              </a:ext>
            </a:extLst>
          </p:cNvPr>
          <p:cNvSpPr>
            <a:spLocks noGrp="1"/>
          </p:cNvSpPr>
          <p:nvPr>
            <p:ph type="body" sz="quarter" idx="14" hasCustomPrompt="1"/>
          </p:nvPr>
        </p:nvSpPr>
        <p:spPr>
          <a:xfrm>
            <a:off x="395289" y="4431390"/>
            <a:ext cx="7529513" cy="340727"/>
          </a:xfrm>
        </p:spPr>
        <p:txBody>
          <a:bodyPr bIns="0" anchor="b" anchorCtr="0">
            <a:noAutofit/>
          </a:bodyPr>
          <a:lstStyle>
            <a:lvl1pPr marL="0" indent="0">
              <a:spcBef>
                <a:spcPts val="0"/>
              </a:spcBef>
              <a:buFontTx/>
              <a:buNone/>
              <a:defRPr sz="700"/>
            </a:lvl1pPr>
          </a:lstStyle>
          <a:p>
            <a:r>
              <a:rPr lang="en-US"/>
              <a:t>Footnotes.</a:t>
            </a:r>
          </a:p>
          <a:p>
            <a:r>
              <a:rPr lang="en-US"/>
              <a:t>Abbreviations.</a:t>
            </a:r>
          </a:p>
          <a:p>
            <a:r>
              <a:rPr lang="en-US"/>
              <a:t>References.</a:t>
            </a:r>
          </a:p>
        </p:txBody>
      </p:sp>
      <p:sp>
        <p:nvSpPr>
          <p:cNvPr id="5" name="Slide Number Placeholder 4">
            <a:extLst>
              <a:ext uri="{FF2B5EF4-FFF2-40B4-BE49-F238E27FC236}">
                <a16:creationId xmlns="" xmlns:a16="http://schemas.microsoft.com/office/drawing/2014/main" id="{D62C38EF-9E03-4702-A967-554F359F12DA}"/>
              </a:ext>
            </a:extLst>
          </p:cNvPr>
          <p:cNvSpPr>
            <a:spLocks noGrp="1"/>
          </p:cNvSpPr>
          <p:nvPr>
            <p:ph type="sldNum" sz="quarter" idx="16"/>
          </p:nvPr>
        </p:nvSpPr>
        <p:spPr/>
        <p:txBody>
          <a:bodyPr/>
          <a:lstStyle/>
          <a:p>
            <a:fld id="{E9B57936-92EF-4126-AE48-1D9D36D15E98}" type="slidenum">
              <a:rPr lang="ja-JP" altLang="en-US" smtClean="0">
                <a:solidFill>
                  <a:srgbClr val="A1A4AC"/>
                </a:solidFill>
              </a:rPr>
              <a:pPr/>
              <a:t>‹Nº›</a:t>
            </a:fld>
            <a:endParaRPr lang="ja-JP" altLang="en-US">
              <a:solidFill>
                <a:srgbClr val="A1A4AC"/>
              </a:solidFill>
            </a:endParaRPr>
          </a:p>
        </p:txBody>
      </p:sp>
      <p:sp>
        <p:nvSpPr>
          <p:cNvPr id="8" name="Title 7">
            <a:extLst>
              <a:ext uri="{FF2B5EF4-FFF2-40B4-BE49-F238E27FC236}">
                <a16:creationId xmlns="" xmlns:a16="http://schemas.microsoft.com/office/drawing/2014/main" id="{4C912CFE-FD99-4A0D-9068-9156FF22F571}"/>
              </a:ext>
            </a:extLst>
          </p:cNvPr>
          <p:cNvSpPr>
            <a:spLocks noGrp="1"/>
          </p:cNvSpPr>
          <p:nvPr>
            <p:ph type="title"/>
          </p:nvPr>
        </p:nvSpPr>
        <p:spPr>
          <a:xfrm>
            <a:off x="395289" y="99585"/>
            <a:ext cx="7357234" cy="527957"/>
          </a:xfrm>
        </p:spPr>
        <p:txBody>
          <a:bodyPr/>
          <a:lstStyle/>
          <a:p>
            <a:r>
              <a:rPr lang="en-US"/>
              <a:t>Click to edit Master title style</a:t>
            </a:r>
          </a:p>
        </p:txBody>
      </p:sp>
      <p:sp>
        <p:nvSpPr>
          <p:cNvPr id="14" name="Content Placeholder 13">
            <a:extLst>
              <a:ext uri="{FF2B5EF4-FFF2-40B4-BE49-F238E27FC236}">
                <a16:creationId xmlns="" xmlns:a16="http://schemas.microsoft.com/office/drawing/2014/main" id="{BD455CB7-5206-463D-BED2-EAD28551A070}"/>
              </a:ext>
            </a:extLst>
          </p:cNvPr>
          <p:cNvSpPr>
            <a:spLocks noGrp="1"/>
          </p:cNvSpPr>
          <p:nvPr>
            <p:ph sz="quarter" idx="17" hasCustomPrompt="1"/>
          </p:nvPr>
        </p:nvSpPr>
        <p:spPr>
          <a:xfrm>
            <a:off x="395289" y="926920"/>
            <a:ext cx="8343899" cy="3480566"/>
          </a:xfrm>
        </p:spPr>
        <p:txBody>
          <a:bodyPr/>
          <a:lstStyle/>
          <a:p>
            <a:pPr lvl="0"/>
            <a:r>
              <a:rPr lang="en-US"/>
              <a:t>Add your content here</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 xmlns:a16="http://schemas.microsoft.com/office/drawing/2014/main" id="{58FB5C6F-365C-4BC7-A55F-F64700AA7CD4}"/>
              </a:ext>
            </a:extLst>
          </p:cNvPr>
          <p:cNvSpPr>
            <a:spLocks noGrp="1"/>
          </p:cNvSpPr>
          <p:nvPr>
            <p:ph type="ftr" sz="quarter" idx="18"/>
          </p:nvPr>
        </p:nvSpPr>
        <p:spPr/>
        <p:txBody>
          <a:bodyPr/>
          <a:lstStyle/>
          <a:p>
            <a:r>
              <a:rPr lang="en-GB" altLang="ja-JP">
                <a:solidFill>
                  <a:srgbClr val="000000">
                    <a:tint val="75000"/>
                  </a:srgbClr>
                </a:solidFill>
              </a:rPr>
              <a:t>Long-term efficacy and safety of Takeda’s dengue vaccine candidate (TAK-003) after 4.5 years of follow-up | TBC | Approval </a:t>
            </a:r>
            <a:r>
              <a:rPr lang="en-US" altLang="ja-JP">
                <a:solidFill>
                  <a:srgbClr val="000000">
                    <a:tint val="75000"/>
                  </a:srgbClr>
                </a:solidFill>
              </a:rPr>
              <a:t>date: March 2023</a:t>
            </a:r>
            <a:endParaRPr lang="ja-JP" altLang="en-US" sz="100">
              <a:solidFill>
                <a:srgbClr val="000000">
                  <a:tint val="75000"/>
                </a:srgbClr>
              </a:solidFill>
            </a:endParaRPr>
          </a:p>
        </p:txBody>
      </p:sp>
    </p:spTree>
    <p:extLst>
      <p:ext uri="{BB962C8B-B14F-4D97-AF65-F5344CB8AC3E}">
        <p14:creationId xmlns:p14="http://schemas.microsoft.com/office/powerpoint/2010/main" val="391269100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E129881-6E69-4223-8D15-63FA14B0CB4C}"/>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 xmlns:a16="http://schemas.microsoft.com/office/drawing/2014/main" id="{5F0A8DA1-F9F6-4D74-B055-A738E3CE1D2A}"/>
              </a:ext>
            </a:extLst>
          </p:cNvPr>
          <p:cNvSpPr>
            <a:spLocks noGrp="1"/>
          </p:cNvSpPr>
          <p:nvPr>
            <p:ph sz="quarter" idx="12"/>
          </p:nvPr>
        </p:nvSpPr>
        <p:spPr>
          <a:xfrm>
            <a:off x="395298" y="926920"/>
            <a:ext cx="3641135" cy="34805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5">
            <a:extLst>
              <a:ext uri="{FF2B5EF4-FFF2-40B4-BE49-F238E27FC236}">
                <a16:creationId xmlns="" xmlns:a16="http://schemas.microsoft.com/office/drawing/2014/main" id="{8FB8791A-5714-4174-93D6-9FC70336EEB7}"/>
              </a:ext>
            </a:extLst>
          </p:cNvPr>
          <p:cNvSpPr>
            <a:spLocks noGrp="1"/>
          </p:cNvSpPr>
          <p:nvPr>
            <p:ph sz="quarter" idx="13"/>
          </p:nvPr>
        </p:nvSpPr>
        <p:spPr>
          <a:xfrm>
            <a:off x="4287135" y="926920"/>
            <a:ext cx="3641135" cy="34805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a:extLst>
              <a:ext uri="{FF2B5EF4-FFF2-40B4-BE49-F238E27FC236}">
                <a16:creationId xmlns="" xmlns:a16="http://schemas.microsoft.com/office/drawing/2014/main" id="{58223120-B955-4710-ACD4-F603408F08BD}"/>
              </a:ext>
            </a:extLst>
          </p:cNvPr>
          <p:cNvSpPr>
            <a:spLocks noGrp="1"/>
          </p:cNvSpPr>
          <p:nvPr>
            <p:ph type="body" sz="quarter" idx="14" hasCustomPrompt="1"/>
          </p:nvPr>
        </p:nvSpPr>
        <p:spPr>
          <a:xfrm>
            <a:off x="395289" y="4431390"/>
            <a:ext cx="7529513" cy="340727"/>
          </a:xfrm>
        </p:spPr>
        <p:txBody>
          <a:bodyPr bIns="0" anchor="b" anchorCtr="0">
            <a:noAutofit/>
          </a:bodyPr>
          <a:lstStyle>
            <a:lvl1pPr marL="0" indent="0">
              <a:spcBef>
                <a:spcPts val="0"/>
              </a:spcBef>
              <a:buFontTx/>
              <a:buNone/>
              <a:defRPr sz="700"/>
            </a:lvl1pPr>
          </a:lstStyle>
          <a:p>
            <a:r>
              <a:rPr lang="en-US"/>
              <a:t>Footnotes.</a:t>
            </a:r>
          </a:p>
          <a:p>
            <a:r>
              <a:rPr lang="en-US"/>
              <a:t>Abbreviations.</a:t>
            </a:r>
          </a:p>
          <a:p>
            <a:r>
              <a:rPr lang="en-US"/>
              <a:t>References.</a:t>
            </a:r>
          </a:p>
        </p:txBody>
      </p:sp>
      <p:sp>
        <p:nvSpPr>
          <p:cNvPr id="10" name="Slide Number Placeholder 9">
            <a:extLst>
              <a:ext uri="{FF2B5EF4-FFF2-40B4-BE49-F238E27FC236}">
                <a16:creationId xmlns="" xmlns:a16="http://schemas.microsoft.com/office/drawing/2014/main" id="{2D89B19E-B09D-4A01-BCC6-248802776290}"/>
              </a:ext>
            </a:extLst>
          </p:cNvPr>
          <p:cNvSpPr>
            <a:spLocks noGrp="1"/>
          </p:cNvSpPr>
          <p:nvPr>
            <p:ph type="sldNum" sz="quarter" idx="16"/>
          </p:nvPr>
        </p:nvSpPr>
        <p:spPr/>
        <p:txBody>
          <a:bodyPr/>
          <a:lstStyle/>
          <a:p>
            <a:fld id="{E9B57936-92EF-4126-AE48-1D9D36D15E98}" type="slidenum">
              <a:rPr lang="ja-JP" altLang="en-US" smtClean="0">
                <a:solidFill>
                  <a:srgbClr val="A1A4AC"/>
                </a:solidFill>
              </a:rPr>
              <a:pPr/>
              <a:t>‹Nº›</a:t>
            </a:fld>
            <a:endParaRPr lang="ja-JP" altLang="en-US">
              <a:solidFill>
                <a:srgbClr val="A1A4AC"/>
              </a:solidFill>
            </a:endParaRPr>
          </a:p>
        </p:txBody>
      </p:sp>
      <p:sp>
        <p:nvSpPr>
          <p:cNvPr id="4" name="Footer Placeholder 3">
            <a:extLst>
              <a:ext uri="{FF2B5EF4-FFF2-40B4-BE49-F238E27FC236}">
                <a16:creationId xmlns="" xmlns:a16="http://schemas.microsoft.com/office/drawing/2014/main" id="{51762CEE-A79A-45D3-9875-94BC3324923E}"/>
              </a:ext>
            </a:extLst>
          </p:cNvPr>
          <p:cNvSpPr>
            <a:spLocks noGrp="1"/>
          </p:cNvSpPr>
          <p:nvPr>
            <p:ph type="ftr" sz="quarter" idx="17"/>
          </p:nvPr>
        </p:nvSpPr>
        <p:spPr/>
        <p:txBody>
          <a:bodyPr/>
          <a:lstStyle/>
          <a:p>
            <a:r>
              <a:rPr lang="en-GB" altLang="ja-JP">
                <a:solidFill>
                  <a:srgbClr val="000000">
                    <a:tint val="75000"/>
                  </a:srgbClr>
                </a:solidFill>
              </a:rPr>
              <a:t>Long-term efficacy and safety of Takeda’s dengue vaccine candidate (TAK-003) after 4.5 years of follow-up | TBC | Approval </a:t>
            </a:r>
            <a:r>
              <a:rPr lang="en-US" altLang="ja-JP">
                <a:solidFill>
                  <a:srgbClr val="000000">
                    <a:tint val="75000"/>
                  </a:srgbClr>
                </a:solidFill>
              </a:rPr>
              <a:t>date: March 2023</a:t>
            </a:r>
            <a:endParaRPr lang="ja-JP" altLang="en-US" sz="100">
              <a:solidFill>
                <a:srgbClr val="000000">
                  <a:tint val="75000"/>
                </a:srgbClr>
              </a:solidFill>
            </a:endParaRPr>
          </a:p>
        </p:txBody>
      </p:sp>
    </p:spTree>
    <p:extLst>
      <p:ext uri="{BB962C8B-B14F-4D97-AF65-F5344CB8AC3E}">
        <p14:creationId xmlns:p14="http://schemas.microsoft.com/office/powerpoint/2010/main" val="17784022"/>
      </p:ext>
    </p:extLst>
  </p:cSld>
  <p:clrMapOvr>
    <a:masterClrMapping/>
  </p:clrMapOvr>
  <p:extLst mod="1">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44F408B-24E8-4FB6-AE04-197CC2CD7D0D}"/>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 xmlns:a16="http://schemas.microsoft.com/office/drawing/2014/main" id="{8B3088A4-9931-4BF0-A80E-31B01AC30FF8}"/>
              </a:ext>
            </a:extLst>
          </p:cNvPr>
          <p:cNvSpPr>
            <a:spLocks noGrp="1"/>
          </p:cNvSpPr>
          <p:nvPr>
            <p:ph type="sldNum" sz="quarter" idx="10"/>
          </p:nvPr>
        </p:nvSpPr>
        <p:spPr/>
        <p:txBody>
          <a:bodyPr/>
          <a:lstStyle/>
          <a:p>
            <a:fld id="{E9B57936-92EF-4126-AE48-1D9D36D15E98}" type="slidenum">
              <a:rPr lang="ja-JP" altLang="en-US" smtClean="0">
                <a:solidFill>
                  <a:srgbClr val="A1A4AC"/>
                </a:solidFill>
              </a:rPr>
              <a:pPr/>
              <a:t>‹Nº›</a:t>
            </a:fld>
            <a:endParaRPr lang="ja-JP" altLang="en-US">
              <a:solidFill>
                <a:srgbClr val="A1A4AC"/>
              </a:solidFill>
            </a:endParaRPr>
          </a:p>
        </p:txBody>
      </p:sp>
      <p:sp>
        <p:nvSpPr>
          <p:cNvPr id="4" name="Footer Placeholder 3">
            <a:extLst>
              <a:ext uri="{FF2B5EF4-FFF2-40B4-BE49-F238E27FC236}">
                <a16:creationId xmlns="" xmlns:a16="http://schemas.microsoft.com/office/drawing/2014/main" id="{0E749EFD-54C3-4F3F-B5B9-5977BA58250F}"/>
              </a:ext>
            </a:extLst>
          </p:cNvPr>
          <p:cNvSpPr>
            <a:spLocks noGrp="1"/>
          </p:cNvSpPr>
          <p:nvPr>
            <p:ph type="ftr" sz="quarter" idx="11"/>
          </p:nvPr>
        </p:nvSpPr>
        <p:spPr/>
        <p:txBody>
          <a:bodyPr/>
          <a:lstStyle/>
          <a:p>
            <a:r>
              <a:rPr lang="en-GB" altLang="ja-JP">
                <a:solidFill>
                  <a:srgbClr val="000000">
                    <a:tint val="75000"/>
                  </a:srgbClr>
                </a:solidFill>
              </a:rPr>
              <a:t>Long-term efficacy and safety of Takeda’s dengue vaccine candidate (TAK-003) after 4.5 years of follow-up | TBC | Approval </a:t>
            </a:r>
            <a:r>
              <a:rPr lang="en-US" altLang="ja-JP">
                <a:solidFill>
                  <a:srgbClr val="000000">
                    <a:tint val="75000"/>
                  </a:srgbClr>
                </a:solidFill>
              </a:rPr>
              <a:t>date: March 2023</a:t>
            </a:r>
            <a:endParaRPr lang="ja-JP" altLang="en-US" sz="100">
              <a:solidFill>
                <a:srgbClr val="000000">
                  <a:tint val="75000"/>
                </a:srgbClr>
              </a:solidFill>
            </a:endParaRPr>
          </a:p>
        </p:txBody>
      </p:sp>
    </p:spTree>
    <p:extLst>
      <p:ext uri="{BB962C8B-B14F-4D97-AF65-F5344CB8AC3E}">
        <p14:creationId xmlns:p14="http://schemas.microsoft.com/office/powerpoint/2010/main" val="318094342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Back Cover">
    <p:spTree>
      <p:nvGrpSpPr>
        <p:cNvPr id="1" name=""/>
        <p:cNvGrpSpPr/>
        <p:nvPr/>
      </p:nvGrpSpPr>
      <p:grpSpPr>
        <a:xfrm>
          <a:off x="0" y="0"/>
          <a:ext cx="0" cy="0"/>
          <a:chOff x="0" y="0"/>
          <a:chExt cx="0" cy="0"/>
        </a:xfrm>
      </p:grpSpPr>
      <p:sp>
        <p:nvSpPr>
          <p:cNvPr id="6" name="テキスト プレースホルダ 5"/>
          <p:cNvSpPr>
            <a:spLocks noGrp="1"/>
          </p:cNvSpPr>
          <p:nvPr>
            <p:ph type="body" sz="quarter" idx="10" hasCustomPrompt="1"/>
          </p:nvPr>
        </p:nvSpPr>
        <p:spPr>
          <a:xfrm>
            <a:off x="1943710" y="1924050"/>
            <a:ext cx="5256584" cy="1292352"/>
          </a:xfrm>
        </p:spPr>
        <p:txBody>
          <a:bodyPr anchor="ctr"/>
          <a:lstStyle>
            <a:lvl1pPr algn="ctr">
              <a:buNone/>
              <a:defRPr>
                <a:solidFill>
                  <a:schemeClr val="tx2"/>
                </a:solidFill>
                <a:latin typeface="Calibri" pitchFamily="34" charset="0"/>
                <a:ea typeface="+mj-ea"/>
                <a:cs typeface="Calibri" pitchFamily="34" charset="0"/>
              </a:defRPr>
            </a:lvl1pPr>
          </a:lstStyle>
          <a:p>
            <a:pPr lvl="0"/>
            <a:r>
              <a:rPr kumimoji="1" lang="en-US" altLang="ja-JP"/>
              <a:t>Click to add text</a:t>
            </a:r>
            <a:endParaRPr kumimoji="1" lang="ja-JP" altLang="en-US"/>
          </a:p>
        </p:txBody>
      </p:sp>
      <p:sp>
        <p:nvSpPr>
          <p:cNvPr id="8" name="TextBox 7">
            <a:extLst>
              <a:ext uri="{FF2B5EF4-FFF2-40B4-BE49-F238E27FC236}">
                <a16:creationId xmlns="" xmlns:a16="http://schemas.microsoft.com/office/drawing/2014/main" id="{2E616805-6DFB-0945-A003-D0CAF7C12BCF}"/>
              </a:ext>
            </a:extLst>
          </p:cNvPr>
          <p:cNvSpPr txBox="1"/>
          <p:nvPr userDrawn="1"/>
        </p:nvSpPr>
        <p:spPr>
          <a:xfrm>
            <a:off x="2744652" y="4843417"/>
            <a:ext cx="3654707" cy="253916"/>
          </a:xfrm>
          <a:prstGeom prst="rect">
            <a:avLst/>
          </a:prstGeom>
          <a:noFill/>
        </p:spPr>
        <p:txBody>
          <a:bodyPr wrap="square" lIns="68507" tIns="34289" rIns="68507" bIns="34289" rtlCol="0">
            <a:spAutoFit/>
          </a:bodyPr>
          <a:lstStyle/>
          <a:p>
            <a:pPr algn="ctr" defTabSz="684967"/>
            <a:r>
              <a:rPr lang="en-US" sz="600">
                <a:solidFill>
                  <a:srgbClr val="34373F"/>
                </a:solidFill>
              </a:rPr>
              <a:t>© 2019 Takeda Pharmaceutical Company Limited. All rights reserved</a:t>
            </a:r>
          </a:p>
          <a:p>
            <a:pPr algn="ctr" defTabSz="684967"/>
            <a:endParaRPr lang="en-US" sz="600">
              <a:solidFill>
                <a:srgbClr val="34373F"/>
              </a:solidFill>
            </a:endParaRPr>
          </a:p>
        </p:txBody>
      </p:sp>
      <p:pic>
        <p:nvPicPr>
          <p:cNvPr id="9" name="Picture 12" descr="Takeda_Logo_Pos_RGB.emf">
            <a:extLst>
              <a:ext uri="{FF2B5EF4-FFF2-40B4-BE49-F238E27FC236}">
                <a16:creationId xmlns="" xmlns:a16="http://schemas.microsoft.com/office/drawing/2014/main" id="{06211555-87D5-2840-BDB0-E8779633087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4040560" y="4088664"/>
            <a:ext cx="1062884" cy="357458"/>
          </a:xfrm>
          <a:prstGeom prst="rect">
            <a:avLst/>
          </a:prstGeom>
          <a:noFill/>
          <a:ln w="9525">
            <a:noFill/>
            <a:miter lim="800000"/>
            <a:headEnd/>
            <a:tailEnd/>
          </a:ln>
        </p:spPr>
      </p:pic>
    </p:spTree>
    <p:extLst>
      <p:ext uri="{BB962C8B-B14F-4D97-AF65-F5344CB8AC3E}">
        <p14:creationId xmlns:p14="http://schemas.microsoft.com/office/powerpoint/2010/main" val="180754874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タイトルとコンテンツ">
    <p:spTree>
      <p:nvGrpSpPr>
        <p:cNvPr id="1" name=""/>
        <p:cNvGrpSpPr/>
        <p:nvPr/>
      </p:nvGrpSpPr>
      <p:grpSpPr>
        <a:xfrm>
          <a:off x="0" y="0"/>
          <a:ext cx="0" cy="0"/>
          <a:chOff x="0" y="0"/>
          <a:chExt cx="0" cy="0"/>
        </a:xfrm>
      </p:grpSpPr>
      <p:sp>
        <p:nvSpPr>
          <p:cNvPr id="3" name="コンテンツ プレースホルダ 2"/>
          <p:cNvSpPr>
            <a:spLocks noGrp="1"/>
          </p:cNvSpPr>
          <p:nvPr>
            <p:ph idx="1" hasCustomPrompt="1"/>
          </p:nvPr>
        </p:nvSpPr>
        <p:spPr/>
        <p:txBody>
          <a:bodyPr>
            <a:normAutofit/>
          </a:bodyPr>
          <a:lstStyle>
            <a:lvl1pPr marL="342461" marR="0" indent="-342461" algn="l" defTabSz="684967" rtl="0" eaLnBrk="1" fontAlgn="auto" latinLnBrk="0" hangingPunct="1">
              <a:lnSpc>
                <a:spcPct val="100000"/>
              </a:lnSpc>
              <a:spcBef>
                <a:spcPct val="20000"/>
              </a:spcBef>
              <a:spcAft>
                <a:spcPts val="0"/>
              </a:spcAft>
              <a:buClr>
                <a:srgbClr val="4C4948"/>
              </a:buClr>
              <a:buSzTx/>
              <a:buFont typeface="Arial" panose="020B0604020202020204" pitchFamily="34" charset="0"/>
              <a:buChar char="•"/>
              <a:tabLst/>
              <a:defRPr sz="2000" baseline="0">
                <a:solidFill>
                  <a:schemeClr val="accent2"/>
                </a:solidFill>
                <a:latin typeface="Calibri" pitchFamily="34" charset="0"/>
                <a:cs typeface="Calibri" pitchFamily="34" charset="0"/>
              </a:defRPr>
            </a:lvl1pPr>
            <a:lvl2pPr marL="556527" marR="0" indent="-214068" algn="l" defTabSz="684967" rtl="0" eaLnBrk="1" fontAlgn="auto" latinLnBrk="0" hangingPunct="1">
              <a:lnSpc>
                <a:spcPct val="100000"/>
              </a:lnSpc>
              <a:spcBef>
                <a:spcPct val="20000"/>
              </a:spcBef>
              <a:spcAft>
                <a:spcPts val="0"/>
              </a:spcAft>
              <a:buClr>
                <a:srgbClr val="4C4948"/>
              </a:buClr>
              <a:buSzTx/>
              <a:buFont typeface="Arial" pitchFamily="34" charset="0"/>
              <a:buChar char="–"/>
              <a:tabLst/>
              <a:defRPr sz="1400" baseline="0">
                <a:solidFill>
                  <a:srgbClr val="231815"/>
                </a:solidFill>
                <a:latin typeface="Calibri" pitchFamily="34" charset="0"/>
                <a:cs typeface="Calibri" pitchFamily="34" charset="0"/>
              </a:defRPr>
            </a:lvl2pPr>
            <a:lvl3pPr marL="856220" marR="0" indent="-171254" algn="l" defTabSz="684967" rtl="0" eaLnBrk="1" fontAlgn="auto" latinLnBrk="0" hangingPunct="1">
              <a:lnSpc>
                <a:spcPct val="100000"/>
              </a:lnSpc>
              <a:spcBef>
                <a:spcPct val="20000"/>
              </a:spcBef>
              <a:spcAft>
                <a:spcPts val="0"/>
              </a:spcAft>
              <a:buClr>
                <a:srgbClr val="4C4948"/>
              </a:buClr>
              <a:buSzTx/>
              <a:buFont typeface="Arial" pitchFamily="34" charset="0"/>
              <a:buChar char="•"/>
              <a:tabLst/>
              <a:defRPr sz="1200" baseline="0">
                <a:solidFill>
                  <a:srgbClr val="231815"/>
                </a:solidFill>
                <a:latin typeface="Calibri" pitchFamily="34" charset="0"/>
                <a:cs typeface="Calibri" pitchFamily="34" charset="0"/>
              </a:defRPr>
            </a:lvl3pPr>
            <a:lvl4pPr marL="1198680" marR="0" indent="-171254" algn="l" defTabSz="684967" rtl="0" eaLnBrk="1" fontAlgn="auto" latinLnBrk="0" hangingPunct="1">
              <a:lnSpc>
                <a:spcPct val="100000"/>
              </a:lnSpc>
              <a:spcBef>
                <a:spcPct val="20000"/>
              </a:spcBef>
              <a:spcAft>
                <a:spcPts val="0"/>
              </a:spcAft>
              <a:buClr>
                <a:srgbClr val="4C4948"/>
              </a:buClr>
              <a:buSzTx/>
              <a:buFont typeface="Arial" pitchFamily="34" charset="0"/>
              <a:buChar char="–"/>
              <a:tabLst/>
              <a:defRPr sz="1100" baseline="0">
                <a:solidFill>
                  <a:srgbClr val="231815"/>
                </a:solidFill>
                <a:latin typeface="Calibri" pitchFamily="34" charset="0"/>
                <a:cs typeface="Calibri" pitchFamily="34" charset="0"/>
              </a:defRPr>
            </a:lvl4pPr>
            <a:lvl5pPr marL="1541141" marR="0" indent="-171254" algn="l" defTabSz="684967" rtl="0" eaLnBrk="1" fontAlgn="auto" latinLnBrk="0" hangingPunct="1">
              <a:lnSpc>
                <a:spcPct val="100000"/>
              </a:lnSpc>
              <a:spcBef>
                <a:spcPct val="20000"/>
              </a:spcBef>
              <a:spcAft>
                <a:spcPts val="0"/>
              </a:spcAft>
              <a:buClr>
                <a:srgbClr val="4C4948"/>
              </a:buClr>
              <a:buSzTx/>
              <a:buFont typeface="Arial" pitchFamily="34" charset="0"/>
              <a:buChar char="»"/>
              <a:tabLst/>
              <a:defRPr sz="1100" baseline="0">
                <a:solidFill>
                  <a:srgbClr val="231815"/>
                </a:solidFill>
                <a:latin typeface="Calibri" pitchFamily="34" charset="0"/>
                <a:cs typeface="Calibri" pitchFamily="34" charset="0"/>
              </a:defRPr>
            </a:lvl5pPr>
          </a:lstStyle>
          <a:p>
            <a:pPr marL="342461" marR="0" lvl="0" indent="-342461" algn="l" defTabSz="684967" rtl="0" eaLnBrk="1" fontAlgn="auto" latinLnBrk="0" hangingPunct="1">
              <a:lnSpc>
                <a:spcPct val="100000"/>
              </a:lnSpc>
              <a:spcBef>
                <a:spcPct val="20000"/>
              </a:spcBef>
              <a:spcAft>
                <a:spcPts val="0"/>
              </a:spcAft>
              <a:buClr>
                <a:srgbClr val="4C4948"/>
              </a:buClr>
              <a:buSzTx/>
              <a:buFont typeface="Arial" panose="020B0604020202020204" pitchFamily="34" charset="0"/>
              <a:buChar char="•"/>
              <a:tabLst/>
              <a:defRPr/>
            </a:pPr>
            <a:r>
              <a:rPr kumimoji="1" lang="en-US" sz="2000" b="0" i="0" u="none" strike="noStrike" kern="1200" cap="none" spc="0" normalizeH="0" baseline="0" noProof="0">
                <a:ln>
                  <a:noFill/>
                </a:ln>
                <a:solidFill>
                  <a:srgbClr val="4C4948"/>
                </a:solidFill>
                <a:effectLst/>
                <a:uLnTx/>
                <a:uFillTx/>
                <a:latin typeface="Calibri" pitchFamily="34" charset="0"/>
                <a:ea typeface="メイリオ" pitchFamily="50" charset="-128"/>
                <a:cs typeface="Calibri" pitchFamily="34" charset="0"/>
              </a:rPr>
              <a:t>Add your content here</a:t>
            </a:r>
          </a:p>
          <a:p>
            <a:pPr marL="556527" marR="0" lvl="1" indent="-214068" algn="l" defTabSz="684967" rtl="0" eaLnBrk="1" fontAlgn="auto" latinLnBrk="0" hangingPunct="1">
              <a:lnSpc>
                <a:spcPct val="100000"/>
              </a:lnSpc>
              <a:spcBef>
                <a:spcPct val="20000"/>
              </a:spcBef>
              <a:spcAft>
                <a:spcPts val="0"/>
              </a:spcAft>
              <a:buClr>
                <a:srgbClr val="4C4948"/>
              </a:buClr>
              <a:buSzTx/>
              <a:buFont typeface="Arial" pitchFamily="34" charset="0"/>
              <a:buChar char="–"/>
              <a:tabLst/>
              <a:defRPr/>
            </a:pPr>
            <a:r>
              <a:rPr kumimoji="1" lang="en-US" sz="1800" b="0" i="0" u="none" strike="noStrike" kern="1200" cap="none" spc="0" normalizeH="0" baseline="0" noProof="0">
                <a:ln>
                  <a:noFill/>
                </a:ln>
                <a:solidFill>
                  <a:srgbClr val="4C4948"/>
                </a:solidFill>
                <a:effectLst/>
                <a:uLnTx/>
                <a:uFillTx/>
                <a:latin typeface="Calibri" pitchFamily="34" charset="0"/>
                <a:ea typeface="メイリオ" pitchFamily="50" charset="-128"/>
                <a:cs typeface="Calibri" pitchFamily="34" charset="0"/>
              </a:rPr>
              <a:t>Second level</a:t>
            </a:r>
          </a:p>
          <a:p>
            <a:pPr marL="856220" marR="0" lvl="2" indent="-171254" algn="l" defTabSz="684967" rtl="0" eaLnBrk="1" fontAlgn="auto" latinLnBrk="0" hangingPunct="1">
              <a:lnSpc>
                <a:spcPct val="100000"/>
              </a:lnSpc>
              <a:spcBef>
                <a:spcPct val="20000"/>
              </a:spcBef>
              <a:spcAft>
                <a:spcPts val="0"/>
              </a:spcAft>
              <a:buClr>
                <a:srgbClr val="4C4948"/>
              </a:buClr>
              <a:buSzTx/>
              <a:buFont typeface="Arial" pitchFamily="34" charset="0"/>
              <a:buChar char="•"/>
              <a:tabLst/>
              <a:defRPr/>
            </a:pPr>
            <a:r>
              <a:rPr kumimoji="1" lang="en-US" sz="1700" b="0" i="0" u="none" strike="noStrike" kern="1200" cap="none" spc="0" normalizeH="0" baseline="0" noProof="0">
                <a:ln>
                  <a:noFill/>
                </a:ln>
                <a:solidFill>
                  <a:srgbClr val="4C4948"/>
                </a:solidFill>
                <a:effectLst/>
                <a:uLnTx/>
                <a:uFillTx/>
                <a:latin typeface="Calibri" pitchFamily="34" charset="0"/>
                <a:ea typeface="メイリオ" pitchFamily="50" charset="-128"/>
                <a:cs typeface="Calibri" pitchFamily="34" charset="0"/>
              </a:rPr>
              <a:t>Third level</a:t>
            </a:r>
          </a:p>
          <a:p>
            <a:pPr marL="1198680" marR="0" lvl="3" indent="-171254" algn="l" defTabSz="684967" rtl="0" eaLnBrk="1" fontAlgn="auto" latinLnBrk="0" hangingPunct="1">
              <a:lnSpc>
                <a:spcPct val="100000"/>
              </a:lnSpc>
              <a:spcBef>
                <a:spcPct val="20000"/>
              </a:spcBef>
              <a:spcAft>
                <a:spcPts val="0"/>
              </a:spcAft>
              <a:buClr>
                <a:srgbClr val="4C4948"/>
              </a:buClr>
              <a:buSzTx/>
              <a:buFont typeface="Arial" pitchFamily="34" charset="0"/>
              <a:buChar char="–"/>
              <a:tabLst/>
              <a:defRPr/>
            </a:pPr>
            <a:r>
              <a:rPr kumimoji="1" lang="en-US" sz="1500" b="0" i="0" u="none" strike="noStrike" kern="1200" cap="none" spc="0" normalizeH="0" baseline="0" noProof="0">
                <a:ln>
                  <a:noFill/>
                </a:ln>
                <a:solidFill>
                  <a:srgbClr val="4C4948"/>
                </a:solidFill>
                <a:effectLst/>
                <a:uLnTx/>
                <a:uFillTx/>
                <a:latin typeface="Calibri" pitchFamily="34" charset="0"/>
                <a:ea typeface="メイリオ" pitchFamily="50" charset="-128"/>
                <a:cs typeface="Calibri" pitchFamily="34" charset="0"/>
              </a:rPr>
              <a:t>Fourth level</a:t>
            </a:r>
          </a:p>
          <a:p>
            <a:pPr marL="1541141" marR="0" lvl="4" indent="-171254" algn="l" defTabSz="684967" rtl="0" eaLnBrk="1" fontAlgn="auto" latinLnBrk="0" hangingPunct="1">
              <a:lnSpc>
                <a:spcPct val="100000"/>
              </a:lnSpc>
              <a:spcBef>
                <a:spcPct val="20000"/>
              </a:spcBef>
              <a:spcAft>
                <a:spcPts val="0"/>
              </a:spcAft>
              <a:buClr>
                <a:srgbClr val="4C4948"/>
              </a:buClr>
              <a:buSzTx/>
              <a:buFont typeface="Arial" pitchFamily="34" charset="0"/>
              <a:buChar char="»"/>
              <a:tabLst/>
              <a:defRPr/>
            </a:pPr>
            <a:r>
              <a:rPr kumimoji="1" lang="en-US" sz="1500" b="0" i="0" u="none" strike="noStrike" kern="1200" cap="none" spc="0" normalizeH="0" baseline="0" noProof="0">
                <a:ln>
                  <a:noFill/>
                </a:ln>
                <a:solidFill>
                  <a:srgbClr val="4C4948"/>
                </a:solidFill>
                <a:effectLst/>
                <a:uLnTx/>
                <a:uFillTx/>
                <a:latin typeface="Calibri" pitchFamily="34" charset="0"/>
                <a:ea typeface="メイリオ" pitchFamily="50" charset="-128"/>
                <a:cs typeface="Calibri" pitchFamily="34" charset="0"/>
              </a:rPr>
              <a:t>Fifth level</a:t>
            </a:r>
            <a:endParaRPr kumimoji="1" lang="ja-JP" altLang="en-US"/>
          </a:p>
        </p:txBody>
      </p:sp>
      <p:sp>
        <p:nvSpPr>
          <p:cNvPr id="7" name="Title 14">
            <a:extLst>
              <a:ext uri="{FF2B5EF4-FFF2-40B4-BE49-F238E27FC236}">
                <a16:creationId xmlns="" xmlns:a16="http://schemas.microsoft.com/office/drawing/2014/main" id="{ACC062CD-A904-0F41-8348-B090B7D80016}"/>
              </a:ext>
            </a:extLst>
          </p:cNvPr>
          <p:cNvSpPr>
            <a:spLocks noGrp="1"/>
          </p:cNvSpPr>
          <p:nvPr>
            <p:ph type="title" hasCustomPrompt="1"/>
          </p:nvPr>
        </p:nvSpPr>
        <p:spPr>
          <a:xfrm>
            <a:off x="395288" y="99585"/>
            <a:ext cx="7290144" cy="527957"/>
          </a:xfrm>
        </p:spPr>
        <p:txBody>
          <a:bodyPr/>
          <a:lstStyle>
            <a:lvl1pPr>
              <a:defRPr>
                <a:solidFill>
                  <a:schemeClr val="accent2"/>
                </a:solidFill>
                <a:latin typeface="Calibri" panose="020F0502020204030204" pitchFamily="34" charset="0"/>
                <a:cs typeface="Calibri" panose="020F0502020204030204" pitchFamily="34" charset="0"/>
              </a:defRPr>
            </a:lvl1pPr>
          </a:lstStyle>
          <a:p>
            <a:r>
              <a:rPr lang="en-US"/>
              <a:t>Add your title here</a:t>
            </a:r>
          </a:p>
        </p:txBody>
      </p:sp>
      <p:sp>
        <p:nvSpPr>
          <p:cNvPr id="10" name="Slide Number Placeholder 2">
            <a:extLst>
              <a:ext uri="{FF2B5EF4-FFF2-40B4-BE49-F238E27FC236}">
                <a16:creationId xmlns="" xmlns:a16="http://schemas.microsoft.com/office/drawing/2014/main" id="{E66FFE87-AC99-D545-8637-52F42D6E6547}"/>
              </a:ext>
            </a:extLst>
          </p:cNvPr>
          <p:cNvSpPr>
            <a:spLocks noGrp="1"/>
          </p:cNvSpPr>
          <p:nvPr>
            <p:ph type="sldNum" sz="quarter" idx="4"/>
          </p:nvPr>
        </p:nvSpPr>
        <p:spPr>
          <a:xfrm>
            <a:off x="3" y="4748470"/>
            <a:ext cx="486833" cy="292687"/>
          </a:xfrm>
          <a:prstGeom prst="rect">
            <a:avLst/>
          </a:prstGeom>
        </p:spPr>
        <p:txBody>
          <a:bodyPr rIns="0" anchor="ctr" anchorCtr="0"/>
          <a:lstStyle>
            <a:lvl1pPr algn="r">
              <a:defRPr sz="800" b="0" i="0">
                <a:solidFill>
                  <a:schemeClr val="accent3"/>
                </a:solidFill>
                <a:latin typeface="Calibri" panose="020F0502020204030204" pitchFamily="34" charset="0"/>
                <a:cs typeface="Calibri" panose="020F0502020204030204" pitchFamily="34" charset="0"/>
              </a:defRPr>
            </a:lvl1pPr>
          </a:lstStyle>
          <a:p>
            <a:fld id="{E9B57936-92EF-4126-AE48-1D9D36D15E98}" type="slidenum">
              <a:rPr lang="ja-JP" altLang="en-US" smtClean="0">
                <a:solidFill>
                  <a:srgbClr val="A1A4AC"/>
                </a:solidFill>
              </a:rPr>
              <a:pPr/>
              <a:t>‹Nº›</a:t>
            </a:fld>
            <a:endParaRPr lang="ja-JP" altLang="en-US">
              <a:solidFill>
                <a:srgbClr val="A1A4AC"/>
              </a:solidFill>
            </a:endParaRPr>
          </a:p>
        </p:txBody>
      </p:sp>
      <p:sp>
        <p:nvSpPr>
          <p:cNvPr id="11" name="Footer Placeholder 4">
            <a:extLst>
              <a:ext uri="{FF2B5EF4-FFF2-40B4-BE49-F238E27FC236}">
                <a16:creationId xmlns="" xmlns:a16="http://schemas.microsoft.com/office/drawing/2014/main" id="{AF0B85ED-B35C-F940-9C41-40AD55C5EB03}"/>
              </a:ext>
            </a:extLst>
          </p:cNvPr>
          <p:cNvSpPr>
            <a:spLocks noGrp="1"/>
          </p:cNvSpPr>
          <p:nvPr>
            <p:ph type="ftr" sz="quarter" idx="3"/>
          </p:nvPr>
        </p:nvSpPr>
        <p:spPr>
          <a:xfrm>
            <a:off x="486833" y="4748422"/>
            <a:ext cx="7447713" cy="292688"/>
          </a:xfrm>
          <a:prstGeom prst="rect">
            <a:avLst/>
          </a:prstGeom>
        </p:spPr>
        <p:txBody>
          <a:bodyPr lIns="53951" anchor="ctr" anchorCtr="0"/>
          <a:lstStyle>
            <a:lvl1pPr>
              <a:defRPr sz="800" b="0" i="0">
                <a:solidFill>
                  <a:schemeClr val="accent3"/>
                </a:solidFill>
                <a:latin typeface="Calibri" panose="020F0502020204030204" pitchFamily="34" charset="0"/>
                <a:cs typeface="Calibri" panose="020F0502020204030204" pitchFamily="34" charset="0"/>
              </a:defRPr>
            </a:lvl1pPr>
          </a:lstStyle>
          <a:p>
            <a:r>
              <a:rPr lang="en-GB" altLang="ja-JP">
                <a:solidFill>
                  <a:srgbClr val="A1A4AC"/>
                </a:solidFill>
              </a:rPr>
              <a:t>Long-term efficacy and safety of Takeda’s dengue vaccine candidate (TAK-003) after 4.5 years of follow-up | TBC | Approval date: March 2023</a:t>
            </a:r>
            <a:endParaRPr lang="ja-JP" altLang="en-US">
              <a:solidFill>
                <a:srgbClr val="A1A4AC"/>
              </a:solidFill>
            </a:endParaRPr>
          </a:p>
        </p:txBody>
      </p:sp>
      <p:sp>
        <p:nvSpPr>
          <p:cNvPr id="6" name="Text Placeholder 3">
            <a:extLst>
              <a:ext uri="{FF2B5EF4-FFF2-40B4-BE49-F238E27FC236}">
                <a16:creationId xmlns="" xmlns:a16="http://schemas.microsoft.com/office/drawing/2014/main" id="{B08CFEF5-24AE-495E-BBF3-2FCF473E5A90}"/>
              </a:ext>
            </a:extLst>
          </p:cNvPr>
          <p:cNvSpPr>
            <a:spLocks noGrp="1"/>
          </p:cNvSpPr>
          <p:nvPr>
            <p:ph type="body" sz="quarter" idx="14" hasCustomPrompt="1"/>
          </p:nvPr>
        </p:nvSpPr>
        <p:spPr>
          <a:xfrm>
            <a:off x="404820" y="4407743"/>
            <a:ext cx="7529513" cy="340519"/>
          </a:xfrm>
        </p:spPr>
        <p:txBody>
          <a:bodyPr anchor="b" anchorCtr="0">
            <a:noAutofit/>
          </a:bodyPr>
          <a:lstStyle>
            <a:lvl1pPr marL="0" indent="0">
              <a:spcBef>
                <a:spcPts val="0"/>
              </a:spcBef>
              <a:buFontTx/>
              <a:buNone/>
              <a:defRPr sz="700"/>
            </a:lvl1pPr>
          </a:lstStyle>
          <a:p>
            <a:pPr lvl="0"/>
            <a:r>
              <a:rPr lang="en-US"/>
              <a:t>Abbreviations and references</a:t>
            </a:r>
          </a:p>
        </p:txBody>
      </p:sp>
    </p:spTree>
    <p:extLst>
      <p:ext uri="{BB962C8B-B14F-4D97-AF65-F5344CB8AC3E}">
        <p14:creationId xmlns:p14="http://schemas.microsoft.com/office/powerpoint/2010/main" val="230569363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Blank w/ Title (Ligh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2791E102-F015-C78A-47B6-E9A6357A4664}"/>
              </a:ext>
            </a:extLst>
          </p:cNvPr>
          <p:cNvSpPr>
            <a:spLocks noGrp="1"/>
          </p:cNvSpPr>
          <p:nvPr>
            <p:ph type="title" hasCustomPrompt="1"/>
          </p:nvPr>
        </p:nvSpPr>
        <p:spPr/>
        <p:txBody>
          <a:bodyPr/>
          <a:lstStyle>
            <a:lvl1pPr>
              <a:defRPr>
                <a:solidFill>
                  <a:schemeClr val="tx2"/>
                </a:solidFill>
              </a:defRPr>
            </a:lvl1pPr>
          </a:lstStyle>
          <a:p>
            <a:r>
              <a:rPr lang="en-US"/>
              <a:t>Enter title here</a:t>
            </a:r>
            <a:endParaRPr lang="en-GB"/>
          </a:p>
        </p:txBody>
      </p:sp>
      <p:sp>
        <p:nvSpPr>
          <p:cNvPr id="3" name="Footer Placeholder 2">
            <a:extLst>
              <a:ext uri="{FF2B5EF4-FFF2-40B4-BE49-F238E27FC236}">
                <a16:creationId xmlns="" xmlns:a16="http://schemas.microsoft.com/office/drawing/2014/main" id="{D7FB5E98-4ADD-3B20-06BA-EA0D13A6542A}"/>
              </a:ext>
            </a:extLst>
          </p:cNvPr>
          <p:cNvSpPr>
            <a:spLocks noGrp="1"/>
          </p:cNvSpPr>
          <p:nvPr>
            <p:ph type="ftr" sz="quarter" idx="10"/>
          </p:nvPr>
        </p:nvSpPr>
        <p:spPr/>
        <p:txBody>
          <a:bodyPr/>
          <a:lstStyle/>
          <a:p>
            <a:r>
              <a:rPr lang="en-GB">
                <a:solidFill>
                  <a:srgbClr val="000000">
                    <a:tint val="75000"/>
                  </a:srgbClr>
                </a:solidFill>
              </a:rPr>
              <a:t>Long-term efficacy and safety of Takeda’s dengue vaccine candidate (TAK-003) after 4.5 years of follow-up | TBC | Approval date: March 2023</a:t>
            </a:r>
          </a:p>
        </p:txBody>
      </p:sp>
      <p:sp>
        <p:nvSpPr>
          <p:cNvPr id="4" name="Slide Number Placeholder 3">
            <a:extLst>
              <a:ext uri="{FF2B5EF4-FFF2-40B4-BE49-F238E27FC236}">
                <a16:creationId xmlns="" xmlns:a16="http://schemas.microsoft.com/office/drawing/2014/main" id="{A42EA920-1055-F026-0BE2-8DFAFD83F4F6}"/>
              </a:ext>
            </a:extLst>
          </p:cNvPr>
          <p:cNvSpPr>
            <a:spLocks noGrp="1"/>
          </p:cNvSpPr>
          <p:nvPr>
            <p:ph type="sldNum" sz="quarter" idx="11"/>
          </p:nvPr>
        </p:nvSpPr>
        <p:spPr/>
        <p:txBody>
          <a:bodyPr/>
          <a:lstStyle/>
          <a:p>
            <a:fld id="{6C2D6B06-1DB8-4E35-8DFF-019CD55AEF0F}" type="slidenum">
              <a:rPr lang="en-GB" smtClean="0">
                <a:solidFill>
                  <a:srgbClr val="A1A4AC"/>
                </a:solidFill>
              </a:rPr>
              <a:pPr/>
              <a:t>‹Nº›</a:t>
            </a:fld>
            <a:endParaRPr lang="en-GB">
              <a:solidFill>
                <a:srgbClr val="A1A4AC"/>
              </a:solidFill>
            </a:endParaRPr>
          </a:p>
        </p:txBody>
      </p:sp>
    </p:spTree>
    <p:extLst>
      <p:ext uri="{BB962C8B-B14F-4D97-AF65-F5344CB8AC3E}">
        <p14:creationId xmlns:p14="http://schemas.microsoft.com/office/powerpoint/2010/main" val="267075719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Page 1">
    <p:spTree>
      <p:nvGrpSpPr>
        <p:cNvPr id="1" name=""/>
        <p:cNvGrpSpPr/>
        <p:nvPr/>
      </p:nvGrpSpPr>
      <p:grpSpPr>
        <a:xfrm>
          <a:off x="0" y="0"/>
          <a:ext cx="0" cy="0"/>
          <a:chOff x="0" y="0"/>
          <a:chExt cx="0" cy="0"/>
        </a:xfrm>
      </p:grpSpPr>
      <p:sp>
        <p:nvSpPr>
          <p:cNvPr id="6" name="Rectangle 6">
            <a:extLst>
              <a:ext uri="{FF2B5EF4-FFF2-40B4-BE49-F238E27FC236}">
                <a16:creationId xmlns="" xmlns:a16="http://schemas.microsoft.com/office/drawing/2014/main" id="{82B9CECE-7D8F-8C4A-AFC6-A963B1F05594}"/>
              </a:ext>
            </a:extLst>
          </p:cNvPr>
          <p:cNvSpPr/>
          <p:nvPr userDrawn="1"/>
        </p:nvSpPr>
        <p:spPr>
          <a:xfrm>
            <a:off x="0" y="45949"/>
            <a:ext cx="191386" cy="6367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05" tIns="34289" rIns="68505" bIns="34289" anchor="ctr"/>
          <a:lstStyle/>
          <a:p>
            <a:pPr algn="ctr" defTabSz="684950"/>
            <a:endParaRPr lang="en-US" altLang="en-US" sz="1400">
              <a:solidFill>
                <a:srgbClr val="E1242A"/>
              </a:solidFill>
            </a:endParaRPr>
          </a:p>
        </p:txBody>
      </p:sp>
      <p:sp>
        <p:nvSpPr>
          <p:cNvPr id="10" name="Picture Placeholder 9">
            <a:extLst>
              <a:ext uri="{FF2B5EF4-FFF2-40B4-BE49-F238E27FC236}">
                <a16:creationId xmlns="" xmlns:a16="http://schemas.microsoft.com/office/drawing/2014/main" id="{91E79114-5B74-9547-8292-DAB8965D43FD}"/>
              </a:ext>
            </a:extLst>
          </p:cNvPr>
          <p:cNvSpPr>
            <a:spLocks noGrp="1"/>
          </p:cNvSpPr>
          <p:nvPr>
            <p:ph type="pic" sz="quarter" idx="10"/>
          </p:nvPr>
        </p:nvSpPr>
        <p:spPr>
          <a:xfrm>
            <a:off x="561756" y="381"/>
            <a:ext cx="8594519" cy="2571371"/>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2246">
                <a:moveTo>
                  <a:pt x="0" y="1652"/>
                </a:moveTo>
                <a:lnTo>
                  <a:pt x="11459359" y="0"/>
                </a:lnTo>
                <a:cubicBezTo>
                  <a:pt x="11456406" y="1115201"/>
                  <a:pt x="11441877" y="2245391"/>
                  <a:pt x="11438924" y="3360592"/>
                </a:cubicBezTo>
                <a:lnTo>
                  <a:pt x="579722" y="3362246"/>
                </a:lnTo>
                <a:cubicBezTo>
                  <a:pt x="259550" y="3362246"/>
                  <a:pt x="0" y="3102696"/>
                  <a:pt x="0" y="2782524"/>
                </a:cubicBezTo>
                <a:lnTo>
                  <a:pt x="0" y="1652"/>
                </a:lnTo>
                <a:close/>
              </a:path>
            </a:pathLst>
          </a:custGeom>
          <a:noFill/>
        </p:spPr>
        <p:txBody>
          <a:bodyPr/>
          <a:lstStyle>
            <a:lvl1pPr marL="0" indent="0">
              <a:buNone/>
              <a:defRPr sz="1800">
                <a:solidFill>
                  <a:schemeClr val="bg1"/>
                </a:solidFill>
              </a:defRPr>
            </a:lvl1pPr>
          </a:lstStyle>
          <a:p>
            <a:r>
              <a:rPr lang="de-DE"/>
              <a:t>Bild durch Klicken auf Symbol hinzufügen</a:t>
            </a:r>
            <a:endParaRPr lang="x-none"/>
          </a:p>
        </p:txBody>
      </p:sp>
      <p:sp>
        <p:nvSpPr>
          <p:cNvPr id="15" name="Title 1">
            <a:extLst>
              <a:ext uri="{FF2B5EF4-FFF2-40B4-BE49-F238E27FC236}">
                <a16:creationId xmlns="" xmlns:a16="http://schemas.microsoft.com/office/drawing/2014/main" id="{9F5E8E0A-41D4-8346-9248-0B9AAC71238D}"/>
              </a:ext>
            </a:extLst>
          </p:cNvPr>
          <p:cNvSpPr>
            <a:spLocks noGrp="1"/>
          </p:cNvSpPr>
          <p:nvPr>
            <p:ph type="ctrTitle" hasCustomPrompt="1"/>
          </p:nvPr>
        </p:nvSpPr>
        <p:spPr>
          <a:xfrm>
            <a:off x="896055" y="2967638"/>
            <a:ext cx="5774753" cy="761761"/>
          </a:xfrm>
          <a:prstGeom prst="rect">
            <a:avLst/>
          </a:prstGeom>
        </p:spPr>
        <p:txBody>
          <a:bodyPr wrap="square" lIns="0" tIns="0" rIns="0" bIns="0" anchor="t" anchorCtr="0">
            <a:normAutofit/>
          </a:bodyPr>
          <a:lstStyle>
            <a:lvl1pPr>
              <a:lnSpc>
                <a:spcPts val="2850"/>
              </a:lnSpc>
              <a:defRPr sz="27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a:t>
            </a:r>
            <a:br>
              <a:rPr lang="en-GB"/>
            </a:br>
            <a:r>
              <a:rPr lang="en-GB"/>
              <a:t>Title</a:t>
            </a:r>
          </a:p>
        </p:txBody>
      </p:sp>
      <p:sp>
        <p:nvSpPr>
          <p:cNvPr id="17" name="Rectangle 16">
            <a:extLst>
              <a:ext uri="{FF2B5EF4-FFF2-40B4-BE49-F238E27FC236}">
                <a16:creationId xmlns="" xmlns:a16="http://schemas.microsoft.com/office/drawing/2014/main" id="{F5A63B8E-5554-A04E-B4C5-97ECEE58B6CC}"/>
              </a:ext>
            </a:extLst>
          </p:cNvPr>
          <p:cNvSpPr/>
          <p:nvPr userDrawn="1"/>
        </p:nvSpPr>
        <p:spPr>
          <a:xfrm>
            <a:off x="561754" y="2823048"/>
            <a:ext cx="72900" cy="20303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05" tIns="34289" rIns="68505" bIns="34289" anchor="ctr"/>
          <a:lstStyle/>
          <a:p>
            <a:pPr algn="ctr" defTabSz="684950"/>
            <a:endParaRPr lang="en-US" altLang="en-US" sz="1400">
              <a:solidFill>
                <a:srgbClr val="FFFFFF"/>
              </a:solidFill>
            </a:endParaRPr>
          </a:p>
        </p:txBody>
      </p:sp>
      <p:pic>
        <p:nvPicPr>
          <p:cNvPr id="21" name="Picture 20">
            <a:extLst>
              <a:ext uri="{FF2B5EF4-FFF2-40B4-BE49-F238E27FC236}">
                <a16:creationId xmlns="" xmlns:a16="http://schemas.microsoft.com/office/drawing/2014/main" id="{C2637423-F180-3943-B758-C8CCFA816E0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178941" y="4768508"/>
            <a:ext cx="1468934" cy="88097"/>
          </a:xfrm>
          <a:prstGeom prst="rect">
            <a:avLst/>
          </a:prstGeom>
        </p:spPr>
      </p:pic>
      <p:sp>
        <p:nvSpPr>
          <p:cNvPr id="23" name="Text Placeholder 2">
            <a:extLst>
              <a:ext uri="{FF2B5EF4-FFF2-40B4-BE49-F238E27FC236}">
                <a16:creationId xmlns="" xmlns:a16="http://schemas.microsoft.com/office/drawing/2014/main" id="{F7327E43-4F43-914D-BE65-DB0ADB5A5E11}"/>
              </a:ext>
            </a:extLst>
          </p:cNvPr>
          <p:cNvSpPr>
            <a:spLocks noGrp="1"/>
          </p:cNvSpPr>
          <p:nvPr>
            <p:ph type="body" sz="quarter" idx="23" hasCustomPrompt="1"/>
          </p:nvPr>
        </p:nvSpPr>
        <p:spPr>
          <a:xfrm>
            <a:off x="896055" y="3942074"/>
            <a:ext cx="5774753" cy="175501"/>
          </a:xfrm>
          <a:prstGeom prst="rect">
            <a:avLst/>
          </a:prstGeom>
        </p:spPr>
        <p:txBody>
          <a:bodyPr lIns="0" tIns="0" rIns="0" bIns="0">
            <a:noAutofit/>
          </a:bodyPr>
          <a:lstStyle>
            <a:lvl1pPr marL="0" indent="0">
              <a:buNone/>
              <a:defRPr sz="1100" b="0" i="0">
                <a:solidFill>
                  <a:schemeClr val="tx1"/>
                </a:solidFill>
                <a:latin typeface="Calibri" panose="020F0502020204030204" pitchFamily="34" charset="0"/>
                <a:cs typeface="Calibri" panose="020F0502020204030204" pitchFamily="34" charset="0"/>
              </a:defRPr>
            </a:lvl1pPr>
            <a:lvl2pPr marL="342353" indent="0">
              <a:buNone/>
              <a:defRPr sz="1100">
                <a:solidFill>
                  <a:schemeClr val="tx1"/>
                </a:solidFill>
              </a:defRPr>
            </a:lvl2pPr>
            <a:lvl3pPr marL="684762" indent="0">
              <a:buNone/>
              <a:defRPr sz="1100">
                <a:solidFill>
                  <a:schemeClr val="tx1"/>
                </a:solidFill>
              </a:defRPr>
            </a:lvl3pPr>
            <a:lvl4pPr marL="1027139" indent="0">
              <a:buNone/>
              <a:defRPr sz="1100">
                <a:solidFill>
                  <a:schemeClr val="tx1"/>
                </a:solidFill>
              </a:defRPr>
            </a:lvl4pPr>
            <a:lvl5pPr marL="1369518" indent="0">
              <a:buNone/>
              <a:defRPr sz="1100">
                <a:solidFill>
                  <a:schemeClr val="tx1"/>
                </a:solidFill>
              </a:defRPr>
            </a:lvl5pPr>
          </a:lstStyle>
          <a:p>
            <a:pPr lvl="0"/>
            <a:r>
              <a:rPr lang="en-US"/>
              <a:t>Title of Position</a:t>
            </a:r>
          </a:p>
        </p:txBody>
      </p:sp>
      <p:sp>
        <p:nvSpPr>
          <p:cNvPr id="24" name="Text Placeholder 2">
            <a:extLst>
              <a:ext uri="{FF2B5EF4-FFF2-40B4-BE49-F238E27FC236}">
                <a16:creationId xmlns="" xmlns:a16="http://schemas.microsoft.com/office/drawing/2014/main" id="{4A23AA60-6137-8841-B2ED-51B2F2E5C1BB}"/>
              </a:ext>
            </a:extLst>
          </p:cNvPr>
          <p:cNvSpPr>
            <a:spLocks noGrp="1"/>
          </p:cNvSpPr>
          <p:nvPr>
            <p:ph type="body" sz="quarter" idx="24" hasCustomPrompt="1"/>
          </p:nvPr>
        </p:nvSpPr>
        <p:spPr>
          <a:xfrm>
            <a:off x="896055" y="4136334"/>
            <a:ext cx="5774753" cy="175501"/>
          </a:xfrm>
          <a:prstGeom prst="rect">
            <a:avLst/>
          </a:prstGeom>
        </p:spPr>
        <p:txBody>
          <a:bodyPr lIns="0" tIns="0" rIns="0" bIns="0">
            <a:noAutofit/>
          </a:bodyPr>
          <a:lstStyle>
            <a:lvl1pPr marL="0" indent="0">
              <a:buNone/>
              <a:defRPr sz="1100" b="0" i="0">
                <a:solidFill>
                  <a:schemeClr val="tx1"/>
                </a:solidFill>
                <a:latin typeface="Calibri" panose="020F0502020204030204" pitchFamily="34" charset="0"/>
                <a:cs typeface="Calibri" panose="020F0502020204030204" pitchFamily="34" charset="0"/>
              </a:defRPr>
            </a:lvl1pPr>
            <a:lvl2pPr marL="342353" indent="0">
              <a:buNone/>
              <a:defRPr sz="1100">
                <a:solidFill>
                  <a:schemeClr val="tx1"/>
                </a:solidFill>
              </a:defRPr>
            </a:lvl2pPr>
            <a:lvl3pPr marL="684762" indent="0">
              <a:buNone/>
              <a:defRPr sz="1100">
                <a:solidFill>
                  <a:schemeClr val="tx1"/>
                </a:solidFill>
              </a:defRPr>
            </a:lvl3pPr>
            <a:lvl4pPr marL="1027139" indent="0">
              <a:buNone/>
              <a:defRPr sz="1100">
                <a:solidFill>
                  <a:schemeClr val="tx1"/>
                </a:solidFill>
              </a:defRPr>
            </a:lvl4pPr>
            <a:lvl5pPr marL="1369518" indent="0">
              <a:buNone/>
              <a:defRPr sz="1100">
                <a:solidFill>
                  <a:schemeClr val="tx1"/>
                </a:solidFill>
              </a:defRPr>
            </a:lvl5pPr>
          </a:lstStyle>
          <a:p>
            <a:pPr lvl="0"/>
            <a:r>
              <a:rPr lang="en-US"/>
              <a:t>Department</a:t>
            </a:r>
          </a:p>
        </p:txBody>
      </p:sp>
      <p:sp>
        <p:nvSpPr>
          <p:cNvPr id="25" name="Text Placeholder 2">
            <a:extLst>
              <a:ext uri="{FF2B5EF4-FFF2-40B4-BE49-F238E27FC236}">
                <a16:creationId xmlns="" xmlns:a16="http://schemas.microsoft.com/office/drawing/2014/main" id="{BB4FEAB2-22C6-3446-B4D2-5B610A729BCC}"/>
              </a:ext>
            </a:extLst>
          </p:cNvPr>
          <p:cNvSpPr>
            <a:spLocks noGrp="1"/>
          </p:cNvSpPr>
          <p:nvPr>
            <p:ph type="body" sz="quarter" idx="25" hasCustomPrompt="1"/>
          </p:nvPr>
        </p:nvSpPr>
        <p:spPr>
          <a:xfrm>
            <a:off x="896055" y="4327199"/>
            <a:ext cx="5774753" cy="175501"/>
          </a:xfrm>
          <a:prstGeom prst="rect">
            <a:avLst/>
          </a:prstGeom>
        </p:spPr>
        <p:txBody>
          <a:bodyPr lIns="0" tIns="0" rIns="0" bIns="0">
            <a:noAutofit/>
          </a:bodyPr>
          <a:lstStyle>
            <a:lvl1pPr marL="0" indent="0">
              <a:buNone/>
              <a:defRPr sz="1100" b="0" i="0">
                <a:solidFill>
                  <a:schemeClr val="tx1"/>
                </a:solidFill>
                <a:latin typeface="Calibri" panose="020F0502020204030204" pitchFamily="34" charset="0"/>
                <a:cs typeface="Calibri" panose="020F0502020204030204" pitchFamily="34" charset="0"/>
              </a:defRPr>
            </a:lvl1pPr>
            <a:lvl2pPr marL="342353" indent="0">
              <a:buNone/>
              <a:defRPr sz="1100">
                <a:solidFill>
                  <a:schemeClr val="tx1"/>
                </a:solidFill>
              </a:defRPr>
            </a:lvl2pPr>
            <a:lvl3pPr marL="684762" indent="0">
              <a:buNone/>
              <a:defRPr sz="1100">
                <a:solidFill>
                  <a:schemeClr val="tx1"/>
                </a:solidFill>
              </a:defRPr>
            </a:lvl3pPr>
            <a:lvl4pPr marL="1027139" indent="0">
              <a:buNone/>
              <a:defRPr sz="1100">
                <a:solidFill>
                  <a:schemeClr val="tx1"/>
                </a:solidFill>
              </a:defRPr>
            </a:lvl4pPr>
            <a:lvl5pPr marL="1369518" indent="0">
              <a:buNone/>
              <a:defRPr sz="1100">
                <a:solidFill>
                  <a:schemeClr val="tx1"/>
                </a:solidFill>
              </a:defRPr>
            </a:lvl5pPr>
          </a:lstStyle>
          <a:p>
            <a:pPr lvl="0"/>
            <a:r>
              <a:rPr lang="en-US"/>
              <a:t>Date</a:t>
            </a:r>
          </a:p>
        </p:txBody>
      </p:sp>
      <p:sp>
        <p:nvSpPr>
          <p:cNvPr id="28" name="Text Placeholder 2">
            <a:extLst>
              <a:ext uri="{FF2B5EF4-FFF2-40B4-BE49-F238E27FC236}">
                <a16:creationId xmlns="" xmlns:a16="http://schemas.microsoft.com/office/drawing/2014/main" id="{4085F378-E668-A648-B7B1-8C76C309ED6D}"/>
              </a:ext>
            </a:extLst>
          </p:cNvPr>
          <p:cNvSpPr>
            <a:spLocks noGrp="1"/>
          </p:cNvSpPr>
          <p:nvPr>
            <p:ph type="body" sz="quarter" idx="26" hasCustomPrompt="1"/>
          </p:nvPr>
        </p:nvSpPr>
        <p:spPr>
          <a:xfrm>
            <a:off x="896055" y="3748183"/>
            <a:ext cx="5774753" cy="175501"/>
          </a:xfrm>
          <a:prstGeom prst="rect">
            <a:avLst/>
          </a:prstGeom>
        </p:spPr>
        <p:txBody>
          <a:bodyPr lIns="0" tIns="0" rIns="0" bIns="0">
            <a:noAutofit/>
          </a:bodyPr>
          <a:lstStyle>
            <a:lvl1pPr marL="0" indent="0">
              <a:buNone/>
              <a:defRPr sz="1100" b="0" i="0">
                <a:solidFill>
                  <a:schemeClr val="tx1"/>
                </a:solidFill>
                <a:latin typeface="Calibri" panose="020F0502020204030204" pitchFamily="34" charset="0"/>
                <a:cs typeface="Calibri" panose="020F0502020204030204" pitchFamily="34" charset="0"/>
              </a:defRPr>
            </a:lvl1pPr>
            <a:lvl2pPr marL="342353" indent="0">
              <a:buNone/>
              <a:defRPr sz="1100">
                <a:solidFill>
                  <a:schemeClr val="tx1"/>
                </a:solidFill>
              </a:defRPr>
            </a:lvl2pPr>
            <a:lvl3pPr marL="684762" indent="0">
              <a:buNone/>
              <a:defRPr sz="1100">
                <a:solidFill>
                  <a:schemeClr val="tx1"/>
                </a:solidFill>
              </a:defRPr>
            </a:lvl3pPr>
            <a:lvl4pPr marL="1027139" indent="0">
              <a:buNone/>
              <a:defRPr sz="1100">
                <a:solidFill>
                  <a:schemeClr val="tx1"/>
                </a:solidFill>
              </a:defRPr>
            </a:lvl4pPr>
            <a:lvl5pPr marL="1369518" indent="0">
              <a:buNone/>
              <a:defRPr sz="1100">
                <a:solidFill>
                  <a:schemeClr val="tx1"/>
                </a:solidFill>
              </a:defRPr>
            </a:lvl5pPr>
          </a:lstStyle>
          <a:p>
            <a:pPr lvl="0"/>
            <a:r>
              <a:rPr lang="en-US"/>
              <a:t>Presenter Name</a:t>
            </a:r>
          </a:p>
        </p:txBody>
      </p:sp>
      <p:sp>
        <p:nvSpPr>
          <p:cNvPr id="13" name="Text Placeholder 2">
            <a:extLst>
              <a:ext uri="{FF2B5EF4-FFF2-40B4-BE49-F238E27FC236}">
                <a16:creationId xmlns="" xmlns:a16="http://schemas.microsoft.com/office/drawing/2014/main" id="{C1E31EF6-BED5-C14F-94AD-4E5C55B85515}"/>
              </a:ext>
            </a:extLst>
          </p:cNvPr>
          <p:cNvSpPr>
            <a:spLocks noGrp="1"/>
          </p:cNvSpPr>
          <p:nvPr>
            <p:ph type="body" sz="quarter" idx="16" hasCustomPrompt="1"/>
          </p:nvPr>
        </p:nvSpPr>
        <p:spPr>
          <a:xfrm>
            <a:off x="896055" y="4520564"/>
            <a:ext cx="5774753" cy="175501"/>
          </a:xfrm>
        </p:spPr>
        <p:txBody>
          <a:bodyPr tIns="0" rIns="0" bIns="0" anchor="ctr" anchorCtr="0">
            <a:noAutofit/>
          </a:bodyPr>
          <a:lstStyle>
            <a:lvl1pPr marL="0" marR="0" indent="0" algn="l" defTabSz="684763"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600"/>
            </a:lvl1pPr>
            <a:lvl2pPr>
              <a:defRPr sz="600"/>
            </a:lvl2pPr>
            <a:lvl3pPr>
              <a:defRPr sz="600"/>
            </a:lvl3pPr>
            <a:lvl4pPr>
              <a:defRPr sz="600"/>
            </a:lvl4pPr>
            <a:lvl5pPr>
              <a:defRPr sz="600"/>
            </a:lvl5pPr>
          </a:lstStyle>
          <a:p>
            <a:pPr marL="0" marR="0" lvl="0" indent="0" algn="l" defTabSz="684763"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err="1"/>
              <a:t>Vertraulich</a:t>
            </a:r>
            <a:r>
              <a:rPr lang="en-US"/>
              <a:t> – </a:t>
            </a:r>
            <a:r>
              <a:rPr lang="en-US" err="1"/>
              <a:t>nur</a:t>
            </a:r>
            <a:r>
              <a:rPr lang="en-US"/>
              <a:t> </a:t>
            </a:r>
            <a:r>
              <a:rPr lang="en-US" err="1"/>
              <a:t>für</a:t>
            </a:r>
            <a:r>
              <a:rPr lang="en-US"/>
              <a:t> den </a:t>
            </a:r>
            <a:r>
              <a:rPr lang="en-US" err="1"/>
              <a:t>internen</a:t>
            </a:r>
            <a:r>
              <a:rPr lang="en-US"/>
              <a:t> </a:t>
            </a:r>
            <a:r>
              <a:rPr lang="en-US" err="1"/>
              <a:t>Gebrauch</a:t>
            </a:r>
            <a:r>
              <a:rPr lang="en-US"/>
              <a:t>.</a:t>
            </a:r>
          </a:p>
        </p:txBody>
      </p:sp>
      <p:pic>
        <p:nvPicPr>
          <p:cNvPr id="16" name="Grafik 15">
            <a:extLst>
              <a:ext uri="{FF2B5EF4-FFF2-40B4-BE49-F238E27FC236}">
                <a16:creationId xmlns="" xmlns:a16="http://schemas.microsoft.com/office/drawing/2014/main" id="{F39A5245-D77A-A142-9FC4-3B955CD598B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77187" y="2760562"/>
            <a:ext cx="1210823" cy="459278"/>
          </a:xfrm>
          <a:prstGeom prst="rect">
            <a:avLst/>
          </a:prstGeom>
        </p:spPr>
      </p:pic>
    </p:spTree>
    <p:extLst>
      <p:ext uri="{BB962C8B-B14F-4D97-AF65-F5344CB8AC3E}">
        <p14:creationId xmlns:p14="http://schemas.microsoft.com/office/powerpoint/2010/main" val="2054644971"/>
      </p:ext>
    </p:extLst>
  </p:cSld>
  <p:clrMapOvr>
    <a:masterClrMapping/>
  </p:clrMapOvr>
  <p:transition spd="slow">
    <p:push dir="u"/>
  </p:transition>
  <p:extLst mod="1">
    <p:ext uri="{DCECCB84-F9BA-43D5-87BE-67443E8EF086}">
      <p15:sldGuideLst xmlns:p15="http://schemas.microsoft.com/office/powerpoint/2012/main">
        <p15:guide id="1" orient="horz" pos="4065">
          <p15:clr>
            <a:srgbClr val="FBAE40"/>
          </p15:clr>
        </p15:guide>
        <p15:guide id="2" orient="horz" pos="2364">
          <p15:clr>
            <a:srgbClr val="FBAE40"/>
          </p15:clr>
        </p15:guide>
        <p15:guide id="3" orient="horz" pos="2160">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Page 2 ">
    <p:spTree>
      <p:nvGrpSpPr>
        <p:cNvPr id="1" name=""/>
        <p:cNvGrpSpPr/>
        <p:nvPr/>
      </p:nvGrpSpPr>
      <p:grpSpPr>
        <a:xfrm>
          <a:off x="0" y="0"/>
          <a:ext cx="0" cy="0"/>
          <a:chOff x="0" y="0"/>
          <a:chExt cx="0" cy="0"/>
        </a:xfrm>
      </p:grpSpPr>
      <p:sp>
        <p:nvSpPr>
          <p:cNvPr id="33" name="Title 1">
            <a:extLst>
              <a:ext uri="{FF2B5EF4-FFF2-40B4-BE49-F238E27FC236}">
                <a16:creationId xmlns="" xmlns:a16="http://schemas.microsoft.com/office/drawing/2014/main" id="{E02383DA-65B3-044E-9E1B-2CC00A0B1CC6}"/>
              </a:ext>
            </a:extLst>
          </p:cNvPr>
          <p:cNvSpPr>
            <a:spLocks noGrp="1"/>
          </p:cNvSpPr>
          <p:nvPr>
            <p:ph type="ctrTitle" hasCustomPrompt="1"/>
          </p:nvPr>
        </p:nvSpPr>
        <p:spPr>
          <a:xfrm>
            <a:off x="896050" y="1727323"/>
            <a:ext cx="3266048" cy="844477"/>
          </a:xfrm>
          <a:prstGeom prst="rect">
            <a:avLst/>
          </a:prstGeom>
        </p:spPr>
        <p:txBody>
          <a:bodyPr wrap="square" lIns="0" tIns="0" rIns="0" bIns="0" anchor="t" anchorCtr="0">
            <a:normAutofit/>
          </a:bodyPr>
          <a:lstStyle>
            <a:lvl1pPr>
              <a:lnSpc>
                <a:spcPts val="2850"/>
              </a:lnSpc>
              <a:defRPr sz="27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0" name="Picture Placeholder 3">
            <a:extLst>
              <a:ext uri="{FF2B5EF4-FFF2-40B4-BE49-F238E27FC236}">
                <a16:creationId xmlns="" xmlns:a16="http://schemas.microsoft.com/office/drawing/2014/main" id="{902F3095-EA6E-F94A-AF04-18ED691DEB75}"/>
              </a:ext>
            </a:extLst>
          </p:cNvPr>
          <p:cNvSpPr>
            <a:spLocks noGrp="1"/>
          </p:cNvSpPr>
          <p:nvPr>
            <p:ph type="pic" sz="quarter" idx="17"/>
          </p:nvPr>
        </p:nvSpPr>
        <p:spPr>
          <a:xfrm>
            <a:off x="4399887" y="282144"/>
            <a:ext cx="4744900" cy="4581401"/>
          </a:xfrm>
          <a:custGeom>
            <a:avLst/>
            <a:gdLst>
              <a:gd name="connsiteX0" fmla="*/ 0 w 6462532"/>
              <a:gd name="connsiteY0" fmla="*/ 3052818 h 6105636"/>
              <a:gd name="connsiteX1" fmla="*/ 3052818 w 6462532"/>
              <a:gd name="connsiteY1" fmla="*/ 0 h 6105636"/>
              <a:gd name="connsiteX2" fmla="*/ 3409714 w 6462532"/>
              <a:gd name="connsiteY2" fmla="*/ 0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309764"/>
              <a:gd name="connsiteY0" fmla="*/ 3060215 h 6113033"/>
              <a:gd name="connsiteX1" fmla="*/ 3052818 w 7309764"/>
              <a:gd name="connsiteY1" fmla="*/ 7397 h 6113033"/>
              <a:gd name="connsiteX2" fmla="*/ 6592752 w 7309764"/>
              <a:gd name="connsiteY2" fmla="*/ 53695 h 6113033"/>
              <a:gd name="connsiteX3" fmla="*/ 6462532 w 7309764"/>
              <a:gd name="connsiteY3" fmla="*/ 3060215 h 6113033"/>
              <a:gd name="connsiteX4" fmla="*/ 6462532 w 7309764"/>
              <a:gd name="connsiteY4" fmla="*/ 3060215 h 6113033"/>
              <a:gd name="connsiteX5" fmla="*/ 3409714 w 7309764"/>
              <a:gd name="connsiteY5" fmla="*/ 6113033 h 6113033"/>
              <a:gd name="connsiteX6" fmla="*/ 3052818 w 7309764"/>
              <a:gd name="connsiteY6" fmla="*/ 6113033 h 6113033"/>
              <a:gd name="connsiteX7" fmla="*/ 0 w 7309764"/>
              <a:gd name="connsiteY7" fmla="*/ 3060215 h 6113033"/>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6750471"/>
              <a:gd name="connsiteY0" fmla="*/ 3052818 h 6105636"/>
              <a:gd name="connsiteX1" fmla="*/ 3052818 w 6750471"/>
              <a:gd name="connsiteY1" fmla="*/ 0 h 6105636"/>
              <a:gd name="connsiteX2" fmla="*/ 6395982 w 6750471"/>
              <a:gd name="connsiteY2" fmla="*/ 11574 h 6105636"/>
              <a:gd name="connsiteX3" fmla="*/ 6462532 w 6750471"/>
              <a:gd name="connsiteY3" fmla="*/ 3052818 h 6105636"/>
              <a:gd name="connsiteX4" fmla="*/ 6462532 w 6750471"/>
              <a:gd name="connsiteY4" fmla="*/ 3052818 h 6105636"/>
              <a:gd name="connsiteX5" fmla="*/ 3409714 w 6750471"/>
              <a:gd name="connsiteY5" fmla="*/ 6105636 h 6105636"/>
              <a:gd name="connsiteX6" fmla="*/ 3052818 w 6750471"/>
              <a:gd name="connsiteY6" fmla="*/ 6105636 h 6105636"/>
              <a:gd name="connsiteX7" fmla="*/ 0 w 6750471"/>
              <a:gd name="connsiteY7" fmla="*/ 3052818 h 6105636"/>
              <a:gd name="connsiteX0" fmla="*/ 0 w 6462532"/>
              <a:gd name="connsiteY0" fmla="*/ 3052818 h 6105636"/>
              <a:gd name="connsiteX1" fmla="*/ 3052818 w 6462532"/>
              <a:gd name="connsiteY1" fmla="*/ 0 h 6105636"/>
              <a:gd name="connsiteX2" fmla="*/ 6395982 w 6462532"/>
              <a:gd name="connsiteY2" fmla="*/ 11574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6462532 w 6477004"/>
              <a:gd name="connsiteY4" fmla="*/ 3052819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5756477 w 6477004"/>
              <a:gd name="connsiteY4" fmla="*/ 3018095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3409714 w 6477004"/>
              <a:gd name="connsiteY4" fmla="*/ 6105637 h 6105637"/>
              <a:gd name="connsiteX5" fmla="*/ 3052818 w 6477004"/>
              <a:gd name="connsiteY5" fmla="*/ 6105637 h 6105637"/>
              <a:gd name="connsiteX6" fmla="*/ 0 w 6477004"/>
              <a:gd name="connsiteY6" fmla="*/ 3052819 h 6105637"/>
              <a:gd name="connsiteX0" fmla="*/ 0 w 6477004"/>
              <a:gd name="connsiteY0" fmla="*/ 3052819 h 6108535"/>
              <a:gd name="connsiteX1" fmla="*/ 3052818 w 6477004"/>
              <a:gd name="connsiteY1" fmla="*/ 1 h 6108535"/>
              <a:gd name="connsiteX2" fmla="*/ 6477004 w 6477004"/>
              <a:gd name="connsiteY2" fmla="*/ 0 h 6108535"/>
              <a:gd name="connsiteX3" fmla="*/ 6462532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477004"/>
              <a:gd name="connsiteY0" fmla="*/ 3052819 h 6108535"/>
              <a:gd name="connsiteX1" fmla="*/ 3052818 w 6477004"/>
              <a:gd name="connsiteY1" fmla="*/ 1 h 6108535"/>
              <a:gd name="connsiteX2" fmla="*/ 6477004 w 6477004"/>
              <a:gd name="connsiteY2" fmla="*/ 0 h 6108535"/>
              <a:gd name="connsiteX3" fmla="*/ 6323635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326533"/>
              <a:gd name="connsiteY0" fmla="*/ 3052819 h 6108535"/>
              <a:gd name="connsiteX1" fmla="*/ 3052818 w 6326533"/>
              <a:gd name="connsiteY1" fmla="*/ 1 h 6108535"/>
              <a:gd name="connsiteX2" fmla="*/ 6326533 w 6326533"/>
              <a:gd name="connsiteY2" fmla="*/ 0 h 6108535"/>
              <a:gd name="connsiteX3" fmla="*/ 6323635 w 6326533"/>
              <a:gd name="connsiteY3" fmla="*/ 6108535 h 6108535"/>
              <a:gd name="connsiteX4" fmla="*/ 3409714 w 6326533"/>
              <a:gd name="connsiteY4" fmla="*/ 6105637 h 6108535"/>
              <a:gd name="connsiteX5" fmla="*/ 3052818 w 6326533"/>
              <a:gd name="connsiteY5" fmla="*/ 6105637 h 6108535"/>
              <a:gd name="connsiteX6" fmla="*/ 0 w 6326533"/>
              <a:gd name="connsiteY6" fmla="*/ 3052819 h 61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26533" h="6108535">
                <a:moveTo>
                  <a:pt x="0" y="3052819"/>
                </a:moveTo>
                <a:cubicBezTo>
                  <a:pt x="0" y="1366794"/>
                  <a:pt x="1366793" y="1"/>
                  <a:pt x="3052818" y="1"/>
                </a:cubicBezTo>
                <a:lnTo>
                  <a:pt x="6326533" y="0"/>
                </a:lnTo>
                <a:lnTo>
                  <a:pt x="6323635" y="6108535"/>
                </a:lnTo>
                <a:lnTo>
                  <a:pt x="3409714" y="6105637"/>
                </a:lnTo>
                <a:lnTo>
                  <a:pt x="3052818" y="6105637"/>
                </a:lnTo>
                <a:cubicBezTo>
                  <a:pt x="1366793" y="6105637"/>
                  <a:pt x="0" y="4738844"/>
                  <a:pt x="0" y="3052819"/>
                </a:cubicBezTo>
                <a:close/>
              </a:path>
            </a:pathLst>
          </a:custGeom>
          <a:noFill/>
        </p:spPr>
        <p:txBody>
          <a:bodyPr>
            <a:normAutofit/>
          </a:bodyPr>
          <a:lstStyle>
            <a:lvl1pPr marL="0" indent="0">
              <a:buNone/>
              <a:defRPr sz="1800">
                <a:solidFill>
                  <a:schemeClr val="bg1"/>
                </a:solidFill>
              </a:defRPr>
            </a:lvl1pPr>
          </a:lstStyle>
          <a:p>
            <a:r>
              <a:rPr lang="de-DE"/>
              <a:t>Bild durch Klicken auf Symbol hinzufügen</a:t>
            </a:r>
            <a:endParaRPr lang="en-US"/>
          </a:p>
        </p:txBody>
      </p:sp>
      <p:pic>
        <p:nvPicPr>
          <p:cNvPr id="19" name="Picture 18">
            <a:extLst>
              <a:ext uri="{FF2B5EF4-FFF2-40B4-BE49-F238E27FC236}">
                <a16:creationId xmlns="" xmlns:a16="http://schemas.microsoft.com/office/drawing/2014/main" id="{C219044E-3CA3-8043-AF11-ED42DE4ECFF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96047" y="4775490"/>
            <a:ext cx="1468934" cy="88097"/>
          </a:xfrm>
          <a:prstGeom prst="rect">
            <a:avLst/>
          </a:prstGeom>
        </p:spPr>
      </p:pic>
      <p:sp>
        <p:nvSpPr>
          <p:cNvPr id="28" name="Rectangle 27">
            <a:extLst>
              <a:ext uri="{FF2B5EF4-FFF2-40B4-BE49-F238E27FC236}">
                <a16:creationId xmlns="" xmlns:a16="http://schemas.microsoft.com/office/drawing/2014/main" id="{92F9C2FE-7E43-3948-92F0-0CEA804BDBFE}"/>
              </a:ext>
            </a:extLst>
          </p:cNvPr>
          <p:cNvSpPr/>
          <p:nvPr userDrawn="1"/>
        </p:nvSpPr>
        <p:spPr>
          <a:xfrm>
            <a:off x="561754" y="1582698"/>
            <a:ext cx="72900" cy="20303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05" tIns="34289" rIns="68505" bIns="34289" anchor="ctr"/>
          <a:lstStyle/>
          <a:p>
            <a:pPr algn="ctr" defTabSz="684950"/>
            <a:endParaRPr lang="en-US" altLang="en-US" sz="1400">
              <a:solidFill>
                <a:srgbClr val="FFFFFF"/>
              </a:solidFill>
            </a:endParaRPr>
          </a:p>
        </p:txBody>
      </p:sp>
      <p:sp>
        <p:nvSpPr>
          <p:cNvPr id="29" name="Text Placeholder 2">
            <a:extLst>
              <a:ext uri="{FF2B5EF4-FFF2-40B4-BE49-F238E27FC236}">
                <a16:creationId xmlns="" xmlns:a16="http://schemas.microsoft.com/office/drawing/2014/main" id="{8F239D86-1AC3-1D48-9675-22CEFBB263F8}"/>
              </a:ext>
            </a:extLst>
          </p:cNvPr>
          <p:cNvSpPr>
            <a:spLocks noGrp="1"/>
          </p:cNvSpPr>
          <p:nvPr>
            <p:ph type="body" sz="quarter" idx="27" hasCustomPrompt="1"/>
          </p:nvPr>
        </p:nvSpPr>
        <p:spPr>
          <a:xfrm>
            <a:off x="896048" y="2876957"/>
            <a:ext cx="3266049" cy="175501"/>
          </a:xfrm>
          <a:prstGeom prst="rect">
            <a:avLst/>
          </a:prstGeom>
        </p:spPr>
        <p:txBody>
          <a:bodyPr lIns="0" tIns="0" rIns="0" bIns="0">
            <a:noAutofit/>
          </a:bodyPr>
          <a:lstStyle>
            <a:lvl1pPr marL="0" indent="0">
              <a:buNone/>
              <a:defRPr sz="1100" b="0" i="0">
                <a:solidFill>
                  <a:schemeClr val="tx1"/>
                </a:solidFill>
                <a:latin typeface="Calibri" panose="020F0502020204030204" pitchFamily="34" charset="0"/>
                <a:cs typeface="Calibri" panose="020F0502020204030204" pitchFamily="34" charset="0"/>
              </a:defRPr>
            </a:lvl1pPr>
            <a:lvl2pPr marL="342353" indent="0">
              <a:buNone/>
              <a:defRPr sz="1100">
                <a:solidFill>
                  <a:schemeClr val="tx1"/>
                </a:solidFill>
              </a:defRPr>
            </a:lvl2pPr>
            <a:lvl3pPr marL="684762" indent="0">
              <a:buNone/>
              <a:defRPr sz="1100">
                <a:solidFill>
                  <a:schemeClr val="tx1"/>
                </a:solidFill>
              </a:defRPr>
            </a:lvl3pPr>
            <a:lvl4pPr marL="1027139" indent="0">
              <a:buNone/>
              <a:defRPr sz="1100">
                <a:solidFill>
                  <a:schemeClr val="tx1"/>
                </a:solidFill>
              </a:defRPr>
            </a:lvl4pPr>
            <a:lvl5pPr marL="1369518" indent="0">
              <a:buNone/>
              <a:defRPr sz="1100">
                <a:solidFill>
                  <a:schemeClr val="tx1"/>
                </a:solidFill>
              </a:defRPr>
            </a:lvl5pPr>
          </a:lstStyle>
          <a:p>
            <a:pPr lvl="0"/>
            <a:r>
              <a:rPr lang="en-US"/>
              <a:t>Title of Position</a:t>
            </a:r>
          </a:p>
        </p:txBody>
      </p:sp>
      <p:sp>
        <p:nvSpPr>
          <p:cNvPr id="30" name="Text Placeholder 2">
            <a:extLst>
              <a:ext uri="{FF2B5EF4-FFF2-40B4-BE49-F238E27FC236}">
                <a16:creationId xmlns="" xmlns:a16="http://schemas.microsoft.com/office/drawing/2014/main" id="{91BF6710-27B9-2444-8317-2C64F0D30847}"/>
              </a:ext>
            </a:extLst>
          </p:cNvPr>
          <p:cNvSpPr>
            <a:spLocks noGrp="1"/>
          </p:cNvSpPr>
          <p:nvPr>
            <p:ph type="body" sz="quarter" idx="28" hasCustomPrompt="1"/>
          </p:nvPr>
        </p:nvSpPr>
        <p:spPr>
          <a:xfrm>
            <a:off x="896048" y="3071246"/>
            <a:ext cx="3266049" cy="175501"/>
          </a:xfrm>
          <a:prstGeom prst="rect">
            <a:avLst/>
          </a:prstGeom>
        </p:spPr>
        <p:txBody>
          <a:bodyPr lIns="0" tIns="0" rIns="0" bIns="0">
            <a:noAutofit/>
          </a:bodyPr>
          <a:lstStyle>
            <a:lvl1pPr marL="0" indent="0">
              <a:buNone/>
              <a:defRPr sz="1100" b="0" i="0">
                <a:solidFill>
                  <a:schemeClr val="tx1"/>
                </a:solidFill>
                <a:latin typeface="Calibri" panose="020F0502020204030204" pitchFamily="34" charset="0"/>
                <a:cs typeface="Calibri" panose="020F0502020204030204" pitchFamily="34" charset="0"/>
              </a:defRPr>
            </a:lvl1pPr>
            <a:lvl2pPr marL="342353" indent="0">
              <a:buNone/>
              <a:defRPr sz="1100">
                <a:solidFill>
                  <a:schemeClr val="tx1"/>
                </a:solidFill>
              </a:defRPr>
            </a:lvl2pPr>
            <a:lvl3pPr marL="684762" indent="0">
              <a:buNone/>
              <a:defRPr sz="1100">
                <a:solidFill>
                  <a:schemeClr val="tx1"/>
                </a:solidFill>
              </a:defRPr>
            </a:lvl3pPr>
            <a:lvl4pPr marL="1027139" indent="0">
              <a:buNone/>
              <a:defRPr sz="1100">
                <a:solidFill>
                  <a:schemeClr val="tx1"/>
                </a:solidFill>
              </a:defRPr>
            </a:lvl4pPr>
            <a:lvl5pPr marL="1369518" indent="0">
              <a:buNone/>
              <a:defRPr sz="1100">
                <a:solidFill>
                  <a:schemeClr val="tx1"/>
                </a:solidFill>
              </a:defRPr>
            </a:lvl5pPr>
          </a:lstStyle>
          <a:p>
            <a:pPr lvl="0"/>
            <a:r>
              <a:rPr lang="en-US"/>
              <a:t>Department</a:t>
            </a:r>
          </a:p>
        </p:txBody>
      </p:sp>
      <p:sp>
        <p:nvSpPr>
          <p:cNvPr id="31" name="Text Placeholder 2">
            <a:extLst>
              <a:ext uri="{FF2B5EF4-FFF2-40B4-BE49-F238E27FC236}">
                <a16:creationId xmlns="" xmlns:a16="http://schemas.microsoft.com/office/drawing/2014/main" id="{669B2D41-B11D-9D45-B189-F838AC342B07}"/>
              </a:ext>
            </a:extLst>
          </p:cNvPr>
          <p:cNvSpPr>
            <a:spLocks noGrp="1"/>
          </p:cNvSpPr>
          <p:nvPr>
            <p:ph type="body" sz="quarter" idx="29" hasCustomPrompt="1"/>
          </p:nvPr>
        </p:nvSpPr>
        <p:spPr>
          <a:xfrm>
            <a:off x="896048" y="3262121"/>
            <a:ext cx="3266049" cy="175501"/>
          </a:xfrm>
          <a:prstGeom prst="rect">
            <a:avLst/>
          </a:prstGeom>
        </p:spPr>
        <p:txBody>
          <a:bodyPr lIns="0" tIns="0" rIns="0" bIns="0">
            <a:noAutofit/>
          </a:bodyPr>
          <a:lstStyle>
            <a:lvl1pPr marL="0" indent="0">
              <a:buNone/>
              <a:defRPr sz="1100" b="0" i="0">
                <a:solidFill>
                  <a:schemeClr val="tx1"/>
                </a:solidFill>
                <a:latin typeface="Calibri" panose="020F0502020204030204" pitchFamily="34" charset="0"/>
                <a:cs typeface="Calibri" panose="020F0502020204030204" pitchFamily="34" charset="0"/>
              </a:defRPr>
            </a:lvl1pPr>
            <a:lvl2pPr marL="342353" indent="0">
              <a:buNone/>
              <a:defRPr sz="1100">
                <a:solidFill>
                  <a:schemeClr val="tx1"/>
                </a:solidFill>
              </a:defRPr>
            </a:lvl2pPr>
            <a:lvl3pPr marL="684762" indent="0">
              <a:buNone/>
              <a:defRPr sz="1100">
                <a:solidFill>
                  <a:schemeClr val="tx1"/>
                </a:solidFill>
              </a:defRPr>
            </a:lvl3pPr>
            <a:lvl4pPr marL="1027139" indent="0">
              <a:buNone/>
              <a:defRPr sz="1100">
                <a:solidFill>
                  <a:schemeClr val="tx1"/>
                </a:solidFill>
              </a:defRPr>
            </a:lvl4pPr>
            <a:lvl5pPr marL="1369518" indent="0">
              <a:buNone/>
              <a:defRPr sz="1100">
                <a:solidFill>
                  <a:schemeClr val="tx1"/>
                </a:solidFill>
              </a:defRPr>
            </a:lvl5pPr>
          </a:lstStyle>
          <a:p>
            <a:pPr lvl="0"/>
            <a:r>
              <a:rPr lang="en-US"/>
              <a:t>Date</a:t>
            </a:r>
          </a:p>
        </p:txBody>
      </p:sp>
      <p:sp>
        <p:nvSpPr>
          <p:cNvPr id="32" name="Text Placeholder 2">
            <a:extLst>
              <a:ext uri="{FF2B5EF4-FFF2-40B4-BE49-F238E27FC236}">
                <a16:creationId xmlns="" xmlns:a16="http://schemas.microsoft.com/office/drawing/2014/main" id="{D7467C81-9D88-4140-B42C-28DFB5646475}"/>
              </a:ext>
            </a:extLst>
          </p:cNvPr>
          <p:cNvSpPr>
            <a:spLocks noGrp="1"/>
          </p:cNvSpPr>
          <p:nvPr>
            <p:ph type="body" sz="quarter" idx="30" hasCustomPrompt="1"/>
          </p:nvPr>
        </p:nvSpPr>
        <p:spPr>
          <a:xfrm>
            <a:off x="896048" y="2683103"/>
            <a:ext cx="3266049" cy="175501"/>
          </a:xfrm>
          <a:prstGeom prst="rect">
            <a:avLst/>
          </a:prstGeom>
        </p:spPr>
        <p:txBody>
          <a:bodyPr lIns="0" tIns="0" rIns="0" bIns="0">
            <a:noAutofit/>
          </a:bodyPr>
          <a:lstStyle>
            <a:lvl1pPr marL="0" indent="0">
              <a:buNone/>
              <a:defRPr sz="1100" b="0" i="0">
                <a:solidFill>
                  <a:schemeClr val="tx1"/>
                </a:solidFill>
                <a:latin typeface="Calibri" panose="020F0502020204030204" pitchFamily="34" charset="0"/>
                <a:cs typeface="Calibri" panose="020F0502020204030204" pitchFamily="34" charset="0"/>
              </a:defRPr>
            </a:lvl1pPr>
            <a:lvl2pPr marL="342353" indent="0">
              <a:buNone/>
              <a:defRPr sz="1100">
                <a:solidFill>
                  <a:schemeClr val="tx1"/>
                </a:solidFill>
              </a:defRPr>
            </a:lvl2pPr>
            <a:lvl3pPr marL="684762" indent="0">
              <a:buNone/>
              <a:defRPr sz="1100">
                <a:solidFill>
                  <a:schemeClr val="tx1"/>
                </a:solidFill>
              </a:defRPr>
            </a:lvl3pPr>
            <a:lvl4pPr marL="1027139" indent="0">
              <a:buNone/>
              <a:defRPr sz="1100">
                <a:solidFill>
                  <a:schemeClr val="tx1"/>
                </a:solidFill>
              </a:defRPr>
            </a:lvl4pPr>
            <a:lvl5pPr marL="1369518" indent="0">
              <a:buNone/>
              <a:defRPr sz="1100">
                <a:solidFill>
                  <a:schemeClr val="tx1"/>
                </a:solidFill>
              </a:defRPr>
            </a:lvl5pPr>
          </a:lstStyle>
          <a:p>
            <a:pPr lvl="0"/>
            <a:r>
              <a:rPr lang="en-US"/>
              <a:t>Presenter Name</a:t>
            </a:r>
          </a:p>
        </p:txBody>
      </p:sp>
    </p:spTree>
    <p:extLst>
      <p:ext uri="{BB962C8B-B14F-4D97-AF65-F5344CB8AC3E}">
        <p14:creationId xmlns:p14="http://schemas.microsoft.com/office/powerpoint/2010/main" val="3180993076"/>
      </p:ext>
    </p:extLst>
  </p:cSld>
  <p:clrMapOvr>
    <a:masterClrMapping/>
  </p:clrMapOvr>
  <p:transition spd="slow">
    <p:push dir="u"/>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9F7114D8-6025-4386-BA96-B034FE6B3CDB}"/>
              </a:ext>
            </a:extLst>
          </p:cNvPr>
          <p:cNvGraphicFramePr>
            <a:graphicFrameLocks noChangeAspect="1"/>
          </p:cNvGraphicFramePr>
          <p:nvPr userDrawn="1">
            <p:custDataLst>
              <p:tags r:id="rId2"/>
            </p:custDataLst>
          </p:nvPr>
        </p:nvGraphicFramePr>
        <p:xfrm>
          <a:off x="1201" y="1193"/>
          <a:ext cx="1191" cy="1191"/>
        </p:xfrm>
        <a:graphic>
          <a:graphicData uri="http://schemas.openxmlformats.org/presentationml/2006/ole">
            <mc:AlternateContent xmlns:mc="http://schemas.openxmlformats.org/markup-compatibility/2006">
              <mc:Choice xmlns:v="urn:schemas-microsoft-com:vml" Requires="v">
                <p:oleObj spid="_x0000_s11361" name="think-cell Slide" r:id="rId17" imgW="360" imgH="360" progId="">
                  <p:embed/>
                </p:oleObj>
              </mc:Choice>
              <mc:Fallback>
                <p:oleObj name="think-cell Slide" r:id="rId17" imgW="360" imgH="360" progId="">
                  <p:embed/>
                  <p:pic>
                    <p:nvPicPr>
                      <p:cNvPr id="3" name="Object 2" hidden="1">
                        <a:extLst>
                          <a:ext uri="{FF2B5EF4-FFF2-40B4-BE49-F238E27FC236}">
                            <a16:creationId xmlns="" xmlns:a16="http://schemas.microsoft.com/office/drawing/2014/main" id="{9F7114D8-6025-4386-BA96-B034FE6B3CDB}"/>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201" y="1193"/>
                        <a:ext cx="1191" cy="119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 xmlns:a16="http://schemas.microsoft.com/office/drawing/2014/main" id="{25C86E70-6ADC-4EA2-90F2-373AC4FDE5D0}"/>
              </a:ext>
            </a:extLst>
          </p:cNvPr>
          <p:cNvSpPr/>
          <p:nvPr userDrawn="1">
            <p:custDataLst>
              <p:tags r:id="rId3"/>
            </p:custDataLst>
          </p:nvPr>
        </p:nvSpPr>
        <p:spPr>
          <a:xfrm>
            <a:off x="2" y="77"/>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spcBef>
                <a:spcPct val="0"/>
              </a:spcBef>
              <a:spcAft>
                <a:spcPct val="0"/>
              </a:spcAft>
            </a:pPr>
            <a:endParaRPr lang="en-US" sz="1900" b="1" err="1">
              <a:solidFill>
                <a:srgbClr val="FFFFFF"/>
              </a:solidFill>
              <a:sym typeface="Georgia" panose="02040502050405020303" pitchFamily="18" charset="0"/>
            </a:endParaRPr>
          </a:p>
        </p:txBody>
      </p:sp>
      <p:sp>
        <p:nvSpPr>
          <p:cNvPr id="7" name="RectangleLight">
            <a:extLst>
              <a:ext uri="{FF2B5EF4-FFF2-40B4-BE49-F238E27FC236}">
                <a16:creationId xmlns="" xmlns:a16="http://schemas.microsoft.com/office/drawing/2014/main" id="{2365F90A-9CD8-40EE-93CD-2729135A9569}"/>
              </a:ext>
            </a:extLst>
          </p:cNvPr>
          <p:cNvSpPr/>
          <p:nvPr userDrawn="1">
            <p:custDataLst>
              <p:tags r:id="rId4"/>
            </p:custDataLst>
          </p:nvPr>
        </p:nvSpPr>
        <p:spPr bwMode="ltGray">
          <a:xfrm>
            <a:off x="4569714" y="0"/>
            <a:ext cx="4574286" cy="51435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defTabSz="685800"/>
            <a:endParaRPr lang="en-US" sz="1400">
              <a:solidFill>
                <a:srgbClr val="F0F0F0"/>
              </a:solidFill>
              <a:latin typeface="Arial" panose="020B0604020202020204" pitchFamily="34" charset="0"/>
            </a:endParaRPr>
          </a:p>
        </p:txBody>
      </p:sp>
      <p:sp>
        <p:nvSpPr>
          <p:cNvPr id="17" name="SlideLogoText">
            <a:extLst>
              <a:ext uri="{FF2B5EF4-FFF2-40B4-BE49-F238E27FC236}">
                <a16:creationId xmlns="" xmlns:a16="http://schemas.microsoft.com/office/drawing/2014/main" id="{609F85FD-B74A-4A4E-BFA9-7668DD6BCB90}"/>
              </a:ext>
            </a:extLst>
          </p:cNvPr>
          <p:cNvSpPr txBox="1"/>
          <p:nvPr userDrawn="1">
            <p:custDataLst>
              <p:tags r:id="rId5"/>
            </p:custDataLst>
          </p:nvPr>
        </p:nvSpPr>
        <p:spPr bwMode="black">
          <a:xfrm>
            <a:off x="7593254" y="4870688"/>
            <a:ext cx="878446" cy="107722"/>
          </a:xfrm>
          <a:prstGeom prst="rect">
            <a:avLst/>
          </a:prstGeom>
          <a:noFill/>
        </p:spPr>
        <p:txBody>
          <a:bodyPr wrap="none" lIns="0" tIns="0" rIns="0" bIns="0" rtlCol="0" anchor="b">
            <a:spAutoFit/>
          </a:bodyPr>
          <a:lstStyle/>
          <a:p>
            <a:pPr algn="ctr" defTabSz="685800">
              <a:defRPr/>
            </a:pPr>
            <a:r>
              <a:rPr lang="en-US" sz="700">
                <a:solidFill>
                  <a:srgbClr val="000000"/>
                </a:solidFill>
                <a:cs typeface="Arial" panose="020B0604020202020204" pitchFamily="34" charset="0"/>
              </a:rPr>
              <a:t>McKinsey &amp; Company</a:t>
            </a:r>
          </a:p>
        </p:txBody>
      </p:sp>
      <p:sp>
        <p:nvSpPr>
          <p:cNvPr id="18" name="Slide Number">
            <a:extLst>
              <a:ext uri="{FF2B5EF4-FFF2-40B4-BE49-F238E27FC236}">
                <a16:creationId xmlns="" xmlns:a16="http://schemas.microsoft.com/office/drawing/2014/main" id="{D0E8D6D4-65CF-4E97-809E-C2399703986A}"/>
              </a:ext>
            </a:extLst>
          </p:cNvPr>
          <p:cNvSpPr>
            <a:spLocks noChangeArrowheads="1"/>
          </p:cNvSpPr>
          <p:nvPr userDrawn="1">
            <p:custDataLst>
              <p:tags r:id="rId6"/>
            </p:custDataLst>
          </p:nvPr>
        </p:nvSpPr>
        <p:spPr bwMode="black">
          <a:xfrm>
            <a:off x="8484394" y="4870218"/>
            <a:ext cx="244126" cy="107722"/>
          </a:xfrm>
          <a:prstGeom prst="rect">
            <a:avLst/>
          </a:prstGeom>
          <a:noFill/>
          <a:ln w="9525" algn="ctr">
            <a:noFill/>
            <a:miter lim="800000"/>
            <a:headEnd/>
            <a:tailEnd/>
          </a:ln>
          <a:effectLst/>
        </p:spPr>
        <p:txBody>
          <a:bodyPr wrap="square" lIns="0" tIns="0" rIns="0" bIns="0" anchor="b">
            <a:spAutoFit/>
          </a:bodyPr>
          <a:lstStyle/>
          <a:p>
            <a:pPr algn="r" defTabSz="458058">
              <a:defRPr/>
            </a:pPr>
            <a:fld id="{4ABDCABE-3F10-B64C-92F1-862014417034}" type="slidenum">
              <a:rPr lang="en-US" sz="700" smtClean="0">
                <a:solidFill>
                  <a:srgbClr val="000000"/>
                </a:solidFill>
                <a:cs typeface="Arial" panose="020B0604020202020204" pitchFamily="34" charset="0"/>
              </a:rPr>
              <a:pPr algn="r" defTabSz="458058">
                <a:defRPr/>
              </a:pPr>
              <a:t>‹Nº›</a:t>
            </a:fld>
            <a:endParaRPr lang="en-US" sz="700">
              <a:solidFill>
                <a:srgbClr val="000000"/>
              </a:solidFill>
              <a:cs typeface="Arial" panose="020B0604020202020204" pitchFamily="34" charset="0"/>
            </a:endParaRPr>
          </a:p>
        </p:txBody>
      </p:sp>
      <p:cxnSp>
        <p:nvCxnSpPr>
          <p:cNvPr id="14" name="BottomLineRight">
            <a:extLst>
              <a:ext uri="{FF2B5EF4-FFF2-40B4-BE49-F238E27FC236}">
                <a16:creationId xmlns="" xmlns:a16="http://schemas.microsoft.com/office/drawing/2014/main" id="{A030B95D-1D90-4A27-8714-CFE7C7DB7020}"/>
              </a:ext>
            </a:extLst>
          </p:cNvPr>
          <p:cNvCxnSpPr/>
          <p:nvPr userDrawn="1">
            <p:custDataLst>
              <p:tags r:id="rId7"/>
            </p:custDataLst>
          </p:nvPr>
        </p:nvCxnSpPr>
        <p:spPr>
          <a:xfrm>
            <a:off x="4929878" y="4840327"/>
            <a:ext cx="379933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BottomLineLeft">
            <a:extLst>
              <a:ext uri="{FF2B5EF4-FFF2-40B4-BE49-F238E27FC236}">
                <a16:creationId xmlns="" xmlns:a16="http://schemas.microsoft.com/office/drawing/2014/main" id="{546D990A-A0D7-434B-9320-6311D017DAA2}"/>
              </a:ext>
            </a:extLst>
          </p:cNvPr>
          <p:cNvCxnSpPr/>
          <p:nvPr userDrawn="1">
            <p:custDataLst>
              <p:tags r:id="rId8"/>
            </p:custDataLst>
          </p:nvPr>
        </p:nvCxnSpPr>
        <p:spPr>
          <a:xfrm>
            <a:off x="416052" y="4840327"/>
            <a:ext cx="379933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5" name="TopLineRight">
            <a:extLst>
              <a:ext uri="{FF2B5EF4-FFF2-40B4-BE49-F238E27FC236}">
                <a16:creationId xmlns="" xmlns:a16="http://schemas.microsoft.com/office/drawing/2014/main" id="{9388C4F9-67A3-422B-89FF-FAD8454A2F57}"/>
              </a:ext>
            </a:extLst>
          </p:cNvPr>
          <p:cNvCxnSpPr/>
          <p:nvPr userDrawn="1">
            <p:custDataLst>
              <p:tags r:id="rId9"/>
            </p:custDataLst>
          </p:nvPr>
        </p:nvCxnSpPr>
        <p:spPr>
          <a:xfrm>
            <a:off x="4929878" y="886430"/>
            <a:ext cx="379933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TopLineLeft">
            <a:extLst>
              <a:ext uri="{FF2B5EF4-FFF2-40B4-BE49-F238E27FC236}">
                <a16:creationId xmlns="" xmlns:a16="http://schemas.microsoft.com/office/drawing/2014/main" id="{1C0D7255-5C21-4254-B3DE-6D296E69C5F2}"/>
              </a:ext>
            </a:extLst>
          </p:cNvPr>
          <p:cNvCxnSpPr/>
          <p:nvPr userDrawn="1">
            <p:custDataLst>
              <p:tags r:id="rId10"/>
            </p:custDataLst>
          </p:nvPr>
        </p:nvCxnSpPr>
        <p:spPr>
          <a:xfrm>
            <a:off x="416052" y="886430"/>
            <a:ext cx="379933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 xmlns:a16="http://schemas.microsoft.com/office/drawing/2014/main" id="{B155D849-0DEC-44CD-849F-C8D9C2279FD6}"/>
              </a:ext>
            </a:extLst>
          </p:cNvPr>
          <p:cNvCxnSpPr/>
          <p:nvPr userDrawn="1">
            <p:custDataLst>
              <p:tags r:id="rId11"/>
            </p:custDataLst>
          </p:nvPr>
        </p:nvCxnSpPr>
        <p:spPr>
          <a:xfrm>
            <a:off x="416052" y="886430"/>
            <a:ext cx="3799332"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 xmlns:a16="http://schemas.microsoft.com/office/drawing/2014/main" id="{8FFC5EFA-01A0-4033-8D7E-3C2B1F490A33}"/>
              </a:ext>
            </a:extLst>
          </p:cNvPr>
          <p:cNvSpPr>
            <a:spLocks noGrp="1"/>
          </p:cNvSpPr>
          <p:nvPr>
            <p:ph type="title"/>
            <p:custDataLst>
              <p:tags r:id="rId12"/>
            </p:custDataLst>
          </p:nvPr>
        </p:nvSpPr>
        <p:spPr>
          <a:xfrm>
            <a:off x="416052" y="129236"/>
            <a:ext cx="3799332" cy="276999"/>
          </a:xfrm>
        </p:spPr>
        <p:txBody>
          <a:bodyPr/>
          <a:lstStyle/>
          <a:p>
            <a:r>
              <a:rPr lang="en-US"/>
              <a:t>Click to edit Master title style</a:t>
            </a:r>
          </a:p>
        </p:txBody>
      </p:sp>
      <p:sp>
        <p:nvSpPr>
          <p:cNvPr id="20" name="3. Subtitle">
            <a:extLst>
              <a:ext uri="{FF2B5EF4-FFF2-40B4-BE49-F238E27FC236}">
                <a16:creationId xmlns="" xmlns:a16="http://schemas.microsoft.com/office/drawing/2014/main" id="{1555BB7F-874D-4148-9E84-841F62C8E9D4}"/>
              </a:ext>
            </a:extLst>
          </p:cNvPr>
          <p:cNvSpPr>
            <a:spLocks noGrp="1"/>
          </p:cNvSpPr>
          <p:nvPr>
            <p:ph type="subTitle" idx="1"/>
            <p:custDataLst>
              <p:tags r:id="rId13"/>
            </p:custDataLst>
          </p:nvPr>
        </p:nvSpPr>
        <p:spPr>
          <a:xfrm>
            <a:off x="416052" y="663564"/>
            <a:ext cx="3799332" cy="207749"/>
          </a:xfrm>
          <a:prstGeom prst="rect">
            <a:avLst/>
          </a:prstGeom>
        </p:spPr>
        <p:txBody>
          <a:bodyPr wrap="square">
            <a:noAutofit/>
          </a:bodyPr>
          <a:lstStyle>
            <a:lvl1pPr marL="0" indent="0" algn="l">
              <a:buNone/>
              <a:defRPr sz="1400" b="0">
                <a:solidFill>
                  <a:schemeClr val="tx1"/>
                </a:solidFill>
              </a:defRPr>
            </a:lvl1pPr>
            <a:lvl2pPr marL="342900" indent="0" algn="ctr">
              <a:buNone/>
              <a:defRPr sz="1500"/>
            </a:lvl2pPr>
            <a:lvl3pPr marL="685800" indent="0" algn="ctr">
              <a:buNone/>
              <a:defRPr sz="140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22" name="5. Source" hidden="1">
            <a:extLst>
              <a:ext uri="{FF2B5EF4-FFF2-40B4-BE49-F238E27FC236}">
                <a16:creationId xmlns="" xmlns:a16="http://schemas.microsoft.com/office/drawing/2014/main" id="{F5E9C22A-A356-4521-A359-338A663DFEA2}"/>
              </a:ext>
            </a:extLst>
          </p:cNvPr>
          <p:cNvSpPr txBox="1"/>
          <p:nvPr userDrawn="1">
            <p:custDataLst>
              <p:tags r:id="rId14"/>
            </p:custDataLst>
          </p:nvPr>
        </p:nvSpPr>
        <p:spPr>
          <a:xfrm>
            <a:off x="416052" y="4876329"/>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85800"/>
            <a:r>
              <a:rPr sz="600">
                <a:solidFill>
                  <a:srgbClr val="000000"/>
                </a:solidFill>
              </a:rPr>
              <a:t>Source: …</a:t>
            </a:r>
          </a:p>
        </p:txBody>
      </p:sp>
      <p:sp>
        <p:nvSpPr>
          <p:cNvPr id="23" name="1. On-page tracker">
            <a:extLst>
              <a:ext uri="{FF2B5EF4-FFF2-40B4-BE49-F238E27FC236}">
                <a16:creationId xmlns="" xmlns:a16="http://schemas.microsoft.com/office/drawing/2014/main" id="{B331A9DA-3A3F-418C-8927-1C2B40DBB88F}"/>
              </a:ext>
            </a:extLst>
          </p:cNvPr>
          <p:cNvSpPr>
            <a:spLocks noGrp="1"/>
          </p:cNvSpPr>
          <p:nvPr>
            <p:ph type="body" sz="quarter" idx="17" hasCustomPrompt="1"/>
            <p:custDataLst>
              <p:tags r:id="rId15"/>
            </p:custDataLst>
          </p:nvPr>
        </p:nvSpPr>
        <p:spPr>
          <a:xfrm>
            <a:off x="5367528" y="67106"/>
            <a:ext cx="3360420" cy="92333"/>
          </a:xfrm>
        </p:spPr>
        <p:txBody>
          <a:bodyPr anchor="ctr" anchorCtr="0">
            <a:spAutoFit/>
          </a:bodyPr>
          <a:lstStyle>
            <a:lvl1pPr algn="r">
              <a:defRPr sz="600">
                <a:latin typeface="+mn-lt"/>
              </a:defRPr>
            </a:lvl1pPr>
          </a:lstStyle>
          <a:p>
            <a:pPr lvl="0"/>
            <a:r>
              <a:rPr lang="en-US"/>
              <a:t>Chapter › Topic</a:t>
            </a:r>
          </a:p>
        </p:txBody>
      </p:sp>
    </p:spTree>
    <p:extLst>
      <p:ext uri="{BB962C8B-B14F-4D97-AF65-F5344CB8AC3E}">
        <p14:creationId xmlns:p14="http://schemas.microsoft.com/office/powerpoint/2010/main" val="226362912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Title Page 2 ">
    <p:spTree>
      <p:nvGrpSpPr>
        <p:cNvPr id="1" name=""/>
        <p:cNvGrpSpPr/>
        <p:nvPr/>
      </p:nvGrpSpPr>
      <p:grpSpPr>
        <a:xfrm>
          <a:off x="0" y="0"/>
          <a:ext cx="0" cy="0"/>
          <a:chOff x="0" y="0"/>
          <a:chExt cx="0" cy="0"/>
        </a:xfrm>
      </p:grpSpPr>
      <p:sp>
        <p:nvSpPr>
          <p:cNvPr id="33" name="Title 1">
            <a:extLst>
              <a:ext uri="{FF2B5EF4-FFF2-40B4-BE49-F238E27FC236}">
                <a16:creationId xmlns="" xmlns:a16="http://schemas.microsoft.com/office/drawing/2014/main" id="{E02383DA-65B3-044E-9E1B-2CC00A0B1CC6}"/>
              </a:ext>
            </a:extLst>
          </p:cNvPr>
          <p:cNvSpPr>
            <a:spLocks noGrp="1"/>
          </p:cNvSpPr>
          <p:nvPr>
            <p:ph type="ctrTitle" hasCustomPrompt="1"/>
          </p:nvPr>
        </p:nvSpPr>
        <p:spPr>
          <a:xfrm>
            <a:off x="896049" y="1727323"/>
            <a:ext cx="5146613" cy="844477"/>
          </a:xfrm>
          <a:prstGeom prst="rect">
            <a:avLst/>
          </a:prstGeom>
        </p:spPr>
        <p:txBody>
          <a:bodyPr wrap="square" lIns="0" tIns="0" rIns="0" bIns="0" anchor="t" anchorCtr="0">
            <a:normAutofit/>
          </a:bodyPr>
          <a:lstStyle>
            <a:lvl1pPr>
              <a:lnSpc>
                <a:spcPts val="2850"/>
              </a:lnSpc>
              <a:defRPr sz="27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8" name="Rectangle 27">
            <a:extLst>
              <a:ext uri="{FF2B5EF4-FFF2-40B4-BE49-F238E27FC236}">
                <a16:creationId xmlns="" xmlns:a16="http://schemas.microsoft.com/office/drawing/2014/main" id="{92F9C2FE-7E43-3948-92F0-0CEA804BDBFE}"/>
              </a:ext>
            </a:extLst>
          </p:cNvPr>
          <p:cNvSpPr/>
          <p:nvPr userDrawn="1"/>
        </p:nvSpPr>
        <p:spPr>
          <a:xfrm>
            <a:off x="561754" y="1582698"/>
            <a:ext cx="72900" cy="20303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05" tIns="34289" rIns="68505" bIns="34289" anchor="ctr"/>
          <a:lstStyle/>
          <a:p>
            <a:pPr algn="ctr" defTabSz="684950"/>
            <a:endParaRPr lang="en-US" altLang="en-US" sz="1400">
              <a:solidFill>
                <a:srgbClr val="FFFFFF"/>
              </a:solidFill>
            </a:endParaRPr>
          </a:p>
        </p:txBody>
      </p:sp>
      <p:sp>
        <p:nvSpPr>
          <p:cNvPr id="29" name="Text Placeholder 2">
            <a:extLst>
              <a:ext uri="{FF2B5EF4-FFF2-40B4-BE49-F238E27FC236}">
                <a16:creationId xmlns="" xmlns:a16="http://schemas.microsoft.com/office/drawing/2014/main" id="{8F239D86-1AC3-1D48-9675-22CEFBB263F8}"/>
              </a:ext>
            </a:extLst>
          </p:cNvPr>
          <p:cNvSpPr>
            <a:spLocks noGrp="1"/>
          </p:cNvSpPr>
          <p:nvPr>
            <p:ph type="body" sz="quarter" idx="27" hasCustomPrompt="1"/>
          </p:nvPr>
        </p:nvSpPr>
        <p:spPr>
          <a:xfrm>
            <a:off x="896049" y="2876947"/>
            <a:ext cx="5146613" cy="197306"/>
          </a:xfrm>
          <a:prstGeom prst="rect">
            <a:avLst/>
          </a:prstGeom>
        </p:spPr>
        <p:txBody>
          <a:bodyPr lIns="0" tIns="0" rIns="0" bIns="0">
            <a:noAutofit/>
          </a:bodyPr>
          <a:lstStyle>
            <a:lvl1pPr marL="0" indent="0">
              <a:buNone/>
              <a:defRPr sz="1100" b="0" i="0">
                <a:solidFill>
                  <a:schemeClr val="tx1"/>
                </a:solidFill>
                <a:latin typeface="Calibri" panose="020F0502020204030204" pitchFamily="34" charset="0"/>
                <a:cs typeface="Calibri" panose="020F0502020204030204" pitchFamily="34" charset="0"/>
              </a:defRPr>
            </a:lvl1pPr>
            <a:lvl2pPr marL="342353" indent="0">
              <a:buNone/>
              <a:defRPr sz="1100">
                <a:solidFill>
                  <a:schemeClr val="tx1"/>
                </a:solidFill>
              </a:defRPr>
            </a:lvl2pPr>
            <a:lvl3pPr marL="684762" indent="0">
              <a:buNone/>
              <a:defRPr sz="1100">
                <a:solidFill>
                  <a:schemeClr val="tx1"/>
                </a:solidFill>
              </a:defRPr>
            </a:lvl3pPr>
            <a:lvl4pPr marL="1027139" indent="0">
              <a:buNone/>
              <a:defRPr sz="1100">
                <a:solidFill>
                  <a:schemeClr val="tx1"/>
                </a:solidFill>
              </a:defRPr>
            </a:lvl4pPr>
            <a:lvl5pPr marL="1369518" indent="0">
              <a:buNone/>
              <a:defRPr sz="1100">
                <a:solidFill>
                  <a:schemeClr val="tx1"/>
                </a:solidFill>
              </a:defRPr>
            </a:lvl5pPr>
          </a:lstStyle>
          <a:p>
            <a:pPr lvl="0"/>
            <a:r>
              <a:rPr lang="en-US"/>
              <a:t>Title of Position</a:t>
            </a:r>
          </a:p>
        </p:txBody>
      </p:sp>
      <p:sp>
        <p:nvSpPr>
          <p:cNvPr id="30" name="Text Placeholder 2">
            <a:extLst>
              <a:ext uri="{FF2B5EF4-FFF2-40B4-BE49-F238E27FC236}">
                <a16:creationId xmlns="" xmlns:a16="http://schemas.microsoft.com/office/drawing/2014/main" id="{91BF6710-27B9-2444-8317-2C64F0D30847}"/>
              </a:ext>
            </a:extLst>
          </p:cNvPr>
          <p:cNvSpPr>
            <a:spLocks noGrp="1"/>
          </p:cNvSpPr>
          <p:nvPr>
            <p:ph type="body" sz="quarter" idx="28" hasCustomPrompt="1"/>
          </p:nvPr>
        </p:nvSpPr>
        <p:spPr>
          <a:xfrm>
            <a:off x="896049" y="3071206"/>
            <a:ext cx="5146613" cy="197306"/>
          </a:xfrm>
          <a:prstGeom prst="rect">
            <a:avLst/>
          </a:prstGeom>
        </p:spPr>
        <p:txBody>
          <a:bodyPr lIns="0" tIns="0" rIns="0" bIns="0">
            <a:noAutofit/>
          </a:bodyPr>
          <a:lstStyle>
            <a:lvl1pPr marL="0" indent="0">
              <a:buNone/>
              <a:defRPr sz="1100" b="0" i="0">
                <a:solidFill>
                  <a:schemeClr val="tx1"/>
                </a:solidFill>
                <a:latin typeface="Calibri" panose="020F0502020204030204" pitchFamily="34" charset="0"/>
                <a:cs typeface="Calibri" panose="020F0502020204030204" pitchFamily="34" charset="0"/>
              </a:defRPr>
            </a:lvl1pPr>
            <a:lvl2pPr marL="342353" indent="0">
              <a:buNone/>
              <a:defRPr sz="1100">
                <a:solidFill>
                  <a:schemeClr val="tx1"/>
                </a:solidFill>
              </a:defRPr>
            </a:lvl2pPr>
            <a:lvl3pPr marL="684762" indent="0">
              <a:buNone/>
              <a:defRPr sz="1100">
                <a:solidFill>
                  <a:schemeClr val="tx1"/>
                </a:solidFill>
              </a:defRPr>
            </a:lvl3pPr>
            <a:lvl4pPr marL="1027139" indent="0">
              <a:buNone/>
              <a:defRPr sz="1100">
                <a:solidFill>
                  <a:schemeClr val="tx1"/>
                </a:solidFill>
              </a:defRPr>
            </a:lvl4pPr>
            <a:lvl5pPr marL="1369518" indent="0">
              <a:buNone/>
              <a:defRPr sz="1100">
                <a:solidFill>
                  <a:schemeClr val="tx1"/>
                </a:solidFill>
              </a:defRPr>
            </a:lvl5pPr>
          </a:lstStyle>
          <a:p>
            <a:pPr lvl="0"/>
            <a:r>
              <a:rPr lang="en-US"/>
              <a:t>Department</a:t>
            </a:r>
          </a:p>
        </p:txBody>
      </p:sp>
      <p:sp>
        <p:nvSpPr>
          <p:cNvPr id="31" name="Text Placeholder 2">
            <a:extLst>
              <a:ext uri="{FF2B5EF4-FFF2-40B4-BE49-F238E27FC236}">
                <a16:creationId xmlns="" xmlns:a16="http://schemas.microsoft.com/office/drawing/2014/main" id="{669B2D41-B11D-9D45-B189-F838AC342B07}"/>
              </a:ext>
            </a:extLst>
          </p:cNvPr>
          <p:cNvSpPr>
            <a:spLocks noGrp="1"/>
          </p:cNvSpPr>
          <p:nvPr>
            <p:ph type="body" sz="quarter" idx="29" hasCustomPrompt="1"/>
          </p:nvPr>
        </p:nvSpPr>
        <p:spPr>
          <a:xfrm>
            <a:off x="896049" y="3262072"/>
            <a:ext cx="5146613" cy="197306"/>
          </a:xfrm>
          <a:prstGeom prst="rect">
            <a:avLst/>
          </a:prstGeom>
        </p:spPr>
        <p:txBody>
          <a:bodyPr lIns="0" tIns="0" rIns="0" bIns="0">
            <a:noAutofit/>
          </a:bodyPr>
          <a:lstStyle>
            <a:lvl1pPr marL="0" indent="0">
              <a:buNone/>
              <a:defRPr sz="1100" b="0" i="0">
                <a:solidFill>
                  <a:schemeClr val="tx1"/>
                </a:solidFill>
                <a:latin typeface="Calibri" panose="020F0502020204030204" pitchFamily="34" charset="0"/>
                <a:cs typeface="Calibri" panose="020F0502020204030204" pitchFamily="34" charset="0"/>
              </a:defRPr>
            </a:lvl1pPr>
            <a:lvl2pPr marL="342353" indent="0">
              <a:buNone/>
              <a:defRPr sz="1100">
                <a:solidFill>
                  <a:schemeClr val="tx1"/>
                </a:solidFill>
              </a:defRPr>
            </a:lvl2pPr>
            <a:lvl3pPr marL="684762" indent="0">
              <a:buNone/>
              <a:defRPr sz="1100">
                <a:solidFill>
                  <a:schemeClr val="tx1"/>
                </a:solidFill>
              </a:defRPr>
            </a:lvl3pPr>
            <a:lvl4pPr marL="1027139" indent="0">
              <a:buNone/>
              <a:defRPr sz="1100">
                <a:solidFill>
                  <a:schemeClr val="tx1"/>
                </a:solidFill>
              </a:defRPr>
            </a:lvl4pPr>
            <a:lvl5pPr marL="1369518" indent="0">
              <a:buNone/>
              <a:defRPr sz="1100">
                <a:solidFill>
                  <a:schemeClr val="tx1"/>
                </a:solidFill>
              </a:defRPr>
            </a:lvl5pPr>
          </a:lstStyle>
          <a:p>
            <a:pPr lvl="0"/>
            <a:r>
              <a:rPr lang="en-US"/>
              <a:t>Date</a:t>
            </a:r>
          </a:p>
        </p:txBody>
      </p:sp>
      <p:sp>
        <p:nvSpPr>
          <p:cNvPr id="32" name="Text Placeholder 2">
            <a:extLst>
              <a:ext uri="{FF2B5EF4-FFF2-40B4-BE49-F238E27FC236}">
                <a16:creationId xmlns="" xmlns:a16="http://schemas.microsoft.com/office/drawing/2014/main" id="{D7467C81-9D88-4140-B42C-28DFB5646475}"/>
              </a:ext>
            </a:extLst>
          </p:cNvPr>
          <p:cNvSpPr>
            <a:spLocks noGrp="1"/>
          </p:cNvSpPr>
          <p:nvPr>
            <p:ph type="body" sz="quarter" idx="30" hasCustomPrompt="1"/>
          </p:nvPr>
        </p:nvSpPr>
        <p:spPr>
          <a:xfrm>
            <a:off x="896049" y="2683054"/>
            <a:ext cx="5146613" cy="197306"/>
          </a:xfrm>
          <a:prstGeom prst="rect">
            <a:avLst/>
          </a:prstGeom>
        </p:spPr>
        <p:txBody>
          <a:bodyPr lIns="0" tIns="0" rIns="0" bIns="0">
            <a:noAutofit/>
          </a:bodyPr>
          <a:lstStyle>
            <a:lvl1pPr marL="0" indent="0">
              <a:buNone/>
              <a:defRPr sz="1100" b="0" i="0">
                <a:solidFill>
                  <a:schemeClr val="tx1"/>
                </a:solidFill>
                <a:latin typeface="Calibri" panose="020F0502020204030204" pitchFamily="34" charset="0"/>
                <a:cs typeface="Calibri" panose="020F0502020204030204" pitchFamily="34" charset="0"/>
              </a:defRPr>
            </a:lvl1pPr>
            <a:lvl2pPr marL="342353" indent="0">
              <a:buNone/>
              <a:defRPr sz="1100">
                <a:solidFill>
                  <a:schemeClr val="tx1"/>
                </a:solidFill>
              </a:defRPr>
            </a:lvl2pPr>
            <a:lvl3pPr marL="684762" indent="0">
              <a:buNone/>
              <a:defRPr sz="1100">
                <a:solidFill>
                  <a:schemeClr val="tx1"/>
                </a:solidFill>
              </a:defRPr>
            </a:lvl3pPr>
            <a:lvl4pPr marL="1027139" indent="0">
              <a:buNone/>
              <a:defRPr sz="1100">
                <a:solidFill>
                  <a:schemeClr val="tx1"/>
                </a:solidFill>
              </a:defRPr>
            </a:lvl4pPr>
            <a:lvl5pPr marL="1369518" indent="0">
              <a:buNone/>
              <a:defRPr sz="1100">
                <a:solidFill>
                  <a:schemeClr val="tx1"/>
                </a:solidFill>
              </a:defRPr>
            </a:lvl5pPr>
          </a:lstStyle>
          <a:p>
            <a:pPr lvl="0"/>
            <a:r>
              <a:rPr lang="en-US"/>
              <a:t>Presenter Name</a:t>
            </a:r>
          </a:p>
        </p:txBody>
      </p:sp>
      <p:pic>
        <p:nvPicPr>
          <p:cNvPr id="12" name="Picture 11">
            <a:extLst>
              <a:ext uri="{FF2B5EF4-FFF2-40B4-BE49-F238E27FC236}">
                <a16:creationId xmlns="" xmlns:a16="http://schemas.microsoft.com/office/drawing/2014/main" id="{16819C41-2A79-B54D-9C44-C619DA694E6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178941" y="4768508"/>
            <a:ext cx="1468934" cy="88097"/>
          </a:xfrm>
          <a:prstGeom prst="rect">
            <a:avLst/>
          </a:prstGeom>
        </p:spPr>
      </p:pic>
    </p:spTree>
    <p:extLst>
      <p:ext uri="{BB962C8B-B14F-4D97-AF65-F5344CB8AC3E}">
        <p14:creationId xmlns:p14="http://schemas.microsoft.com/office/powerpoint/2010/main" val="132454675"/>
      </p:ext>
    </p:extLst>
  </p:cSld>
  <p:clrMapOvr>
    <a:masterClrMapping/>
  </p:clrMapOvr>
  <p:transition spd="slow">
    <p:push dir="u"/>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tandard 1-Column Text">
    <p:spTree>
      <p:nvGrpSpPr>
        <p:cNvPr id="1" name=""/>
        <p:cNvGrpSpPr/>
        <p:nvPr/>
      </p:nvGrpSpPr>
      <p:grpSpPr>
        <a:xfrm>
          <a:off x="0" y="0"/>
          <a:ext cx="0" cy="0"/>
          <a:chOff x="0" y="0"/>
          <a:chExt cx="0" cy="0"/>
        </a:xfrm>
      </p:grpSpPr>
      <p:sp>
        <p:nvSpPr>
          <p:cNvPr id="12" name="Text Placeholder 6">
            <a:extLst>
              <a:ext uri="{FF2B5EF4-FFF2-40B4-BE49-F238E27FC236}">
                <a16:creationId xmlns="" xmlns:a16="http://schemas.microsoft.com/office/drawing/2014/main" id="{FD2406EE-A554-5348-AE6D-4D8B343E6201}"/>
              </a:ext>
            </a:extLst>
          </p:cNvPr>
          <p:cNvSpPr>
            <a:spLocks noGrp="1"/>
          </p:cNvSpPr>
          <p:nvPr>
            <p:ph type="body" sz="quarter" idx="15" hasCustomPrompt="1"/>
          </p:nvPr>
        </p:nvSpPr>
        <p:spPr>
          <a:xfrm>
            <a:off x="233363" y="826793"/>
            <a:ext cx="8677275" cy="3996643"/>
          </a:xfrm>
          <a:prstGeom prst="rect">
            <a:avLst/>
          </a:prstGeom>
        </p:spPr>
        <p:txBody>
          <a:bodyPr tIns="0" rIns="0" bIns="0" numCol="1">
            <a:normAutofit/>
          </a:bodyPr>
          <a:lstStyle>
            <a:lvl1pPr marL="0" indent="0">
              <a:lnSpc>
                <a:spcPct val="100000"/>
              </a:lnSpc>
              <a:spcBef>
                <a:spcPts val="0"/>
              </a:spcBef>
              <a:spcAft>
                <a:spcPts val="450"/>
              </a:spcAft>
              <a:buFont typeface="Arial" panose="020B0604020202020204" pitchFamily="34" charset="0"/>
              <a:buNone/>
              <a:defRPr sz="1200" b="0">
                <a:solidFill>
                  <a:schemeClr val="tx1"/>
                </a:solidFill>
              </a:defRPr>
            </a:lvl1pPr>
            <a:lvl2pPr marL="342353" indent="0">
              <a:lnSpc>
                <a:spcPts val="1350"/>
              </a:lnSpc>
              <a:spcBef>
                <a:spcPts val="0"/>
              </a:spcBef>
              <a:buNone/>
              <a:defRPr sz="1100"/>
            </a:lvl2pPr>
            <a:lvl3pPr marL="684762" indent="0">
              <a:lnSpc>
                <a:spcPts val="1350"/>
              </a:lnSpc>
              <a:spcBef>
                <a:spcPts val="0"/>
              </a:spcBef>
              <a:buNone/>
              <a:defRPr sz="1100"/>
            </a:lvl3pPr>
            <a:lvl4pPr marL="1027139" indent="0">
              <a:lnSpc>
                <a:spcPts val="1350"/>
              </a:lnSpc>
              <a:spcBef>
                <a:spcPts val="0"/>
              </a:spcBef>
              <a:buNone/>
              <a:defRPr sz="1100"/>
            </a:lvl4pPr>
            <a:lvl5pPr marL="1369518" indent="0">
              <a:lnSpc>
                <a:spcPts val="1350"/>
              </a:lnSpc>
              <a:spcBef>
                <a:spcPts val="0"/>
              </a:spcBef>
              <a:buNone/>
              <a:defRPr sz="1100"/>
            </a:lvl5pPr>
          </a:lstStyle>
          <a:p>
            <a:pPr lvl="0"/>
            <a:r>
              <a:rPr lang="en-US"/>
              <a:t>This is a one-column layout. Click to add content</a:t>
            </a:r>
          </a:p>
        </p:txBody>
      </p:sp>
      <p:sp>
        <p:nvSpPr>
          <p:cNvPr id="22" name="タイトル プレースホルダ 1">
            <a:extLst>
              <a:ext uri="{FF2B5EF4-FFF2-40B4-BE49-F238E27FC236}">
                <a16:creationId xmlns="" xmlns:a16="http://schemas.microsoft.com/office/drawing/2014/main" id="{86D2E5B8-9E2B-DB46-A55A-5F26569C4F99}"/>
              </a:ext>
            </a:extLst>
          </p:cNvPr>
          <p:cNvSpPr>
            <a:spLocks noGrp="1"/>
          </p:cNvSpPr>
          <p:nvPr>
            <p:ph type="title" hasCustomPrompt="1"/>
          </p:nvPr>
        </p:nvSpPr>
        <p:spPr>
          <a:xfrm>
            <a:off x="454560" y="121208"/>
            <a:ext cx="7455190" cy="51435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a:extLst>
              <a:ext uri="{FF2B5EF4-FFF2-40B4-BE49-F238E27FC236}">
                <a16:creationId xmlns="" xmlns:a16="http://schemas.microsoft.com/office/drawing/2014/main" id="{51A4825E-63A1-564F-BC3A-FBC167ECE5EB}"/>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2983"/>
            <a:fld id="{E9B57936-92EF-4126-AE48-1D9D36D15E98}" type="slidenum">
              <a:rPr lang="ja-JP" altLang="en-US" smtClean="0">
                <a:solidFill>
                  <a:srgbClr val="34373F"/>
                </a:solidFill>
              </a:rPr>
              <a:pPr defTabSz="912983"/>
              <a:t>‹Nº›</a:t>
            </a:fld>
            <a:endParaRPr lang="ja-JP" altLang="en-US">
              <a:solidFill>
                <a:srgbClr val="34373F"/>
              </a:solidFill>
            </a:endParaRPr>
          </a:p>
        </p:txBody>
      </p:sp>
      <p:sp>
        <p:nvSpPr>
          <p:cNvPr id="21" name="Rectangle 20">
            <a:extLst>
              <a:ext uri="{FF2B5EF4-FFF2-40B4-BE49-F238E27FC236}">
                <a16:creationId xmlns="" xmlns:a16="http://schemas.microsoft.com/office/drawing/2014/main" id="{FCF9CDB0-5730-E246-B31F-F5963CF8EFDC}"/>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05" tIns="34289" rIns="68505" bIns="34289" rtlCol="0" anchor="ctr"/>
          <a:lstStyle/>
          <a:p>
            <a:pPr algn="ctr" defTabSz="684950"/>
            <a:endParaRPr kumimoji="1" lang="x-none" sz="1400">
              <a:solidFill>
                <a:srgbClr val="E1242A"/>
              </a:solidFill>
            </a:endParaRPr>
          </a:p>
        </p:txBody>
      </p:sp>
      <p:pic>
        <p:nvPicPr>
          <p:cNvPr id="9" name="Picture 8">
            <a:extLst>
              <a:ext uri="{FF2B5EF4-FFF2-40B4-BE49-F238E27FC236}">
                <a16:creationId xmlns="" xmlns:a16="http://schemas.microsoft.com/office/drawing/2014/main" id="{2F85A9C0-408D-409A-9C66-EC94F1A7CAE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937746" y="4604928"/>
            <a:ext cx="1008126" cy="603504"/>
          </a:xfrm>
          <a:prstGeom prst="rect">
            <a:avLst/>
          </a:prstGeom>
        </p:spPr>
      </p:pic>
      <p:pic>
        <p:nvPicPr>
          <p:cNvPr id="11" name="Picture 12" descr="Takeda_Logo_Pos_RGB.emf">
            <a:extLst>
              <a:ext uri="{FF2B5EF4-FFF2-40B4-BE49-F238E27FC236}">
                <a16:creationId xmlns="" xmlns:a16="http://schemas.microsoft.com/office/drawing/2014/main" id="{D1FC7823-0381-4A75-A618-7FD9A985CE9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7975658" y="233605"/>
            <a:ext cx="772806" cy="259904"/>
          </a:xfrm>
          <a:prstGeom prst="rect">
            <a:avLst/>
          </a:prstGeom>
          <a:noFill/>
          <a:ln w="9525">
            <a:noFill/>
            <a:miter lim="800000"/>
            <a:headEnd/>
            <a:tailEnd/>
          </a:ln>
        </p:spPr>
      </p:pic>
    </p:spTree>
    <p:extLst>
      <p:ext uri="{BB962C8B-B14F-4D97-AF65-F5344CB8AC3E}">
        <p14:creationId xmlns:p14="http://schemas.microsoft.com/office/powerpoint/2010/main" val="1394920945"/>
      </p:ext>
    </p:extLst>
  </p:cSld>
  <p:clrMapOvr>
    <a:masterClrMapping/>
  </p:clrMapOvr>
  <p:transition spd="slow">
    <p:push dir="u"/>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tandard 2-Column Text">
    <p:spTree>
      <p:nvGrpSpPr>
        <p:cNvPr id="1" name=""/>
        <p:cNvGrpSpPr/>
        <p:nvPr/>
      </p:nvGrpSpPr>
      <p:grpSpPr>
        <a:xfrm>
          <a:off x="0" y="0"/>
          <a:ext cx="0" cy="0"/>
          <a:chOff x="0" y="0"/>
          <a:chExt cx="0" cy="0"/>
        </a:xfrm>
      </p:grpSpPr>
      <p:sp>
        <p:nvSpPr>
          <p:cNvPr id="12" name="Text Placeholder 6">
            <a:extLst>
              <a:ext uri="{FF2B5EF4-FFF2-40B4-BE49-F238E27FC236}">
                <a16:creationId xmlns="" xmlns:a16="http://schemas.microsoft.com/office/drawing/2014/main" id="{FD2406EE-A554-5348-AE6D-4D8B343E6201}"/>
              </a:ext>
            </a:extLst>
          </p:cNvPr>
          <p:cNvSpPr>
            <a:spLocks noGrp="1"/>
          </p:cNvSpPr>
          <p:nvPr>
            <p:ph type="body" sz="quarter" idx="15" hasCustomPrompt="1"/>
          </p:nvPr>
        </p:nvSpPr>
        <p:spPr>
          <a:xfrm>
            <a:off x="233363" y="826793"/>
            <a:ext cx="8677275" cy="3996643"/>
          </a:xfrm>
          <a:prstGeom prst="rect">
            <a:avLst/>
          </a:prstGeom>
        </p:spPr>
        <p:txBody>
          <a:bodyPr tIns="0" rIns="0" bIns="0" numCol="2" spcCol="404500">
            <a:normAutofit/>
          </a:bodyPr>
          <a:lstStyle>
            <a:lvl1pPr marL="0" indent="0">
              <a:lnSpc>
                <a:spcPct val="100000"/>
              </a:lnSpc>
              <a:spcBef>
                <a:spcPts val="0"/>
              </a:spcBef>
              <a:spcAft>
                <a:spcPts val="450"/>
              </a:spcAft>
              <a:buFont typeface="Arial" panose="020B0604020202020204" pitchFamily="34" charset="0"/>
              <a:buNone/>
              <a:defRPr sz="1200" b="0">
                <a:solidFill>
                  <a:schemeClr val="tx1"/>
                </a:solidFill>
              </a:defRPr>
            </a:lvl1pPr>
            <a:lvl2pPr marL="342353" indent="0">
              <a:lnSpc>
                <a:spcPts val="1350"/>
              </a:lnSpc>
              <a:spcBef>
                <a:spcPts val="0"/>
              </a:spcBef>
              <a:buNone/>
              <a:defRPr sz="1100"/>
            </a:lvl2pPr>
            <a:lvl3pPr marL="684762" indent="0">
              <a:lnSpc>
                <a:spcPts val="1350"/>
              </a:lnSpc>
              <a:spcBef>
                <a:spcPts val="0"/>
              </a:spcBef>
              <a:buNone/>
              <a:defRPr sz="1100"/>
            </a:lvl3pPr>
            <a:lvl4pPr marL="1027139" indent="0">
              <a:lnSpc>
                <a:spcPts val="1350"/>
              </a:lnSpc>
              <a:spcBef>
                <a:spcPts val="0"/>
              </a:spcBef>
              <a:buNone/>
              <a:defRPr sz="1100"/>
            </a:lvl4pPr>
            <a:lvl5pPr marL="1369518" indent="0">
              <a:lnSpc>
                <a:spcPts val="1350"/>
              </a:lnSpc>
              <a:spcBef>
                <a:spcPts val="0"/>
              </a:spcBef>
              <a:buNone/>
              <a:defRPr sz="1100"/>
            </a:lvl5pPr>
          </a:lstStyle>
          <a:p>
            <a:pPr lvl="0"/>
            <a:r>
              <a:rPr lang="en-US"/>
              <a:t>This is a two-column layout. Click to add content. </a:t>
            </a:r>
          </a:p>
        </p:txBody>
      </p:sp>
      <p:sp>
        <p:nvSpPr>
          <p:cNvPr id="22" name="タイトル プレースホルダ 1">
            <a:extLst>
              <a:ext uri="{FF2B5EF4-FFF2-40B4-BE49-F238E27FC236}">
                <a16:creationId xmlns="" xmlns:a16="http://schemas.microsoft.com/office/drawing/2014/main" id="{86D2E5B8-9E2B-DB46-A55A-5F26569C4F99}"/>
              </a:ext>
            </a:extLst>
          </p:cNvPr>
          <p:cNvSpPr>
            <a:spLocks noGrp="1"/>
          </p:cNvSpPr>
          <p:nvPr>
            <p:ph type="title" hasCustomPrompt="1"/>
          </p:nvPr>
        </p:nvSpPr>
        <p:spPr>
          <a:xfrm>
            <a:off x="454560" y="121208"/>
            <a:ext cx="7455190" cy="514351"/>
          </a:xfrm>
          <a:prstGeom prst="rect">
            <a:avLst/>
          </a:prstGeom>
        </p:spPr>
        <p:txBody>
          <a:bodyPr vert="horz" lIns="0" tIns="0" rIns="0" bIns="0" rtlCol="0" anchor="ctr">
            <a:normAutofit/>
          </a:bodyPr>
          <a:lstStyle/>
          <a:p>
            <a:r>
              <a:rPr kumimoji="1" lang="en-US" altLang="ja-JP"/>
              <a:t>Two-column layout. Click to add title</a:t>
            </a:r>
            <a:endParaRPr kumimoji="1" lang="ja-JP" altLang="en-US"/>
          </a:p>
        </p:txBody>
      </p:sp>
      <p:sp>
        <p:nvSpPr>
          <p:cNvPr id="13" name="Rectangle 12">
            <a:extLst>
              <a:ext uri="{FF2B5EF4-FFF2-40B4-BE49-F238E27FC236}">
                <a16:creationId xmlns="" xmlns:a16="http://schemas.microsoft.com/office/drawing/2014/main" id="{F49634AC-7DDA-D44D-88DB-5850289DD643}"/>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05" tIns="34289" rIns="68505" bIns="34289" rtlCol="0" anchor="ctr"/>
          <a:lstStyle/>
          <a:p>
            <a:pPr algn="ctr" defTabSz="684950"/>
            <a:endParaRPr kumimoji="1" lang="x-none" sz="1400">
              <a:solidFill>
                <a:srgbClr val="E1242A"/>
              </a:solidFill>
            </a:endParaRPr>
          </a:p>
        </p:txBody>
      </p:sp>
      <p:sp>
        <p:nvSpPr>
          <p:cNvPr id="20" name="スライド番号プレースホルダ 5">
            <a:extLst>
              <a:ext uri="{FF2B5EF4-FFF2-40B4-BE49-F238E27FC236}">
                <a16:creationId xmlns="" xmlns:a16="http://schemas.microsoft.com/office/drawing/2014/main" id="{E22A984C-7436-8C4C-83C8-F2AD67592041}"/>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2983"/>
            <a:fld id="{E9B57936-92EF-4126-AE48-1D9D36D15E98}" type="slidenum">
              <a:rPr lang="ja-JP" altLang="en-US" smtClean="0">
                <a:solidFill>
                  <a:srgbClr val="34373F"/>
                </a:solidFill>
              </a:rPr>
              <a:pPr defTabSz="912983"/>
              <a:t>‹Nº›</a:t>
            </a:fld>
            <a:endParaRPr lang="ja-JP" altLang="en-US">
              <a:solidFill>
                <a:srgbClr val="34373F"/>
              </a:solidFill>
            </a:endParaRPr>
          </a:p>
        </p:txBody>
      </p:sp>
      <p:pic>
        <p:nvPicPr>
          <p:cNvPr id="10" name="Picture 9">
            <a:extLst>
              <a:ext uri="{FF2B5EF4-FFF2-40B4-BE49-F238E27FC236}">
                <a16:creationId xmlns="" xmlns:a16="http://schemas.microsoft.com/office/drawing/2014/main" id="{3DA3BBB8-ACDC-49A9-8186-7DE88F783B1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937746" y="4604928"/>
            <a:ext cx="1008126" cy="603504"/>
          </a:xfrm>
          <a:prstGeom prst="rect">
            <a:avLst/>
          </a:prstGeom>
        </p:spPr>
      </p:pic>
      <p:pic>
        <p:nvPicPr>
          <p:cNvPr id="11" name="Picture 12" descr="Takeda_Logo_Pos_RGB.emf">
            <a:extLst>
              <a:ext uri="{FF2B5EF4-FFF2-40B4-BE49-F238E27FC236}">
                <a16:creationId xmlns="" xmlns:a16="http://schemas.microsoft.com/office/drawing/2014/main" id="{AF30BB5F-C96A-465C-9485-587EA35C582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7975658" y="233605"/>
            <a:ext cx="772806" cy="259904"/>
          </a:xfrm>
          <a:prstGeom prst="rect">
            <a:avLst/>
          </a:prstGeom>
          <a:noFill/>
          <a:ln w="9525">
            <a:noFill/>
            <a:miter lim="800000"/>
            <a:headEnd/>
            <a:tailEnd/>
          </a:ln>
        </p:spPr>
      </p:pic>
    </p:spTree>
    <p:extLst>
      <p:ext uri="{BB962C8B-B14F-4D97-AF65-F5344CB8AC3E}">
        <p14:creationId xmlns:p14="http://schemas.microsoft.com/office/powerpoint/2010/main" val="1004214833"/>
      </p:ext>
    </p:extLst>
  </p:cSld>
  <p:clrMapOvr>
    <a:masterClrMapping/>
  </p:clrMapOvr>
  <p:transition spd="slow">
    <p:push dir="u"/>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 Page">
    <p:spTree>
      <p:nvGrpSpPr>
        <p:cNvPr id="1" name=""/>
        <p:cNvGrpSpPr/>
        <p:nvPr/>
      </p:nvGrpSpPr>
      <p:grpSpPr>
        <a:xfrm>
          <a:off x="0" y="0"/>
          <a:ext cx="0" cy="0"/>
          <a:chOff x="0" y="0"/>
          <a:chExt cx="0" cy="0"/>
        </a:xfrm>
      </p:grpSpPr>
      <p:sp>
        <p:nvSpPr>
          <p:cNvPr id="33" name="Title 1">
            <a:extLst>
              <a:ext uri="{FF2B5EF4-FFF2-40B4-BE49-F238E27FC236}">
                <a16:creationId xmlns="" xmlns:a16="http://schemas.microsoft.com/office/drawing/2014/main" id="{E02383DA-65B3-044E-9E1B-2CC00A0B1CC6}"/>
              </a:ext>
            </a:extLst>
          </p:cNvPr>
          <p:cNvSpPr>
            <a:spLocks noGrp="1"/>
          </p:cNvSpPr>
          <p:nvPr>
            <p:ph type="ctrTitle" hasCustomPrompt="1"/>
          </p:nvPr>
        </p:nvSpPr>
        <p:spPr>
          <a:xfrm>
            <a:off x="896050" y="1727272"/>
            <a:ext cx="3266048" cy="1709348"/>
          </a:xfrm>
          <a:prstGeom prst="rect">
            <a:avLst/>
          </a:prstGeom>
        </p:spPr>
        <p:txBody>
          <a:bodyPr wrap="square" lIns="0" tIns="0" rIns="0" bIns="0" anchor="ctr" anchorCtr="0">
            <a:normAutofit/>
          </a:bodyPr>
          <a:lstStyle>
            <a:lvl1pPr>
              <a:lnSpc>
                <a:spcPts val="2850"/>
              </a:lnSpc>
              <a:defRPr sz="27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section title</a:t>
            </a:r>
          </a:p>
        </p:txBody>
      </p:sp>
      <p:sp>
        <p:nvSpPr>
          <p:cNvPr id="28" name="Rectangle 27">
            <a:extLst>
              <a:ext uri="{FF2B5EF4-FFF2-40B4-BE49-F238E27FC236}">
                <a16:creationId xmlns="" xmlns:a16="http://schemas.microsoft.com/office/drawing/2014/main" id="{92F9C2FE-7E43-3948-92F0-0CEA804BDBFE}"/>
              </a:ext>
            </a:extLst>
          </p:cNvPr>
          <p:cNvSpPr/>
          <p:nvPr userDrawn="1"/>
        </p:nvSpPr>
        <p:spPr>
          <a:xfrm>
            <a:off x="561754" y="1582698"/>
            <a:ext cx="72900" cy="20303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05" tIns="34289" rIns="68505" bIns="34289" anchor="ctr"/>
          <a:lstStyle/>
          <a:p>
            <a:pPr algn="ctr" defTabSz="684950"/>
            <a:endParaRPr lang="en-US" altLang="en-US" sz="1400">
              <a:solidFill>
                <a:srgbClr val="FFFFFF"/>
              </a:solidFill>
            </a:endParaRPr>
          </a:p>
        </p:txBody>
      </p:sp>
      <p:sp>
        <p:nvSpPr>
          <p:cNvPr id="13" name="Picture Placeholder 9">
            <a:extLst>
              <a:ext uri="{FF2B5EF4-FFF2-40B4-BE49-F238E27FC236}">
                <a16:creationId xmlns="" xmlns:a16="http://schemas.microsoft.com/office/drawing/2014/main" id="{46656F8F-0621-5F47-BF80-4A4E365A2D91}"/>
              </a:ext>
            </a:extLst>
          </p:cNvPr>
          <p:cNvSpPr>
            <a:spLocks noGrp="1"/>
          </p:cNvSpPr>
          <p:nvPr>
            <p:ph type="pic" sz="quarter" idx="10"/>
          </p:nvPr>
        </p:nvSpPr>
        <p:spPr>
          <a:xfrm>
            <a:off x="4981950" y="1"/>
            <a:ext cx="4174367" cy="4812506"/>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158474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782524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0592">
                <a:moveTo>
                  <a:pt x="0" y="1652"/>
                </a:moveTo>
                <a:lnTo>
                  <a:pt x="11459359" y="0"/>
                </a:lnTo>
                <a:cubicBezTo>
                  <a:pt x="11456406" y="1115201"/>
                  <a:pt x="11441877" y="2245391"/>
                  <a:pt x="11438924" y="3360592"/>
                </a:cubicBezTo>
                <a:lnTo>
                  <a:pt x="1188396" y="3358591"/>
                </a:lnTo>
                <a:cubicBezTo>
                  <a:pt x="848612" y="3356903"/>
                  <a:pt x="0" y="3267167"/>
                  <a:pt x="0" y="2946995"/>
                </a:cubicBezTo>
                <a:lnTo>
                  <a:pt x="0" y="1652"/>
                </a:lnTo>
                <a:close/>
              </a:path>
            </a:pathLst>
          </a:custGeom>
          <a:noFill/>
        </p:spPr>
        <p:txBody>
          <a:bodyPr/>
          <a:lstStyle>
            <a:lvl1pPr marL="0" indent="0">
              <a:buNone/>
              <a:defRPr sz="1800">
                <a:solidFill>
                  <a:schemeClr val="bg1"/>
                </a:solidFill>
              </a:defRPr>
            </a:lvl1pPr>
          </a:lstStyle>
          <a:p>
            <a:r>
              <a:rPr lang="de-DE"/>
              <a:t>Bild durch Klicken auf Symbol hinzufügen</a:t>
            </a:r>
            <a:endParaRPr lang="x-none"/>
          </a:p>
        </p:txBody>
      </p:sp>
    </p:spTree>
    <p:extLst>
      <p:ext uri="{BB962C8B-B14F-4D97-AF65-F5344CB8AC3E}">
        <p14:creationId xmlns:p14="http://schemas.microsoft.com/office/powerpoint/2010/main" val="1804847393"/>
      </p:ext>
    </p:extLst>
  </p:cSld>
  <p:clrMapOvr>
    <a:masterClrMapping/>
  </p:clrMapOvr>
  <p:transition spd="slow">
    <p:push dir="u"/>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End Slide">
    <p:spTree>
      <p:nvGrpSpPr>
        <p:cNvPr id="1" name=""/>
        <p:cNvGrpSpPr/>
        <p:nvPr/>
      </p:nvGrpSpPr>
      <p:grpSpPr>
        <a:xfrm>
          <a:off x="0" y="0"/>
          <a:ext cx="0" cy="0"/>
          <a:chOff x="0" y="0"/>
          <a:chExt cx="0" cy="0"/>
        </a:xfrm>
      </p:grpSpPr>
      <p:pic>
        <p:nvPicPr>
          <p:cNvPr id="13" name="Picture 12">
            <a:extLst>
              <a:ext uri="{FF2B5EF4-FFF2-40B4-BE49-F238E27FC236}">
                <a16:creationId xmlns="" xmlns:a16="http://schemas.microsoft.com/office/drawing/2014/main" id="{5709C50A-25A5-7641-AAFB-B85296034B7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67728" y="4645759"/>
            <a:ext cx="2008545" cy="120458"/>
          </a:xfrm>
          <a:prstGeom prst="rect">
            <a:avLst/>
          </a:prstGeom>
        </p:spPr>
      </p:pic>
      <p:pic>
        <p:nvPicPr>
          <p:cNvPr id="15" name="Picture 14">
            <a:extLst>
              <a:ext uri="{FF2B5EF4-FFF2-40B4-BE49-F238E27FC236}">
                <a16:creationId xmlns="" xmlns:a16="http://schemas.microsoft.com/office/drawing/2014/main" id="{7CE62861-818A-CA4D-9EEF-1ABA93081F5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255166" y="4930883"/>
            <a:ext cx="2633666" cy="69837"/>
          </a:xfrm>
          <a:prstGeom prst="rect">
            <a:avLst/>
          </a:prstGeom>
        </p:spPr>
      </p:pic>
      <p:sp>
        <p:nvSpPr>
          <p:cNvPr id="3" name="Text Placeholder 2">
            <a:extLst>
              <a:ext uri="{FF2B5EF4-FFF2-40B4-BE49-F238E27FC236}">
                <a16:creationId xmlns="" xmlns:a16="http://schemas.microsoft.com/office/drawing/2014/main" id="{30A5DA52-BBAF-EA48-AEC6-EA08F428CF57}"/>
              </a:ext>
            </a:extLst>
          </p:cNvPr>
          <p:cNvSpPr>
            <a:spLocks noGrp="1"/>
          </p:cNvSpPr>
          <p:nvPr>
            <p:ph type="body" sz="quarter" idx="10" hasCustomPrompt="1"/>
          </p:nvPr>
        </p:nvSpPr>
        <p:spPr>
          <a:xfrm>
            <a:off x="225030" y="1720455"/>
            <a:ext cx="8693944" cy="1702594"/>
          </a:xfrm>
          <a:prstGeom prst="rect">
            <a:avLst/>
          </a:prstGeom>
        </p:spPr>
        <p:txBody>
          <a:bodyPr anchor="ctr" anchorCtr="0"/>
          <a:lstStyle>
            <a:lvl1pPr marL="0" indent="0" algn="ctr">
              <a:buNone/>
              <a:defRPr sz="2300"/>
            </a:lvl1pPr>
          </a:lstStyle>
          <a:p>
            <a:pPr lvl="0"/>
            <a:r>
              <a:rPr lang="en-US"/>
              <a:t>Thank You</a:t>
            </a:r>
            <a:endParaRPr lang="x-none"/>
          </a:p>
        </p:txBody>
      </p:sp>
      <p:pic>
        <p:nvPicPr>
          <p:cNvPr id="7" name="Grafik 6">
            <a:extLst>
              <a:ext uri="{FF2B5EF4-FFF2-40B4-BE49-F238E27FC236}">
                <a16:creationId xmlns="" xmlns:a16="http://schemas.microsoft.com/office/drawing/2014/main" id="{DD7109B6-665E-C642-9C73-2A90528534B3}"/>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947360" y="4029125"/>
            <a:ext cx="1249291" cy="473869"/>
          </a:xfrm>
          <a:prstGeom prst="rect">
            <a:avLst/>
          </a:prstGeom>
        </p:spPr>
      </p:pic>
    </p:spTree>
    <p:extLst>
      <p:ext uri="{BB962C8B-B14F-4D97-AF65-F5344CB8AC3E}">
        <p14:creationId xmlns:p14="http://schemas.microsoft.com/office/powerpoint/2010/main" val="805124466"/>
      </p:ext>
    </p:extLst>
  </p:cSld>
  <p:clrMapOvr>
    <a:masterClrMapping/>
  </p:clrMapOvr>
  <p:transition spd="slow">
    <p:push dir="u"/>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30A5DA52-BBAF-EA48-AEC6-EA08F428CF57}"/>
              </a:ext>
            </a:extLst>
          </p:cNvPr>
          <p:cNvSpPr>
            <a:spLocks noGrp="1"/>
          </p:cNvSpPr>
          <p:nvPr>
            <p:ph type="body" sz="quarter" idx="10" hasCustomPrompt="1"/>
          </p:nvPr>
        </p:nvSpPr>
        <p:spPr>
          <a:xfrm>
            <a:off x="225030" y="278969"/>
            <a:ext cx="8693944" cy="4533537"/>
          </a:xfrm>
          <a:prstGeom prst="rect">
            <a:avLst/>
          </a:prstGeom>
        </p:spPr>
        <p:txBody>
          <a:bodyPr anchor="ctr" anchorCtr="0"/>
          <a:lstStyle>
            <a:lvl1pPr marL="0" indent="0" algn="ctr">
              <a:lnSpc>
                <a:spcPct val="100000"/>
              </a:lnSpc>
              <a:buNone/>
              <a:defRPr sz="2300"/>
            </a:lvl1pPr>
          </a:lstStyle>
          <a:p>
            <a:pPr lvl="0"/>
            <a:r>
              <a:rPr lang="en-US"/>
              <a:t>Blank slide</a:t>
            </a:r>
            <a:endParaRPr lang="x-none"/>
          </a:p>
        </p:txBody>
      </p:sp>
      <p:pic>
        <p:nvPicPr>
          <p:cNvPr id="4" name="Picture 12" descr="Takeda_Logo_Pos_RGB.emf">
            <a:extLst>
              <a:ext uri="{FF2B5EF4-FFF2-40B4-BE49-F238E27FC236}">
                <a16:creationId xmlns="" xmlns:a16="http://schemas.microsoft.com/office/drawing/2014/main" id="{D1616EE3-EBD6-4815-B9EE-F25C4FC853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7975658" y="233605"/>
            <a:ext cx="772806" cy="259904"/>
          </a:xfrm>
          <a:prstGeom prst="rect">
            <a:avLst/>
          </a:prstGeom>
          <a:noFill/>
          <a:ln w="9525">
            <a:noFill/>
            <a:miter lim="800000"/>
            <a:headEnd/>
            <a:tailEnd/>
          </a:ln>
        </p:spPr>
      </p:pic>
      <p:pic>
        <p:nvPicPr>
          <p:cNvPr id="5" name="Picture 4">
            <a:extLst>
              <a:ext uri="{FF2B5EF4-FFF2-40B4-BE49-F238E27FC236}">
                <a16:creationId xmlns="" xmlns:a16="http://schemas.microsoft.com/office/drawing/2014/main" id="{0DDB41B3-B90B-4A34-9F9F-2B1B9E34BE9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937746" y="4604928"/>
            <a:ext cx="1008126" cy="603504"/>
          </a:xfrm>
          <a:prstGeom prst="rect">
            <a:avLst/>
          </a:prstGeom>
        </p:spPr>
      </p:pic>
      <p:sp>
        <p:nvSpPr>
          <p:cNvPr id="6" name="スライド番号プレースホルダ 5">
            <a:extLst>
              <a:ext uri="{FF2B5EF4-FFF2-40B4-BE49-F238E27FC236}">
                <a16:creationId xmlns="" xmlns:a16="http://schemas.microsoft.com/office/drawing/2014/main" id="{D45CE10D-CC26-4995-BFE4-D292C401E3AC}"/>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2983"/>
            <a:fld id="{E9B57936-92EF-4126-AE48-1D9D36D15E98}" type="slidenum">
              <a:rPr lang="ja-JP" altLang="en-US" smtClean="0">
                <a:solidFill>
                  <a:srgbClr val="34373F"/>
                </a:solidFill>
              </a:rPr>
              <a:pPr defTabSz="912983"/>
              <a:t>‹Nº›</a:t>
            </a:fld>
            <a:endParaRPr lang="ja-JP" altLang="en-US">
              <a:solidFill>
                <a:srgbClr val="34373F"/>
              </a:solidFill>
            </a:endParaRPr>
          </a:p>
        </p:txBody>
      </p:sp>
    </p:spTree>
    <p:extLst>
      <p:ext uri="{BB962C8B-B14F-4D97-AF65-F5344CB8AC3E}">
        <p14:creationId xmlns:p14="http://schemas.microsoft.com/office/powerpoint/2010/main" val="3525195286"/>
      </p:ext>
    </p:extLst>
  </p:cSld>
  <p:clrMapOvr>
    <a:masterClrMapping/>
  </p:clrMapOvr>
  <p:transition spd="slow">
    <p:push dir="u"/>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Advanced 3-Column Text">
    <p:spTree>
      <p:nvGrpSpPr>
        <p:cNvPr id="1" name=""/>
        <p:cNvGrpSpPr/>
        <p:nvPr/>
      </p:nvGrpSpPr>
      <p:grpSpPr>
        <a:xfrm>
          <a:off x="0" y="0"/>
          <a:ext cx="0" cy="0"/>
          <a:chOff x="0" y="0"/>
          <a:chExt cx="0" cy="0"/>
        </a:xfrm>
      </p:grpSpPr>
      <p:sp>
        <p:nvSpPr>
          <p:cNvPr id="7" name="Text Placeholder 6">
            <a:extLst>
              <a:ext uri="{FF2B5EF4-FFF2-40B4-BE49-F238E27FC236}">
                <a16:creationId xmlns="" xmlns:a16="http://schemas.microsoft.com/office/drawing/2014/main" id="{65925D82-457F-D84D-B8DF-D8ADFD7E71DF}"/>
              </a:ext>
            </a:extLst>
          </p:cNvPr>
          <p:cNvSpPr>
            <a:spLocks noGrp="1"/>
          </p:cNvSpPr>
          <p:nvPr>
            <p:ph type="body" sz="quarter" idx="14" hasCustomPrompt="1"/>
          </p:nvPr>
        </p:nvSpPr>
        <p:spPr>
          <a:xfrm>
            <a:off x="233362" y="2383723"/>
            <a:ext cx="4281488" cy="204590"/>
          </a:xfrm>
          <a:prstGeom prst="rect">
            <a:avLst/>
          </a:prstGeom>
        </p:spPr>
        <p:txBody>
          <a:bodyPr tIns="0" rIns="0" bIns="0" numCol="1">
            <a:noAutofit/>
          </a:bodyPr>
          <a:lstStyle>
            <a:lvl1pPr marL="0" indent="0">
              <a:lnSpc>
                <a:spcPct val="100000"/>
              </a:lnSpc>
              <a:spcBef>
                <a:spcPts val="0"/>
              </a:spcBef>
              <a:spcAft>
                <a:spcPts val="450"/>
              </a:spcAft>
              <a:buNone/>
              <a:defRPr sz="1400" b="1">
                <a:solidFill>
                  <a:schemeClr val="accent1"/>
                </a:solidFill>
              </a:defRPr>
            </a:lvl1pPr>
            <a:lvl2pPr marL="342353" indent="0">
              <a:lnSpc>
                <a:spcPts val="1350"/>
              </a:lnSpc>
              <a:spcBef>
                <a:spcPts val="0"/>
              </a:spcBef>
              <a:buNone/>
              <a:defRPr sz="1100"/>
            </a:lvl2pPr>
            <a:lvl3pPr marL="684762" indent="0">
              <a:lnSpc>
                <a:spcPts val="1350"/>
              </a:lnSpc>
              <a:spcBef>
                <a:spcPts val="0"/>
              </a:spcBef>
              <a:buNone/>
              <a:defRPr sz="1100"/>
            </a:lvl3pPr>
            <a:lvl4pPr marL="1027139" indent="0">
              <a:lnSpc>
                <a:spcPts val="1350"/>
              </a:lnSpc>
              <a:spcBef>
                <a:spcPts val="0"/>
              </a:spcBef>
              <a:buNone/>
              <a:defRPr sz="1100"/>
            </a:lvl4pPr>
            <a:lvl5pPr marL="1369518" indent="0">
              <a:lnSpc>
                <a:spcPts val="1350"/>
              </a:lnSpc>
              <a:spcBef>
                <a:spcPts val="0"/>
              </a:spcBef>
              <a:buNone/>
              <a:defRPr sz="1100"/>
            </a:lvl5pPr>
          </a:lstStyle>
          <a:p>
            <a:pPr lvl="0"/>
            <a:r>
              <a:rPr lang="en-US"/>
              <a:t>This is your Secondary Title</a:t>
            </a:r>
          </a:p>
        </p:txBody>
      </p:sp>
      <p:sp>
        <p:nvSpPr>
          <p:cNvPr id="12" name="Text Placeholder 6">
            <a:extLst>
              <a:ext uri="{FF2B5EF4-FFF2-40B4-BE49-F238E27FC236}">
                <a16:creationId xmlns="" xmlns:a16="http://schemas.microsoft.com/office/drawing/2014/main" id="{FD2406EE-A554-5348-AE6D-4D8B343E6201}"/>
              </a:ext>
            </a:extLst>
          </p:cNvPr>
          <p:cNvSpPr>
            <a:spLocks noGrp="1"/>
          </p:cNvSpPr>
          <p:nvPr>
            <p:ph type="body" sz="quarter" idx="15" hasCustomPrompt="1"/>
          </p:nvPr>
        </p:nvSpPr>
        <p:spPr>
          <a:xfrm>
            <a:off x="233363" y="2681929"/>
            <a:ext cx="2822659" cy="2130578"/>
          </a:xfrm>
          <a:prstGeom prst="rect">
            <a:avLst/>
          </a:prstGeom>
        </p:spPr>
        <p:txBody>
          <a:bodyPr tIns="0" rIns="0" bIns="0" numCol="1">
            <a:noAutofit/>
          </a:bodyPr>
          <a:lstStyle>
            <a:lvl1pPr marL="128438" indent="-128438">
              <a:lnSpc>
                <a:spcPct val="100000"/>
              </a:lnSpc>
              <a:spcBef>
                <a:spcPts val="0"/>
              </a:spcBef>
              <a:spcAft>
                <a:spcPts val="450"/>
              </a:spcAft>
              <a:buFont typeface="Arial" panose="020B0604020202020204" pitchFamily="34" charset="0"/>
              <a:buChar char="•"/>
              <a:defRPr sz="1100" b="0">
                <a:solidFill>
                  <a:schemeClr val="tx1"/>
                </a:solidFill>
              </a:defRPr>
            </a:lvl1pPr>
            <a:lvl2pPr marL="342353" indent="0">
              <a:lnSpc>
                <a:spcPts val="1350"/>
              </a:lnSpc>
              <a:spcBef>
                <a:spcPts val="0"/>
              </a:spcBef>
              <a:buNone/>
              <a:defRPr sz="1100"/>
            </a:lvl2pPr>
            <a:lvl3pPr marL="684762" indent="0">
              <a:lnSpc>
                <a:spcPts val="1350"/>
              </a:lnSpc>
              <a:spcBef>
                <a:spcPts val="0"/>
              </a:spcBef>
              <a:buNone/>
              <a:defRPr sz="1100"/>
            </a:lvl3pPr>
            <a:lvl4pPr marL="1027139" indent="0">
              <a:lnSpc>
                <a:spcPts val="1350"/>
              </a:lnSpc>
              <a:spcBef>
                <a:spcPts val="0"/>
              </a:spcBef>
              <a:buNone/>
              <a:defRPr sz="1100"/>
            </a:lvl4pPr>
            <a:lvl5pPr marL="1369518" indent="0">
              <a:lnSpc>
                <a:spcPts val="1350"/>
              </a:lnSpc>
              <a:spcBef>
                <a:spcPts val="0"/>
              </a:spcBef>
              <a:buNone/>
              <a:defRPr sz="1100"/>
            </a:lvl5pPr>
          </a:lstStyle>
          <a:p>
            <a:pPr lvl="0"/>
            <a:r>
              <a:rPr lang="en-US"/>
              <a:t>This is your Secondary text. </a:t>
            </a:r>
          </a:p>
        </p:txBody>
      </p:sp>
      <p:sp>
        <p:nvSpPr>
          <p:cNvPr id="17" name="Text Placeholder 6">
            <a:extLst>
              <a:ext uri="{FF2B5EF4-FFF2-40B4-BE49-F238E27FC236}">
                <a16:creationId xmlns="" xmlns:a16="http://schemas.microsoft.com/office/drawing/2014/main" id="{3BB454FD-9C16-FC47-B46E-6675394572BB}"/>
              </a:ext>
            </a:extLst>
          </p:cNvPr>
          <p:cNvSpPr>
            <a:spLocks noGrp="1"/>
          </p:cNvSpPr>
          <p:nvPr>
            <p:ph type="body" sz="quarter" idx="18" hasCustomPrompt="1"/>
          </p:nvPr>
        </p:nvSpPr>
        <p:spPr>
          <a:xfrm>
            <a:off x="3160345" y="2681929"/>
            <a:ext cx="2822659" cy="2130578"/>
          </a:xfrm>
          <a:prstGeom prst="rect">
            <a:avLst/>
          </a:prstGeom>
        </p:spPr>
        <p:txBody>
          <a:bodyPr tIns="0" rIns="0" bIns="0" numCol="1">
            <a:noAutofit/>
          </a:bodyPr>
          <a:lstStyle>
            <a:lvl1pPr marL="128438" indent="-128438">
              <a:lnSpc>
                <a:spcPct val="100000"/>
              </a:lnSpc>
              <a:spcBef>
                <a:spcPts val="0"/>
              </a:spcBef>
              <a:spcAft>
                <a:spcPts val="450"/>
              </a:spcAft>
              <a:buFont typeface="Arial" panose="020B0604020202020204" pitchFamily="34" charset="0"/>
              <a:buChar char="•"/>
              <a:defRPr sz="1100" b="0">
                <a:solidFill>
                  <a:schemeClr val="tx1"/>
                </a:solidFill>
              </a:defRPr>
            </a:lvl1pPr>
            <a:lvl2pPr marL="342353" indent="0">
              <a:lnSpc>
                <a:spcPts val="1350"/>
              </a:lnSpc>
              <a:spcBef>
                <a:spcPts val="0"/>
              </a:spcBef>
              <a:buNone/>
              <a:defRPr sz="1100"/>
            </a:lvl2pPr>
            <a:lvl3pPr marL="684762" indent="0">
              <a:lnSpc>
                <a:spcPts val="1350"/>
              </a:lnSpc>
              <a:spcBef>
                <a:spcPts val="0"/>
              </a:spcBef>
              <a:buNone/>
              <a:defRPr sz="1100"/>
            </a:lvl3pPr>
            <a:lvl4pPr marL="1027139" indent="0">
              <a:lnSpc>
                <a:spcPts val="1350"/>
              </a:lnSpc>
              <a:spcBef>
                <a:spcPts val="0"/>
              </a:spcBef>
              <a:buNone/>
              <a:defRPr sz="1100"/>
            </a:lvl4pPr>
            <a:lvl5pPr marL="1369518" indent="0">
              <a:lnSpc>
                <a:spcPts val="1350"/>
              </a:lnSpc>
              <a:spcBef>
                <a:spcPts val="0"/>
              </a:spcBef>
              <a:buNone/>
              <a:defRPr sz="1100"/>
            </a:lvl5pPr>
          </a:lstStyle>
          <a:p>
            <a:pPr lvl="0"/>
            <a:r>
              <a:rPr lang="en-US"/>
              <a:t>This is your Secondary text. </a:t>
            </a:r>
          </a:p>
        </p:txBody>
      </p:sp>
      <p:sp>
        <p:nvSpPr>
          <p:cNvPr id="18" name="Text Placeholder 6">
            <a:extLst>
              <a:ext uri="{FF2B5EF4-FFF2-40B4-BE49-F238E27FC236}">
                <a16:creationId xmlns="" xmlns:a16="http://schemas.microsoft.com/office/drawing/2014/main" id="{568F3A49-7287-1C4D-93C8-50E3C0B4F15A}"/>
              </a:ext>
            </a:extLst>
          </p:cNvPr>
          <p:cNvSpPr>
            <a:spLocks noGrp="1"/>
          </p:cNvSpPr>
          <p:nvPr>
            <p:ph type="body" sz="quarter" idx="19" hasCustomPrompt="1"/>
          </p:nvPr>
        </p:nvSpPr>
        <p:spPr>
          <a:xfrm>
            <a:off x="6075026" y="2681929"/>
            <a:ext cx="2822659" cy="2130578"/>
          </a:xfrm>
          <a:prstGeom prst="rect">
            <a:avLst/>
          </a:prstGeom>
        </p:spPr>
        <p:txBody>
          <a:bodyPr tIns="0" rIns="0" bIns="0" numCol="1">
            <a:noAutofit/>
          </a:bodyPr>
          <a:lstStyle>
            <a:lvl1pPr marL="128438" indent="-128438">
              <a:lnSpc>
                <a:spcPct val="100000"/>
              </a:lnSpc>
              <a:spcBef>
                <a:spcPts val="0"/>
              </a:spcBef>
              <a:spcAft>
                <a:spcPts val="450"/>
              </a:spcAft>
              <a:buFont typeface="Arial" panose="020B0604020202020204" pitchFamily="34" charset="0"/>
              <a:buChar char="•"/>
              <a:defRPr sz="1100" b="0">
                <a:solidFill>
                  <a:schemeClr val="tx1"/>
                </a:solidFill>
              </a:defRPr>
            </a:lvl1pPr>
            <a:lvl2pPr marL="342353" indent="0">
              <a:lnSpc>
                <a:spcPts val="1350"/>
              </a:lnSpc>
              <a:spcBef>
                <a:spcPts val="0"/>
              </a:spcBef>
              <a:buNone/>
              <a:defRPr sz="1100"/>
            </a:lvl2pPr>
            <a:lvl3pPr marL="684762" indent="0">
              <a:lnSpc>
                <a:spcPts val="1350"/>
              </a:lnSpc>
              <a:spcBef>
                <a:spcPts val="0"/>
              </a:spcBef>
              <a:buNone/>
              <a:defRPr sz="1100"/>
            </a:lvl3pPr>
            <a:lvl4pPr marL="1027139" indent="0">
              <a:lnSpc>
                <a:spcPts val="1350"/>
              </a:lnSpc>
              <a:spcBef>
                <a:spcPts val="0"/>
              </a:spcBef>
              <a:buNone/>
              <a:defRPr sz="1100"/>
            </a:lvl4pPr>
            <a:lvl5pPr marL="1369518" indent="0">
              <a:lnSpc>
                <a:spcPts val="1350"/>
              </a:lnSpc>
              <a:spcBef>
                <a:spcPts val="0"/>
              </a:spcBef>
              <a:buNone/>
              <a:defRPr sz="1100"/>
            </a:lvl5pPr>
          </a:lstStyle>
          <a:p>
            <a:pPr lvl="0"/>
            <a:r>
              <a:rPr lang="en-US"/>
              <a:t>This is your Secondary text. </a:t>
            </a:r>
          </a:p>
        </p:txBody>
      </p:sp>
      <p:sp>
        <p:nvSpPr>
          <p:cNvPr id="24" name="タイトル プレースホルダ 1">
            <a:extLst>
              <a:ext uri="{FF2B5EF4-FFF2-40B4-BE49-F238E27FC236}">
                <a16:creationId xmlns="" xmlns:a16="http://schemas.microsoft.com/office/drawing/2014/main" id="{CC986DF6-9894-F144-B9DA-A9DBE0000AB8}"/>
              </a:ext>
            </a:extLst>
          </p:cNvPr>
          <p:cNvSpPr>
            <a:spLocks noGrp="1"/>
          </p:cNvSpPr>
          <p:nvPr>
            <p:ph type="title" hasCustomPrompt="1"/>
          </p:nvPr>
        </p:nvSpPr>
        <p:spPr>
          <a:xfrm>
            <a:off x="454560" y="121208"/>
            <a:ext cx="7455190" cy="51435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3" name="Rectangle 22">
            <a:extLst>
              <a:ext uri="{FF2B5EF4-FFF2-40B4-BE49-F238E27FC236}">
                <a16:creationId xmlns="" xmlns:a16="http://schemas.microsoft.com/office/drawing/2014/main" id="{886528CE-2840-6C44-965A-04D8835743E3}"/>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05" tIns="34289" rIns="68505" bIns="34289" rtlCol="0" anchor="ctr"/>
          <a:lstStyle/>
          <a:p>
            <a:pPr algn="ctr" defTabSz="684950"/>
            <a:endParaRPr kumimoji="1" lang="x-none" sz="1400">
              <a:solidFill>
                <a:srgbClr val="E1242A"/>
              </a:solidFill>
            </a:endParaRPr>
          </a:p>
        </p:txBody>
      </p:sp>
      <p:sp>
        <p:nvSpPr>
          <p:cNvPr id="27" name="スライド番号プレースホルダ 5">
            <a:extLst>
              <a:ext uri="{FF2B5EF4-FFF2-40B4-BE49-F238E27FC236}">
                <a16:creationId xmlns="" xmlns:a16="http://schemas.microsoft.com/office/drawing/2014/main" id="{854E474F-30B0-604E-9699-287AC57CAAFA}"/>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2983"/>
            <a:fld id="{E9B57936-92EF-4126-AE48-1D9D36D15E98}" type="slidenum">
              <a:rPr lang="ja-JP" altLang="en-US" smtClean="0">
                <a:solidFill>
                  <a:srgbClr val="34373F"/>
                </a:solidFill>
              </a:rPr>
              <a:pPr defTabSz="912983"/>
              <a:t>‹Nº›</a:t>
            </a:fld>
            <a:endParaRPr lang="ja-JP" altLang="en-US">
              <a:solidFill>
                <a:srgbClr val="34373F"/>
              </a:solidFill>
            </a:endParaRPr>
          </a:p>
        </p:txBody>
      </p:sp>
      <p:sp>
        <p:nvSpPr>
          <p:cNvPr id="22" name="Text Placeholder 2">
            <a:extLst>
              <a:ext uri="{FF2B5EF4-FFF2-40B4-BE49-F238E27FC236}">
                <a16:creationId xmlns="" xmlns:a16="http://schemas.microsoft.com/office/drawing/2014/main" id="{110504E2-40F0-054E-8424-D247EF2CA216}"/>
              </a:ext>
            </a:extLst>
          </p:cNvPr>
          <p:cNvSpPr>
            <a:spLocks noGrp="1"/>
          </p:cNvSpPr>
          <p:nvPr>
            <p:ph type="body" sz="quarter" idx="20" hasCustomPrompt="1"/>
          </p:nvPr>
        </p:nvSpPr>
        <p:spPr>
          <a:xfrm>
            <a:off x="233363" y="1118532"/>
            <a:ext cx="8677275" cy="1098718"/>
          </a:xfrm>
        </p:spPr>
        <p:txBody>
          <a:bodyPr tIns="0" rIns="0" bIns="0" numCol="1" spcCol="94400">
            <a:noAutofit/>
          </a:bodyPr>
          <a:lstStyle>
            <a:lvl1pPr marL="0" indent="0">
              <a:lnSpc>
                <a:spcPct val="100000"/>
              </a:lnSpc>
              <a:spcBef>
                <a:spcPts val="0"/>
              </a:spcBef>
              <a:buNone/>
              <a:defRPr sz="1200" b="1"/>
            </a:lvl1pPr>
            <a:lvl2pPr marL="342353" indent="0">
              <a:buNone/>
              <a:defRPr sz="1400" b="1"/>
            </a:lvl2pPr>
            <a:lvl3pPr marL="684762" indent="0">
              <a:buNone/>
              <a:defRPr sz="1400" b="1"/>
            </a:lvl3pPr>
            <a:lvl4pPr marL="1027139" indent="0">
              <a:buNone/>
              <a:defRPr sz="1400" b="1"/>
            </a:lvl4pPr>
            <a:lvl5pPr marL="1369518" indent="0">
              <a:buNone/>
              <a:defRPr sz="1400" b="1"/>
            </a:lvl5pPr>
          </a:lstStyle>
          <a:p>
            <a:pPr lvl="0"/>
            <a:r>
              <a:rPr lang="en-US"/>
              <a:t>This is your Primary Text.</a:t>
            </a:r>
            <a:endParaRPr lang="x-none"/>
          </a:p>
        </p:txBody>
      </p:sp>
      <p:sp>
        <p:nvSpPr>
          <p:cNvPr id="25" name="Text Placeholder 6">
            <a:extLst>
              <a:ext uri="{FF2B5EF4-FFF2-40B4-BE49-F238E27FC236}">
                <a16:creationId xmlns="" xmlns:a16="http://schemas.microsoft.com/office/drawing/2014/main" id="{073E75F2-7FFB-DC4C-8964-799372FCF583}"/>
              </a:ext>
            </a:extLst>
          </p:cNvPr>
          <p:cNvSpPr>
            <a:spLocks noGrp="1"/>
          </p:cNvSpPr>
          <p:nvPr>
            <p:ph type="body" sz="quarter" idx="21" hasCustomPrompt="1"/>
          </p:nvPr>
        </p:nvSpPr>
        <p:spPr>
          <a:xfrm>
            <a:off x="233363" y="820327"/>
            <a:ext cx="8677275" cy="204590"/>
          </a:xfrm>
        </p:spPr>
        <p:txBody>
          <a:bodyPr tIns="0" rIns="0" bIns="0" numCol="1">
            <a:noAutofit/>
          </a:bodyPr>
          <a:lstStyle>
            <a:lvl1pPr marL="0" indent="0">
              <a:lnSpc>
                <a:spcPct val="100000"/>
              </a:lnSpc>
              <a:spcBef>
                <a:spcPts val="0"/>
              </a:spcBef>
              <a:spcAft>
                <a:spcPts val="450"/>
              </a:spcAft>
              <a:buNone/>
              <a:defRPr sz="1500" b="1">
                <a:solidFill>
                  <a:schemeClr val="accent1"/>
                </a:solidFill>
              </a:defRPr>
            </a:lvl1pPr>
            <a:lvl2pPr marL="342353" indent="0">
              <a:lnSpc>
                <a:spcPts val="1350"/>
              </a:lnSpc>
              <a:spcBef>
                <a:spcPts val="0"/>
              </a:spcBef>
              <a:buNone/>
              <a:defRPr sz="1100"/>
            </a:lvl2pPr>
            <a:lvl3pPr marL="684762" indent="0">
              <a:lnSpc>
                <a:spcPts val="1350"/>
              </a:lnSpc>
              <a:spcBef>
                <a:spcPts val="0"/>
              </a:spcBef>
              <a:buNone/>
              <a:defRPr sz="1100"/>
            </a:lvl3pPr>
            <a:lvl4pPr marL="1027139" indent="0">
              <a:lnSpc>
                <a:spcPts val="1350"/>
              </a:lnSpc>
              <a:spcBef>
                <a:spcPts val="0"/>
              </a:spcBef>
              <a:buNone/>
              <a:defRPr sz="1100"/>
            </a:lvl4pPr>
            <a:lvl5pPr marL="1369518" indent="0">
              <a:lnSpc>
                <a:spcPts val="1350"/>
              </a:lnSpc>
              <a:spcBef>
                <a:spcPts val="0"/>
              </a:spcBef>
              <a:buNone/>
              <a:defRPr sz="1100"/>
            </a:lvl5pPr>
          </a:lstStyle>
          <a:p>
            <a:pPr lvl="0"/>
            <a:r>
              <a:rPr lang="en-US"/>
              <a:t>This is your Primary Title</a:t>
            </a:r>
          </a:p>
        </p:txBody>
      </p:sp>
      <p:pic>
        <p:nvPicPr>
          <p:cNvPr id="14" name="Picture 13">
            <a:extLst>
              <a:ext uri="{FF2B5EF4-FFF2-40B4-BE49-F238E27FC236}">
                <a16:creationId xmlns="" xmlns:a16="http://schemas.microsoft.com/office/drawing/2014/main" id="{B6A649DC-D852-496D-B909-12664DF132E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937746" y="4604928"/>
            <a:ext cx="1008126" cy="603504"/>
          </a:xfrm>
          <a:prstGeom prst="rect">
            <a:avLst/>
          </a:prstGeom>
        </p:spPr>
      </p:pic>
    </p:spTree>
    <p:extLst>
      <p:ext uri="{BB962C8B-B14F-4D97-AF65-F5344CB8AC3E}">
        <p14:creationId xmlns:p14="http://schemas.microsoft.com/office/powerpoint/2010/main" val="1419680358"/>
      </p:ext>
    </p:extLst>
  </p:cSld>
  <p:clrMapOvr>
    <a:masterClrMapping/>
  </p:clrMapOvr>
  <p:transition spd="slow">
    <p:push dir="u"/>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Advanced 2/3 Image">
    <p:spTree>
      <p:nvGrpSpPr>
        <p:cNvPr id="1" name=""/>
        <p:cNvGrpSpPr/>
        <p:nvPr/>
      </p:nvGrpSpPr>
      <p:grpSpPr>
        <a:xfrm>
          <a:off x="0" y="0"/>
          <a:ext cx="0" cy="0"/>
          <a:chOff x="0" y="0"/>
          <a:chExt cx="0" cy="0"/>
        </a:xfrm>
      </p:grpSpPr>
      <p:sp>
        <p:nvSpPr>
          <p:cNvPr id="13" name="Picture Placeholder 9">
            <a:extLst>
              <a:ext uri="{FF2B5EF4-FFF2-40B4-BE49-F238E27FC236}">
                <a16:creationId xmlns="" xmlns:a16="http://schemas.microsoft.com/office/drawing/2014/main" id="{B3311DE3-EC35-4C49-805E-57AB2D90E99E}"/>
              </a:ext>
            </a:extLst>
          </p:cNvPr>
          <p:cNvSpPr>
            <a:spLocks noGrp="1"/>
          </p:cNvSpPr>
          <p:nvPr>
            <p:ph type="pic" sz="quarter" idx="10" hasCustomPrompt="1"/>
          </p:nvPr>
        </p:nvSpPr>
        <p:spPr>
          <a:xfrm>
            <a:off x="3158057" y="820325"/>
            <a:ext cx="5991267" cy="3992181"/>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88356" h="5135028">
                <a:moveTo>
                  <a:pt x="0" y="0"/>
                </a:moveTo>
                <a:lnTo>
                  <a:pt x="7988281" y="7569"/>
                </a:lnTo>
                <a:cubicBezTo>
                  <a:pt x="7989186" y="2154376"/>
                  <a:pt x="7981645" y="2988221"/>
                  <a:pt x="7982550" y="5135028"/>
                </a:cubicBezTo>
                <a:lnTo>
                  <a:pt x="596656" y="5124807"/>
                </a:lnTo>
                <a:cubicBezTo>
                  <a:pt x="276484" y="5124807"/>
                  <a:pt x="16934" y="4865257"/>
                  <a:pt x="16934" y="4545085"/>
                </a:cubicBezTo>
                <a:cubicBezTo>
                  <a:pt x="11289" y="3022648"/>
                  <a:pt x="5645" y="1522437"/>
                  <a:pt x="0" y="0"/>
                </a:cubicBezTo>
                <a:close/>
              </a:path>
            </a:pathLst>
          </a:custGeom>
          <a:noFill/>
        </p:spPr>
        <p:txBody>
          <a:bodyPr>
            <a:normAutofit/>
          </a:bodyPr>
          <a:lstStyle>
            <a:lvl1pPr marL="0" indent="0">
              <a:buNone/>
              <a:defRPr sz="1100">
                <a:solidFill>
                  <a:schemeClr val="tx1"/>
                </a:solidFill>
              </a:defRPr>
            </a:lvl1pPr>
          </a:lstStyle>
          <a:p>
            <a:r>
              <a:rPr lang="x-none"/>
              <a:t>Insert Photo</a:t>
            </a:r>
          </a:p>
        </p:txBody>
      </p:sp>
      <p:sp>
        <p:nvSpPr>
          <p:cNvPr id="7" name="Text Placeholder 6">
            <a:extLst>
              <a:ext uri="{FF2B5EF4-FFF2-40B4-BE49-F238E27FC236}">
                <a16:creationId xmlns="" xmlns:a16="http://schemas.microsoft.com/office/drawing/2014/main" id="{65925D82-457F-D84D-B8DF-D8ADFD7E71DF}"/>
              </a:ext>
            </a:extLst>
          </p:cNvPr>
          <p:cNvSpPr>
            <a:spLocks noGrp="1"/>
          </p:cNvSpPr>
          <p:nvPr>
            <p:ph type="body" sz="quarter" idx="14" hasCustomPrompt="1"/>
          </p:nvPr>
        </p:nvSpPr>
        <p:spPr>
          <a:xfrm>
            <a:off x="233367" y="2383723"/>
            <a:ext cx="2813975" cy="204590"/>
          </a:xfrm>
          <a:prstGeom prst="rect">
            <a:avLst/>
          </a:prstGeom>
        </p:spPr>
        <p:txBody>
          <a:bodyPr tIns="0" rIns="0" bIns="0" numCol="1">
            <a:noAutofit/>
          </a:bodyPr>
          <a:lstStyle>
            <a:lvl1pPr marL="0" indent="0">
              <a:lnSpc>
                <a:spcPct val="100000"/>
              </a:lnSpc>
              <a:spcBef>
                <a:spcPts val="0"/>
              </a:spcBef>
              <a:spcAft>
                <a:spcPts val="450"/>
              </a:spcAft>
              <a:buNone/>
              <a:defRPr sz="1400" b="1">
                <a:solidFill>
                  <a:schemeClr val="accent1"/>
                </a:solidFill>
              </a:defRPr>
            </a:lvl1pPr>
            <a:lvl2pPr marL="342353" indent="0">
              <a:lnSpc>
                <a:spcPts val="1350"/>
              </a:lnSpc>
              <a:spcBef>
                <a:spcPts val="0"/>
              </a:spcBef>
              <a:buNone/>
              <a:defRPr sz="1100"/>
            </a:lvl2pPr>
            <a:lvl3pPr marL="684762" indent="0">
              <a:lnSpc>
                <a:spcPts val="1350"/>
              </a:lnSpc>
              <a:spcBef>
                <a:spcPts val="0"/>
              </a:spcBef>
              <a:buNone/>
              <a:defRPr sz="1100"/>
            </a:lvl3pPr>
            <a:lvl4pPr marL="1027139" indent="0">
              <a:lnSpc>
                <a:spcPts val="1350"/>
              </a:lnSpc>
              <a:spcBef>
                <a:spcPts val="0"/>
              </a:spcBef>
              <a:buNone/>
              <a:defRPr sz="1100"/>
            </a:lvl4pPr>
            <a:lvl5pPr marL="1369518" indent="0">
              <a:lnSpc>
                <a:spcPts val="1350"/>
              </a:lnSpc>
              <a:spcBef>
                <a:spcPts val="0"/>
              </a:spcBef>
              <a:buNone/>
              <a:defRPr sz="1100"/>
            </a:lvl5pPr>
          </a:lstStyle>
          <a:p>
            <a:pPr lvl="0"/>
            <a:r>
              <a:rPr lang="en-US"/>
              <a:t>This is your Secondary Title</a:t>
            </a:r>
          </a:p>
        </p:txBody>
      </p:sp>
      <p:sp>
        <p:nvSpPr>
          <p:cNvPr id="12" name="Text Placeholder 6">
            <a:extLst>
              <a:ext uri="{FF2B5EF4-FFF2-40B4-BE49-F238E27FC236}">
                <a16:creationId xmlns="" xmlns:a16="http://schemas.microsoft.com/office/drawing/2014/main" id="{FD2406EE-A554-5348-AE6D-4D8B343E6201}"/>
              </a:ext>
            </a:extLst>
          </p:cNvPr>
          <p:cNvSpPr>
            <a:spLocks noGrp="1"/>
          </p:cNvSpPr>
          <p:nvPr>
            <p:ph type="body" sz="quarter" idx="15" hasCustomPrompt="1"/>
          </p:nvPr>
        </p:nvSpPr>
        <p:spPr>
          <a:xfrm>
            <a:off x="233367" y="2681929"/>
            <a:ext cx="2813975" cy="2130578"/>
          </a:xfrm>
          <a:prstGeom prst="rect">
            <a:avLst/>
          </a:prstGeom>
        </p:spPr>
        <p:txBody>
          <a:bodyPr tIns="0" rIns="0" bIns="0" numCol="1">
            <a:noAutofit/>
          </a:bodyPr>
          <a:lstStyle>
            <a:lvl1pPr marL="128438" indent="-128438">
              <a:lnSpc>
                <a:spcPct val="100000"/>
              </a:lnSpc>
              <a:spcBef>
                <a:spcPts val="0"/>
              </a:spcBef>
              <a:spcAft>
                <a:spcPts val="450"/>
              </a:spcAft>
              <a:buFont typeface="Arial" panose="020B0604020202020204" pitchFamily="34" charset="0"/>
              <a:buChar char="•"/>
              <a:defRPr sz="1100" b="0">
                <a:solidFill>
                  <a:schemeClr val="tx1"/>
                </a:solidFill>
              </a:defRPr>
            </a:lvl1pPr>
            <a:lvl2pPr marL="342353" indent="0">
              <a:lnSpc>
                <a:spcPts val="1350"/>
              </a:lnSpc>
              <a:spcBef>
                <a:spcPts val="0"/>
              </a:spcBef>
              <a:buNone/>
              <a:defRPr sz="1100"/>
            </a:lvl2pPr>
            <a:lvl3pPr marL="684762" indent="0">
              <a:lnSpc>
                <a:spcPts val="1350"/>
              </a:lnSpc>
              <a:spcBef>
                <a:spcPts val="0"/>
              </a:spcBef>
              <a:buNone/>
              <a:defRPr sz="1100"/>
            </a:lvl3pPr>
            <a:lvl4pPr marL="1027139" indent="0">
              <a:lnSpc>
                <a:spcPts val="1350"/>
              </a:lnSpc>
              <a:spcBef>
                <a:spcPts val="0"/>
              </a:spcBef>
              <a:buNone/>
              <a:defRPr sz="1100"/>
            </a:lvl4pPr>
            <a:lvl5pPr marL="1369518" indent="0">
              <a:lnSpc>
                <a:spcPts val="1350"/>
              </a:lnSpc>
              <a:spcBef>
                <a:spcPts val="0"/>
              </a:spcBef>
              <a:buNone/>
              <a:defRPr sz="1100"/>
            </a:lvl5pPr>
          </a:lstStyle>
          <a:p>
            <a:pPr lvl="0"/>
            <a:r>
              <a:rPr lang="en-US"/>
              <a:t>This is your Secondary text. </a:t>
            </a:r>
          </a:p>
        </p:txBody>
      </p:sp>
      <p:sp>
        <p:nvSpPr>
          <p:cNvPr id="22" name="タイトル プレースホルダ 1">
            <a:extLst>
              <a:ext uri="{FF2B5EF4-FFF2-40B4-BE49-F238E27FC236}">
                <a16:creationId xmlns="" xmlns:a16="http://schemas.microsoft.com/office/drawing/2014/main" id="{1545CFCD-ABA6-1349-9917-1DDD2762CB59}"/>
              </a:ext>
            </a:extLst>
          </p:cNvPr>
          <p:cNvSpPr>
            <a:spLocks noGrp="1"/>
          </p:cNvSpPr>
          <p:nvPr>
            <p:ph type="title" hasCustomPrompt="1"/>
          </p:nvPr>
        </p:nvSpPr>
        <p:spPr>
          <a:xfrm>
            <a:off x="454560" y="121208"/>
            <a:ext cx="7455190" cy="51435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1" name="Rectangle 20">
            <a:extLst>
              <a:ext uri="{FF2B5EF4-FFF2-40B4-BE49-F238E27FC236}">
                <a16:creationId xmlns="" xmlns:a16="http://schemas.microsoft.com/office/drawing/2014/main" id="{97730F84-B57E-C441-B81C-A0677388FA64}"/>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05" tIns="34289" rIns="68505" bIns="34289" rtlCol="0" anchor="ctr"/>
          <a:lstStyle/>
          <a:p>
            <a:pPr algn="ctr" defTabSz="684950"/>
            <a:endParaRPr kumimoji="1" lang="x-none" sz="1400">
              <a:solidFill>
                <a:srgbClr val="E1242A"/>
              </a:solidFill>
            </a:endParaRPr>
          </a:p>
        </p:txBody>
      </p:sp>
      <p:sp>
        <p:nvSpPr>
          <p:cNvPr id="25" name="スライド番号プレースホルダ 5">
            <a:extLst>
              <a:ext uri="{FF2B5EF4-FFF2-40B4-BE49-F238E27FC236}">
                <a16:creationId xmlns="" xmlns:a16="http://schemas.microsoft.com/office/drawing/2014/main" id="{78815F79-70B9-A343-88C1-1B41F15106A1}"/>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2983"/>
            <a:fld id="{E9B57936-92EF-4126-AE48-1D9D36D15E98}" type="slidenum">
              <a:rPr lang="ja-JP" altLang="en-US" smtClean="0">
                <a:solidFill>
                  <a:srgbClr val="34373F"/>
                </a:solidFill>
              </a:rPr>
              <a:pPr defTabSz="912983"/>
              <a:t>‹Nº›</a:t>
            </a:fld>
            <a:endParaRPr lang="ja-JP" altLang="en-US">
              <a:solidFill>
                <a:srgbClr val="34373F"/>
              </a:solidFill>
            </a:endParaRPr>
          </a:p>
        </p:txBody>
      </p:sp>
      <p:sp>
        <p:nvSpPr>
          <p:cNvPr id="17" name="Text Placeholder 2">
            <a:extLst>
              <a:ext uri="{FF2B5EF4-FFF2-40B4-BE49-F238E27FC236}">
                <a16:creationId xmlns="" xmlns:a16="http://schemas.microsoft.com/office/drawing/2014/main" id="{EF3CD883-F623-E54C-A27A-38B7EB957052}"/>
              </a:ext>
            </a:extLst>
          </p:cNvPr>
          <p:cNvSpPr>
            <a:spLocks noGrp="1"/>
          </p:cNvSpPr>
          <p:nvPr>
            <p:ph type="body" sz="quarter" idx="20" hasCustomPrompt="1"/>
          </p:nvPr>
        </p:nvSpPr>
        <p:spPr>
          <a:xfrm>
            <a:off x="233364" y="1118532"/>
            <a:ext cx="2813974" cy="1098718"/>
          </a:xfrm>
        </p:spPr>
        <p:txBody>
          <a:bodyPr tIns="0" rIns="0" bIns="0" numCol="1" spcCol="94400">
            <a:noAutofit/>
          </a:bodyPr>
          <a:lstStyle>
            <a:lvl1pPr marL="0" indent="0">
              <a:lnSpc>
                <a:spcPct val="100000"/>
              </a:lnSpc>
              <a:spcBef>
                <a:spcPts val="0"/>
              </a:spcBef>
              <a:buNone/>
              <a:defRPr sz="1200" b="1"/>
            </a:lvl1pPr>
            <a:lvl2pPr marL="342353" indent="0">
              <a:buNone/>
              <a:defRPr sz="1400" b="1"/>
            </a:lvl2pPr>
            <a:lvl3pPr marL="684762" indent="0">
              <a:buNone/>
              <a:defRPr sz="1400" b="1"/>
            </a:lvl3pPr>
            <a:lvl4pPr marL="1027139" indent="0">
              <a:buNone/>
              <a:defRPr sz="1400" b="1"/>
            </a:lvl4pPr>
            <a:lvl5pPr marL="1369518" indent="0">
              <a:buNone/>
              <a:defRPr sz="1400" b="1"/>
            </a:lvl5pPr>
          </a:lstStyle>
          <a:p>
            <a:pPr lvl="0"/>
            <a:r>
              <a:rPr lang="en-US"/>
              <a:t>This is your Primary Text.</a:t>
            </a:r>
            <a:endParaRPr lang="x-none"/>
          </a:p>
        </p:txBody>
      </p:sp>
      <p:sp>
        <p:nvSpPr>
          <p:cNvPr id="18" name="Text Placeholder 6">
            <a:extLst>
              <a:ext uri="{FF2B5EF4-FFF2-40B4-BE49-F238E27FC236}">
                <a16:creationId xmlns="" xmlns:a16="http://schemas.microsoft.com/office/drawing/2014/main" id="{B2D601E3-CC68-7845-AAF4-3AD141198B4E}"/>
              </a:ext>
            </a:extLst>
          </p:cNvPr>
          <p:cNvSpPr>
            <a:spLocks noGrp="1"/>
          </p:cNvSpPr>
          <p:nvPr>
            <p:ph type="body" sz="quarter" idx="21" hasCustomPrompt="1"/>
          </p:nvPr>
        </p:nvSpPr>
        <p:spPr>
          <a:xfrm>
            <a:off x="233364" y="820327"/>
            <a:ext cx="2813974" cy="204590"/>
          </a:xfrm>
        </p:spPr>
        <p:txBody>
          <a:bodyPr tIns="0" rIns="0" bIns="0" numCol="1">
            <a:noAutofit/>
          </a:bodyPr>
          <a:lstStyle>
            <a:lvl1pPr marL="0" indent="0">
              <a:lnSpc>
                <a:spcPct val="100000"/>
              </a:lnSpc>
              <a:spcBef>
                <a:spcPts val="0"/>
              </a:spcBef>
              <a:spcAft>
                <a:spcPts val="450"/>
              </a:spcAft>
              <a:buNone/>
              <a:defRPr sz="1500" b="1">
                <a:solidFill>
                  <a:schemeClr val="accent1"/>
                </a:solidFill>
              </a:defRPr>
            </a:lvl1pPr>
            <a:lvl2pPr marL="342353" indent="0">
              <a:lnSpc>
                <a:spcPts val="1350"/>
              </a:lnSpc>
              <a:spcBef>
                <a:spcPts val="0"/>
              </a:spcBef>
              <a:buNone/>
              <a:defRPr sz="1100"/>
            </a:lvl2pPr>
            <a:lvl3pPr marL="684762" indent="0">
              <a:lnSpc>
                <a:spcPts val="1350"/>
              </a:lnSpc>
              <a:spcBef>
                <a:spcPts val="0"/>
              </a:spcBef>
              <a:buNone/>
              <a:defRPr sz="1100"/>
            </a:lvl3pPr>
            <a:lvl4pPr marL="1027139" indent="0">
              <a:lnSpc>
                <a:spcPts val="1350"/>
              </a:lnSpc>
              <a:spcBef>
                <a:spcPts val="0"/>
              </a:spcBef>
              <a:buNone/>
              <a:defRPr sz="1100"/>
            </a:lvl4pPr>
            <a:lvl5pPr marL="1369518" indent="0">
              <a:lnSpc>
                <a:spcPts val="1350"/>
              </a:lnSpc>
              <a:spcBef>
                <a:spcPts val="0"/>
              </a:spcBef>
              <a:buNone/>
              <a:defRPr sz="1100"/>
            </a:lvl5pPr>
          </a:lstStyle>
          <a:p>
            <a:pPr lvl="0"/>
            <a:r>
              <a:rPr lang="en-US"/>
              <a:t>This is your Primary Title</a:t>
            </a:r>
          </a:p>
        </p:txBody>
      </p:sp>
      <p:pic>
        <p:nvPicPr>
          <p:cNvPr id="14" name="Picture 13">
            <a:extLst>
              <a:ext uri="{FF2B5EF4-FFF2-40B4-BE49-F238E27FC236}">
                <a16:creationId xmlns="" xmlns:a16="http://schemas.microsoft.com/office/drawing/2014/main" id="{0D62AF91-6C53-4FF5-8D55-F4D46E6F043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937746" y="4604928"/>
            <a:ext cx="1008126" cy="603504"/>
          </a:xfrm>
          <a:prstGeom prst="rect">
            <a:avLst/>
          </a:prstGeom>
        </p:spPr>
      </p:pic>
    </p:spTree>
    <p:extLst>
      <p:ext uri="{BB962C8B-B14F-4D97-AF65-F5344CB8AC3E}">
        <p14:creationId xmlns:p14="http://schemas.microsoft.com/office/powerpoint/2010/main" val="692463799"/>
      </p:ext>
    </p:extLst>
  </p:cSld>
  <p:clrMapOvr>
    <a:masterClrMapping/>
  </p:clrMapOvr>
  <p:transition spd="slow">
    <p:push dir="u"/>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Advanced 1/2 Image (Full Bleed)">
    <p:spTree>
      <p:nvGrpSpPr>
        <p:cNvPr id="1" name=""/>
        <p:cNvGrpSpPr/>
        <p:nvPr/>
      </p:nvGrpSpPr>
      <p:grpSpPr>
        <a:xfrm>
          <a:off x="0" y="0"/>
          <a:ext cx="0" cy="0"/>
          <a:chOff x="0" y="0"/>
          <a:chExt cx="0" cy="0"/>
        </a:xfrm>
      </p:grpSpPr>
      <p:sp>
        <p:nvSpPr>
          <p:cNvPr id="13" name="Picture Placeholder 9">
            <a:extLst>
              <a:ext uri="{FF2B5EF4-FFF2-40B4-BE49-F238E27FC236}">
                <a16:creationId xmlns="" xmlns:a16="http://schemas.microsoft.com/office/drawing/2014/main" id="{DA0F537B-2380-C640-8119-936AD7786464}"/>
              </a:ext>
            </a:extLst>
          </p:cNvPr>
          <p:cNvSpPr>
            <a:spLocks noGrp="1"/>
          </p:cNvSpPr>
          <p:nvPr>
            <p:ph type="pic" sz="quarter" idx="18" hasCustomPrompt="1"/>
          </p:nvPr>
        </p:nvSpPr>
        <p:spPr>
          <a:xfrm>
            <a:off x="4639091" y="-4119"/>
            <a:ext cx="4518288" cy="5147621"/>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4384"/>
              <a:gd name="connsiteY0" fmla="*/ 0 h 6857810"/>
              <a:gd name="connsiteX1" fmla="*/ 6015601 w 6024384"/>
              <a:gd name="connsiteY1" fmla="*/ 1730351 h 6857810"/>
              <a:gd name="connsiteX2" fmla="*/ 6024384 w 6024384"/>
              <a:gd name="connsiteY2" fmla="*/ 6857810 h 6857810"/>
              <a:gd name="connsiteX3" fmla="*/ 583404 w 6024384"/>
              <a:gd name="connsiteY3" fmla="*/ 6847589 h 6857810"/>
              <a:gd name="connsiteX4" fmla="*/ 3682 w 6024384"/>
              <a:gd name="connsiteY4" fmla="*/ 6267867 h 6857810"/>
              <a:gd name="connsiteX5" fmla="*/ 0 w 6024384"/>
              <a:gd name="connsiteY5" fmla="*/ 0 h 6857810"/>
              <a:gd name="connsiteX0" fmla="*/ 0 w 6024384"/>
              <a:gd name="connsiteY0" fmla="*/ 5684 h 6863494"/>
              <a:gd name="connsiteX1" fmla="*/ 6002349 w 6024384"/>
              <a:gd name="connsiteY1" fmla="*/ 0 h 6863494"/>
              <a:gd name="connsiteX2" fmla="*/ 6024384 w 6024384"/>
              <a:gd name="connsiteY2" fmla="*/ 6863494 h 6863494"/>
              <a:gd name="connsiteX3" fmla="*/ 583404 w 6024384"/>
              <a:gd name="connsiteY3" fmla="*/ 6853273 h 6863494"/>
              <a:gd name="connsiteX4" fmla="*/ 3682 w 6024384"/>
              <a:gd name="connsiteY4" fmla="*/ 6273551 h 6863494"/>
              <a:gd name="connsiteX5" fmla="*/ 0 w 6024384"/>
              <a:gd name="connsiteY5" fmla="*/ 5684 h 6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24384" h="6863494">
                <a:moveTo>
                  <a:pt x="0" y="5684"/>
                </a:moveTo>
                <a:lnTo>
                  <a:pt x="6002349" y="0"/>
                </a:lnTo>
                <a:cubicBezTo>
                  <a:pt x="6003254" y="2146807"/>
                  <a:pt x="6023479" y="4716687"/>
                  <a:pt x="6024384" y="6863494"/>
                </a:cubicBezTo>
                <a:lnTo>
                  <a:pt x="583404" y="6853273"/>
                </a:lnTo>
                <a:cubicBezTo>
                  <a:pt x="263232" y="6853273"/>
                  <a:pt x="3682" y="6593723"/>
                  <a:pt x="3682" y="6273551"/>
                </a:cubicBezTo>
                <a:cubicBezTo>
                  <a:pt x="-1963" y="4751114"/>
                  <a:pt x="5645" y="1528121"/>
                  <a:pt x="0" y="5684"/>
                </a:cubicBezTo>
                <a:close/>
              </a:path>
            </a:pathLst>
          </a:custGeom>
          <a:noFill/>
        </p:spPr>
        <p:txBody>
          <a:bodyPr>
            <a:normAutofit/>
          </a:bodyPr>
          <a:lstStyle>
            <a:lvl1pPr marL="0" indent="0">
              <a:buNone/>
              <a:defRPr sz="1100">
                <a:solidFill>
                  <a:schemeClr val="tx1"/>
                </a:solidFill>
              </a:defRPr>
            </a:lvl1pPr>
          </a:lstStyle>
          <a:p>
            <a:r>
              <a:rPr lang="x-none"/>
              <a:t>Insert Photo</a:t>
            </a:r>
          </a:p>
        </p:txBody>
      </p:sp>
      <p:sp>
        <p:nvSpPr>
          <p:cNvPr id="7" name="Text Placeholder 6">
            <a:extLst>
              <a:ext uri="{FF2B5EF4-FFF2-40B4-BE49-F238E27FC236}">
                <a16:creationId xmlns="" xmlns:a16="http://schemas.microsoft.com/office/drawing/2014/main" id="{65925D82-457F-D84D-B8DF-D8ADFD7E71DF}"/>
              </a:ext>
            </a:extLst>
          </p:cNvPr>
          <p:cNvSpPr>
            <a:spLocks noGrp="1"/>
          </p:cNvSpPr>
          <p:nvPr>
            <p:ph type="body" sz="quarter" idx="14" hasCustomPrompt="1"/>
          </p:nvPr>
        </p:nvSpPr>
        <p:spPr>
          <a:xfrm>
            <a:off x="233362" y="2383723"/>
            <a:ext cx="4281488" cy="204590"/>
          </a:xfrm>
          <a:prstGeom prst="rect">
            <a:avLst/>
          </a:prstGeom>
        </p:spPr>
        <p:txBody>
          <a:bodyPr tIns="0" rIns="0" bIns="0" numCol="1">
            <a:noAutofit/>
          </a:bodyPr>
          <a:lstStyle>
            <a:lvl1pPr marL="0" indent="0">
              <a:lnSpc>
                <a:spcPct val="100000"/>
              </a:lnSpc>
              <a:spcBef>
                <a:spcPts val="0"/>
              </a:spcBef>
              <a:spcAft>
                <a:spcPts val="450"/>
              </a:spcAft>
              <a:buNone/>
              <a:defRPr sz="1400" b="1">
                <a:solidFill>
                  <a:schemeClr val="accent1"/>
                </a:solidFill>
              </a:defRPr>
            </a:lvl1pPr>
            <a:lvl2pPr marL="342353" indent="0">
              <a:lnSpc>
                <a:spcPts val="1350"/>
              </a:lnSpc>
              <a:spcBef>
                <a:spcPts val="0"/>
              </a:spcBef>
              <a:buNone/>
              <a:defRPr sz="1100"/>
            </a:lvl2pPr>
            <a:lvl3pPr marL="684762" indent="0">
              <a:lnSpc>
                <a:spcPts val="1350"/>
              </a:lnSpc>
              <a:spcBef>
                <a:spcPts val="0"/>
              </a:spcBef>
              <a:buNone/>
              <a:defRPr sz="1100"/>
            </a:lvl3pPr>
            <a:lvl4pPr marL="1027139" indent="0">
              <a:lnSpc>
                <a:spcPts val="1350"/>
              </a:lnSpc>
              <a:spcBef>
                <a:spcPts val="0"/>
              </a:spcBef>
              <a:buNone/>
              <a:defRPr sz="1100"/>
            </a:lvl4pPr>
            <a:lvl5pPr marL="1369518" indent="0">
              <a:lnSpc>
                <a:spcPts val="1350"/>
              </a:lnSpc>
              <a:spcBef>
                <a:spcPts val="0"/>
              </a:spcBef>
              <a:buNone/>
              <a:defRPr sz="1100"/>
            </a:lvl5pPr>
          </a:lstStyle>
          <a:p>
            <a:pPr lvl="0"/>
            <a:r>
              <a:rPr lang="en-US"/>
              <a:t>This is your Secondary Title</a:t>
            </a:r>
          </a:p>
        </p:txBody>
      </p:sp>
      <p:sp>
        <p:nvSpPr>
          <p:cNvPr id="12" name="Text Placeholder 6">
            <a:extLst>
              <a:ext uri="{FF2B5EF4-FFF2-40B4-BE49-F238E27FC236}">
                <a16:creationId xmlns="" xmlns:a16="http://schemas.microsoft.com/office/drawing/2014/main" id="{FD2406EE-A554-5348-AE6D-4D8B343E6201}"/>
              </a:ext>
            </a:extLst>
          </p:cNvPr>
          <p:cNvSpPr>
            <a:spLocks noGrp="1"/>
          </p:cNvSpPr>
          <p:nvPr>
            <p:ph type="body" sz="quarter" idx="15" hasCustomPrompt="1"/>
          </p:nvPr>
        </p:nvSpPr>
        <p:spPr>
          <a:xfrm>
            <a:off x="233362" y="2681930"/>
            <a:ext cx="4281488" cy="2144715"/>
          </a:xfrm>
          <a:prstGeom prst="rect">
            <a:avLst/>
          </a:prstGeom>
        </p:spPr>
        <p:txBody>
          <a:bodyPr tIns="0" rIns="0" bIns="0" numCol="1">
            <a:noAutofit/>
          </a:bodyPr>
          <a:lstStyle>
            <a:lvl1pPr marL="128438" indent="-128438">
              <a:lnSpc>
                <a:spcPct val="100000"/>
              </a:lnSpc>
              <a:spcBef>
                <a:spcPts val="0"/>
              </a:spcBef>
              <a:spcAft>
                <a:spcPts val="450"/>
              </a:spcAft>
              <a:buFont typeface="Arial" panose="020B0604020202020204" pitchFamily="34" charset="0"/>
              <a:buChar char="•"/>
              <a:defRPr sz="1100" b="0">
                <a:solidFill>
                  <a:schemeClr val="tx1"/>
                </a:solidFill>
              </a:defRPr>
            </a:lvl1pPr>
            <a:lvl2pPr marL="342353" indent="0">
              <a:lnSpc>
                <a:spcPts val="1350"/>
              </a:lnSpc>
              <a:spcBef>
                <a:spcPts val="0"/>
              </a:spcBef>
              <a:buNone/>
              <a:defRPr sz="1100"/>
            </a:lvl2pPr>
            <a:lvl3pPr marL="684762" indent="0">
              <a:lnSpc>
                <a:spcPts val="1350"/>
              </a:lnSpc>
              <a:spcBef>
                <a:spcPts val="0"/>
              </a:spcBef>
              <a:buNone/>
              <a:defRPr sz="1100"/>
            </a:lvl3pPr>
            <a:lvl4pPr marL="1027139" indent="0">
              <a:lnSpc>
                <a:spcPts val="1350"/>
              </a:lnSpc>
              <a:spcBef>
                <a:spcPts val="0"/>
              </a:spcBef>
              <a:buNone/>
              <a:defRPr sz="1100"/>
            </a:lvl4pPr>
            <a:lvl5pPr marL="1369518" indent="0">
              <a:lnSpc>
                <a:spcPts val="1350"/>
              </a:lnSpc>
              <a:spcBef>
                <a:spcPts val="0"/>
              </a:spcBef>
              <a:buNone/>
              <a:defRPr sz="1100"/>
            </a:lvl5pPr>
          </a:lstStyle>
          <a:p>
            <a:pPr lvl="0"/>
            <a:r>
              <a:rPr lang="en-US"/>
              <a:t>This is your Secondary text. </a:t>
            </a:r>
          </a:p>
        </p:txBody>
      </p:sp>
      <p:sp>
        <p:nvSpPr>
          <p:cNvPr id="17" name="タイトル プレースホルダ 1">
            <a:extLst>
              <a:ext uri="{FF2B5EF4-FFF2-40B4-BE49-F238E27FC236}">
                <a16:creationId xmlns="" xmlns:a16="http://schemas.microsoft.com/office/drawing/2014/main" id="{86D6FEA8-06E4-474A-8491-CD1DDAE7D0D7}"/>
              </a:ext>
            </a:extLst>
          </p:cNvPr>
          <p:cNvSpPr>
            <a:spLocks noGrp="1"/>
          </p:cNvSpPr>
          <p:nvPr>
            <p:ph type="title" hasCustomPrompt="1"/>
          </p:nvPr>
        </p:nvSpPr>
        <p:spPr>
          <a:xfrm>
            <a:off x="454561" y="121208"/>
            <a:ext cx="4060292" cy="51435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 xmlns:a16="http://schemas.microsoft.com/office/drawing/2014/main" id="{CEDBCF76-3461-2245-8BB1-FA50AE27F6CA}"/>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05" tIns="34289" rIns="68505" bIns="34289" rtlCol="0" anchor="ctr"/>
          <a:lstStyle/>
          <a:p>
            <a:pPr algn="ctr" defTabSz="684950"/>
            <a:endParaRPr kumimoji="1" lang="x-none" sz="1400">
              <a:solidFill>
                <a:srgbClr val="E1242A"/>
              </a:solidFill>
            </a:endParaRPr>
          </a:p>
        </p:txBody>
      </p:sp>
      <p:sp>
        <p:nvSpPr>
          <p:cNvPr id="22" name="スライド番号プレースホルダ 5">
            <a:extLst>
              <a:ext uri="{FF2B5EF4-FFF2-40B4-BE49-F238E27FC236}">
                <a16:creationId xmlns="" xmlns:a16="http://schemas.microsoft.com/office/drawing/2014/main" id="{FB98B4FE-9AC1-D142-89B5-4D3791685BC1}"/>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2983"/>
            <a:fld id="{E9B57936-92EF-4126-AE48-1D9D36D15E98}" type="slidenum">
              <a:rPr lang="ja-JP" altLang="en-US" smtClean="0">
                <a:solidFill>
                  <a:srgbClr val="34373F"/>
                </a:solidFill>
              </a:rPr>
              <a:pPr defTabSz="912983"/>
              <a:t>‹Nº›</a:t>
            </a:fld>
            <a:endParaRPr lang="ja-JP" altLang="en-US">
              <a:solidFill>
                <a:srgbClr val="34373F"/>
              </a:solidFill>
            </a:endParaRPr>
          </a:p>
        </p:txBody>
      </p:sp>
      <p:sp>
        <p:nvSpPr>
          <p:cNvPr id="19" name="Text Placeholder 2">
            <a:extLst>
              <a:ext uri="{FF2B5EF4-FFF2-40B4-BE49-F238E27FC236}">
                <a16:creationId xmlns="" xmlns:a16="http://schemas.microsoft.com/office/drawing/2014/main" id="{D16C870C-B0F9-5A43-81FD-66BD75CC33C7}"/>
              </a:ext>
            </a:extLst>
          </p:cNvPr>
          <p:cNvSpPr>
            <a:spLocks noGrp="1"/>
          </p:cNvSpPr>
          <p:nvPr>
            <p:ph type="body" sz="quarter" idx="20" hasCustomPrompt="1"/>
          </p:nvPr>
        </p:nvSpPr>
        <p:spPr>
          <a:xfrm>
            <a:off x="233367" y="1118532"/>
            <a:ext cx="4278665" cy="1098718"/>
          </a:xfrm>
        </p:spPr>
        <p:txBody>
          <a:bodyPr tIns="0" rIns="0" bIns="0" numCol="1" spcCol="94400">
            <a:noAutofit/>
          </a:bodyPr>
          <a:lstStyle>
            <a:lvl1pPr marL="0" indent="0">
              <a:lnSpc>
                <a:spcPct val="100000"/>
              </a:lnSpc>
              <a:spcBef>
                <a:spcPts val="0"/>
              </a:spcBef>
              <a:buNone/>
              <a:defRPr sz="1200" b="1"/>
            </a:lvl1pPr>
            <a:lvl2pPr marL="342353" indent="0">
              <a:buNone/>
              <a:defRPr sz="1400" b="1"/>
            </a:lvl2pPr>
            <a:lvl3pPr marL="684762" indent="0">
              <a:buNone/>
              <a:defRPr sz="1400" b="1"/>
            </a:lvl3pPr>
            <a:lvl4pPr marL="1027139" indent="0">
              <a:buNone/>
              <a:defRPr sz="1400" b="1"/>
            </a:lvl4pPr>
            <a:lvl5pPr marL="1369518" indent="0">
              <a:buNone/>
              <a:defRPr sz="1400" b="1"/>
            </a:lvl5pPr>
          </a:lstStyle>
          <a:p>
            <a:pPr lvl="0"/>
            <a:r>
              <a:rPr lang="en-US"/>
              <a:t>This is your Primary Text.</a:t>
            </a:r>
            <a:endParaRPr lang="x-none"/>
          </a:p>
        </p:txBody>
      </p:sp>
      <p:sp>
        <p:nvSpPr>
          <p:cNvPr id="20" name="Text Placeholder 6">
            <a:extLst>
              <a:ext uri="{FF2B5EF4-FFF2-40B4-BE49-F238E27FC236}">
                <a16:creationId xmlns="" xmlns:a16="http://schemas.microsoft.com/office/drawing/2014/main" id="{C64E591A-1A88-9244-AC81-5B42BFE347C0}"/>
              </a:ext>
            </a:extLst>
          </p:cNvPr>
          <p:cNvSpPr>
            <a:spLocks noGrp="1"/>
          </p:cNvSpPr>
          <p:nvPr>
            <p:ph type="body" sz="quarter" idx="21" hasCustomPrompt="1"/>
          </p:nvPr>
        </p:nvSpPr>
        <p:spPr>
          <a:xfrm>
            <a:off x="233367" y="820327"/>
            <a:ext cx="4278665" cy="204590"/>
          </a:xfrm>
        </p:spPr>
        <p:txBody>
          <a:bodyPr tIns="0" rIns="0" bIns="0" numCol="1">
            <a:noAutofit/>
          </a:bodyPr>
          <a:lstStyle>
            <a:lvl1pPr marL="0" indent="0">
              <a:lnSpc>
                <a:spcPct val="100000"/>
              </a:lnSpc>
              <a:spcBef>
                <a:spcPts val="0"/>
              </a:spcBef>
              <a:spcAft>
                <a:spcPts val="450"/>
              </a:spcAft>
              <a:buNone/>
              <a:defRPr sz="1500" b="1">
                <a:solidFill>
                  <a:schemeClr val="accent1"/>
                </a:solidFill>
              </a:defRPr>
            </a:lvl1pPr>
            <a:lvl2pPr marL="342353" indent="0">
              <a:lnSpc>
                <a:spcPts val="1350"/>
              </a:lnSpc>
              <a:spcBef>
                <a:spcPts val="0"/>
              </a:spcBef>
              <a:buNone/>
              <a:defRPr sz="1100"/>
            </a:lvl2pPr>
            <a:lvl3pPr marL="684762" indent="0">
              <a:lnSpc>
                <a:spcPts val="1350"/>
              </a:lnSpc>
              <a:spcBef>
                <a:spcPts val="0"/>
              </a:spcBef>
              <a:buNone/>
              <a:defRPr sz="1100"/>
            </a:lvl3pPr>
            <a:lvl4pPr marL="1027139" indent="0">
              <a:lnSpc>
                <a:spcPts val="1350"/>
              </a:lnSpc>
              <a:spcBef>
                <a:spcPts val="0"/>
              </a:spcBef>
              <a:buNone/>
              <a:defRPr sz="1100"/>
            </a:lvl4pPr>
            <a:lvl5pPr marL="1369518" indent="0">
              <a:lnSpc>
                <a:spcPts val="1350"/>
              </a:lnSpc>
              <a:spcBef>
                <a:spcPts val="0"/>
              </a:spcBef>
              <a:buNone/>
              <a:defRPr sz="1100"/>
            </a:lvl5pPr>
          </a:lstStyle>
          <a:p>
            <a:pPr lvl="0"/>
            <a:r>
              <a:rPr lang="en-US"/>
              <a:t>This is your Primary Title</a:t>
            </a:r>
          </a:p>
        </p:txBody>
      </p:sp>
      <p:pic>
        <p:nvPicPr>
          <p:cNvPr id="11" name="Picture 12" descr="Takeda_Logo_Pos_RGB.emf">
            <a:extLst>
              <a:ext uri="{FF2B5EF4-FFF2-40B4-BE49-F238E27FC236}">
                <a16:creationId xmlns="" xmlns:a16="http://schemas.microsoft.com/office/drawing/2014/main" id="{2AEDAE79-781E-40D8-BF62-BFA4C5C405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7975658" y="233605"/>
            <a:ext cx="772806" cy="259904"/>
          </a:xfrm>
          <a:prstGeom prst="rect">
            <a:avLst/>
          </a:prstGeom>
          <a:noFill/>
          <a:ln w="9525">
            <a:noFill/>
            <a:miter lim="800000"/>
            <a:headEnd/>
            <a:tailEnd/>
          </a:ln>
        </p:spPr>
      </p:pic>
      <p:pic>
        <p:nvPicPr>
          <p:cNvPr id="14" name="Picture 13">
            <a:extLst>
              <a:ext uri="{FF2B5EF4-FFF2-40B4-BE49-F238E27FC236}">
                <a16:creationId xmlns="" xmlns:a16="http://schemas.microsoft.com/office/drawing/2014/main" id="{20D157AC-FF47-45BB-A8D8-96FE114B6BA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937746" y="4604928"/>
            <a:ext cx="1008126" cy="603504"/>
          </a:xfrm>
          <a:prstGeom prst="rect">
            <a:avLst/>
          </a:prstGeom>
        </p:spPr>
      </p:pic>
    </p:spTree>
    <p:extLst>
      <p:ext uri="{BB962C8B-B14F-4D97-AF65-F5344CB8AC3E}">
        <p14:creationId xmlns:p14="http://schemas.microsoft.com/office/powerpoint/2010/main" val="147777511"/>
      </p:ext>
    </p:extLst>
  </p:cSld>
  <p:clrMapOvr>
    <a:masterClrMapping/>
  </p:clrMapOvr>
  <p:transition spd="slow">
    <p:push dir="u"/>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Advanced 1/3 Image">
    <p:spTree>
      <p:nvGrpSpPr>
        <p:cNvPr id="1" name=""/>
        <p:cNvGrpSpPr/>
        <p:nvPr/>
      </p:nvGrpSpPr>
      <p:grpSpPr>
        <a:xfrm>
          <a:off x="0" y="0"/>
          <a:ext cx="0" cy="0"/>
          <a:chOff x="0" y="0"/>
          <a:chExt cx="0" cy="0"/>
        </a:xfrm>
      </p:grpSpPr>
      <p:sp>
        <p:nvSpPr>
          <p:cNvPr id="7" name="Text Placeholder 6">
            <a:extLst>
              <a:ext uri="{FF2B5EF4-FFF2-40B4-BE49-F238E27FC236}">
                <a16:creationId xmlns="" xmlns:a16="http://schemas.microsoft.com/office/drawing/2014/main" id="{65925D82-457F-D84D-B8DF-D8ADFD7E71DF}"/>
              </a:ext>
            </a:extLst>
          </p:cNvPr>
          <p:cNvSpPr>
            <a:spLocks noGrp="1"/>
          </p:cNvSpPr>
          <p:nvPr>
            <p:ph type="body" sz="quarter" idx="14" hasCustomPrompt="1"/>
          </p:nvPr>
        </p:nvSpPr>
        <p:spPr>
          <a:xfrm>
            <a:off x="233362" y="2383723"/>
            <a:ext cx="5745032" cy="204590"/>
          </a:xfrm>
          <a:prstGeom prst="rect">
            <a:avLst/>
          </a:prstGeom>
        </p:spPr>
        <p:txBody>
          <a:bodyPr tIns="0" rIns="0" bIns="0" numCol="1">
            <a:noAutofit/>
          </a:bodyPr>
          <a:lstStyle>
            <a:lvl1pPr marL="0" indent="0">
              <a:lnSpc>
                <a:spcPct val="100000"/>
              </a:lnSpc>
              <a:spcBef>
                <a:spcPts val="0"/>
              </a:spcBef>
              <a:spcAft>
                <a:spcPts val="450"/>
              </a:spcAft>
              <a:buNone/>
              <a:defRPr sz="1400" b="1">
                <a:solidFill>
                  <a:schemeClr val="accent1"/>
                </a:solidFill>
              </a:defRPr>
            </a:lvl1pPr>
            <a:lvl2pPr marL="342353" indent="0">
              <a:lnSpc>
                <a:spcPts val="1350"/>
              </a:lnSpc>
              <a:spcBef>
                <a:spcPts val="0"/>
              </a:spcBef>
              <a:buNone/>
              <a:defRPr sz="1100"/>
            </a:lvl2pPr>
            <a:lvl3pPr marL="684762" indent="0">
              <a:lnSpc>
                <a:spcPts val="1350"/>
              </a:lnSpc>
              <a:spcBef>
                <a:spcPts val="0"/>
              </a:spcBef>
              <a:buNone/>
              <a:defRPr sz="1100"/>
            </a:lvl3pPr>
            <a:lvl4pPr marL="1027139" indent="0">
              <a:lnSpc>
                <a:spcPts val="1350"/>
              </a:lnSpc>
              <a:spcBef>
                <a:spcPts val="0"/>
              </a:spcBef>
              <a:buNone/>
              <a:defRPr sz="1100"/>
            </a:lvl4pPr>
            <a:lvl5pPr marL="1369518" indent="0">
              <a:lnSpc>
                <a:spcPts val="1350"/>
              </a:lnSpc>
              <a:spcBef>
                <a:spcPts val="0"/>
              </a:spcBef>
              <a:buNone/>
              <a:defRPr sz="1100"/>
            </a:lvl5pPr>
          </a:lstStyle>
          <a:p>
            <a:pPr lvl="0"/>
            <a:r>
              <a:rPr lang="en-US"/>
              <a:t>This is your Secondary Title</a:t>
            </a:r>
          </a:p>
        </p:txBody>
      </p:sp>
      <p:sp>
        <p:nvSpPr>
          <p:cNvPr id="12" name="Text Placeholder 6">
            <a:extLst>
              <a:ext uri="{FF2B5EF4-FFF2-40B4-BE49-F238E27FC236}">
                <a16:creationId xmlns="" xmlns:a16="http://schemas.microsoft.com/office/drawing/2014/main" id="{FD2406EE-A554-5348-AE6D-4D8B343E6201}"/>
              </a:ext>
            </a:extLst>
          </p:cNvPr>
          <p:cNvSpPr>
            <a:spLocks noGrp="1"/>
          </p:cNvSpPr>
          <p:nvPr>
            <p:ph type="body" sz="quarter" idx="15" hasCustomPrompt="1"/>
          </p:nvPr>
        </p:nvSpPr>
        <p:spPr>
          <a:xfrm>
            <a:off x="233364" y="2681928"/>
            <a:ext cx="5747855" cy="2144716"/>
          </a:xfrm>
          <a:prstGeom prst="rect">
            <a:avLst/>
          </a:prstGeom>
        </p:spPr>
        <p:txBody>
          <a:bodyPr tIns="0" rIns="0" bIns="0" numCol="2" spcCol="94400">
            <a:noAutofit/>
          </a:bodyPr>
          <a:lstStyle>
            <a:lvl1pPr marL="128438" indent="-128438">
              <a:lnSpc>
                <a:spcPct val="100000"/>
              </a:lnSpc>
              <a:spcBef>
                <a:spcPts val="0"/>
              </a:spcBef>
              <a:spcAft>
                <a:spcPts val="450"/>
              </a:spcAft>
              <a:buFont typeface="Arial" panose="020B0604020202020204" pitchFamily="34" charset="0"/>
              <a:buChar char="•"/>
              <a:defRPr sz="1100" b="0">
                <a:solidFill>
                  <a:schemeClr val="tx1"/>
                </a:solidFill>
              </a:defRPr>
            </a:lvl1pPr>
            <a:lvl2pPr marL="342353" indent="0">
              <a:lnSpc>
                <a:spcPts val="1350"/>
              </a:lnSpc>
              <a:spcBef>
                <a:spcPts val="0"/>
              </a:spcBef>
              <a:buNone/>
              <a:defRPr sz="1100"/>
            </a:lvl2pPr>
            <a:lvl3pPr marL="684762" indent="0">
              <a:lnSpc>
                <a:spcPts val="1350"/>
              </a:lnSpc>
              <a:spcBef>
                <a:spcPts val="0"/>
              </a:spcBef>
              <a:buNone/>
              <a:defRPr sz="1100"/>
            </a:lvl3pPr>
            <a:lvl4pPr marL="1027139" indent="0">
              <a:lnSpc>
                <a:spcPts val="1350"/>
              </a:lnSpc>
              <a:spcBef>
                <a:spcPts val="0"/>
              </a:spcBef>
              <a:buNone/>
              <a:defRPr sz="1100"/>
            </a:lvl4pPr>
            <a:lvl5pPr marL="1369518" indent="0">
              <a:lnSpc>
                <a:spcPts val="1350"/>
              </a:lnSpc>
              <a:spcBef>
                <a:spcPts val="0"/>
              </a:spcBef>
              <a:buNone/>
              <a:defRPr sz="1100"/>
            </a:lvl5pPr>
          </a:lstStyle>
          <a:p>
            <a:pPr lvl="0"/>
            <a:r>
              <a:rPr lang="en-US"/>
              <a:t>This is your Secondary text.</a:t>
            </a:r>
          </a:p>
        </p:txBody>
      </p:sp>
      <p:sp>
        <p:nvSpPr>
          <p:cNvPr id="11" name="Picture Placeholder 9">
            <a:extLst>
              <a:ext uri="{FF2B5EF4-FFF2-40B4-BE49-F238E27FC236}">
                <a16:creationId xmlns="" xmlns:a16="http://schemas.microsoft.com/office/drawing/2014/main" id="{B54C5EE8-C42D-B549-B4D4-C0F00D68A42B}"/>
              </a:ext>
            </a:extLst>
          </p:cNvPr>
          <p:cNvSpPr>
            <a:spLocks noGrp="1"/>
          </p:cNvSpPr>
          <p:nvPr>
            <p:ph type="pic" sz="quarter" idx="18" hasCustomPrompt="1"/>
          </p:nvPr>
        </p:nvSpPr>
        <p:spPr>
          <a:xfrm>
            <a:off x="6102722" y="820325"/>
            <a:ext cx="3052125" cy="3998652"/>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9500" h="5131753">
                <a:moveTo>
                  <a:pt x="0" y="6946"/>
                </a:moveTo>
                <a:lnTo>
                  <a:pt x="4069425" y="0"/>
                </a:lnTo>
                <a:cubicBezTo>
                  <a:pt x="4070330" y="2146807"/>
                  <a:pt x="4062788" y="2966138"/>
                  <a:pt x="4063693" y="5112945"/>
                </a:cubicBezTo>
                <a:lnTo>
                  <a:pt x="596656" y="5131753"/>
                </a:lnTo>
                <a:cubicBezTo>
                  <a:pt x="276484" y="5131753"/>
                  <a:pt x="16934" y="4872203"/>
                  <a:pt x="16934" y="4552031"/>
                </a:cubicBezTo>
                <a:cubicBezTo>
                  <a:pt x="11289" y="3029594"/>
                  <a:pt x="5645" y="1529383"/>
                  <a:pt x="0" y="6946"/>
                </a:cubicBezTo>
                <a:close/>
              </a:path>
            </a:pathLst>
          </a:custGeom>
          <a:noFill/>
        </p:spPr>
        <p:txBody>
          <a:bodyPr>
            <a:normAutofit/>
          </a:bodyPr>
          <a:lstStyle>
            <a:lvl1pPr marL="0" indent="0">
              <a:buNone/>
              <a:defRPr sz="1100">
                <a:solidFill>
                  <a:schemeClr val="tx1"/>
                </a:solidFill>
              </a:defRPr>
            </a:lvl1pPr>
          </a:lstStyle>
          <a:p>
            <a:r>
              <a:rPr lang="x-none"/>
              <a:t>Insert Photo</a:t>
            </a:r>
          </a:p>
        </p:txBody>
      </p:sp>
      <p:sp>
        <p:nvSpPr>
          <p:cNvPr id="17" name="タイトル プレースホルダ 1">
            <a:extLst>
              <a:ext uri="{FF2B5EF4-FFF2-40B4-BE49-F238E27FC236}">
                <a16:creationId xmlns="" xmlns:a16="http://schemas.microsoft.com/office/drawing/2014/main" id="{CCEDFD04-9A53-9241-851E-1D01DC555ACC}"/>
              </a:ext>
            </a:extLst>
          </p:cNvPr>
          <p:cNvSpPr>
            <a:spLocks noGrp="1"/>
          </p:cNvSpPr>
          <p:nvPr>
            <p:ph type="title" hasCustomPrompt="1"/>
          </p:nvPr>
        </p:nvSpPr>
        <p:spPr>
          <a:xfrm>
            <a:off x="454560" y="121208"/>
            <a:ext cx="7455190" cy="51435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3" name="Rectangle 22">
            <a:extLst>
              <a:ext uri="{FF2B5EF4-FFF2-40B4-BE49-F238E27FC236}">
                <a16:creationId xmlns="" xmlns:a16="http://schemas.microsoft.com/office/drawing/2014/main" id="{365B3EBD-E4F5-8E40-B07A-C04F3B1E7F2C}"/>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05" tIns="34289" rIns="68505" bIns="34289" rtlCol="0" anchor="ctr"/>
          <a:lstStyle/>
          <a:p>
            <a:pPr algn="ctr" defTabSz="684950"/>
            <a:endParaRPr kumimoji="1" lang="x-none" sz="1400">
              <a:solidFill>
                <a:srgbClr val="E1242A"/>
              </a:solidFill>
            </a:endParaRPr>
          </a:p>
        </p:txBody>
      </p:sp>
      <p:sp>
        <p:nvSpPr>
          <p:cNvPr id="26" name="スライド番号プレースホルダ 5">
            <a:extLst>
              <a:ext uri="{FF2B5EF4-FFF2-40B4-BE49-F238E27FC236}">
                <a16:creationId xmlns="" xmlns:a16="http://schemas.microsoft.com/office/drawing/2014/main" id="{3D5D14EF-A351-224D-8142-E1BEE44BBC99}"/>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2983"/>
            <a:fld id="{E9B57936-92EF-4126-AE48-1D9D36D15E98}" type="slidenum">
              <a:rPr lang="ja-JP" altLang="en-US" smtClean="0">
                <a:solidFill>
                  <a:srgbClr val="34373F"/>
                </a:solidFill>
              </a:rPr>
              <a:pPr defTabSz="912983"/>
              <a:t>‹Nº›</a:t>
            </a:fld>
            <a:endParaRPr lang="ja-JP" altLang="en-US">
              <a:solidFill>
                <a:srgbClr val="34373F"/>
              </a:solidFill>
            </a:endParaRPr>
          </a:p>
        </p:txBody>
      </p:sp>
      <p:sp>
        <p:nvSpPr>
          <p:cNvPr id="15" name="Text Placeholder 2">
            <a:extLst>
              <a:ext uri="{FF2B5EF4-FFF2-40B4-BE49-F238E27FC236}">
                <a16:creationId xmlns="" xmlns:a16="http://schemas.microsoft.com/office/drawing/2014/main" id="{D82FCE78-36AB-904B-98A8-CE3FFB1555E3}"/>
              </a:ext>
            </a:extLst>
          </p:cNvPr>
          <p:cNvSpPr>
            <a:spLocks noGrp="1"/>
          </p:cNvSpPr>
          <p:nvPr>
            <p:ph type="body" sz="quarter" idx="20" hasCustomPrompt="1"/>
          </p:nvPr>
        </p:nvSpPr>
        <p:spPr>
          <a:xfrm>
            <a:off x="233366" y="1118532"/>
            <a:ext cx="5745031" cy="1098718"/>
          </a:xfrm>
        </p:spPr>
        <p:txBody>
          <a:bodyPr tIns="0" rIns="0" bIns="0" numCol="1" spcCol="94400">
            <a:noAutofit/>
          </a:bodyPr>
          <a:lstStyle>
            <a:lvl1pPr marL="0" indent="0">
              <a:lnSpc>
                <a:spcPct val="100000"/>
              </a:lnSpc>
              <a:spcBef>
                <a:spcPts val="0"/>
              </a:spcBef>
              <a:buNone/>
              <a:defRPr sz="1200" b="1"/>
            </a:lvl1pPr>
            <a:lvl2pPr marL="342353" indent="0">
              <a:buNone/>
              <a:defRPr sz="1400" b="1"/>
            </a:lvl2pPr>
            <a:lvl3pPr marL="684762" indent="0">
              <a:buNone/>
              <a:defRPr sz="1400" b="1"/>
            </a:lvl3pPr>
            <a:lvl4pPr marL="1027139" indent="0">
              <a:buNone/>
              <a:defRPr sz="1400" b="1"/>
            </a:lvl4pPr>
            <a:lvl5pPr marL="1369518" indent="0">
              <a:buNone/>
              <a:defRPr sz="1400" b="1"/>
            </a:lvl5pPr>
          </a:lstStyle>
          <a:p>
            <a:pPr lvl="0"/>
            <a:r>
              <a:rPr lang="en-US"/>
              <a:t>This is your Primary Text.</a:t>
            </a:r>
            <a:endParaRPr lang="x-none"/>
          </a:p>
        </p:txBody>
      </p:sp>
      <p:sp>
        <p:nvSpPr>
          <p:cNvPr id="18" name="Text Placeholder 6">
            <a:extLst>
              <a:ext uri="{FF2B5EF4-FFF2-40B4-BE49-F238E27FC236}">
                <a16:creationId xmlns="" xmlns:a16="http://schemas.microsoft.com/office/drawing/2014/main" id="{72ECF95F-F25E-8248-A0F3-BB1749A1B406}"/>
              </a:ext>
            </a:extLst>
          </p:cNvPr>
          <p:cNvSpPr>
            <a:spLocks noGrp="1"/>
          </p:cNvSpPr>
          <p:nvPr>
            <p:ph type="body" sz="quarter" idx="21" hasCustomPrompt="1"/>
          </p:nvPr>
        </p:nvSpPr>
        <p:spPr>
          <a:xfrm>
            <a:off x="233366" y="820327"/>
            <a:ext cx="5745031" cy="204590"/>
          </a:xfrm>
        </p:spPr>
        <p:txBody>
          <a:bodyPr tIns="0" rIns="0" bIns="0" numCol="1">
            <a:noAutofit/>
          </a:bodyPr>
          <a:lstStyle>
            <a:lvl1pPr marL="0" indent="0">
              <a:lnSpc>
                <a:spcPct val="100000"/>
              </a:lnSpc>
              <a:spcBef>
                <a:spcPts val="0"/>
              </a:spcBef>
              <a:spcAft>
                <a:spcPts val="450"/>
              </a:spcAft>
              <a:buNone/>
              <a:defRPr sz="1500" b="1">
                <a:solidFill>
                  <a:schemeClr val="accent1"/>
                </a:solidFill>
              </a:defRPr>
            </a:lvl1pPr>
            <a:lvl2pPr marL="342353" indent="0">
              <a:lnSpc>
                <a:spcPts val="1350"/>
              </a:lnSpc>
              <a:spcBef>
                <a:spcPts val="0"/>
              </a:spcBef>
              <a:buNone/>
              <a:defRPr sz="1100"/>
            </a:lvl2pPr>
            <a:lvl3pPr marL="684762" indent="0">
              <a:lnSpc>
                <a:spcPts val="1350"/>
              </a:lnSpc>
              <a:spcBef>
                <a:spcPts val="0"/>
              </a:spcBef>
              <a:buNone/>
              <a:defRPr sz="1100"/>
            </a:lvl3pPr>
            <a:lvl4pPr marL="1027139" indent="0">
              <a:lnSpc>
                <a:spcPts val="1350"/>
              </a:lnSpc>
              <a:spcBef>
                <a:spcPts val="0"/>
              </a:spcBef>
              <a:buNone/>
              <a:defRPr sz="1100"/>
            </a:lvl4pPr>
            <a:lvl5pPr marL="1369518" indent="0">
              <a:lnSpc>
                <a:spcPts val="1350"/>
              </a:lnSpc>
              <a:spcBef>
                <a:spcPts val="0"/>
              </a:spcBef>
              <a:buNone/>
              <a:defRPr sz="1100"/>
            </a:lvl5pPr>
          </a:lstStyle>
          <a:p>
            <a:pPr lvl="0"/>
            <a:r>
              <a:rPr lang="en-US"/>
              <a:t>This is your Primary Title</a:t>
            </a:r>
          </a:p>
        </p:txBody>
      </p:sp>
      <p:pic>
        <p:nvPicPr>
          <p:cNvPr id="14" name="Picture 13">
            <a:extLst>
              <a:ext uri="{FF2B5EF4-FFF2-40B4-BE49-F238E27FC236}">
                <a16:creationId xmlns="" xmlns:a16="http://schemas.microsoft.com/office/drawing/2014/main" id="{392A580F-7BDF-4F7B-A7AA-B0EC15CCC80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937746" y="4604928"/>
            <a:ext cx="1008126" cy="603504"/>
          </a:xfrm>
          <a:prstGeom prst="rect">
            <a:avLst/>
          </a:prstGeom>
        </p:spPr>
      </p:pic>
    </p:spTree>
    <p:extLst>
      <p:ext uri="{BB962C8B-B14F-4D97-AF65-F5344CB8AC3E}">
        <p14:creationId xmlns:p14="http://schemas.microsoft.com/office/powerpoint/2010/main" val="2086580722"/>
      </p:ext>
    </p:extLst>
  </p:cSld>
  <p:clrMapOvr>
    <a:masterClrMapping/>
  </p:clrMapOvr>
  <p:transition spd="slow">
    <p:push dir="u"/>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335677447"/>
              </p:ext>
            </p:extLst>
          </p:nvPr>
        </p:nvGraphicFramePr>
        <p:xfrm>
          <a:off x="1201" y="1193"/>
          <a:ext cx="1191" cy="1191"/>
        </p:xfrm>
        <a:graphic>
          <a:graphicData uri="http://schemas.openxmlformats.org/presentationml/2006/ole">
            <mc:AlternateContent xmlns:mc="http://schemas.openxmlformats.org/markup-compatibility/2006">
              <mc:Choice xmlns:v="urn:schemas-microsoft-com:vml" Requires="v">
                <p:oleObj spid="_x0000_s12385" name="think-cell Slide" r:id="rId10" imgW="360" imgH="360" progId="">
                  <p:embed/>
                </p:oleObj>
              </mc:Choice>
              <mc:Fallback>
                <p:oleObj name="think-cell Slide" r:id="rId10" imgW="360" imgH="360" progId="">
                  <p:embed/>
                  <p:pic>
                    <p:nvPicPr>
                      <p:cNvPr id="3" name="Object 6" hidden="1">
                        <a:extLst>
                          <a:ext uri="{FF2B5EF4-FFF2-40B4-BE49-F238E27FC236}">
                            <a16:creationId xmlns="" xmlns:a16="http://schemas.microsoft.com/office/drawing/2014/main" id="{D8EFF8A2-0FB9-4B25-8B8D-49235327498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01" y="1193"/>
                        <a:ext cx="1191" cy="119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1" hidden="1">
            <a:extLst>
              <a:ext uri="{FF2B5EF4-FFF2-40B4-BE49-F238E27FC236}">
                <a16:creationId xmlns="" xmlns:a16="http://schemas.microsoft.com/office/drawing/2014/main" id="{FCC3A0E6-E630-4C26-B008-93BA0B5B1109}"/>
              </a:ext>
            </a:extLst>
          </p:cNvPr>
          <p:cNvSpPr/>
          <p:nvPr userDrawn="1">
            <p:custDataLst>
              <p:tags r:id="rId3"/>
            </p:custDataLst>
          </p:nvPr>
        </p:nvSpPr>
        <p:spPr>
          <a:xfrm>
            <a:off x="2" y="77"/>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spcBef>
                <a:spcPts val="225"/>
              </a:spcBef>
              <a:spcAft>
                <a:spcPts val="225"/>
              </a:spcAft>
            </a:pPr>
            <a:endParaRPr lang="en-US" sz="1900" b="1" err="1">
              <a:solidFill>
                <a:srgbClr val="FFFFFF"/>
              </a:solidFill>
              <a:latin typeface="Arial" panose="020B0604020202020204" pitchFamily="34" charset="0"/>
              <a:sym typeface="Arial" panose="020B0604020202020204" pitchFamily="34" charset="0"/>
            </a:endParaRPr>
          </a:p>
        </p:txBody>
      </p:sp>
      <p:sp>
        <p:nvSpPr>
          <p:cNvPr id="15" name="2. Slide Title">
            <a:extLst>
              <a:ext uri="{FF2B5EF4-FFF2-40B4-BE49-F238E27FC236}">
                <a16:creationId xmlns="" xmlns:a16="http://schemas.microsoft.com/office/drawing/2014/main" id="{699FD2C4-82B5-475E-9235-DB128978B618}"/>
              </a:ext>
            </a:extLst>
          </p:cNvPr>
          <p:cNvSpPr>
            <a:spLocks noGrp="1"/>
          </p:cNvSpPr>
          <p:nvPr>
            <p:ph type="title"/>
            <p:custDataLst>
              <p:tags r:id="rId4"/>
            </p:custDataLst>
          </p:nvPr>
        </p:nvSpPr>
        <p:spPr>
          <a:xfrm>
            <a:off x="416052" y="129161"/>
            <a:ext cx="8311896" cy="276999"/>
          </a:xfrm>
        </p:spPr>
        <p:txBody>
          <a:bodyPr vert="horz" wrap="square" lIns="0" tIns="0" rIns="0" bIns="0" rtlCol="0" anchor="t" anchorCtr="0">
            <a:noAutofit/>
          </a:bodyPr>
          <a:lstStyle>
            <a:lvl1pPr>
              <a:defRPr lang="en-US" dirty="0"/>
            </a:lvl1pPr>
          </a:lstStyle>
          <a:p>
            <a:pPr lvl="0"/>
            <a:r>
              <a:rPr lang="en-US"/>
              <a:t>Click to edit Master title style</a:t>
            </a:r>
          </a:p>
        </p:txBody>
      </p:sp>
      <p:sp>
        <p:nvSpPr>
          <p:cNvPr id="14" name="3. Subtitle">
            <a:extLst>
              <a:ext uri="{FF2B5EF4-FFF2-40B4-BE49-F238E27FC236}">
                <a16:creationId xmlns="" xmlns:a16="http://schemas.microsoft.com/office/drawing/2014/main" id="{D4D36123-678D-4B6C-A648-186F85BE34AE}"/>
              </a:ext>
            </a:extLst>
          </p:cNvPr>
          <p:cNvSpPr>
            <a:spLocks noGrp="1"/>
          </p:cNvSpPr>
          <p:nvPr>
            <p:ph type="subTitle" idx="1"/>
            <p:custDataLst>
              <p:tags r:id="rId5"/>
            </p:custDataLst>
          </p:nvPr>
        </p:nvSpPr>
        <p:spPr>
          <a:xfrm>
            <a:off x="416052" y="429184"/>
            <a:ext cx="8311896" cy="207749"/>
          </a:xfrm>
          <a:prstGeom prst="rect">
            <a:avLst/>
          </a:prstGeom>
        </p:spPr>
        <p:txBody>
          <a:bodyPr vert="horz" wrap="square" lIns="0" tIns="0" rIns="0" bIns="0" rtlCol="0">
            <a:noAutofit/>
          </a:bodyPr>
          <a:lstStyle>
            <a:lvl1pPr>
              <a:defRPr lang="en-US" sz="1400" b="0" dirty="0"/>
            </a:lvl1pPr>
          </a:lstStyle>
          <a:p>
            <a:pPr lvl="0">
              <a:buNone/>
            </a:pPr>
            <a:r>
              <a:rPr lang="en-US"/>
              <a:t>Click to edit Master subtitle style</a:t>
            </a:r>
          </a:p>
        </p:txBody>
      </p:sp>
      <p:sp>
        <p:nvSpPr>
          <p:cNvPr id="9" name="Slide Number">
            <a:extLst>
              <a:ext uri="{FF2B5EF4-FFF2-40B4-BE49-F238E27FC236}">
                <a16:creationId xmlns="" xmlns:a16="http://schemas.microsoft.com/office/drawing/2014/main" id="{66686DBA-90DA-4033-B950-94CBD0D7A425}"/>
              </a:ext>
            </a:extLst>
          </p:cNvPr>
          <p:cNvSpPr>
            <a:spLocks noChangeArrowheads="1"/>
          </p:cNvSpPr>
          <p:nvPr userDrawn="1">
            <p:custDataLst>
              <p:tags r:id="rId6"/>
            </p:custDataLst>
          </p:nvPr>
        </p:nvSpPr>
        <p:spPr bwMode="black">
          <a:xfrm>
            <a:off x="8690505" y="4862267"/>
            <a:ext cx="244126" cy="107722"/>
          </a:xfrm>
          <a:prstGeom prst="rect">
            <a:avLst/>
          </a:prstGeom>
          <a:noFill/>
          <a:ln w="9525" algn="ctr">
            <a:noFill/>
            <a:miter lim="800000"/>
            <a:headEnd/>
            <a:tailEnd/>
          </a:ln>
          <a:effectLst/>
        </p:spPr>
        <p:txBody>
          <a:bodyPr wrap="square" lIns="0" tIns="0" rIns="0" bIns="0" anchor="b">
            <a:spAutoFit/>
          </a:bodyPr>
          <a:lstStyle/>
          <a:p>
            <a:pPr algn="ctr" defTabSz="458058">
              <a:defRPr/>
            </a:pPr>
            <a:fld id="{4ABDCABE-3F10-B64C-92F1-862014417034}" type="slidenum">
              <a:rPr lang="en-US" sz="700" smtClean="0">
                <a:solidFill>
                  <a:srgbClr val="000000"/>
                </a:solidFill>
                <a:cs typeface="Arial" panose="020B0604020202020204" pitchFamily="34" charset="0"/>
              </a:rPr>
              <a:pPr algn="ctr" defTabSz="458058">
                <a:defRPr/>
              </a:pPr>
              <a:t>‹Nº›</a:t>
            </a:fld>
            <a:endParaRPr lang="en-US" sz="700">
              <a:solidFill>
                <a:srgbClr val="000000"/>
              </a:solidFill>
              <a:cs typeface="Arial" panose="020B0604020202020204" pitchFamily="34" charset="0"/>
            </a:endParaRPr>
          </a:p>
        </p:txBody>
      </p:sp>
      <p:sp>
        <p:nvSpPr>
          <p:cNvPr id="8" name="5. Source" hidden="1">
            <a:extLst>
              <a:ext uri="{FF2B5EF4-FFF2-40B4-BE49-F238E27FC236}">
                <a16:creationId xmlns="" xmlns:a16="http://schemas.microsoft.com/office/drawing/2014/main" id="{9238B1D6-2095-4826-AA45-9A4E6F7D1A16}"/>
              </a:ext>
            </a:extLst>
          </p:cNvPr>
          <p:cNvSpPr txBox="1"/>
          <p:nvPr userDrawn="1">
            <p:custDataLst>
              <p:tags r:id="rId7"/>
            </p:custDataLst>
          </p:nvPr>
        </p:nvSpPr>
        <p:spPr>
          <a:xfrm>
            <a:off x="416052" y="4843365"/>
            <a:ext cx="545839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85800"/>
            <a:r>
              <a:rPr lang="en-US">
                <a:solidFill>
                  <a:srgbClr val="000000"/>
                </a:solidFill>
              </a:rPr>
              <a:t>Source: …</a:t>
            </a:r>
          </a:p>
        </p:txBody>
      </p:sp>
      <p:sp>
        <p:nvSpPr>
          <p:cNvPr id="11" name="1. On-page tracker">
            <a:extLst>
              <a:ext uri="{FF2B5EF4-FFF2-40B4-BE49-F238E27FC236}">
                <a16:creationId xmlns="" xmlns:a16="http://schemas.microsoft.com/office/drawing/2014/main" id="{C30AC055-11D5-4540-94E4-C3B7BE6EFD7D}"/>
              </a:ext>
            </a:extLst>
          </p:cNvPr>
          <p:cNvSpPr>
            <a:spLocks noGrp="1"/>
          </p:cNvSpPr>
          <p:nvPr>
            <p:ph type="body" sz="quarter" idx="10" hasCustomPrompt="1"/>
            <p:custDataLst>
              <p:tags r:id="rId8"/>
            </p:custDataLst>
          </p:nvPr>
        </p:nvSpPr>
        <p:spPr>
          <a:xfrm>
            <a:off x="416052" y="31273"/>
            <a:ext cx="2882504" cy="92333"/>
          </a:xfrm>
          <a:prstGeom prst="rect">
            <a:avLst/>
          </a:prstGeom>
          <a:ln w="6350">
            <a:noFill/>
            <a:miter lim="800000"/>
          </a:ln>
        </p:spPr>
        <p:txBody>
          <a:bodyPr vert="horz" wrap="square" lIns="0" tIns="0" rIns="0" bIns="0" rtlCol="0">
            <a:spAutoFit/>
          </a:bodyPr>
          <a:lstStyle>
            <a:lvl1pPr>
              <a:defRPr lang="en-US" sz="600" b="0" dirty="0">
                <a:cs typeface="+mn-cs"/>
              </a:defRPr>
            </a:lvl1pPr>
          </a:lstStyle>
          <a:p>
            <a:pPr lvl="0">
              <a:buNone/>
            </a:pPr>
            <a:r>
              <a:rPr lang="en-US"/>
              <a:t>Add tracker</a:t>
            </a:r>
          </a:p>
        </p:txBody>
      </p:sp>
    </p:spTree>
    <p:extLst>
      <p:ext uri="{BB962C8B-B14F-4D97-AF65-F5344CB8AC3E}">
        <p14:creationId xmlns:p14="http://schemas.microsoft.com/office/powerpoint/2010/main" val="319986115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Advanced 1/3 Image (Full Bleed)">
    <p:spTree>
      <p:nvGrpSpPr>
        <p:cNvPr id="1" name=""/>
        <p:cNvGrpSpPr/>
        <p:nvPr/>
      </p:nvGrpSpPr>
      <p:grpSpPr>
        <a:xfrm>
          <a:off x="0" y="0"/>
          <a:ext cx="0" cy="0"/>
          <a:chOff x="0" y="0"/>
          <a:chExt cx="0" cy="0"/>
        </a:xfrm>
      </p:grpSpPr>
      <p:sp>
        <p:nvSpPr>
          <p:cNvPr id="7" name="Text Placeholder 6">
            <a:extLst>
              <a:ext uri="{FF2B5EF4-FFF2-40B4-BE49-F238E27FC236}">
                <a16:creationId xmlns="" xmlns:a16="http://schemas.microsoft.com/office/drawing/2014/main" id="{65925D82-457F-D84D-B8DF-D8ADFD7E71DF}"/>
              </a:ext>
            </a:extLst>
          </p:cNvPr>
          <p:cNvSpPr>
            <a:spLocks noGrp="1"/>
          </p:cNvSpPr>
          <p:nvPr>
            <p:ph type="body" sz="quarter" idx="14" hasCustomPrompt="1"/>
          </p:nvPr>
        </p:nvSpPr>
        <p:spPr>
          <a:xfrm>
            <a:off x="233362" y="2383723"/>
            <a:ext cx="4281488" cy="204590"/>
          </a:xfrm>
          <a:prstGeom prst="rect">
            <a:avLst/>
          </a:prstGeom>
        </p:spPr>
        <p:txBody>
          <a:bodyPr tIns="0" rIns="0" bIns="0" numCol="1">
            <a:noAutofit/>
          </a:bodyPr>
          <a:lstStyle>
            <a:lvl1pPr marL="0" indent="0">
              <a:lnSpc>
                <a:spcPct val="100000"/>
              </a:lnSpc>
              <a:spcBef>
                <a:spcPts val="0"/>
              </a:spcBef>
              <a:spcAft>
                <a:spcPts val="450"/>
              </a:spcAft>
              <a:buNone/>
              <a:defRPr sz="1400" b="1">
                <a:solidFill>
                  <a:schemeClr val="accent1"/>
                </a:solidFill>
              </a:defRPr>
            </a:lvl1pPr>
            <a:lvl2pPr marL="342353" indent="0">
              <a:lnSpc>
                <a:spcPts val="1350"/>
              </a:lnSpc>
              <a:spcBef>
                <a:spcPts val="0"/>
              </a:spcBef>
              <a:buNone/>
              <a:defRPr sz="1100"/>
            </a:lvl2pPr>
            <a:lvl3pPr marL="684762" indent="0">
              <a:lnSpc>
                <a:spcPts val="1350"/>
              </a:lnSpc>
              <a:spcBef>
                <a:spcPts val="0"/>
              </a:spcBef>
              <a:buNone/>
              <a:defRPr sz="1100"/>
            </a:lvl3pPr>
            <a:lvl4pPr marL="1027139" indent="0">
              <a:lnSpc>
                <a:spcPts val="1350"/>
              </a:lnSpc>
              <a:spcBef>
                <a:spcPts val="0"/>
              </a:spcBef>
              <a:buNone/>
              <a:defRPr sz="1100"/>
            </a:lvl4pPr>
            <a:lvl5pPr marL="1369518" indent="0">
              <a:lnSpc>
                <a:spcPts val="1350"/>
              </a:lnSpc>
              <a:spcBef>
                <a:spcPts val="0"/>
              </a:spcBef>
              <a:buNone/>
              <a:defRPr sz="1100"/>
            </a:lvl5pPr>
          </a:lstStyle>
          <a:p>
            <a:pPr lvl="0"/>
            <a:r>
              <a:rPr lang="en-US"/>
              <a:t>This is your Secondary Title</a:t>
            </a:r>
          </a:p>
        </p:txBody>
      </p:sp>
      <p:sp>
        <p:nvSpPr>
          <p:cNvPr id="12" name="Text Placeholder 6">
            <a:extLst>
              <a:ext uri="{FF2B5EF4-FFF2-40B4-BE49-F238E27FC236}">
                <a16:creationId xmlns="" xmlns:a16="http://schemas.microsoft.com/office/drawing/2014/main" id="{FD2406EE-A554-5348-AE6D-4D8B343E6201}"/>
              </a:ext>
            </a:extLst>
          </p:cNvPr>
          <p:cNvSpPr>
            <a:spLocks noGrp="1"/>
          </p:cNvSpPr>
          <p:nvPr>
            <p:ph type="body" sz="quarter" idx="15" hasCustomPrompt="1"/>
          </p:nvPr>
        </p:nvSpPr>
        <p:spPr>
          <a:xfrm>
            <a:off x="233364" y="2681928"/>
            <a:ext cx="5747855" cy="2144716"/>
          </a:xfrm>
          <a:prstGeom prst="rect">
            <a:avLst/>
          </a:prstGeom>
        </p:spPr>
        <p:txBody>
          <a:bodyPr tIns="0" rIns="0" bIns="0" numCol="2" spcCol="94400">
            <a:noAutofit/>
          </a:bodyPr>
          <a:lstStyle>
            <a:lvl1pPr marL="128438" indent="-128438">
              <a:lnSpc>
                <a:spcPct val="100000"/>
              </a:lnSpc>
              <a:spcBef>
                <a:spcPts val="0"/>
              </a:spcBef>
              <a:spcAft>
                <a:spcPts val="450"/>
              </a:spcAft>
              <a:buFont typeface="Arial" panose="020B0604020202020204" pitchFamily="34" charset="0"/>
              <a:buChar char="•"/>
              <a:defRPr sz="1100" b="0">
                <a:solidFill>
                  <a:schemeClr val="tx1"/>
                </a:solidFill>
              </a:defRPr>
            </a:lvl1pPr>
            <a:lvl2pPr marL="342353" indent="0">
              <a:lnSpc>
                <a:spcPts val="1350"/>
              </a:lnSpc>
              <a:spcBef>
                <a:spcPts val="0"/>
              </a:spcBef>
              <a:buNone/>
              <a:defRPr sz="1100"/>
            </a:lvl2pPr>
            <a:lvl3pPr marL="684762" indent="0">
              <a:lnSpc>
                <a:spcPts val="1350"/>
              </a:lnSpc>
              <a:spcBef>
                <a:spcPts val="0"/>
              </a:spcBef>
              <a:buNone/>
              <a:defRPr sz="1100"/>
            </a:lvl3pPr>
            <a:lvl4pPr marL="1027139" indent="0">
              <a:lnSpc>
                <a:spcPts val="1350"/>
              </a:lnSpc>
              <a:spcBef>
                <a:spcPts val="0"/>
              </a:spcBef>
              <a:buNone/>
              <a:defRPr sz="1100"/>
            </a:lvl4pPr>
            <a:lvl5pPr marL="1369518" indent="0">
              <a:lnSpc>
                <a:spcPts val="1350"/>
              </a:lnSpc>
              <a:spcBef>
                <a:spcPts val="0"/>
              </a:spcBef>
              <a:buNone/>
              <a:defRPr sz="1100"/>
            </a:lvl5pPr>
          </a:lstStyle>
          <a:p>
            <a:pPr lvl="0"/>
            <a:r>
              <a:rPr lang="en-US"/>
              <a:t>This is your Secondary text.</a:t>
            </a:r>
          </a:p>
        </p:txBody>
      </p:sp>
      <p:sp>
        <p:nvSpPr>
          <p:cNvPr id="11" name="Picture Placeholder 9">
            <a:extLst>
              <a:ext uri="{FF2B5EF4-FFF2-40B4-BE49-F238E27FC236}">
                <a16:creationId xmlns="" xmlns:a16="http://schemas.microsoft.com/office/drawing/2014/main" id="{B54C5EE8-C42D-B549-B4D4-C0F00D68A42B}"/>
              </a:ext>
            </a:extLst>
          </p:cNvPr>
          <p:cNvSpPr>
            <a:spLocks noGrp="1"/>
          </p:cNvSpPr>
          <p:nvPr>
            <p:ph type="pic" sz="quarter" idx="18" hasCustomPrompt="1"/>
          </p:nvPr>
        </p:nvSpPr>
        <p:spPr>
          <a:xfrm>
            <a:off x="6092782" y="-1034"/>
            <a:ext cx="3057710" cy="5145632"/>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 name="connsiteX0" fmla="*/ 0 w 4082753"/>
              <a:gd name="connsiteY0" fmla="*/ 2 h 6874096"/>
              <a:gd name="connsiteX1" fmla="*/ 4082678 w 4082753"/>
              <a:gd name="connsiteY1" fmla="*/ 1742343 h 6874096"/>
              <a:gd name="connsiteX2" fmla="*/ 4076946 w 4082753"/>
              <a:gd name="connsiteY2" fmla="*/ 6855288 h 6874096"/>
              <a:gd name="connsiteX3" fmla="*/ 609909 w 4082753"/>
              <a:gd name="connsiteY3" fmla="*/ 6874096 h 6874096"/>
              <a:gd name="connsiteX4" fmla="*/ 30187 w 4082753"/>
              <a:gd name="connsiteY4" fmla="*/ 6294374 h 6874096"/>
              <a:gd name="connsiteX5" fmla="*/ 0 w 4082753"/>
              <a:gd name="connsiteY5" fmla="*/ 2 h 6874096"/>
              <a:gd name="connsiteX0" fmla="*/ 0 w 4095958"/>
              <a:gd name="connsiteY0" fmla="*/ 6946 h 6881040"/>
              <a:gd name="connsiteX1" fmla="*/ 4095930 w 4095958"/>
              <a:gd name="connsiteY1" fmla="*/ 0 h 6881040"/>
              <a:gd name="connsiteX2" fmla="*/ 4076946 w 4095958"/>
              <a:gd name="connsiteY2" fmla="*/ 6862232 h 6881040"/>
              <a:gd name="connsiteX3" fmla="*/ 609909 w 4095958"/>
              <a:gd name="connsiteY3" fmla="*/ 6881040 h 6881040"/>
              <a:gd name="connsiteX4" fmla="*/ 30187 w 4095958"/>
              <a:gd name="connsiteY4" fmla="*/ 6301318 h 6881040"/>
              <a:gd name="connsiteX5" fmla="*/ 0 w 4095958"/>
              <a:gd name="connsiteY5" fmla="*/ 6946 h 6881040"/>
              <a:gd name="connsiteX0" fmla="*/ 0 w 4076946"/>
              <a:gd name="connsiteY0" fmla="*/ 0 h 6874094"/>
              <a:gd name="connsiteX1" fmla="*/ 3870643 w 4076946"/>
              <a:gd name="connsiteY1" fmla="*/ 191837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0 h 6874094"/>
              <a:gd name="connsiteX1" fmla="*/ 4069426 w 4076946"/>
              <a:gd name="connsiteY1" fmla="*/ 19559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99710 h 6854535"/>
              <a:gd name="connsiteX1" fmla="*/ 4069426 w 4076946"/>
              <a:gd name="connsiteY1" fmla="*/ 0 h 6854535"/>
              <a:gd name="connsiteX2" fmla="*/ 4076946 w 4076946"/>
              <a:gd name="connsiteY2" fmla="*/ 6835727 h 6854535"/>
              <a:gd name="connsiteX3" fmla="*/ 609909 w 4076946"/>
              <a:gd name="connsiteY3" fmla="*/ 6854535 h 6854535"/>
              <a:gd name="connsiteX4" fmla="*/ 30187 w 4076946"/>
              <a:gd name="connsiteY4" fmla="*/ 6274813 h 6854535"/>
              <a:gd name="connsiteX5" fmla="*/ 0 w 4076946"/>
              <a:gd name="connsiteY5" fmla="*/ 99710 h 6854535"/>
              <a:gd name="connsiteX0" fmla="*/ 0 w 4076946"/>
              <a:gd name="connsiteY0" fmla="*/ 0 h 6860842"/>
              <a:gd name="connsiteX1" fmla="*/ 4069426 w 4076946"/>
              <a:gd name="connsiteY1" fmla="*/ 6307 h 6860842"/>
              <a:gd name="connsiteX2" fmla="*/ 4076946 w 4076946"/>
              <a:gd name="connsiteY2" fmla="*/ 6842034 h 6860842"/>
              <a:gd name="connsiteX3" fmla="*/ 609909 w 4076946"/>
              <a:gd name="connsiteY3" fmla="*/ 6860842 h 6860842"/>
              <a:gd name="connsiteX4" fmla="*/ 30187 w 4076946"/>
              <a:gd name="connsiteY4" fmla="*/ 6281120 h 6860842"/>
              <a:gd name="connsiteX5" fmla="*/ 0 w 4076946"/>
              <a:gd name="connsiteY5" fmla="*/ 0 h 686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76946" h="6860842">
                <a:moveTo>
                  <a:pt x="0" y="0"/>
                </a:moveTo>
                <a:lnTo>
                  <a:pt x="4069426" y="6307"/>
                </a:lnTo>
                <a:cubicBezTo>
                  <a:pt x="4070331" y="2153114"/>
                  <a:pt x="4076041" y="4695227"/>
                  <a:pt x="4076946" y="6842034"/>
                </a:cubicBezTo>
                <a:lnTo>
                  <a:pt x="609909" y="6860842"/>
                </a:lnTo>
                <a:cubicBezTo>
                  <a:pt x="289737" y="6860842"/>
                  <a:pt x="30187" y="6601292"/>
                  <a:pt x="30187" y="6281120"/>
                </a:cubicBezTo>
                <a:cubicBezTo>
                  <a:pt x="24542" y="4758683"/>
                  <a:pt x="5645" y="1522437"/>
                  <a:pt x="0" y="0"/>
                </a:cubicBezTo>
                <a:close/>
              </a:path>
            </a:pathLst>
          </a:custGeom>
          <a:noFill/>
        </p:spPr>
        <p:txBody>
          <a:bodyPr>
            <a:normAutofit/>
          </a:bodyPr>
          <a:lstStyle>
            <a:lvl1pPr marL="0" indent="0">
              <a:buNone/>
              <a:defRPr sz="1100">
                <a:solidFill>
                  <a:schemeClr val="tx1"/>
                </a:solidFill>
              </a:defRPr>
            </a:lvl1pPr>
          </a:lstStyle>
          <a:p>
            <a:r>
              <a:rPr lang="x-none"/>
              <a:t>Insert Photo</a:t>
            </a:r>
          </a:p>
        </p:txBody>
      </p:sp>
      <p:sp>
        <p:nvSpPr>
          <p:cNvPr id="17" name="タイトル プレースホルダ 1">
            <a:extLst>
              <a:ext uri="{FF2B5EF4-FFF2-40B4-BE49-F238E27FC236}">
                <a16:creationId xmlns="" xmlns:a16="http://schemas.microsoft.com/office/drawing/2014/main" id="{6FB24DD6-99CB-CE43-A787-C9F60DC95F8F}"/>
              </a:ext>
            </a:extLst>
          </p:cNvPr>
          <p:cNvSpPr>
            <a:spLocks noGrp="1"/>
          </p:cNvSpPr>
          <p:nvPr>
            <p:ph type="title" hasCustomPrompt="1"/>
          </p:nvPr>
        </p:nvSpPr>
        <p:spPr>
          <a:xfrm>
            <a:off x="454563" y="121208"/>
            <a:ext cx="5526659" cy="51435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 xmlns:a16="http://schemas.microsoft.com/office/drawing/2014/main" id="{77130E5B-E573-584B-8C83-F8409492B14B}"/>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05" tIns="34289" rIns="68505" bIns="34289" rtlCol="0" anchor="ctr"/>
          <a:lstStyle/>
          <a:p>
            <a:pPr algn="ctr" defTabSz="684950"/>
            <a:endParaRPr kumimoji="1" lang="x-none" sz="1400">
              <a:solidFill>
                <a:srgbClr val="E1242A"/>
              </a:solidFill>
            </a:endParaRPr>
          </a:p>
        </p:txBody>
      </p:sp>
      <p:sp>
        <p:nvSpPr>
          <p:cNvPr id="21" name="スライド番号プレースホルダ 5">
            <a:extLst>
              <a:ext uri="{FF2B5EF4-FFF2-40B4-BE49-F238E27FC236}">
                <a16:creationId xmlns="" xmlns:a16="http://schemas.microsoft.com/office/drawing/2014/main" id="{C55CC856-2ADD-F44F-96B6-03734457CCF1}"/>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2983"/>
            <a:fld id="{E9B57936-92EF-4126-AE48-1D9D36D15E98}" type="slidenum">
              <a:rPr lang="ja-JP" altLang="en-US" smtClean="0">
                <a:solidFill>
                  <a:srgbClr val="34373F"/>
                </a:solidFill>
              </a:rPr>
              <a:pPr defTabSz="912983"/>
              <a:t>‹Nº›</a:t>
            </a:fld>
            <a:endParaRPr lang="ja-JP" altLang="en-US">
              <a:solidFill>
                <a:srgbClr val="34373F"/>
              </a:solidFill>
            </a:endParaRPr>
          </a:p>
        </p:txBody>
      </p:sp>
      <p:sp>
        <p:nvSpPr>
          <p:cNvPr id="19" name="Text Placeholder 2">
            <a:extLst>
              <a:ext uri="{FF2B5EF4-FFF2-40B4-BE49-F238E27FC236}">
                <a16:creationId xmlns="" xmlns:a16="http://schemas.microsoft.com/office/drawing/2014/main" id="{73A8AA34-7C7D-A24F-AF24-5158DD2AB0ED}"/>
              </a:ext>
            </a:extLst>
          </p:cNvPr>
          <p:cNvSpPr>
            <a:spLocks noGrp="1"/>
          </p:cNvSpPr>
          <p:nvPr>
            <p:ph type="body" sz="quarter" idx="20" hasCustomPrompt="1"/>
          </p:nvPr>
        </p:nvSpPr>
        <p:spPr>
          <a:xfrm>
            <a:off x="233365" y="1118532"/>
            <a:ext cx="5745032" cy="1098718"/>
          </a:xfrm>
        </p:spPr>
        <p:txBody>
          <a:bodyPr tIns="0" rIns="0" bIns="0" numCol="1" spcCol="94400">
            <a:noAutofit/>
          </a:bodyPr>
          <a:lstStyle>
            <a:lvl1pPr marL="0" indent="0">
              <a:lnSpc>
                <a:spcPct val="100000"/>
              </a:lnSpc>
              <a:spcBef>
                <a:spcPts val="0"/>
              </a:spcBef>
              <a:buNone/>
              <a:defRPr sz="1200" b="1"/>
            </a:lvl1pPr>
            <a:lvl2pPr marL="342353" indent="0">
              <a:buNone/>
              <a:defRPr sz="1400" b="1"/>
            </a:lvl2pPr>
            <a:lvl3pPr marL="684762" indent="0">
              <a:buNone/>
              <a:defRPr sz="1400" b="1"/>
            </a:lvl3pPr>
            <a:lvl4pPr marL="1027139" indent="0">
              <a:buNone/>
              <a:defRPr sz="1400" b="1"/>
            </a:lvl4pPr>
            <a:lvl5pPr marL="1369518" indent="0">
              <a:buNone/>
              <a:defRPr sz="1400" b="1"/>
            </a:lvl5pPr>
          </a:lstStyle>
          <a:p>
            <a:pPr lvl="0"/>
            <a:r>
              <a:rPr lang="en-US"/>
              <a:t>This is your Primary Text.</a:t>
            </a:r>
            <a:endParaRPr lang="x-none"/>
          </a:p>
        </p:txBody>
      </p:sp>
      <p:sp>
        <p:nvSpPr>
          <p:cNvPr id="20" name="Text Placeholder 6">
            <a:extLst>
              <a:ext uri="{FF2B5EF4-FFF2-40B4-BE49-F238E27FC236}">
                <a16:creationId xmlns="" xmlns:a16="http://schemas.microsoft.com/office/drawing/2014/main" id="{8F4B55CE-CF3E-7E44-A66A-599621CA5C5F}"/>
              </a:ext>
            </a:extLst>
          </p:cNvPr>
          <p:cNvSpPr>
            <a:spLocks noGrp="1"/>
          </p:cNvSpPr>
          <p:nvPr>
            <p:ph type="body" sz="quarter" idx="21" hasCustomPrompt="1"/>
          </p:nvPr>
        </p:nvSpPr>
        <p:spPr>
          <a:xfrm>
            <a:off x="233362" y="820327"/>
            <a:ext cx="5745032" cy="204590"/>
          </a:xfrm>
        </p:spPr>
        <p:txBody>
          <a:bodyPr tIns="0" rIns="0" bIns="0" numCol="1">
            <a:noAutofit/>
          </a:bodyPr>
          <a:lstStyle>
            <a:lvl1pPr marL="0" indent="0">
              <a:lnSpc>
                <a:spcPct val="100000"/>
              </a:lnSpc>
              <a:spcBef>
                <a:spcPts val="0"/>
              </a:spcBef>
              <a:spcAft>
                <a:spcPts val="450"/>
              </a:spcAft>
              <a:buNone/>
              <a:defRPr sz="1500" b="1">
                <a:solidFill>
                  <a:schemeClr val="accent1"/>
                </a:solidFill>
              </a:defRPr>
            </a:lvl1pPr>
            <a:lvl2pPr marL="342353" indent="0">
              <a:lnSpc>
                <a:spcPts val="1350"/>
              </a:lnSpc>
              <a:spcBef>
                <a:spcPts val="0"/>
              </a:spcBef>
              <a:buNone/>
              <a:defRPr sz="1100"/>
            </a:lvl2pPr>
            <a:lvl3pPr marL="684762" indent="0">
              <a:lnSpc>
                <a:spcPts val="1350"/>
              </a:lnSpc>
              <a:spcBef>
                <a:spcPts val="0"/>
              </a:spcBef>
              <a:buNone/>
              <a:defRPr sz="1100"/>
            </a:lvl3pPr>
            <a:lvl4pPr marL="1027139" indent="0">
              <a:lnSpc>
                <a:spcPts val="1350"/>
              </a:lnSpc>
              <a:spcBef>
                <a:spcPts val="0"/>
              </a:spcBef>
              <a:buNone/>
              <a:defRPr sz="1100"/>
            </a:lvl4pPr>
            <a:lvl5pPr marL="1369518" indent="0">
              <a:lnSpc>
                <a:spcPts val="1350"/>
              </a:lnSpc>
              <a:spcBef>
                <a:spcPts val="0"/>
              </a:spcBef>
              <a:buNone/>
              <a:defRPr sz="1100"/>
            </a:lvl5pPr>
          </a:lstStyle>
          <a:p>
            <a:pPr lvl="0"/>
            <a:r>
              <a:rPr lang="en-US"/>
              <a:t>This is your Primary Title</a:t>
            </a:r>
          </a:p>
        </p:txBody>
      </p:sp>
      <p:pic>
        <p:nvPicPr>
          <p:cNvPr id="13" name="Picture 12">
            <a:extLst>
              <a:ext uri="{FF2B5EF4-FFF2-40B4-BE49-F238E27FC236}">
                <a16:creationId xmlns="" xmlns:a16="http://schemas.microsoft.com/office/drawing/2014/main" id="{AE5DB0EF-7D54-49B2-9D9A-CFF2342CB11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937746" y="4604928"/>
            <a:ext cx="1008126" cy="603504"/>
          </a:xfrm>
          <a:prstGeom prst="rect">
            <a:avLst/>
          </a:prstGeom>
        </p:spPr>
      </p:pic>
    </p:spTree>
    <p:extLst>
      <p:ext uri="{BB962C8B-B14F-4D97-AF65-F5344CB8AC3E}">
        <p14:creationId xmlns:p14="http://schemas.microsoft.com/office/powerpoint/2010/main" val="2768873207"/>
      </p:ext>
    </p:extLst>
  </p:cSld>
  <p:clrMapOvr>
    <a:masterClrMapping/>
  </p:clrMapOvr>
  <p:transition spd="slow">
    <p:push dir="u"/>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Advanced Image 4-Column">
    <p:spTree>
      <p:nvGrpSpPr>
        <p:cNvPr id="1" name=""/>
        <p:cNvGrpSpPr/>
        <p:nvPr/>
      </p:nvGrpSpPr>
      <p:grpSpPr>
        <a:xfrm>
          <a:off x="0" y="0"/>
          <a:ext cx="0" cy="0"/>
          <a:chOff x="0" y="0"/>
          <a:chExt cx="0" cy="0"/>
        </a:xfrm>
      </p:grpSpPr>
      <p:sp>
        <p:nvSpPr>
          <p:cNvPr id="22" name="Picture Placeholder 9">
            <a:extLst>
              <a:ext uri="{FF2B5EF4-FFF2-40B4-BE49-F238E27FC236}">
                <a16:creationId xmlns="" xmlns:a16="http://schemas.microsoft.com/office/drawing/2014/main" id="{21DF8897-54F9-C24F-8261-0C5418827A6D}"/>
              </a:ext>
            </a:extLst>
          </p:cNvPr>
          <p:cNvSpPr>
            <a:spLocks noGrp="1"/>
          </p:cNvSpPr>
          <p:nvPr>
            <p:ph type="pic" sz="quarter" idx="10" hasCustomPrompt="1"/>
          </p:nvPr>
        </p:nvSpPr>
        <p:spPr>
          <a:xfrm>
            <a:off x="6833103" y="2307263"/>
            <a:ext cx="2079031" cy="2354227"/>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marR="0" indent="0" algn="l" defTabSz="684763"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1100">
                <a:solidFill>
                  <a:schemeClr val="tx1"/>
                </a:solidFill>
              </a:defRPr>
            </a:lvl1pPr>
          </a:lstStyle>
          <a:p>
            <a:pPr marL="0" marR="0" lvl="0" indent="0" algn="l" defTabSz="684763"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x-none"/>
              <a:t>Insert Picture/Text Block</a:t>
            </a:r>
          </a:p>
          <a:p>
            <a:endParaRPr lang="x-none"/>
          </a:p>
        </p:txBody>
      </p:sp>
      <p:sp>
        <p:nvSpPr>
          <p:cNvPr id="23" name="Picture Placeholder 9">
            <a:extLst>
              <a:ext uri="{FF2B5EF4-FFF2-40B4-BE49-F238E27FC236}">
                <a16:creationId xmlns="" xmlns:a16="http://schemas.microsoft.com/office/drawing/2014/main" id="{8D6B3691-FCAC-8A46-AA30-DEB2A719C7B2}"/>
              </a:ext>
            </a:extLst>
          </p:cNvPr>
          <p:cNvSpPr>
            <a:spLocks noGrp="1"/>
          </p:cNvSpPr>
          <p:nvPr>
            <p:ph type="pic" sz="quarter" idx="18" hasCustomPrompt="1"/>
          </p:nvPr>
        </p:nvSpPr>
        <p:spPr>
          <a:xfrm>
            <a:off x="233543" y="2307263"/>
            <a:ext cx="2079031" cy="2354227"/>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100">
                <a:solidFill>
                  <a:schemeClr val="tx1"/>
                </a:solidFill>
              </a:defRPr>
            </a:lvl1pPr>
          </a:lstStyle>
          <a:p>
            <a:r>
              <a:rPr lang="x-none"/>
              <a:t>Insert Picture/Text Block</a:t>
            </a:r>
          </a:p>
        </p:txBody>
      </p:sp>
      <p:sp>
        <p:nvSpPr>
          <p:cNvPr id="24" name="Picture Placeholder 9">
            <a:extLst>
              <a:ext uri="{FF2B5EF4-FFF2-40B4-BE49-F238E27FC236}">
                <a16:creationId xmlns="" xmlns:a16="http://schemas.microsoft.com/office/drawing/2014/main" id="{AA8F528A-C9DE-0B46-881A-43E0F9B6F677}"/>
              </a:ext>
            </a:extLst>
          </p:cNvPr>
          <p:cNvSpPr>
            <a:spLocks noGrp="1"/>
          </p:cNvSpPr>
          <p:nvPr>
            <p:ph type="pic" sz="quarter" idx="19" hasCustomPrompt="1"/>
          </p:nvPr>
        </p:nvSpPr>
        <p:spPr>
          <a:xfrm>
            <a:off x="2433421" y="2307263"/>
            <a:ext cx="2079031" cy="2354227"/>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100">
                <a:solidFill>
                  <a:schemeClr val="tx1"/>
                </a:solidFill>
              </a:defRPr>
            </a:lvl1pPr>
          </a:lstStyle>
          <a:p>
            <a:r>
              <a:rPr lang="x-none"/>
              <a:t>Insert Picture/Text Block</a:t>
            </a:r>
          </a:p>
        </p:txBody>
      </p:sp>
      <p:sp>
        <p:nvSpPr>
          <p:cNvPr id="25" name="Picture Placeholder 9">
            <a:extLst>
              <a:ext uri="{FF2B5EF4-FFF2-40B4-BE49-F238E27FC236}">
                <a16:creationId xmlns="" xmlns:a16="http://schemas.microsoft.com/office/drawing/2014/main" id="{E01CF285-75D7-154A-ACF2-9393FB0B38D0}"/>
              </a:ext>
            </a:extLst>
          </p:cNvPr>
          <p:cNvSpPr>
            <a:spLocks noGrp="1"/>
          </p:cNvSpPr>
          <p:nvPr>
            <p:ph type="pic" sz="quarter" idx="20" hasCustomPrompt="1"/>
          </p:nvPr>
        </p:nvSpPr>
        <p:spPr>
          <a:xfrm>
            <a:off x="4633220" y="2307263"/>
            <a:ext cx="2079031" cy="2354227"/>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100">
                <a:solidFill>
                  <a:schemeClr val="tx1"/>
                </a:solidFill>
              </a:defRPr>
            </a:lvl1pPr>
          </a:lstStyle>
          <a:p>
            <a:r>
              <a:rPr lang="en-US"/>
              <a:t>Insert Picture/Text Block</a:t>
            </a:r>
          </a:p>
          <a:p>
            <a:endParaRPr lang="en-US"/>
          </a:p>
          <a:p>
            <a:endParaRPr lang="x-none"/>
          </a:p>
        </p:txBody>
      </p:sp>
      <p:sp>
        <p:nvSpPr>
          <p:cNvPr id="18" name="タイトル プレースホルダ 1">
            <a:extLst>
              <a:ext uri="{FF2B5EF4-FFF2-40B4-BE49-F238E27FC236}">
                <a16:creationId xmlns="" xmlns:a16="http://schemas.microsoft.com/office/drawing/2014/main" id="{4FBB8310-69E6-7C4E-A4B1-C022B6FEE2CE}"/>
              </a:ext>
            </a:extLst>
          </p:cNvPr>
          <p:cNvSpPr>
            <a:spLocks noGrp="1"/>
          </p:cNvSpPr>
          <p:nvPr>
            <p:ph type="title" hasCustomPrompt="1"/>
          </p:nvPr>
        </p:nvSpPr>
        <p:spPr>
          <a:xfrm>
            <a:off x="454560" y="121208"/>
            <a:ext cx="7455190" cy="51435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1" name="Rectangle 20">
            <a:extLst>
              <a:ext uri="{FF2B5EF4-FFF2-40B4-BE49-F238E27FC236}">
                <a16:creationId xmlns="" xmlns:a16="http://schemas.microsoft.com/office/drawing/2014/main" id="{0FEF9AE6-D84E-9F43-9506-6676EC51B210}"/>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05" tIns="34289" rIns="68505" bIns="34289" rtlCol="0" anchor="ctr"/>
          <a:lstStyle/>
          <a:p>
            <a:pPr algn="ctr" defTabSz="684950"/>
            <a:endParaRPr kumimoji="1" lang="x-none" sz="1400">
              <a:solidFill>
                <a:srgbClr val="E1242A"/>
              </a:solidFill>
            </a:endParaRPr>
          </a:p>
        </p:txBody>
      </p:sp>
      <p:sp>
        <p:nvSpPr>
          <p:cNvPr id="28" name="スライド番号プレースホルダ 5">
            <a:extLst>
              <a:ext uri="{FF2B5EF4-FFF2-40B4-BE49-F238E27FC236}">
                <a16:creationId xmlns="" xmlns:a16="http://schemas.microsoft.com/office/drawing/2014/main" id="{F964ADE6-9B0D-EC45-959C-FEEA5CDDFBA9}"/>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2983"/>
            <a:fld id="{E9B57936-92EF-4126-AE48-1D9D36D15E98}" type="slidenum">
              <a:rPr lang="ja-JP" altLang="en-US" smtClean="0">
                <a:solidFill>
                  <a:srgbClr val="34373F"/>
                </a:solidFill>
              </a:rPr>
              <a:pPr defTabSz="912983"/>
              <a:t>‹Nº›</a:t>
            </a:fld>
            <a:endParaRPr lang="ja-JP" altLang="en-US">
              <a:solidFill>
                <a:srgbClr val="34373F"/>
              </a:solidFill>
            </a:endParaRPr>
          </a:p>
        </p:txBody>
      </p:sp>
      <p:sp>
        <p:nvSpPr>
          <p:cNvPr id="19" name="Text Placeholder 2">
            <a:extLst>
              <a:ext uri="{FF2B5EF4-FFF2-40B4-BE49-F238E27FC236}">
                <a16:creationId xmlns="" xmlns:a16="http://schemas.microsoft.com/office/drawing/2014/main" id="{099C450B-0755-7D4A-9672-E700D6F2E50A}"/>
              </a:ext>
            </a:extLst>
          </p:cNvPr>
          <p:cNvSpPr>
            <a:spLocks noGrp="1"/>
          </p:cNvSpPr>
          <p:nvPr>
            <p:ph type="body" sz="quarter" idx="21" hasCustomPrompt="1"/>
          </p:nvPr>
        </p:nvSpPr>
        <p:spPr>
          <a:xfrm>
            <a:off x="233365" y="1118532"/>
            <a:ext cx="8677274" cy="1098718"/>
          </a:xfrm>
        </p:spPr>
        <p:txBody>
          <a:bodyPr tIns="0" rIns="0" bIns="0" numCol="1" spcCol="94400">
            <a:noAutofit/>
          </a:bodyPr>
          <a:lstStyle>
            <a:lvl1pPr marL="0" indent="0">
              <a:lnSpc>
                <a:spcPct val="100000"/>
              </a:lnSpc>
              <a:spcBef>
                <a:spcPts val="0"/>
              </a:spcBef>
              <a:buNone/>
              <a:defRPr sz="1200" b="1"/>
            </a:lvl1pPr>
            <a:lvl2pPr marL="342353" indent="0">
              <a:buNone/>
              <a:defRPr sz="1400" b="1"/>
            </a:lvl2pPr>
            <a:lvl3pPr marL="684762" indent="0">
              <a:buNone/>
              <a:defRPr sz="1400" b="1"/>
            </a:lvl3pPr>
            <a:lvl4pPr marL="1027139" indent="0">
              <a:buNone/>
              <a:defRPr sz="1400" b="1"/>
            </a:lvl4pPr>
            <a:lvl5pPr marL="1369518" indent="0">
              <a:buNone/>
              <a:defRPr sz="1400" b="1"/>
            </a:lvl5pPr>
          </a:lstStyle>
          <a:p>
            <a:pPr lvl="0"/>
            <a:r>
              <a:rPr lang="en-US"/>
              <a:t>This is your Primary Text.</a:t>
            </a:r>
            <a:endParaRPr lang="x-none"/>
          </a:p>
        </p:txBody>
      </p:sp>
      <p:sp>
        <p:nvSpPr>
          <p:cNvPr id="20" name="Text Placeholder 6">
            <a:extLst>
              <a:ext uri="{FF2B5EF4-FFF2-40B4-BE49-F238E27FC236}">
                <a16:creationId xmlns="" xmlns:a16="http://schemas.microsoft.com/office/drawing/2014/main" id="{705B1BEB-AC9F-9643-A446-ABE1DDB96144}"/>
              </a:ext>
            </a:extLst>
          </p:cNvPr>
          <p:cNvSpPr>
            <a:spLocks noGrp="1"/>
          </p:cNvSpPr>
          <p:nvPr>
            <p:ph type="body" sz="quarter" idx="22" hasCustomPrompt="1"/>
          </p:nvPr>
        </p:nvSpPr>
        <p:spPr>
          <a:xfrm>
            <a:off x="233362" y="820327"/>
            <a:ext cx="8677274" cy="204590"/>
          </a:xfrm>
        </p:spPr>
        <p:txBody>
          <a:bodyPr tIns="0" rIns="0" bIns="0" numCol="1">
            <a:noAutofit/>
          </a:bodyPr>
          <a:lstStyle>
            <a:lvl1pPr marL="0" indent="0">
              <a:lnSpc>
                <a:spcPct val="100000"/>
              </a:lnSpc>
              <a:spcBef>
                <a:spcPts val="0"/>
              </a:spcBef>
              <a:spcAft>
                <a:spcPts val="450"/>
              </a:spcAft>
              <a:buNone/>
              <a:defRPr sz="1500" b="1">
                <a:solidFill>
                  <a:schemeClr val="accent1"/>
                </a:solidFill>
              </a:defRPr>
            </a:lvl1pPr>
            <a:lvl2pPr marL="342353" indent="0">
              <a:lnSpc>
                <a:spcPts val="1350"/>
              </a:lnSpc>
              <a:spcBef>
                <a:spcPts val="0"/>
              </a:spcBef>
              <a:buNone/>
              <a:defRPr sz="1100"/>
            </a:lvl2pPr>
            <a:lvl3pPr marL="684762" indent="0">
              <a:lnSpc>
                <a:spcPts val="1350"/>
              </a:lnSpc>
              <a:spcBef>
                <a:spcPts val="0"/>
              </a:spcBef>
              <a:buNone/>
              <a:defRPr sz="1100"/>
            </a:lvl3pPr>
            <a:lvl4pPr marL="1027139" indent="0">
              <a:lnSpc>
                <a:spcPts val="1350"/>
              </a:lnSpc>
              <a:spcBef>
                <a:spcPts val="0"/>
              </a:spcBef>
              <a:buNone/>
              <a:defRPr sz="1100"/>
            </a:lvl4pPr>
            <a:lvl5pPr marL="1369518" indent="0">
              <a:lnSpc>
                <a:spcPts val="1350"/>
              </a:lnSpc>
              <a:spcBef>
                <a:spcPts val="0"/>
              </a:spcBef>
              <a:buNone/>
              <a:defRPr sz="1100"/>
            </a:lvl5pPr>
          </a:lstStyle>
          <a:p>
            <a:pPr lvl="0"/>
            <a:r>
              <a:rPr lang="en-US"/>
              <a:t>This is your Primary Title</a:t>
            </a:r>
          </a:p>
        </p:txBody>
      </p:sp>
      <p:pic>
        <p:nvPicPr>
          <p:cNvPr id="14" name="Picture 13">
            <a:extLst>
              <a:ext uri="{FF2B5EF4-FFF2-40B4-BE49-F238E27FC236}">
                <a16:creationId xmlns="" xmlns:a16="http://schemas.microsoft.com/office/drawing/2014/main" id="{239D7E7F-4ADE-4E14-9D9B-793AF72B5AA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937746" y="4604928"/>
            <a:ext cx="1008126" cy="603504"/>
          </a:xfrm>
          <a:prstGeom prst="rect">
            <a:avLst/>
          </a:prstGeom>
        </p:spPr>
      </p:pic>
    </p:spTree>
    <p:extLst>
      <p:ext uri="{BB962C8B-B14F-4D97-AF65-F5344CB8AC3E}">
        <p14:creationId xmlns:p14="http://schemas.microsoft.com/office/powerpoint/2010/main" val="617295343"/>
      </p:ext>
    </p:extLst>
  </p:cSld>
  <p:clrMapOvr>
    <a:masterClrMapping/>
  </p:clrMapOvr>
  <p:transition spd="slow">
    <p:push dir="u"/>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Advanced Chart Full Width">
    <p:spTree>
      <p:nvGrpSpPr>
        <p:cNvPr id="1" name=""/>
        <p:cNvGrpSpPr/>
        <p:nvPr/>
      </p:nvGrpSpPr>
      <p:grpSpPr>
        <a:xfrm>
          <a:off x="0" y="0"/>
          <a:ext cx="0" cy="0"/>
          <a:chOff x="0" y="0"/>
          <a:chExt cx="0" cy="0"/>
        </a:xfrm>
      </p:grpSpPr>
      <p:sp>
        <p:nvSpPr>
          <p:cNvPr id="8" name="Chart Placeholder 7">
            <a:extLst>
              <a:ext uri="{FF2B5EF4-FFF2-40B4-BE49-F238E27FC236}">
                <a16:creationId xmlns="" xmlns:a16="http://schemas.microsoft.com/office/drawing/2014/main" id="{A6D4E593-FDCC-D14E-9C5E-5F309E415C26}"/>
              </a:ext>
            </a:extLst>
          </p:cNvPr>
          <p:cNvSpPr>
            <a:spLocks noGrp="1"/>
          </p:cNvSpPr>
          <p:nvPr>
            <p:ph type="chart" sz="quarter" idx="21" hasCustomPrompt="1"/>
          </p:nvPr>
        </p:nvSpPr>
        <p:spPr>
          <a:xfrm>
            <a:off x="231917" y="2307216"/>
            <a:ext cx="8678721" cy="2505292"/>
          </a:xfrm>
          <a:prstGeom prst="rect">
            <a:avLst/>
          </a:prstGeom>
        </p:spPr>
        <p:txBody>
          <a:bodyPr>
            <a:normAutofit/>
          </a:bodyPr>
          <a:lstStyle>
            <a:lvl1pPr marL="0" indent="0">
              <a:buNone/>
              <a:defRPr sz="1100"/>
            </a:lvl1pPr>
          </a:lstStyle>
          <a:p>
            <a:r>
              <a:rPr lang="x-none"/>
              <a:t>Insert Chart</a:t>
            </a:r>
          </a:p>
        </p:txBody>
      </p:sp>
      <p:sp>
        <p:nvSpPr>
          <p:cNvPr id="12" name="タイトル プレースホルダ 1">
            <a:extLst>
              <a:ext uri="{FF2B5EF4-FFF2-40B4-BE49-F238E27FC236}">
                <a16:creationId xmlns="" xmlns:a16="http://schemas.microsoft.com/office/drawing/2014/main" id="{75E45CD2-2EBD-AE47-837E-9F752C565F73}"/>
              </a:ext>
            </a:extLst>
          </p:cNvPr>
          <p:cNvSpPr>
            <a:spLocks noGrp="1"/>
          </p:cNvSpPr>
          <p:nvPr>
            <p:ph type="title" hasCustomPrompt="1"/>
          </p:nvPr>
        </p:nvSpPr>
        <p:spPr>
          <a:xfrm>
            <a:off x="454560" y="121208"/>
            <a:ext cx="7455190" cy="51435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Rectangle 19">
            <a:extLst>
              <a:ext uri="{FF2B5EF4-FFF2-40B4-BE49-F238E27FC236}">
                <a16:creationId xmlns="" xmlns:a16="http://schemas.microsoft.com/office/drawing/2014/main" id="{4436966D-3DF0-4D41-9D26-4860D147F807}"/>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05" tIns="34289" rIns="68505" bIns="34289" rtlCol="0" anchor="ctr"/>
          <a:lstStyle/>
          <a:p>
            <a:pPr algn="ctr" defTabSz="684950"/>
            <a:endParaRPr kumimoji="1" lang="x-none" sz="1400">
              <a:solidFill>
                <a:srgbClr val="E1242A"/>
              </a:solidFill>
            </a:endParaRPr>
          </a:p>
        </p:txBody>
      </p:sp>
      <p:sp>
        <p:nvSpPr>
          <p:cNvPr id="23" name="スライド番号プレースホルダ 5">
            <a:extLst>
              <a:ext uri="{FF2B5EF4-FFF2-40B4-BE49-F238E27FC236}">
                <a16:creationId xmlns="" xmlns:a16="http://schemas.microsoft.com/office/drawing/2014/main" id="{600920FB-2D44-F645-865D-89FFECB09573}"/>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2983"/>
            <a:fld id="{E9B57936-92EF-4126-AE48-1D9D36D15E98}" type="slidenum">
              <a:rPr lang="ja-JP" altLang="en-US" smtClean="0">
                <a:solidFill>
                  <a:srgbClr val="34373F"/>
                </a:solidFill>
              </a:rPr>
              <a:pPr defTabSz="912983"/>
              <a:t>‹Nº›</a:t>
            </a:fld>
            <a:endParaRPr lang="ja-JP" altLang="en-US">
              <a:solidFill>
                <a:srgbClr val="34373F"/>
              </a:solidFill>
            </a:endParaRPr>
          </a:p>
        </p:txBody>
      </p:sp>
      <p:sp>
        <p:nvSpPr>
          <p:cNvPr id="14" name="Text Placeholder 2">
            <a:extLst>
              <a:ext uri="{FF2B5EF4-FFF2-40B4-BE49-F238E27FC236}">
                <a16:creationId xmlns="" xmlns:a16="http://schemas.microsoft.com/office/drawing/2014/main" id="{628A960D-6A45-6744-9BDB-7070B443CC64}"/>
              </a:ext>
            </a:extLst>
          </p:cNvPr>
          <p:cNvSpPr>
            <a:spLocks noGrp="1"/>
          </p:cNvSpPr>
          <p:nvPr>
            <p:ph type="body" sz="quarter" idx="20" hasCustomPrompt="1"/>
          </p:nvPr>
        </p:nvSpPr>
        <p:spPr>
          <a:xfrm>
            <a:off x="233365" y="1118532"/>
            <a:ext cx="8677274" cy="1098718"/>
          </a:xfrm>
        </p:spPr>
        <p:txBody>
          <a:bodyPr tIns="0" rIns="0" bIns="0" numCol="1" spcCol="94400">
            <a:noAutofit/>
          </a:bodyPr>
          <a:lstStyle>
            <a:lvl1pPr marL="0" indent="0">
              <a:lnSpc>
                <a:spcPct val="100000"/>
              </a:lnSpc>
              <a:spcBef>
                <a:spcPts val="0"/>
              </a:spcBef>
              <a:buNone/>
              <a:defRPr sz="1200" b="1"/>
            </a:lvl1pPr>
            <a:lvl2pPr marL="342353" indent="0">
              <a:buNone/>
              <a:defRPr sz="1400" b="1"/>
            </a:lvl2pPr>
            <a:lvl3pPr marL="684762" indent="0">
              <a:buNone/>
              <a:defRPr sz="1400" b="1"/>
            </a:lvl3pPr>
            <a:lvl4pPr marL="1027139" indent="0">
              <a:buNone/>
              <a:defRPr sz="1400" b="1"/>
            </a:lvl4pPr>
            <a:lvl5pPr marL="1369518" indent="0">
              <a:buNone/>
              <a:defRPr sz="1400" b="1"/>
            </a:lvl5pPr>
          </a:lstStyle>
          <a:p>
            <a:pPr lvl="0"/>
            <a:r>
              <a:rPr lang="en-US"/>
              <a:t>This is your Primary Text.</a:t>
            </a:r>
            <a:endParaRPr lang="x-none"/>
          </a:p>
        </p:txBody>
      </p:sp>
      <p:sp>
        <p:nvSpPr>
          <p:cNvPr id="15" name="Text Placeholder 6">
            <a:extLst>
              <a:ext uri="{FF2B5EF4-FFF2-40B4-BE49-F238E27FC236}">
                <a16:creationId xmlns="" xmlns:a16="http://schemas.microsoft.com/office/drawing/2014/main" id="{21493179-5EA4-604B-A9DF-BDA818F0166A}"/>
              </a:ext>
            </a:extLst>
          </p:cNvPr>
          <p:cNvSpPr>
            <a:spLocks noGrp="1"/>
          </p:cNvSpPr>
          <p:nvPr>
            <p:ph type="body" sz="quarter" idx="22" hasCustomPrompt="1"/>
          </p:nvPr>
        </p:nvSpPr>
        <p:spPr>
          <a:xfrm>
            <a:off x="233362" y="820327"/>
            <a:ext cx="8677274" cy="204590"/>
          </a:xfrm>
        </p:spPr>
        <p:txBody>
          <a:bodyPr tIns="0" rIns="0" bIns="0" numCol="1">
            <a:noAutofit/>
          </a:bodyPr>
          <a:lstStyle>
            <a:lvl1pPr marL="0" indent="0">
              <a:lnSpc>
                <a:spcPct val="100000"/>
              </a:lnSpc>
              <a:spcBef>
                <a:spcPts val="0"/>
              </a:spcBef>
              <a:spcAft>
                <a:spcPts val="450"/>
              </a:spcAft>
              <a:buNone/>
              <a:defRPr sz="1500" b="1">
                <a:solidFill>
                  <a:schemeClr val="accent1"/>
                </a:solidFill>
              </a:defRPr>
            </a:lvl1pPr>
            <a:lvl2pPr marL="342353" indent="0">
              <a:lnSpc>
                <a:spcPts val="1350"/>
              </a:lnSpc>
              <a:spcBef>
                <a:spcPts val="0"/>
              </a:spcBef>
              <a:buNone/>
              <a:defRPr sz="1100"/>
            </a:lvl2pPr>
            <a:lvl3pPr marL="684762" indent="0">
              <a:lnSpc>
                <a:spcPts val="1350"/>
              </a:lnSpc>
              <a:spcBef>
                <a:spcPts val="0"/>
              </a:spcBef>
              <a:buNone/>
              <a:defRPr sz="1100"/>
            </a:lvl3pPr>
            <a:lvl4pPr marL="1027139" indent="0">
              <a:lnSpc>
                <a:spcPts val="1350"/>
              </a:lnSpc>
              <a:spcBef>
                <a:spcPts val="0"/>
              </a:spcBef>
              <a:buNone/>
              <a:defRPr sz="1100"/>
            </a:lvl4pPr>
            <a:lvl5pPr marL="1369518" indent="0">
              <a:lnSpc>
                <a:spcPts val="1350"/>
              </a:lnSpc>
              <a:spcBef>
                <a:spcPts val="0"/>
              </a:spcBef>
              <a:buNone/>
              <a:defRPr sz="1100"/>
            </a:lvl5pPr>
          </a:lstStyle>
          <a:p>
            <a:pPr lvl="0"/>
            <a:r>
              <a:rPr lang="en-US"/>
              <a:t>This is your Primary Title</a:t>
            </a:r>
          </a:p>
        </p:txBody>
      </p:sp>
      <p:pic>
        <p:nvPicPr>
          <p:cNvPr id="11" name="Picture 10">
            <a:extLst>
              <a:ext uri="{FF2B5EF4-FFF2-40B4-BE49-F238E27FC236}">
                <a16:creationId xmlns="" xmlns:a16="http://schemas.microsoft.com/office/drawing/2014/main" id="{12641CC5-46FE-4A1D-9A80-6E852A9D4AE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937746" y="4604928"/>
            <a:ext cx="1008126" cy="603504"/>
          </a:xfrm>
          <a:prstGeom prst="rect">
            <a:avLst/>
          </a:prstGeom>
        </p:spPr>
      </p:pic>
    </p:spTree>
    <p:extLst>
      <p:ext uri="{BB962C8B-B14F-4D97-AF65-F5344CB8AC3E}">
        <p14:creationId xmlns:p14="http://schemas.microsoft.com/office/powerpoint/2010/main" val="3892096546"/>
      </p:ext>
    </p:extLst>
  </p:cSld>
  <p:clrMapOvr>
    <a:masterClrMapping/>
  </p:clrMapOvr>
  <p:transition spd="slow">
    <p:push dir="u"/>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Advanced Chart 2/3">
    <p:spTree>
      <p:nvGrpSpPr>
        <p:cNvPr id="1" name=""/>
        <p:cNvGrpSpPr/>
        <p:nvPr/>
      </p:nvGrpSpPr>
      <p:grpSpPr>
        <a:xfrm>
          <a:off x="0" y="0"/>
          <a:ext cx="0" cy="0"/>
          <a:chOff x="0" y="0"/>
          <a:chExt cx="0" cy="0"/>
        </a:xfrm>
      </p:grpSpPr>
      <p:sp>
        <p:nvSpPr>
          <p:cNvPr id="8" name="Chart Placeholder 7">
            <a:extLst>
              <a:ext uri="{FF2B5EF4-FFF2-40B4-BE49-F238E27FC236}">
                <a16:creationId xmlns="" xmlns:a16="http://schemas.microsoft.com/office/drawing/2014/main" id="{A6D4E593-FDCC-D14E-9C5E-5F309E415C26}"/>
              </a:ext>
            </a:extLst>
          </p:cNvPr>
          <p:cNvSpPr>
            <a:spLocks noGrp="1"/>
          </p:cNvSpPr>
          <p:nvPr>
            <p:ph type="chart" sz="quarter" idx="21" hasCustomPrompt="1"/>
          </p:nvPr>
        </p:nvSpPr>
        <p:spPr>
          <a:xfrm>
            <a:off x="3170429" y="820325"/>
            <a:ext cx="5740219" cy="3992181"/>
          </a:xfrm>
          <a:prstGeom prst="rect">
            <a:avLst/>
          </a:prstGeom>
        </p:spPr>
        <p:txBody>
          <a:bodyPr>
            <a:normAutofit/>
          </a:bodyPr>
          <a:lstStyle>
            <a:lvl1pPr marL="0" indent="0">
              <a:buNone/>
              <a:defRPr sz="1100"/>
            </a:lvl1pPr>
          </a:lstStyle>
          <a:p>
            <a:r>
              <a:rPr lang="x-none"/>
              <a:t>Insert Chart</a:t>
            </a:r>
          </a:p>
        </p:txBody>
      </p:sp>
      <p:sp>
        <p:nvSpPr>
          <p:cNvPr id="9" name="Text Placeholder 6">
            <a:extLst>
              <a:ext uri="{FF2B5EF4-FFF2-40B4-BE49-F238E27FC236}">
                <a16:creationId xmlns="" xmlns:a16="http://schemas.microsoft.com/office/drawing/2014/main" id="{EF65D74B-37DA-0D46-8B56-9B362C84E6B9}"/>
              </a:ext>
            </a:extLst>
          </p:cNvPr>
          <p:cNvSpPr>
            <a:spLocks noGrp="1"/>
          </p:cNvSpPr>
          <p:nvPr>
            <p:ph type="body" sz="quarter" idx="14" hasCustomPrompt="1"/>
          </p:nvPr>
        </p:nvSpPr>
        <p:spPr>
          <a:xfrm>
            <a:off x="233367" y="2383723"/>
            <a:ext cx="2813975" cy="204590"/>
          </a:xfrm>
          <a:prstGeom prst="rect">
            <a:avLst/>
          </a:prstGeom>
        </p:spPr>
        <p:txBody>
          <a:bodyPr tIns="0" rIns="0" bIns="0" numCol="1">
            <a:noAutofit/>
          </a:bodyPr>
          <a:lstStyle>
            <a:lvl1pPr marL="0" indent="0">
              <a:lnSpc>
                <a:spcPct val="100000"/>
              </a:lnSpc>
              <a:spcBef>
                <a:spcPts val="0"/>
              </a:spcBef>
              <a:spcAft>
                <a:spcPts val="450"/>
              </a:spcAft>
              <a:buNone/>
              <a:defRPr sz="1400" b="1">
                <a:solidFill>
                  <a:schemeClr val="accent1"/>
                </a:solidFill>
              </a:defRPr>
            </a:lvl1pPr>
            <a:lvl2pPr marL="342353" indent="0">
              <a:lnSpc>
                <a:spcPts val="1350"/>
              </a:lnSpc>
              <a:spcBef>
                <a:spcPts val="0"/>
              </a:spcBef>
              <a:buNone/>
              <a:defRPr sz="1100"/>
            </a:lvl2pPr>
            <a:lvl3pPr marL="684762" indent="0">
              <a:lnSpc>
                <a:spcPts val="1350"/>
              </a:lnSpc>
              <a:spcBef>
                <a:spcPts val="0"/>
              </a:spcBef>
              <a:buNone/>
              <a:defRPr sz="1100"/>
            </a:lvl3pPr>
            <a:lvl4pPr marL="1027139" indent="0">
              <a:lnSpc>
                <a:spcPts val="1350"/>
              </a:lnSpc>
              <a:spcBef>
                <a:spcPts val="0"/>
              </a:spcBef>
              <a:buNone/>
              <a:defRPr sz="1100"/>
            </a:lvl4pPr>
            <a:lvl5pPr marL="1369518" indent="0">
              <a:lnSpc>
                <a:spcPts val="1350"/>
              </a:lnSpc>
              <a:spcBef>
                <a:spcPts val="0"/>
              </a:spcBef>
              <a:buNone/>
              <a:defRPr sz="1100"/>
            </a:lvl5pPr>
          </a:lstStyle>
          <a:p>
            <a:pPr lvl="0"/>
            <a:r>
              <a:rPr lang="en-US"/>
              <a:t>This is your Secondary Title</a:t>
            </a:r>
          </a:p>
        </p:txBody>
      </p:sp>
      <p:sp>
        <p:nvSpPr>
          <p:cNvPr id="10" name="Text Placeholder 6">
            <a:extLst>
              <a:ext uri="{FF2B5EF4-FFF2-40B4-BE49-F238E27FC236}">
                <a16:creationId xmlns="" xmlns:a16="http://schemas.microsoft.com/office/drawing/2014/main" id="{BF5F6A26-5AAA-884F-A319-DE9881530AA7}"/>
              </a:ext>
            </a:extLst>
          </p:cNvPr>
          <p:cNvSpPr>
            <a:spLocks noGrp="1"/>
          </p:cNvSpPr>
          <p:nvPr>
            <p:ph type="body" sz="quarter" idx="15" hasCustomPrompt="1"/>
          </p:nvPr>
        </p:nvSpPr>
        <p:spPr>
          <a:xfrm>
            <a:off x="233367" y="2681929"/>
            <a:ext cx="2813975" cy="2130578"/>
          </a:xfrm>
          <a:prstGeom prst="rect">
            <a:avLst/>
          </a:prstGeom>
        </p:spPr>
        <p:txBody>
          <a:bodyPr tIns="0" rIns="0" bIns="0" numCol="1">
            <a:noAutofit/>
          </a:bodyPr>
          <a:lstStyle>
            <a:lvl1pPr marL="128438" indent="-128438">
              <a:lnSpc>
                <a:spcPct val="100000"/>
              </a:lnSpc>
              <a:spcBef>
                <a:spcPts val="0"/>
              </a:spcBef>
              <a:spcAft>
                <a:spcPts val="450"/>
              </a:spcAft>
              <a:buFont typeface="Arial" panose="020B0604020202020204" pitchFamily="34" charset="0"/>
              <a:buChar char="•"/>
              <a:defRPr sz="1100" b="0">
                <a:solidFill>
                  <a:schemeClr val="tx1"/>
                </a:solidFill>
              </a:defRPr>
            </a:lvl1pPr>
            <a:lvl2pPr marL="342353" indent="0">
              <a:lnSpc>
                <a:spcPts val="1350"/>
              </a:lnSpc>
              <a:spcBef>
                <a:spcPts val="0"/>
              </a:spcBef>
              <a:buNone/>
              <a:defRPr sz="1100"/>
            </a:lvl2pPr>
            <a:lvl3pPr marL="684762" indent="0">
              <a:lnSpc>
                <a:spcPts val="1350"/>
              </a:lnSpc>
              <a:spcBef>
                <a:spcPts val="0"/>
              </a:spcBef>
              <a:buNone/>
              <a:defRPr sz="1100"/>
            </a:lvl3pPr>
            <a:lvl4pPr marL="1027139" indent="0">
              <a:lnSpc>
                <a:spcPts val="1350"/>
              </a:lnSpc>
              <a:spcBef>
                <a:spcPts val="0"/>
              </a:spcBef>
              <a:buNone/>
              <a:defRPr sz="1100"/>
            </a:lvl4pPr>
            <a:lvl5pPr marL="1369518" indent="0">
              <a:lnSpc>
                <a:spcPts val="1350"/>
              </a:lnSpc>
              <a:spcBef>
                <a:spcPts val="0"/>
              </a:spcBef>
              <a:buNone/>
              <a:defRPr sz="1100"/>
            </a:lvl5pPr>
          </a:lstStyle>
          <a:p>
            <a:pPr lvl="0"/>
            <a:r>
              <a:rPr lang="en-US"/>
              <a:t>This is your Secondary text.</a:t>
            </a:r>
          </a:p>
        </p:txBody>
      </p:sp>
      <p:sp>
        <p:nvSpPr>
          <p:cNvPr id="13" name="タイトル プレースホルダ 1">
            <a:extLst>
              <a:ext uri="{FF2B5EF4-FFF2-40B4-BE49-F238E27FC236}">
                <a16:creationId xmlns="" xmlns:a16="http://schemas.microsoft.com/office/drawing/2014/main" id="{2256F400-EDA8-7F44-BF13-278518497C9E}"/>
              </a:ext>
            </a:extLst>
          </p:cNvPr>
          <p:cNvSpPr>
            <a:spLocks noGrp="1"/>
          </p:cNvSpPr>
          <p:nvPr>
            <p:ph type="title" hasCustomPrompt="1"/>
          </p:nvPr>
        </p:nvSpPr>
        <p:spPr>
          <a:xfrm>
            <a:off x="454560" y="121208"/>
            <a:ext cx="7455190" cy="51435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1" name="Rectangle 20">
            <a:extLst>
              <a:ext uri="{FF2B5EF4-FFF2-40B4-BE49-F238E27FC236}">
                <a16:creationId xmlns="" xmlns:a16="http://schemas.microsoft.com/office/drawing/2014/main" id="{EAC2B0AC-7801-6C42-BA03-0669DC118159}"/>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05" tIns="34289" rIns="68505" bIns="34289" rtlCol="0" anchor="ctr"/>
          <a:lstStyle/>
          <a:p>
            <a:pPr algn="ctr" defTabSz="684950"/>
            <a:endParaRPr kumimoji="1" lang="x-none" sz="1400">
              <a:solidFill>
                <a:srgbClr val="E1242A"/>
              </a:solidFill>
            </a:endParaRPr>
          </a:p>
        </p:txBody>
      </p:sp>
      <p:sp>
        <p:nvSpPr>
          <p:cNvPr id="24" name="スライド番号プレースホルダ 5">
            <a:extLst>
              <a:ext uri="{FF2B5EF4-FFF2-40B4-BE49-F238E27FC236}">
                <a16:creationId xmlns="" xmlns:a16="http://schemas.microsoft.com/office/drawing/2014/main" id="{71FCF96E-3BB8-0745-B029-6B6BE4291274}"/>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2983"/>
            <a:fld id="{E9B57936-92EF-4126-AE48-1D9D36D15E98}" type="slidenum">
              <a:rPr lang="ja-JP" altLang="en-US" smtClean="0">
                <a:solidFill>
                  <a:srgbClr val="34373F"/>
                </a:solidFill>
              </a:rPr>
              <a:pPr defTabSz="912983"/>
              <a:t>‹Nº›</a:t>
            </a:fld>
            <a:endParaRPr lang="ja-JP" altLang="en-US">
              <a:solidFill>
                <a:srgbClr val="34373F"/>
              </a:solidFill>
            </a:endParaRPr>
          </a:p>
        </p:txBody>
      </p:sp>
      <p:sp>
        <p:nvSpPr>
          <p:cNvPr id="17" name="Text Placeholder 2">
            <a:extLst>
              <a:ext uri="{FF2B5EF4-FFF2-40B4-BE49-F238E27FC236}">
                <a16:creationId xmlns="" xmlns:a16="http://schemas.microsoft.com/office/drawing/2014/main" id="{45375A5A-6A84-7145-B49C-982F84619406}"/>
              </a:ext>
            </a:extLst>
          </p:cNvPr>
          <p:cNvSpPr>
            <a:spLocks noGrp="1"/>
          </p:cNvSpPr>
          <p:nvPr>
            <p:ph type="body" sz="quarter" idx="20" hasCustomPrompt="1"/>
          </p:nvPr>
        </p:nvSpPr>
        <p:spPr>
          <a:xfrm>
            <a:off x="233364" y="1118532"/>
            <a:ext cx="2813974" cy="1098718"/>
          </a:xfrm>
        </p:spPr>
        <p:txBody>
          <a:bodyPr tIns="0" rIns="0" bIns="0" numCol="1" spcCol="94400">
            <a:noAutofit/>
          </a:bodyPr>
          <a:lstStyle>
            <a:lvl1pPr marL="0" indent="0">
              <a:lnSpc>
                <a:spcPct val="100000"/>
              </a:lnSpc>
              <a:spcBef>
                <a:spcPts val="0"/>
              </a:spcBef>
              <a:buNone/>
              <a:defRPr sz="1200" b="1"/>
            </a:lvl1pPr>
            <a:lvl2pPr marL="342353" indent="0">
              <a:buNone/>
              <a:defRPr sz="1400" b="1"/>
            </a:lvl2pPr>
            <a:lvl3pPr marL="684762" indent="0">
              <a:buNone/>
              <a:defRPr sz="1400" b="1"/>
            </a:lvl3pPr>
            <a:lvl4pPr marL="1027139" indent="0">
              <a:buNone/>
              <a:defRPr sz="1400" b="1"/>
            </a:lvl4pPr>
            <a:lvl5pPr marL="1369518" indent="0">
              <a:buNone/>
              <a:defRPr sz="1400" b="1"/>
            </a:lvl5pPr>
          </a:lstStyle>
          <a:p>
            <a:pPr lvl="0"/>
            <a:r>
              <a:rPr lang="en-US"/>
              <a:t>This is your Primary Text.</a:t>
            </a:r>
            <a:endParaRPr lang="x-none"/>
          </a:p>
        </p:txBody>
      </p:sp>
      <p:sp>
        <p:nvSpPr>
          <p:cNvPr id="18" name="Text Placeholder 6">
            <a:extLst>
              <a:ext uri="{FF2B5EF4-FFF2-40B4-BE49-F238E27FC236}">
                <a16:creationId xmlns="" xmlns:a16="http://schemas.microsoft.com/office/drawing/2014/main" id="{5F7E9041-544E-3547-AC30-65F55E91E1ED}"/>
              </a:ext>
            </a:extLst>
          </p:cNvPr>
          <p:cNvSpPr>
            <a:spLocks noGrp="1"/>
          </p:cNvSpPr>
          <p:nvPr>
            <p:ph type="body" sz="quarter" idx="22" hasCustomPrompt="1"/>
          </p:nvPr>
        </p:nvSpPr>
        <p:spPr>
          <a:xfrm>
            <a:off x="233364" y="820327"/>
            <a:ext cx="2813974" cy="204590"/>
          </a:xfrm>
        </p:spPr>
        <p:txBody>
          <a:bodyPr tIns="0" rIns="0" bIns="0" numCol="1">
            <a:noAutofit/>
          </a:bodyPr>
          <a:lstStyle>
            <a:lvl1pPr marL="0" indent="0">
              <a:lnSpc>
                <a:spcPct val="100000"/>
              </a:lnSpc>
              <a:spcBef>
                <a:spcPts val="0"/>
              </a:spcBef>
              <a:spcAft>
                <a:spcPts val="450"/>
              </a:spcAft>
              <a:buNone/>
              <a:defRPr sz="1500" b="1">
                <a:solidFill>
                  <a:schemeClr val="accent1"/>
                </a:solidFill>
              </a:defRPr>
            </a:lvl1pPr>
            <a:lvl2pPr marL="342353" indent="0">
              <a:lnSpc>
                <a:spcPts val="1350"/>
              </a:lnSpc>
              <a:spcBef>
                <a:spcPts val="0"/>
              </a:spcBef>
              <a:buNone/>
              <a:defRPr sz="1100"/>
            </a:lvl2pPr>
            <a:lvl3pPr marL="684762" indent="0">
              <a:lnSpc>
                <a:spcPts val="1350"/>
              </a:lnSpc>
              <a:spcBef>
                <a:spcPts val="0"/>
              </a:spcBef>
              <a:buNone/>
              <a:defRPr sz="1100"/>
            </a:lvl3pPr>
            <a:lvl4pPr marL="1027139" indent="0">
              <a:lnSpc>
                <a:spcPts val="1350"/>
              </a:lnSpc>
              <a:spcBef>
                <a:spcPts val="0"/>
              </a:spcBef>
              <a:buNone/>
              <a:defRPr sz="1100"/>
            </a:lvl4pPr>
            <a:lvl5pPr marL="1369518" indent="0">
              <a:lnSpc>
                <a:spcPts val="1350"/>
              </a:lnSpc>
              <a:spcBef>
                <a:spcPts val="0"/>
              </a:spcBef>
              <a:buNone/>
              <a:defRPr sz="1100"/>
            </a:lvl5pPr>
          </a:lstStyle>
          <a:p>
            <a:pPr lvl="0"/>
            <a:r>
              <a:rPr lang="en-US"/>
              <a:t>This is your Primary Title</a:t>
            </a:r>
          </a:p>
        </p:txBody>
      </p:sp>
      <p:pic>
        <p:nvPicPr>
          <p:cNvPr id="16" name="Picture 15">
            <a:extLst>
              <a:ext uri="{FF2B5EF4-FFF2-40B4-BE49-F238E27FC236}">
                <a16:creationId xmlns="" xmlns:a16="http://schemas.microsoft.com/office/drawing/2014/main" id="{7BAF6437-3A9E-4E38-BABC-437E76E2CFA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937746" y="4604928"/>
            <a:ext cx="1008126" cy="603504"/>
          </a:xfrm>
          <a:prstGeom prst="rect">
            <a:avLst/>
          </a:prstGeom>
        </p:spPr>
      </p:pic>
    </p:spTree>
    <p:extLst>
      <p:ext uri="{BB962C8B-B14F-4D97-AF65-F5344CB8AC3E}">
        <p14:creationId xmlns:p14="http://schemas.microsoft.com/office/powerpoint/2010/main" val="119035240"/>
      </p:ext>
    </p:extLst>
  </p:cSld>
  <p:clrMapOvr>
    <a:masterClrMapping/>
  </p:clrMapOvr>
  <p:transition spd="slow">
    <p:push dir="u"/>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Advanced Chart 2 Column">
    <p:spTree>
      <p:nvGrpSpPr>
        <p:cNvPr id="1" name=""/>
        <p:cNvGrpSpPr/>
        <p:nvPr/>
      </p:nvGrpSpPr>
      <p:grpSpPr>
        <a:xfrm>
          <a:off x="0" y="0"/>
          <a:ext cx="0" cy="0"/>
          <a:chOff x="0" y="0"/>
          <a:chExt cx="0" cy="0"/>
        </a:xfrm>
      </p:grpSpPr>
      <p:sp>
        <p:nvSpPr>
          <p:cNvPr id="8" name="Chart Placeholder 7">
            <a:extLst>
              <a:ext uri="{FF2B5EF4-FFF2-40B4-BE49-F238E27FC236}">
                <a16:creationId xmlns="" xmlns:a16="http://schemas.microsoft.com/office/drawing/2014/main" id="{A6D4E593-FDCC-D14E-9C5E-5F309E415C26}"/>
              </a:ext>
            </a:extLst>
          </p:cNvPr>
          <p:cNvSpPr>
            <a:spLocks noGrp="1"/>
          </p:cNvSpPr>
          <p:nvPr>
            <p:ph type="chart" sz="quarter" idx="21" hasCustomPrompt="1"/>
          </p:nvPr>
        </p:nvSpPr>
        <p:spPr>
          <a:xfrm>
            <a:off x="231919" y="2307216"/>
            <a:ext cx="4281488" cy="2505292"/>
          </a:xfrm>
          <a:prstGeom prst="rect">
            <a:avLst/>
          </a:prstGeom>
        </p:spPr>
        <p:txBody>
          <a:bodyPr>
            <a:normAutofit/>
          </a:bodyPr>
          <a:lstStyle>
            <a:lvl1pPr marL="0" indent="0">
              <a:buNone/>
              <a:defRPr sz="1100"/>
            </a:lvl1pPr>
          </a:lstStyle>
          <a:p>
            <a:r>
              <a:rPr lang="x-none"/>
              <a:t>Insert Chart</a:t>
            </a:r>
          </a:p>
        </p:txBody>
      </p:sp>
      <p:sp>
        <p:nvSpPr>
          <p:cNvPr id="9" name="Chart Placeholder 7">
            <a:extLst>
              <a:ext uri="{FF2B5EF4-FFF2-40B4-BE49-F238E27FC236}">
                <a16:creationId xmlns="" xmlns:a16="http://schemas.microsoft.com/office/drawing/2014/main" id="{F1FC7466-185A-8B44-ABF0-5410C1127700}"/>
              </a:ext>
            </a:extLst>
          </p:cNvPr>
          <p:cNvSpPr>
            <a:spLocks noGrp="1"/>
          </p:cNvSpPr>
          <p:nvPr>
            <p:ph type="chart" sz="quarter" idx="22" hasCustomPrompt="1"/>
          </p:nvPr>
        </p:nvSpPr>
        <p:spPr>
          <a:xfrm>
            <a:off x="4654627" y="2307216"/>
            <a:ext cx="4281488" cy="2505292"/>
          </a:xfrm>
          <a:prstGeom prst="rect">
            <a:avLst/>
          </a:prstGeom>
        </p:spPr>
        <p:txBody>
          <a:bodyPr>
            <a:normAutofit/>
          </a:bodyPr>
          <a:lstStyle>
            <a:lvl1pPr marL="0" indent="0">
              <a:buNone/>
              <a:defRPr sz="1100"/>
            </a:lvl1pPr>
          </a:lstStyle>
          <a:p>
            <a:r>
              <a:rPr lang="x-none"/>
              <a:t>Insert Chart</a:t>
            </a:r>
          </a:p>
        </p:txBody>
      </p:sp>
      <p:sp>
        <p:nvSpPr>
          <p:cNvPr id="12" name="タイトル プレースホルダ 1">
            <a:extLst>
              <a:ext uri="{FF2B5EF4-FFF2-40B4-BE49-F238E27FC236}">
                <a16:creationId xmlns="" xmlns:a16="http://schemas.microsoft.com/office/drawing/2014/main" id="{906CE02B-33D8-B048-A73D-781A3402C2B1}"/>
              </a:ext>
            </a:extLst>
          </p:cNvPr>
          <p:cNvSpPr>
            <a:spLocks noGrp="1"/>
          </p:cNvSpPr>
          <p:nvPr>
            <p:ph type="title" hasCustomPrompt="1"/>
          </p:nvPr>
        </p:nvSpPr>
        <p:spPr>
          <a:xfrm>
            <a:off x="454560" y="121208"/>
            <a:ext cx="7455190" cy="51435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Rectangle 16">
            <a:extLst>
              <a:ext uri="{FF2B5EF4-FFF2-40B4-BE49-F238E27FC236}">
                <a16:creationId xmlns="" xmlns:a16="http://schemas.microsoft.com/office/drawing/2014/main" id="{B679FB0B-7616-F04F-9B4C-586869A82E96}"/>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05" tIns="34289" rIns="68505" bIns="34289" rtlCol="0" anchor="ctr"/>
          <a:lstStyle/>
          <a:p>
            <a:pPr algn="ctr" defTabSz="684950"/>
            <a:endParaRPr kumimoji="1" lang="x-none" sz="1400">
              <a:solidFill>
                <a:srgbClr val="E1242A"/>
              </a:solidFill>
            </a:endParaRPr>
          </a:p>
        </p:txBody>
      </p:sp>
      <p:sp>
        <p:nvSpPr>
          <p:cNvPr id="22" name="スライド番号プレースホルダ 5">
            <a:extLst>
              <a:ext uri="{FF2B5EF4-FFF2-40B4-BE49-F238E27FC236}">
                <a16:creationId xmlns="" xmlns:a16="http://schemas.microsoft.com/office/drawing/2014/main" id="{8AFBB1AB-19B7-1347-93F8-D14235DD2317}"/>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2983"/>
            <a:fld id="{E9B57936-92EF-4126-AE48-1D9D36D15E98}" type="slidenum">
              <a:rPr lang="ja-JP" altLang="en-US" smtClean="0">
                <a:solidFill>
                  <a:srgbClr val="34373F"/>
                </a:solidFill>
              </a:rPr>
              <a:pPr defTabSz="912983"/>
              <a:t>‹Nº›</a:t>
            </a:fld>
            <a:endParaRPr lang="ja-JP" altLang="en-US">
              <a:solidFill>
                <a:srgbClr val="34373F"/>
              </a:solidFill>
            </a:endParaRPr>
          </a:p>
        </p:txBody>
      </p:sp>
      <p:sp>
        <p:nvSpPr>
          <p:cNvPr id="15" name="Text Placeholder 2">
            <a:extLst>
              <a:ext uri="{FF2B5EF4-FFF2-40B4-BE49-F238E27FC236}">
                <a16:creationId xmlns="" xmlns:a16="http://schemas.microsoft.com/office/drawing/2014/main" id="{F6F06E4B-A978-4E46-AE6C-67B54F7E34D5}"/>
              </a:ext>
            </a:extLst>
          </p:cNvPr>
          <p:cNvSpPr>
            <a:spLocks noGrp="1"/>
          </p:cNvSpPr>
          <p:nvPr>
            <p:ph type="body" sz="quarter" idx="20" hasCustomPrompt="1"/>
          </p:nvPr>
        </p:nvSpPr>
        <p:spPr>
          <a:xfrm>
            <a:off x="233364" y="1118532"/>
            <a:ext cx="8702752" cy="1098718"/>
          </a:xfrm>
        </p:spPr>
        <p:txBody>
          <a:bodyPr tIns="0" rIns="0" bIns="0" numCol="2" spcCol="94400">
            <a:noAutofit/>
          </a:bodyPr>
          <a:lstStyle>
            <a:lvl1pPr marL="0" indent="0">
              <a:lnSpc>
                <a:spcPct val="100000"/>
              </a:lnSpc>
              <a:spcBef>
                <a:spcPts val="0"/>
              </a:spcBef>
              <a:buNone/>
              <a:defRPr sz="1200" b="1"/>
            </a:lvl1pPr>
            <a:lvl2pPr marL="342353" indent="0">
              <a:buNone/>
              <a:defRPr sz="1400" b="1"/>
            </a:lvl2pPr>
            <a:lvl3pPr marL="684762" indent="0">
              <a:buNone/>
              <a:defRPr sz="1400" b="1"/>
            </a:lvl3pPr>
            <a:lvl4pPr marL="1027139" indent="0">
              <a:buNone/>
              <a:defRPr sz="1400" b="1"/>
            </a:lvl4pPr>
            <a:lvl5pPr marL="1369518" indent="0">
              <a:buNone/>
              <a:defRPr sz="1400" b="1"/>
            </a:lvl5pPr>
          </a:lstStyle>
          <a:p>
            <a:pPr lvl="0"/>
            <a:r>
              <a:rPr lang="en-US"/>
              <a:t>This is your Primary Text.</a:t>
            </a:r>
            <a:endParaRPr lang="x-none"/>
          </a:p>
        </p:txBody>
      </p:sp>
      <p:sp>
        <p:nvSpPr>
          <p:cNvPr id="18" name="Text Placeholder 6">
            <a:extLst>
              <a:ext uri="{FF2B5EF4-FFF2-40B4-BE49-F238E27FC236}">
                <a16:creationId xmlns="" xmlns:a16="http://schemas.microsoft.com/office/drawing/2014/main" id="{3FF373A1-4E48-6C48-A075-153436CF76DC}"/>
              </a:ext>
            </a:extLst>
          </p:cNvPr>
          <p:cNvSpPr>
            <a:spLocks noGrp="1"/>
          </p:cNvSpPr>
          <p:nvPr>
            <p:ph type="body" sz="quarter" idx="23" hasCustomPrompt="1"/>
          </p:nvPr>
        </p:nvSpPr>
        <p:spPr>
          <a:xfrm>
            <a:off x="233364" y="820327"/>
            <a:ext cx="8702752" cy="204590"/>
          </a:xfrm>
        </p:spPr>
        <p:txBody>
          <a:bodyPr tIns="0" rIns="0" bIns="0" numCol="1">
            <a:noAutofit/>
          </a:bodyPr>
          <a:lstStyle>
            <a:lvl1pPr marL="0" indent="0">
              <a:lnSpc>
                <a:spcPct val="100000"/>
              </a:lnSpc>
              <a:spcBef>
                <a:spcPts val="0"/>
              </a:spcBef>
              <a:spcAft>
                <a:spcPts val="450"/>
              </a:spcAft>
              <a:buNone/>
              <a:defRPr sz="1500" b="1">
                <a:solidFill>
                  <a:schemeClr val="accent1"/>
                </a:solidFill>
              </a:defRPr>
            </a:lvl1pPr>
            <a:lvl2pPr marL="342353" indent="0">
              <a:lnSpc>
                <a:spcPts val="1350"/>
              </a:lnSpc>
              <a:spcBef>
                <a:spcPts val="0"/>
              </a:spcBef>
              <a:buNone/>
              <a:defRPr sz="1100"/>
            </a:lvl2pPr>
            <a:lvl3pPr marL="684762" indent="0">
              <a:lnSpc>
                <a:spcPts val="1350"/>
              </a:lnSpc>
              <a:spcBef>
                <a:spcPts val="0"/>
              </a:spcBef>
              <a:buNone/>
              <a:defRPr sz="1100"/>
            </a:lvl3pPr>
            <a:lvl4pPr marL="1027139" indent="0">
              <a:lnSpc>
                <a:spcPts val="1350"/>
              </a:lnSpc>
              <a:spcBef>
                <a:spcPts val="0"/>
              </a:spcBef>
              <a:buNone/>
              <a:defRPr sz="1100"/>
            </a:lvl4pPr>
            <a:lvl5pPr marL="1369518" indent="0">
              <a:lnSpc>
                <a:spcPts val="1350"/>
              </a:lnSpc>
              <a:spcBef>
                <a:spcPts val="0"/>
              </a:spcBef>
              <a:buNone/>
              <a:defRPr sz="1100"/>
            </a:lvl5pPr>
          </a:lstStyle>
          <a:p>
            <a:pPr lvl="0"/>
            <a:r>
              <a:rPr lang="en-US"/>
              <a:t>This is your Primary Title</a:t>
            </a:r>
          </a:p>
        </p:txBody>
      </p:sp>
      <p:pic>
        <p:nvPicPr>
          <p:cNvPr id="16" name="Picture 15">
            <a:extLst>
              <a:ext uri="{FF2B5EF4-FFF2-40B4-BE49-F238E27FC236}">
                <a16:creationId xmlns="" xmlns:a16="http://schemas.microsoft.com/office/drawing/2014/main" id="{533DA345-F930-44E6-8EEE-EC99ADB762A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937746" y="4604928"/>
            <a:ext cx="1008126" cy="603504"/>
          </a:xfrm>
          <a:prstGeom prst="rect">
            <a:avLst/>
          </a:prstGeom>
        </p:spPr>
      </p:pic>
    </p:spTree>
    <p:extLst>
      <p:ext uri="{BB962C8B-B14F-4D97-AF65-F5344CB8AC3E}">
        <p14:creationId xmlns:p14="http://schemas.microsoft.com/office/powerpoint/2010/main" val="965219118"/>
      </p:ext>
    </p:extLst>
  </p:cSld>
  <p:clrMapOvr>
    <a:masterClrMapping/>
  </p:clrMapOvr>
  <p:transition spd="slow">
    <p:push dir="u"/>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Advanced Chart 3 Column">
    <p:spTree>
      <p:nvGrpSpPr>
        <p:cNvPr id="1" name=""/>
        <p:cNvGrpSpPr/>
        <p:nvPr/>
      </p:nvGrpSpPr>
      <p:grpSpPr>
        <a:xfrm>
          <a:off x="0" y="0"/>
          <a:ext cx="0" cy="0"/>
          <a:chOff x="0" y="0"/>
          <a:chExt cx="0" cy="0"/>
        </a:xfrm>
      </p:grpSpPr>
      <p:sp>
        <p:nvSpPr>
          <p:cNvPr id="8" name="Chart Placeholder 7">
            <a:extLst>
              <a:ext uri="{FF2B5EF4-FFF2-40B4-BE49-F238E27FC236}">
                <a16:creationId xmlns="" xmlns:a16="http://schemas.microsoft.com/office/drawing/2014/main" id="{A6D4E593-FDCC-D14E-9C5E-5F309E415C26}"/>
              </a:ext>
            </a:extLst>
          </p:cNvPr>
          <p:cNvSpPr>
            <a:spLocks noGrp="1"/>
          </p:cNvSpPr>
          <p:nvPr>
            <p:ph type="chart" sz="quarter" idx="21" hasCustomPrompt="1"/>
          </p:nvPr>
        </p:nvSpPr>
        <p:spPr>
          <a:xfrm>
            <a:off x="231919" y="2307216"/>
            <a:ext cx="2818358" cy="2505292"/>
          </a:xfrm>
          <a:prstGeom prst="rect">
            <a:avLst/>
          </a:prstGeom>
        </p:spPr>
        <p:txBody>
          <a:bodyPr>
            <a:normAutofit/>
          </a:bodyPr>
          <a:lstStyle>
            <a:lvl1pPr marL="0" indent="0">
              <a:buNone/>
              <a:defRPr sz="1100"/>
            </a:lvl1pPr>
          </a:lstStyle>
          <a:p>
            <a:r>
              <a:rPr lang="x-none"/>
              <a:t>Insert Chart</a:t>
            </a:r>
          </a:p>
        </p:txBody>
      </p:sp>
      <p:sp>
        <p:nvSpPr>
          <p:cNvPr id="10" name="Chart Placeholder 7">
            <a:extLst>
              <a:ext uri="{FF2B5EF4-FFF2-40B4-BE49-F238E27FC236}">
                <a16:creationId xmlns="" xmlns:a16="http://schemas.microsoft.com/office/drawing/2014/main" id="{8D9BD23C-1777-C442-B4B0-BADF450483EA}"/>
              </a:ext>
            </a:extLst>
          </p:cNvPr>
          <p:cNvSpPr>
            <a:spLocks noGrp="1"/>
          </p:cNvSpPr>
          <p:nvPr>
            <p:ph type="chart" sz="quarter" idx="22" hasCustomPrompt="1"/>
          </p:nvPr>
        </p:nvSpPr>
        <p:spPr>
          <a:xfrm>
            <a:off x="3162823" y="2307216"/>
            <a:ext cx="2818358" cy="2505292"/>
          </a:xfrm>
          <a:prstGeom prst="rect">
            <a:avLst/>
          </a:prstGeom>
        </p:spPr>
        <p:txBody>
          <a:bodyPr>
            <a:normAutofit/>
          </a:bodyPr>
          <a:lstStyle>
            <a:lvl1pPr marL="0" indent="0">
              <a:buNone/>
              <a:defRPr sz="1100"/>
            </a:lvl1pPr>
          </a:lstStyle>
          <a:p>
            <a:r>
              <a:rPr lang="x-none"/>
              <a:t>Insert Chart</a:t>
            </a:r>
          </a:p>
        </p:txBody>
      </p:sp>
      <p:sp>
        <p:nvSpPr>
          <p:cNvPr id="11" name="Chart Placeholder 7">
            <a:extLst>
              <a:ext uri="{FF2B5EF4-FFF2-40B4-BE49-F238E27FC236}">
                <a16:creationId xmlns="" xmlns:a16="http://schemas.microsoft.com/office/drawing/2014/main" id="{2D7D413C-2FF1-204A-83C6-B7426603B7C2}"/>
              </a:ext>
            </a:extLst>
          </p:cNvPr>
          <p:cNvSpPr>
            <a:spLocks noGrp="1"/>
          </p:cNvSpPr>
          <p:nvPr>
            <p:ph type="chart" sz="quarter" idx="23" hasCustomPrompt="1"/>
          </p:nvPr>
        </p:nvSpPr>
        <p:spPr>
          <a:xfrm>
            <a:off x="6092281" y="2307216"/>
            <a:ext cx="2818358" cy="2505292"/>
          </a:xfrm>
          <a:prstGeom prst="rect">
            <a:avLst/>
          </a:prstGeom>
        </p:spPr>
        <p:txBody>
          <a:bodyPr>
            <a:normAutofit/>
          </a:bodyPr>
          <a:lstStyle>
            <a:lvl1pPr marL="0" indent="0">
              <a:buNone/>
              <a:defRPr sz="1100"/>
            </a:lvl1pPr>
          </a:lstStyle>
          <a:p>
            <a:r>
              <a:rPr lang="x-none"/>
              <a:t>Insert Chart</a:t>
            </a:r>
          </a:p>
        </p:txBody>
      </p:sp>
      <p:sp>
        <p:nvSpPr>
          <p:cNvPr id="17" name="タイトル プレースホルダ 1">
            <a:extLst>
              <a:ext uri="{FF2B5EF4-FFF2-40B4-BE49-F238E27FC236}">
                <a16:creationId xmlns="" xmlns:a16="http://schemas.microsoft.com/office/drawing/2014/main" id="{2FFB1535-D35E-D242-B225-DDF1C53BB8D4}"/>
              </a:ext>
            </a:extLst>
          </p:cNvPr>
          <p:cNvSpPr>
            <a:spLocks noGrp="1"/>
          </p:cNvSpPr>
          <p:nvPr>
            <p:ph type="title" hasCustomPrompt="1"/>
          </p:nvPr>
        </p:nvSpPr>
        <p:spPr>
          <a:xfrm>
            <a:off x="454560" y="121208"/>
            <a:ext cx="7455190" cy="51435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2" name="Rectangle 21">
            <a:extLst>
              <a:ext uri="{FF2B5EF4-FFF2-40B4-BE49-F238E27FC236}">
                <a16:creationId xmlns="" xmlns:a16="http://schemas.microsoft.com/office/drawing/2014/main" id="{DEFC8CB7-67E9-8A46-B53F-F34ACE18BE87}"/>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05" tIns="34289" rIns="68505" bIns="34289" rtlCol="0" anchor="ctr"/>
          <a:lstStyle/>
          <a:p>
            <a:pPr algn="ctr" defTabSz="684950"/>
            <a:endParaRPr kumimoji="1" lang="x-none" sz="1400">
              <a:solidFill>
                <a:srgbClr val="E1242A"/>
              </a:solidFill>
            </a:endParaRPr>
          </a:p>
        </p:txBody>
      </p:sp>
      <p:sp>
        <p:nvSpPr>
          <p:cNvPr id="25" name="スライド番号プレースホルダ 5">
            <a:extLst>
              <a:ext uri="{FF2B5EF4-FFF2-40B4-BE49-F238E27FC236}">
                <a16:creationId xmlns="" xmlns:a16="http://schemas.microsoft.com/office/drawing/2014/main" id="{5EB1023E-4E73-AD49-83B0-D7B458250C6F}"/>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2983"/>
            <a:fld id="{E9B57936-92EF-4126-AE48-1D9D36D15E98}" type="slidenum">
              <a:rPr lang="ja-JP" altLang="en-US" smtClean="0">
                <a:solidFill>
                  <a:srgbClr val="34373F"/>
                </a:solidFill>
              </a:rPr>
              <a:pPr defTabSz="912983"/>
              <a:t>‹Nº›</a:t>
            </a:fld>
            <a:endParaRPr lang="ja-JP" altLang="en-US">
              <a:solidFill>
                <a:srgbClr val="34373F"/>
              </a:solidFill>
            </a:endParaRPr>
          </a:p>
        </p:txBody>
      </p:sp>
      <p:sp>
        <p:nvSpPr>
          <p:cNvPr id="15" name="Text Placeholder 2">
            <a:extLst>
              <a:ext uri="{FF2B5EF4-FFF2-40B4-BE49-F238E27FC236}">
                <a16:creationId xmlns="" xmlns:a16="http://schemas.microsoft.com/office/drawing/2014/main" id="{AD1171B1-AEC6-164D-8FE0-E0B9353A55BF}"/>
              </a:ext>
            </a:extLst>
          </p:cNvPr>
          <p:cNvSpPr>
            <a:spLocks noGrp="1"/>
          </p:cNvSpPr>
          <p:nvPr>
            <p:ph type="body" sz="quarter" idx="20" hasCustomPrompt="1"/>
          </p:nvPr>
        </p:nvSpPr>
        <p:spPr>
          <a:xfrm>
            <a:off x="233365" y="1118532"/>
            <a:ext cx="8677274" cy="1098718"/>
          </a:xfrm>
        </p:spPr>
        <p:txBody>
          <a:bodyPr tIns="0" rIns="0" bIns="0" numCol="2" spcCol="94400">
            <a:noAutofit/>
          </a:bodyPr>
          <a:lstStyle>
            <a:lvl1pPr marL="0" indent="0">
              <a:lnSpc>
                <a:spcPct val="100000"/>
              </a:lnSpc>
              <a:spcBef>
                <a:spcPts val="0"/>
              </a:spcBef>
              <a:buNone/>
              <a:defRPr sz="1200" b="1"/>
            </a:lvl1pPr>
            <a:lvl2pPr marL="342353" indent="0">
              <a:buNone/>
              <a:defRPr sz="1400" b="1"/>
            </a:lvl2pPr>
            <a:lvl3pPr marL="684762" indent="0">
              <a:buNone/>
              <a:defRPr sz="1400" b="1"/>
            </a:lvl3pPr>
            <a:lvl4pPr marL="1027139" indent="0">
              <a:buNone/>
              <a:defRPr sz="1400" b="1"/>
            </a:lvl4pPr>
            <a:lvl5pPr marL="1369518" indent="0">
              <a:buNone/>
              <a:defRPr sz="1400" b="1"/>
            </a:lvl5pPr>
          </a:lstStyle>
          <a:p>
            <a:pPr lvl="0"/>
            <a:r>
              <a:rPr lang="en-US"/>
              <a:t>This is your Primary Text.</a:t>
            </a:r>
            <a:endParaRPr lang="x-none"/>
          </a:p>
        </p:txBody>
      </p:sp>
      <p:sp>
        <p:nvSpPr>
          <p:cNvPr id="18" name="Text Placeholder 6">
            <a:extLst>
              <a:ext uri="{FF2B5EF4-FFF2-40B4-BE49-F238E27FC236}">
                <a16:creationId xmlns="" xmlns:a16="http://schemas.microsoft.com/office/drawing/2014/main" id="{66C4AA1F-8B09-5544-9C70-388A6E2940C9}"/>
              </a:ext>
            </a:extLst>
          </p:cNvPr>
          <p:cNvSpPr>
            <a:spLocks noGrp="1"/>
          </p:cNvSpPr>
          <p:nvPr>
            <p:ph type="body" sz="quarter" idx="24" hasCustomPrompt="1"/>
          </p:nvPr>
        </p:nvSpPr>
        <p:spPr>
          <a:xfrm>
            <a:off x="233362" y="820327"/>
            <a:ext cx="8677274" cy="204590"/>
          </a:xfrm>
        </p:spPr>
        <p:txBody>
          <a:bodyPr tIns="0" rIns="0" bIns="0" numCol="1">
            <a:noAutofit/>
          </a:bodyPr>
          <a:lstStyle>
            <a:lvl1pPr marL="0" indent="0">
              <a:lnSpc>
                <a:spcPct val="100000"/>
              </a:lnSpc>
              <a:spcBef>
                <a:spcPts val="0"/>
              </a:spcBef>
              <a:spcAft>
                <a:spcPts val="450"/>
              </a:spcAft>
              <a:buNone/>
              <a:defRPr sz="1500" b="1">
                <a:solidFill>
                  <a:schemeClr val="accent1"/>
                </a:solidFill>
              </a:defRPr>
            </a:lvl1pPr>
            <a:lvl2pPr marL="342353" indent="0">
              <a:lnSpc>
                <a:spcPts val="1350"/>
              </a:lnSpc>
              <a:spcBef>
                <a:spcPts val="0"/>
              </a:spcBef>
              <a:buNone/>
              <a:defRPr sz="1100"/>
            </a:lvl2pPr>
            <a:lvl3pPr marL="684762" indent="0">
              <a:lnSpc>
                <a:spcPts val="1350"/>
              </a:lnSpc>
              <a:spcBef>
                <a:spcPts val="0"/>
              </a:spcBef>
              <a:buNone/>
              <a:defRPr sz="1100"/>
            </a:lvl3pPr>
            <a:lvl4pPr marL="1027139" indent="0">
              <a:lnSpc>
                <a:spcPts val="1350"/>
              </a:lnSpc>
              <a:spcBef>
                <a:spcPts val="0"/>
              </a:spcBef>
              <a:buNone/>
              <a:defRPr sz="1100"/>
            </a:lvl4pPr>
            <a:lvl5pPr marL="1369518" indent="0">
              <a:lnSpc>
                <a:spcPts val="1350"/>
              </a:lnSpc>
              <a:spcBef>
                <a:spcPts val="0"/>
              </a:spcBef>
              <a:buNone/>
              <a:defRPr sz="1100"/>
            </a:lvl5pPr>
          </a:lstStyle>
          <a:p>
            <a:pPr lvl="0"/>
            <a:r>
              <a:rPr lang="en-US"/>
              <a:t>This is your Primary Title</a:t>
            </a:r>
          </a:p>
        </p:txBody>
      </p:sp>
      <p:pic>
        <p:nvPicPr>
          <p:cNvPr id="13" name="Picture 12">
            <a:extLst>
              <a:ext uri="{FF2B5EF4-FFF2-40B4-BE49-F238E27FC236}">
                <a16:creationId xmlns="" xmlns:a16="http://schemas.microsoft.com/office/drawing/2014/main" id="{F88637D5-74D8-4FFB-B42E-EE9AEA101E5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937746" y="4604928"/>
            <a:ext cx="1008126" cy="603504"/>
          </a:xfrm>
          <a:prstGeom prst="rect">
            <a:avLst/>
          </a:prstGeom>
        </p:spPr>
      </p:pic>
    </p:spTree>
    <p:extLst>
      <p:ext uri="{BB962C8B-B14F-4D97-AF65-F5344CB8AC3E}">
        <p14:creationId xmlns:p14="http://schemas.microsoft.com/office/powerpoint/2010/main" val="584398060"/>
      </p:ext>
    </p:extLst>
  </p:cSld>
  <p:clrMapOvr>
    <a:masterClrMapping/>
  </p:clrMapOvr>
  <p:transition spd="slow">
    <p:push dir="u"/>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pic>
        <p:nvPicPr>
          <p:cNvPr id="2" name="Picture 1">
            <a:extLst>
              <a:ext uri="{FF2B5EF4-FFF2-40B4-BE49-F238E27FC236}">
                <a16:creationId xmlns="" xmlns:a16="http://schemas.microsoft.com/office/drawing/2014/main" id="{32CE7BA5-FD5C-4666-A8CE-02393E02A69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937746" y="4604928"/>
            <a:ext cx="1008126" cy="603504"/>
          </a:xfrm>
          <a:prstGeom prst="rect">
            <a:avLst/>
          </a:prstGeom>
        </p:spPr>
      </p:pic>
      <p:pic>
        <p:nvPicPr>
          <p:cNvPr id="3" name="Picture 12" descr="Takeda_Logo_Pos_RGB.emf">
            <a:extLst>
              <a:ext uri="{FF2B5EF4-FFF2-40B4-BE49-F238E27FC236}">
                <a16:creationId xmlns="" xmlns:a16="http://schemas.microsoft.com/office/drawing/2014/main" id="{53895617-BA3B-4E03-93F9-EA578BD2C2F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7975658" y="233605"/>
            <a:ext cx="772806" cy="259904"/>
          </a:xfrm>
          <a:prstGeom prst="rect">
            <a:avLst/>
          </a:prstGeom>
          <a:noFill/>
          <a:ln w="9525">
            <a:noFill/>
            <a:miter lim="800000"/>
            <a:headEnd/>
            <a:tailEnd/>
          </a:ln>
        </p:spPr>
      </p:pic>
      <p:sp>
        <p:nvSpPr>
          <p:cNvPr id="4" name="Slide Number Placeholder 4">
            <a:extLst>
              <a:ext uri="{FF2B5EF4-FFF2-40B4-BE49-F238E27FC236}">
                <a16:creationId xmlns="" xmlns:a16="http://schemas.microsoft.com/office/drawing/2014/main" id="{3E4D535C-D57E-4C96-989E-CBA98EF9716B}"/>
              </a:ext>
            </a:extLst>
          </p:cNvPr>
          <p:cNvSpPr>
            <a:spLocks noGrp="1"/>
          </p:cNvSpPr>
          <p:nvPr>
            <p:ph type="sldNum" sz="quarter" idx="16"/>
          </p:nvPr>
        </p:nvSpPr>
        <p:spPr>
          <a:xfrm>
            <a:off x="233363" y="4867276"/>
            <a:ext cx="442392" cy="172074"/>
          </a:xfrm>
        </p:spPr>
        <p:txBody>
          <a:bodyPr/>
          <a:lstStyle/>
          <a:p>
            <a:fld id="{E9B57936-92EF-4126-AE48-1D9D36D15E98}" type="slidenum">
              <a:rPr lang="ja-JP" altLang="en-US" smtClean="0">
                <a:solidFill>
                  <a:srgbClr val="34373F"/>
                </a:solidFill>
              </a:rPr>
              <a:pPr/>
              <a:t>‹Nº›</a:t>
            </a:fld>
            <a:endParaRPr lang="ja-JP" altLang="en-US">
              <a:solidFill>
                <a:srgbClr val="34373F"/>
              </a:solidFill>
            </a:endParaRPr>
          </a:p>
        </p:txBody>
      </p:sp>
    </p:spTree>
    <p:extLst>
      <p:ext uri="{BB962C8B-B14F-4D97-AF65-F5344CB8AC3E}">
        <p14:creationId xmlns:p14="http://schemas.microsoft.com/office/powerpoint/2010/main" val="368228088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1_SAG/OE Title only">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C1AE710-910A-45E8-987A-33B7FB043BE5}"/>
              </a:ext>
            </a:extLst>
          </p:cNvPr>
          <p:cNvSpPr>
            <a:spLocks noGrp="1"/>
          </p:cNvSpPr>
          <p:nvPr>
            <p:ph type="title"/>
          </p:nvPr>
        </p:nvSpPr>
        <p:spPr>
          <a:xfrm>
            <a:off x="454558" y="121208"/>
            <a:ext cx="8330390" cy="514351"/>
          </a:xfrm>
        </p:spPr>
        <p:txBody>
          <a:bodyPr>
            <a:normAutofit/>
          </a:bodyPr>
          <a:lstStyle>
            <a:lvl1pPr>
              <a:lnSpc>
                <a:spcPct val="100000"/>
              </a:lnSpc>
              <a:defRPr sz="2100"/>
            </a:lvl1pPr>
          </a:lstStyle>
          <a:p>
            <a:r>
              <a:rPr lang="en-US"/>
              <a:t>Click to edit Master title style</a:t>
            </a:r>
            <a:endParaRPr lang="en-GB"/>
          </a:p>
        </p:txBody>
      </p:sp>
      <p:sp>
        <p:nvSpPr>
          <p:cNvPr id="4" name="Rectangle 3">
            <a:extLst>
              <a:ext uri="{FF2B5EF4-FFF2-40B4-BE49-F238E27FC236}">
                <a16:creationId xmlns="" xmlns:a16="http://schemas.microsoft.com/office/drawing/2014/main" id="{8230ECF3-B977-4019-87B2-D64E68C02BAD}"/>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05" tIns="34289" rIns="68505" bIns="34289" rtlCol="0" anchor="ctr"/>
          <a:lstStyle/>
          <a:p>
            <a:pPr algn="ctr" defTabSz="684950"/>
            <a:endParaRPr kumimoji="1" lang="x-none" sz="1400">
              <a:solidFill>
                <a:srgbClr val="E1242A"/>
              </a:solidFill>
            </a:endParaRPr>
          </a:p>
        </p:txBody>
      </p:sp>
      <p:sp>
        <p:nvSpPr>
          <p:cNvPr id="7" name="Slide Number Placeholder 2">
            <a:extLst>
              <a:ext uri="{FF2B5EF4-FFF2-40B4-BE49-F238E27FC236}">
                <a16:creationId xmlns="" xmlns:a16="http://schemas.microsoft.com/office/drawing/2014/main" id="{3ECFC6FE-29FD-4627-9DF7-EBE2B7531CED}"/>
              </a:ext>
            </a:extLst>
          </p:cNvPr>
          <p:cNvSpPr>
            <a:spLocks noGrp="1"/>
          </p:cNvSpPr>
          <p:nvPr>
            <p:ph type="sldNum" sz="quarter" idx="4"/>
          </p:nvPr>
        </p:nvSpPr>
        <p:spPr>
          <a:xfrm>
            <a:off x="8844587" y="26391"/>
            <a:ext cx="309438" cy="274272"/>
          </a:xfrm>
          <a:prstGeom prst="rect">
            <a:avLst/>
          </a:prstGeom>
        </p:spPr>
        <p:txBody>
          <a:bodyPr anchor="ctr"/>
          <a:lstStyle>
            <a:lvl1pPr algn="ctr">
              <a:defRPr sz="900" b="1">
                <a:solidFill>
                  <a:srgbClr val="FF0000"/>
                </a:solidFill>
                <a:latin typeface="+mj-lt"/>
              </a:defRPr>
            </a:lvl1pPr>
          </a:lstStyle>
          <a:p>
            <a:pPr defTabSz="912983"/>
            <a:fld id="{E9B57936-92EF-4126-AE48-1D9D36D15E98}" type="slidenum">
              <a:rPr lang="ja-JP" altLang="en-US" smtClean="0"/>
              <a:pPr defTabSz="912983"/>
              <a:t>‹Nº›</a:t>
            </a:fld>
            <a:endParaRPr lang="ja-JP" altLang="en-US"/>
          </a:p>
        </p:txBody>
      </p:sp>
      <p:pic>
        <p:nvPicPr>
          <p:cNvPr id="5" name="Picture 4" descr="Takeda">
            <a:extLst>
              <a:ext uri="{FF2B5EF4-FFF2-40B4-BE49-F238E27FC236}">
                <a16:creationId xmlns="" xmlns:a16="http://schemas.microsoft.com/office/drawing/2014/main" id="{AB86B1F6-5D85-CD4E-A0A7-44787B0FAB6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31882" y="4724106"/>
            <a:ext cx="841292" cy="466606"/>
          </a:xfrm>
          <a:prstGeom prst="rect">
            <a:avLst/>
          </a:prstGeom>
        </p:spPr>
      </p:pic>
      <p:sp>
        <p:nvSpPr>
          <p:cNvPr id="8" name="TextBox 7">
            <a:extLst>
              <a:ext uri="{FF2B5EF4-FFF2-40B4-BE49-F238E27FC236}">
                <a16:creationId xmlns="" xmlns:a16="http://schemas.microsoft.com/office/drawing/2014/main" id="{F1C45704-C894-D1E7-70F3-E96451E02933}"/>
              </a:ext>
            </a:extLst>
          </p:cNvPr>
          <p:cNvSpPr txBox="1"/>
          <p:nvPr userDrawn="1"/>
        </p:nvSpPr>
        <p:spPr>
          <a:xfrm>
            <a:off x="391354" y="4953683"/>
            <a:ext cx="1474202" cy="161583"/>
          </a:xfrm>
          <a:prstGeom prst="rect">
            <a:avLst/>
          </a:prstGeom>
          <a:noFill/>
        </p:spPr>
        <p:txBody>
          <a:bodyPr wrap="none" lIns="68505" tIns="34289" rIns="68505" bIns="34289" rtlCol="0">
            <a:spAutoFit/>
          </a:bodyPr>
          <a:lstStyle/>
          <a:p>
            <a:pPr defTabSz="684950">
              <a:defRPr/>
            </a:pPr>
            <a:r>
              <a:rPr lang="en-US" sz="600">
                <a:solidFill>
                  <a:srgbClr val="34373F"/>
                </a:solidFill>
              </a:rPr>
              <a:t>Private and confidential. Do not distribute.</a:t>
            </a:r>
          </a:p>
        </p:txBody>
      </p:sp>
    </p:spTree>
    <p:extLst>
      <p:ext uri="{BB962C8B-B14F-4D97-AF65-F5344CB8AC3E}">
        <p14:creationId xmlns:p14="http://schemas.microsoft.com/office/powerpoint/2010/main" val="3448263351"/>
      </p:ext>
    </p:extLst>
  </p:cSld>
  <p:clrMapOvr>
    <a:masterClrMapping/>
  </p:clrMapOvr>
  <p:transition spd="slow">
    <p:push dir="u"/>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95289" y="931509"/>
            <a:ext cx="8520112" cy="3530963"/>
          </a:xfrm>
        </p:spPr>
        <p:txBody>
          <a:bodyPr/>
          <a:lstStyle>
            <a:lvl1pPr marL="242700" indent="-242700">
              <a:lnSpc>
                <a:spcPct val="121000"/>
              </a:lnSpc>
              <a:spcBef>
                <a:spcPts val="0"/>
              </a:spcBef>
              <a:buClr>
                <a:schemeClr val="accent1"/>
              </a:buClr>
              <a:buFont typeface="+mj-lt"/>
              <a:buAutoNum type="arabicPeriod"/>
              <a:defRPr b="0"/>
            </a:lvl1pPr>
            <a:lvl2pPr>
              <a:defRPr b="0"/>
            </a:lvl2pPr>
            <a:lvl3pPr>
              <a:defRPr b="0"/>
            </a:lvl3pPr>
            <a:lvl4pPr>
              <a:defRPr b="0"/>
            </a:lvl4pPr>
            <a:lvl5pPr>
              <a:defRPr b="0"/>
            </a:lvl5pPr>
          </a:lstStyle>
          <a:p>
            <a:pPr lvl="0"/>
            <a:r>
              <a:rPr lang="en-US"/>
              <a:t>Click to edit Master text styles</a:t>
            </a:r>
          </a:p>
        </p:txBody>
      </p:sp>
      <p:sp>
        <p:nvSpPr>
          <p:cNvPr id="3" name="Titel 2"/>
          <p:cNvSpPr>
            <a:spLocks noGrp="1"/>
          </p:cNvSpPr>
          <p:nvPr>
            <p:ph type="title"/>
          </p:nvPr>
        </p:nvSpPr>
        <p:spPr/>
        <p:txBody>
          <a:bodyPr/>
          <a:lstStyle/>
          <a:p>
            <a:r>
              <a:rPr lang="en-US"/>
              <a:t>Click to edit Master title style</a:t>
            </a:r>
          </a:p>
        </p:txBody>
      </p:sp>
      <p:sp>
        <p:nvSpPr>
          <p:cNvPr id="4" name="Footer Placeholder 25">
            <a:extLst>
              <a:ext uri="{FF2B5EF4-FFF2-40B4-BE49-F238E27FC236}">
                <a16:creationId xmlns="" xmlns:a16="http://schemas.microsoft.com/office/drawing/2014/main" id="{DF1BB8BE-DEC1-463C-93A7-0624FA6EE808}"/>
              </a:ext>
            </a:extLst>
          </p:cNvPr>
          <p:cNvSpPr>
            <a:spLocks noGrp="1"/>
          </p:cNvSpPr>
          <p:nvPr>
            <p:ph type="ftr" sz="quarter" idx="11"/>
          </p:nvPr>
        </p:nvSpPr>
        <p:spPr/>
        <p:txBody>
          <a:bodyPr wrap="square" lIns="68505" tIns="34289" rIns="68505" bIns="34289" numCol="1" anchorCtr="0" compatLnSpc="1">
            <a:prstTxWarp prst="textNoShape">
              <a:avLst/>
            </a:prstTxWarp>
          </a:bodyPr>
          <a:lstStyle>
            <a:lvl1pPr fontAlgn="base">
              <a:spcBef>
                <a:spcPct val="0"/>
              </a:spcBef>
              <a:spcAft>
                <a:spcPct val="0"/>
              </a:spcAft>
              <a:defRPr>
                <a:solidFill>
                  <a:srgbClr val="898989"/>
                </a:solidFill>
                <a:ea typeface="Arial Unicode MS" pitchFamily="34" charset="-128"/>
              </a:defRPr>
            </a:lvl1pPr>
          </a:lstStyle>
          <a:p>
            <a:pPr defTabSz="684950">
              <a:defRPr/>
            </a:pPr>
            <a:r>
              <a:rPr lang="es-AR" sz="1400" smtClean="0"/>
              <a:t>Reunión Grupo de Trabajo Dengue - 19 de abril de 2023 - No distribuir, confidencial</a:t>
            </a:r>
            <a:endParaRPr lang="en-GB" sz="1400"/>
          </a:p>
        </p:txBody>
      </p:sp>
      <p:sp>
        <p:nvSpPr>
          <p:cNvPr id="6" name="Slide Number Placeholder 26">
            <a:extLst>
              <a:ext uri="{FF2B5EF4-FFF2-40B4-BE49-F238E27FC236}">
                <a16:creationId xmlns="" xmlns:a16="http://schemas.microsoft.com/office/drawing/2014/main" id="{67A4F0DA-4C07-4A64-8265-179D106EA7D4}"/>
              </a:ext>
            </a:extLst>
          </p:cNvPr>
          <p:cNvSpPr>
            <a:spLocks noGrp="1"/>
          </p:cNvSpPr>
          <p:nvPr>
            <p:ph type="sldNum" sz="quarter" idx="12"/>
          </p:nvPr>
        </p:nvSpPr>
        <p:spPr/>
        <p:txBody>
          <a:bodyPr/>
          <a:lstStyle>
            <a:lvl1pPr>
              <a:defRPr/>
            </a:lvl1pPr>
          </a:lstStyle>
          <a:p>
            <a:fld id="{4FC6919A-B199-488A-84BD-31A2CAF758A2}" type="slidenum">
              <a:rPr lang="en-GB" altLang="en-US">
                <a:solidFill>
                  <a:srgbClr val="34373F"/>
                </a:solidFill>
              </a:rPr>
              <a:pPr/>
              <a:t>‹Nº›</a:t>
            </a:fld>
            <a:endParaRPr lang="en-GB" altLang="en-US">
              <a:solidFill>
                <a:srgbClr val="34373F"/>
              </a:solidFill>
            </a:endParaRPr>
          </a:p>
        </p:txBody>
      </p:sp>
    </p:spTree>
    <p:extLst>
      <p:ext uri="{BB962C8B-B14F-4D97-AF65-F5344CB8AC3E}">
        <p14:creationId xmlns:p14="http://schemas.microsoft.com/office/powerpoint/2010/main" val="181100940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Content Placeholder 2"/>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Date Placeholder 3"/>
          <p:cNvSpPr>
            <a:spLocks noGrp="1"/>
          </p:cNvSpPr>
          <p:nvPr>
            <p:ph type="dt" sz="half" idx="10"/>
          </p:nvPr>
        </p:nvSpPr>
        <p:spPr/>
        <p:txBody>
          <a:bodyPr lIns="68505" tIns="34289" rIns="68505" bIns="34289"/>
          <a:lstStyle/>
          <a:p>
            <a:pPr defTabSz="684950"/>
            <a:endParaRPr lang="es-MX" sz="1400">
              <a:solidFill>
                <a:srgbClr val="34373F"/>
              </a:solidFill>
            </a:endParaRPr>
          </a:p>
        </p:txBody>
      </p:sp>
      <p:sp>
        <p:nvSpPr>
          <p:cNvPr id="5" name="Footer Placeholder 4"/>
          <p:cNvSpPr>
            <a:spLocks noGrp="1"/>
          </p:cNvSpPr>
          <p:nvPr>
            <p:ph type="ftr" sz="quarter" idx="11"/>
          </p:nvPr>
        </p:nvSpPr>
        <p:spPr/>
        <p:txBody>
          <a:bodyPr lIns="68505" tIns="34289" rIns="68505" bIns="34289"/>
          <a:lstStyle/>
          <a:p>
            <a:pPr defTabSz="684950"/>
            <a:r>
              <a:rPr lang="es-AR" sz="1400" smtClean="0">
                <a:solidFill>
                  <a:srgbClr val="34373F"/>
                </a:solidFill>
              </a:rPr>
              <a:t>Reunión Grupo de Trabajo Dengue - 19 de abril de 2023 - No distribuir, confidencial</a:t>
            </a:r>
            <a:endParaRPr lang="es-MX" sz="1400">
              <a:solidFill>
                <a:srgbClr val="34373F"/>
              </a:solidFill>
            </a:endParaRPr>
          </a:p>
        </p:txBody>
      </p:sp>
      <p:sp>
        <p:nvSpPr>
          <p:cNvPr id="6" name="Slide Number Placeholder 5"/>
          <p:cNvSpPr>
            <a:spLocks noGrp="1"/>
          </p:cNvSpPr>
          <p:nvPr>
            <p:ph type="sldNum" sz="quarter" idx="12"/>
          </p:nvPr>
        </p:nvSpPr>
        <p:spPr/>
        <p:txBody>
          <a:bodyPr/>
          <a:lstStyle/>
          <a:p>
            <a:fld id="{9ECC39A2-64FC-4ACE-9FE9-FA7540CB3153}" type="slidenum">
              <a:rPr lang="es-MX" smtClean="0">
                <a:solidFill>
                  <a:srgbClr val="34373F"/>
                </a:solidFill>
              </a:rPr>
              <a:pPr/>
              <a:t>‹Nº›</a:t>
            </a:fld>
            <a:endParaRPr lang="es-MX">
              <a:solidFill>
                <a:srgbClr val="34373F"/>
              </a:solidFill>
            </a:endParaRPr>
          </a:p>
        </p:txBody>
      </p:sp>
    </p:spTree>
    <p:extLst>
      <p:ext uri="{BB962C8B-B14F-4D97-AF65-F5344CB8AC3E}">
        <p14:creationId xmlns:p14="http://schemas.microsoft.com/office/powerpoint/2010/main" val="37259856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3409"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 xmlns:a16="http://schemas.microsoft.com/office/drawing/2014/main" id="{45BA39F8-AD37-488C-93DF-222FD9C286B5}"/>
              </a:ext>
            </a:extLst>
          </p:cNvPr>
          <p:cNvSpPr/>
          <p:nvPr userDrawn="1">
            <p:custDataLst>
              <p:tags r:id="rId3"/>
            </p:custDataLst>
          </p:nvPr>
        </p:nvSpPr>
        <p:spPr>
          <a:xfrm>
            <a:off x="2" y="77"/>
            <a:ext cx="119063" cy="119063"/>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85800"/>
            <a:endParaRPr lang="en-GB" b="1">
              <a:solidFill>
                <a:srgbClr val="000000"/>
              </a:solidFill>
              <a:latin typeface="Arial" panose="020B0604020202020204" pitchFamily="34" charset="0"/>
              <a:sym typeface="Arial" panose="020B0604020202020204" pitchFamily="34" charset="0"/>
            </a:endParaRPr>
          </a:p>
        </p:txBody>
      </p:sp>
      <p:sp>
        <p:nvSpPr>
          <p:cNvPr id="2" name="2. Slide Title"/>
          <p:cNvSpPr>
            <a:spLocks noGrp="1"/>
          </p:cNvSpPr>
          <p:nvPr>
            <p:ph type="title" hasCustomPrompt="1"/>
          </p:nvPr>
        </p:nvSpPr>
        <p:spPr bwMode="gray">
          <a:xfrm>
            <a:off x="174956" y="176150"/>
            <a:ext cx="8794113" cy="553998"/>
          </a:xfrm>
        </p:spPr>
        <p:txBody>
          <a:bodyPr/>
          <a:lstStyle/>
          <a:p>
            <a:r>
              <a:rPr lang="en-GB"/>
              <a:t>Click to edit Master title style</a:t>
            </a:r>
            <a:br>
              <a:rPr lang="en-GB"/>
            </a:br>
            <a:endParaRPr lang="en-GB"/>
          </a:p>
        </p:txBody>
      </p:sp>
      <p:sp>
        <p:nvSpPr>
          <p:cNvPr id="5" name="doc id" hidden="1"/>
          <p:cNvSpPr>
            <a:spLocks noChangeArrowheads="1"/>
          </p:cNvSpPr>
          <p:nvPr userDrawn="1"/>
        </p:nvSpPr>
        <p:spPr bwMode="gray">
          <a:xfrm flipH="1">
            <a:off x="7993503" y="38877"/>
            <a:ext cx="923672" cy="769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913520"/>
            <a:endParaRPr lang="en-GB" sz="500">
              <a:solidFill>
                <a:srgbClr val="808080"/>
              </a:solidFill>
            </a:endParaRPr>
          </a:p>
        </p:txBody>
      </p:sp>
      <p:sp>
        <p:nvSpPr>
          <p:cNvPr id="6" name="Text Placeholder 2">
            <a:extLst>
              <a:ext uri="{FF2B5EF4-FFF2-40B4-BE49-F238E27FC236}">
                <a16:creationId xmlns="" xmlns:a16="http://schemas.microsoft.com/office/drawing/2014/main" id="{C8B21A75-CC0F-C649-B9BF-29391FB0584E}"/>
              </a:ext>
            </a:extLst>
          </p:cNvPr>
          <p:cNvSpPr>
            <a:spLocks noGrp="1"/>
          </p:cNvSpPr>
          <p:nvPr>
            <p:ph type="body" sz="quarter" idx="14" hasCustomPrompt="1"/>
          </p:nvPr>
        </p:nvSpPr>
        <p:spPr>
          <a:xfrm>
            <a:off x="174943" y="935066"/>
            <a:ext cx="8794112" cy="184666"/>
          </a:xfrm>
          <a:prstGeom prst="rect">
            <a:avLst/>
          </a:prstGeom>
        </p:spPr>
        <p:txBody>
          <a:bodyPr anchor="t" anchorCtr="0"/>
          <a:lstStyle>
            <a:lvl1pPr marL="0" indent="0" algn="ctr">
              <a:spcAft>
                <a:spcPts val="0"/>
              </a:spcAft>
              <a:buNone/>
              <a:defRPr sz="1200" i="1">
                <a:latin typeface="Georgia" panose="02040502050405020303" pitchFamily="18" charset="0"/>
              </a:defRPr>
            </a:lvl1pPr>
            <a:lvl2pPr marL="203597" indent="0">
              <a:buNone/>
              <a:defRPr/>
            </a:lvl2pPr>
            <a:lvl3pPr marL="400050" indent="0">
              <a:buNone/>
              <a:defRPr/>
            </a:lvl3pPr>
            <a:lvl4pPr marL="611981" indent="0">
              <a:buNone/>
              <a:defRPr/>
            </a:lvl4pPr>
            <a:lvl5pPr marL="828675" indent="0">
              <a:buNone/>
              <a:defRPr/>
            </a:lvl5pPr>
          </a:lstStyle>
          <a:p>
            <a:pPr lvl="0"/>
            <a:r>
              <a:rPr lang="en-US"/>
              <a:t>Subtitle here if required</a:t>
            </a:r>
          </a:p>
        </p:txBody>
      </p:sp>
      <p:sp>
        <p:nvSpPr>
          <p:cNvPr id="7" name="Content Placeholder 2">
            <a:extLst>
              <a:ext uri="{FF2B5EF4-FFF2-40B4-BE49-F238E27FC236}">
                <a16:creationId xmlns="" xmlns:a16="http://schemas.microsoft.com/office/drawing/2014/main" id="{6748F0A7-42E1-194C-8037-0A1335AD5A45}"/>
              </a:ext>
            </a:extLst>
          </p:cNvPr>
          <p:cNvSpPr>
            <a:spLocks noGrp="1"/>
          </p:cNvSpPr>
          <p:nvPr>
            <p:ph idx="1"/>
          </p:nvPr>
        </p:nvSpPr>
        <p:spPr>
          <a:xfrm>
            <a:off x="174943" y="1456062"/>
            <a:ext cx="8794112" cy="2985101"/>
          </a:xfrm>
          <a:prstGeom prst="rect">
            <a:avLst/>
          </a:prstGeom>
        </p:spPr>
        <p:txBody>
          <a:bodyPr>
            <a:noAutofit/>
          </a:bodyPr>
          <a:lstStyle>
            <a:lvl1pPr>
              <a:defRPr sz="1100" b="0" i="0">
                <a:latin typeface="Georgia" panose="02040502050405020303" pitchFamily="18" charset="0"/>
              </a:defRPr>
            </a:lvl1pPr>
            <a:lvl2pPr>
              <a:defRPr sz="1100" b="0" i="0">
                <a:latin typeface="Georgia" panose="02040502050405020303" pitchFamily="18" charset="0"/>
              </a:defRPr>
            </a:lvl2pPr>
            <a:lvl3pPr>
              <a:defRPr sz="1100" b="0" i="0">
                <a:latin typeface="Georgia" panose="02040502050405020303" pitchFamily="18" charset="0"/>
              </a:defRPr>
            </a:lvl3pPr>
            <a:lvl4pPr>
              <a:defRPr sz="1100" b="0" i="0">
                <a:latin typeface="Georgia" panose="02040502050405020303" pitchFamily="18" charset="0"/>
              </a:defRPr>
            </a:lvl4pPr>
            <a:lvl5pPr>
              <a:defRPr sz="1100" b="0" i="0">
                <a:solidFill>
                  <a:srgbClr val="00244F"/>
                </a:solidFill>
                <a:latin typeface="Georgia" panose="02040502050405020303" pitchFamily="18"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96551452"/>
      </p:ext>
    </p:extLst>
  </p:cSld>
  <p:clrMapOvr>
    <a:masterClrMapping/>
  </p:clrMapOvr>
  <p:extLst mod="1">
    <p:ext uri="{DCECCB84-F9BA-43D5-87BE-67443E8EF086}">
      <p15:sldGuideLst xmlns:p15="http://schemas.microsoft.com/office/powerpoint/2012/main">
        <p15:guide id="1" pos="7489">
          <p15:clr>
            <a:srgbClr val="F26B43"/>
          </p15:clr>
        </p15:guide>
        <p15:guide id="2" pos="101">
          <p15:clr>
            <a:srgbClr val="F26B43"/>
          </p15:clr>
        </p15:guide>
        <p15:guide id="3" orient="horz" pos="701">
          <p15:clr>
            <a:srgbClr val="F26B43"/>
          </p15:clr>
        </p15:guide>
        <p15:guide id="4" orient="horz" pos="3991">
          <p15:clr>
            <a:srgbClr val="F26B43"/>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sp>
        <p:nvSpPr>
          <p:cNvPr id="19" name="Rectangle 6">
            <a:extLst>
              <a:ext uri="{FF2B5EF4-FFF2-40B4-BE49-F238E27FC236}">
                <a16:creationId xmlns="" xmlns:a16="http://schemas.microsoft.com/office/drawing/2014/main" id="{18D4B9FA-39D5-DC46-AEE9-0F3C6ECD9555}"/>
              </a:ext>
            </a:extLst>
          </p:cNvPr>
          <p:cNvSpPr/>
          <p:nvPr userDrawn="1"/>
        </p:nvSpPr>
        <p:spPr>
          <a:xfrm>
            <a:off x="1" y="519522"/>
            <a:ext cx="107504" cy="40704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05" tIns="34289" rIns="68505" bIns="34289" anchor="ctr"/>
          <a:lstStyle/>
          <a:p>
            <a:pPr algn="ctr" defTabSz="684950"/>
            <a:endParaRPr lang="en-US" altLang="en-US" sz="1400">
              <a:solidFill>
                <a:srgbClr val="FFFFFF"/>
              </a:solidFill>
            </a:endParaRPr>
          </a:p>
        </p:txBody>
      </p:sp>
      <p:sp>
        <p:nvSpPr>
          <p:cNvPr id="21" name="Title 1">
            <a:extLst>
              <a:ext uri="{FF2B5EF4-FFF2-40B4-BE49-F238E27FC236}">
                <a16:creationId xmlns="" xmlns:a16="http://schemas.microsoft.com/office/drawing/2014/main" id="{BBB8651D-A822-B447-BA6F-5B2ACD54EA33}"/>
              </a:ext>
            </a:extLst>
          </p:cNvPr>
          <p:cNvSpPr>
            <a:spLocks noGrp="1"/>
          </p:cNvSpPr>
          <p:nvPr>
            <p:ph type="ctrTitle" hasCustomPrompt="1"/>
          </p:nvPr>
        </p:nvSpPr>
        <p:spPr>
          <a:xfrm>
            <a:off x="733671" y="1417374"/>
            <a:ext cx="5845440" cy="2308757"/>
          </a:xfrm>
        </p:spPr>
        <p:txBody>
          <a:bodyPr wrap="square" tIns="0" rIns="0" bIns="0" anchor="ctr" anchorCtr="0">
            <a:noAutofit/>
          </a:bodyPr>
          <a:lstStyle>
            <a:lvl1pPr>
              <a:lnSpc>
                <a:spcPts val="2835"/>
              </a:lnSpc>
              <a:defRPr sz="2100" b="0" i="0" baseline="0">
                <a:solidFill>
                  <a:schemeClr val="tx2"/>
                </a:solidFill>
                <a:latin typeface="Calibri" pitchFamily="34" charset="0"/>
                <a:ea typeface="メイリオ" pitchFamily="50" charset="-128"/>
                <a:cs typeface="Calibri" pitchFamily="34" charset="0"/>
              </a:defRPr>
            </a:lvl1pPr>
          </a:lstStyle>
          <a:p>
            <a:r>
              <a:rPr lang="en-US" altLang="ja-JP"/>
              <a:t>Click to enter Presentation Title</a:t>
            </a:r>
            <a:endParaRPr lang="en-GB"/>
          </a:p>
        </p:txBody>
      </p:sp>
      <p:pic>
        <p:nvPicPr>
          <p:cNvPr id="22" name="Picture 12" descr="Takeda_Logo_Pos_RGB.emf">
            <a:extLst>
              <a:ext uri="{FF2B5EF4-FFF2-40B4-BE49-F238E27FC236}">
                <a16:creationId xmlns="" xmlns:a16="http://schemas.microsoft.com/office/drawing/2014/main" id="{C149A174-44EE-8840-8DF2-A61115CADF3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733672" y="519523"/>
            <a:ext cx="876500" cy="294776"/>
          </a:xfrm>
          <a:prstGeom prst="rect">
            <a:avLst/>
          </a:prstGeom>
          <a:noFill/>
          <a:ln w="9525">
            <a:noFill/>
            <a:miter lim="800000"/>
            <a:headEnd/>
            <a:tailEnd/>
          </a:ln>
        </p:spPr>
      </p:pic>
      <p:sp>
        <p:nvSpPr>
          <p:cNvPr id="13" name="Text Placeholder 8">
            <a:extLst>
              <a:ext uri="{FF2B5EF4-FFF2-40B4-BE49-F238E27FC236}">
                <a16:creationId xmlns="" xmlns:a16="http://schemas.microsoft.com/office/drawing/2014/main" id="{B2B05F68-B197-814D-B205-23942323983F}"/>
              </a:ext>
            </a:extLst>
          </p:cNvPr>
          <p:cNvSpPr>
            <a:spLocks noGrp="1"/>
          </p:cNvSpPr>
          <p:nvPr>
            <p:ph type="body" sz="quarter" idx="13" hasCustomPrompt="1"/>
          </p:nvPr>
        </p:nvSpPr>
        <p:spPr>
          <a:xfrm>
            <a:off x="733425" y="3748420"/>
            <a:ext cx="5856300" cy="199800"/>
          </a:xfrm>
        </p:spPr>
        <p:txBody>
          <a:bodyPr>
            <a:noAutofit/>
          </a:bodyPr>
          <a:lstStyle>
            <a:lvl1pPr marL="0" indent="0">
              <a:buNone/>
              <a:defRPr sz="1200">
                <a:solidFill>
                  <a:schemeClr val="tx2"/>
                </a:solidFill>
              </a:defRPr>
            </a:lvl1pPr>
          </a:lstStyle>
          <a:p>
            <a:r>
              <a:rPr lang="en-US"/>
              <a:t>Date</a:t>
            </a:r>
          </a:p>
        </p:txBody>
      </p:sp>
      <p:sp>
        <p:nvSpPr>
          <p:cNvPr id="14" name="Text Placeholder 17">
            <a:extLst>
              <a:ext uri="{FF2B5EF4-FFF2-40B4-BE49-F238E27FC236}">
                <a16:creationId xmlns="" xmlns:a16="http://schemas.microsoft.com/office/drawing/2014/main" id="{35BA5041-95B8-DA43-9B0D-A51F8EB9AE8C}"/>
              </a:ext>
            </a:extLst>
          </p:cNvPr>
          <p:cNvSpPr>
            <a:spLocks noGrp="1"/>
          </p:cNvSpPr>
          <p:nvPr>
            <p:ph type="body" sz="quarter" idx="11" hasCustomPrompt="1"/>
          </p:nvPr>
        </p:nvSpPr>
        <p:spPr>
          <a:xfrm>
            <a:off x="733547" y="4192697"/>
            <a:ext cx="5855724" cy="199800"/>
          </a:xfrm>
        </p:spPr>
        <p:txBody>
          <a:bodyPr>
            <a:noAutofit/>
          </a:bodyPr>
          <a:lstStyle>
            <a:lvl1pPr marL="0" indent="0">
              <a:buNone/>
              <a:defRPr sz="1200">
                <a:solidFill>
                  <a:schemeClr val="tx2"/>
                </a:solidFill>
              </a:defRPr>
            </a:lvl1pPr>
          </a:lstStyle>
          <a:p>
            <a:r>
              <a:rPr lang="en-US"/>
              <a:t>Department</a:t>
            </a:r>
          </a:p>
        </p:txBody>
      </p:sp>
      <p:sp>
        <p:nvSpPr>
          <p:cNvPr id="16" name="Text Placeholder 19">
            <a:extLst>
              <a:ext uri="{FF2B5EF4-FFF2-40B4-BE49-F238E27FC236}">
                <a16:creationId xmlns="" xmlns:a16="http://schemas.microsoft.com/office/drawing/2014/main" id="{8170F29E-72F0-9043-B0D6-F30E440CFB8B}"/>
              </a:ext>
            </a:extLst>
          </p:cNvPr>
          <p:cNvSpPr>
            <a:spLocks noGrp="1"/>
          </p:cNvSpPr>
          <p:nvPr>
            <p:ph type="body" sz="quarter" idx="14" hasCustomPrompt="1"/>
          </p:nvPr>
        </p:nvSpPr>
        <p:spPr>
          <a:xfrm>
            <a:off x="733547" y="3970559"/>
            <a:ext cx="5855724" cy="199800"/>
          </a:xfrm>
        </p:spPr>
        <p:txBody>
          <a:bodyPr>
            <a:noAutofit/>
          </a:bodyPr>
          <a:lstStyle>
            <a:lvl1pPr marL="0" indent="0">
              <a:buNone/>
              <a:defRPr sz="1200">
                <a:solidFill>
                  <a:schemeClr val="tx2"/>
                </a:solidFill>
              </a:defRPr>
            </a:lvl1pPr>
          </a:lstStyle>
          <a:p>
            <a:r>
              <a:rPr lang="en-US"/>
              <a:t>Name, Job Title</a:t>
            </a:r>
          </a:p>
        </p:txBody>
      </p:sp>
      <p:pic>
        <p:nvPicPr>
          <p:cNvPr id="11" name="Picture 10">
            <a:extLst>
              <a:ext uri="{FF2B5EF4-FFF2-40B4-BE49-F238E27FC236}">
                <a16:creationId xmlns="" xmlns:a16="http://schemas.microsoft.com/office/drawing/2014/main" id="{E68C4E39-7A2C-C54A-89E6-D83490115C6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604706" y="340157"/>
            <a:ext cx="1134142" cy="678942"/>
          </a:xfrm>
          <a:prstGeom prst="rect">
            <a:avLst/>
          </a:prstGeom>
        </p:spPr>
      </p:pic>
      <p:sp>
        <p:nvSpPr>
          <p:cNvPr id="3" name="Text Placeholder 2">
            <a:extLst>
              <a:ext uri="{FF2B5EF4-FFF2-40B4-BE49-F238E27FC236}">
                <a16:creationId xmlns="" xmlns:a16="http://schemas.microsoft.com/office/drawing/2014/main" id="{D09022C1-C69C-4071-9785-A9344EEC9E86}"/>
              </a:ext>
            </a:extLst>
          </p:cNvPr>
          <p:cNvSpPr>
            <a:spLocks noGrp="1"/>
          </p:cNvSpPr>
          <p:nvPr>
            <p:ph type="body" sz="quarter" idx="19" hasCustomPrompt="1"/>
          </p:nvPr>
        </p:nvSpPr>
        <p:spPr>
          <a:xfrm>
            <a:off x="733425" y="4414837"/>
            <a:ext cx="5856300" cy="199800"/>
          </a:xfrm>
        </p:spPr>
        <p:txBody>
          <a:bodyPr>
            <a:noAutofit/>
          </a:bodyPr>
          <a:lstStyle>
            <a:lvl1pPr marL="0" indent="0">
              <a:buNone/>
              <a:defRPr sz="1200"/>
            </a:lvl1pPr>
            <a:lvl2pPr marL="342452" indent="0">
              <a:buNone/>
              <a:defRPr sz="1200"/>
            </a:lvl2pPr>
            <a:lvl3pPr marL="684950" indent="0">
              <a:buNone/>
              <a:defRPr sz="1200"/>
            </a:lvl3pPr>
            <a:lvl4pPr marL="1027425" indent="0">
              <a:buNone/>
              <a:defRPr sz="1200"/>
            </a:lvl4pPr>
            <a:lvl5pPr marL="1369900" indent="0">
              <a:buNone/>
              <a:defRPr sz="1200"/>
            </a:lvl5pPr>
          </a:lstStyle>
          <a:p>
            <a:pPr lvl="0"/>
            <a:r>
              <a:rPr lang="en-US"/>
              <a:t>Company Name</a:t>
            </a:r>
          </a:p>
        </p:txBody>
      </p:sp>
      <p:sp>
        <p:nvSpPr>
          <p:cNvPr id="4" name="Slide Number Placeholder 3">
            <a:extLst>
              <a:ext uri="{FF2B5EF4-FFF2-40B4-BE49-F238E27FC236}">
                <a16:creationId xmlns="" xmlns:a16="http://schemas.microsoft.com/office/drawing/2014/main" id="{B18B2ED7-FF41-4B61-BF13-6DE2674A496D}"/>
              </a:ext>
            </a:extLst>
          </p:cNvPr>
          <p:cNvSpPr>
            <a:spLocks noGrp="1"/>
          </p:cNvSpPr>
          <p:nvPr>
            <p:ph type="sldNum" sz="quarter" idx="21"/>
          </p:nvPr>
        </p:nvSpPr>
        <p:spPr/>
        <p:txBody>
          <a:bodyPr/>
          <a:lstStyle/>
          <a:p>
            <a:fld id="{E9B57936-92EF-4126-AE48-1D9D36D15E98}" type="slidenum">
              <a:rPr lang="ja-JP" altLang="en-US" smtClean="0">
                <a:solidFill>
                  <a:srgbClr val="34373F"/>
                </a:solidFill>
              </a:rPr>
              <a:pPr/>
              <a:t>‹Nº›</a:t>
            </a:fld>
            <a:endParaRPr lang="ja-JP" altLang="en-US">
              <a:solidFill>
                <a:srgbClr val="34373F"/>
              </a:solidFill>
            </a:endParaRPr>
          </a:p>
        </p:txBody>
      </p:sp>
      <p:sp>
        <p:nvSpPr>
          <p:cNvPr id="12" name="TextBox 11">
            <a:extLst>
              <a:ext uri="{FF2B5EF4-FFF2-40B4-BE49-F238E27FC236}">
                <a16:creationId xmlns="" xmlns:a16="http://schemas.microsoft.com/office/drawing/2014/main" id="{6A4FE4DF-DDB3-4F1E-ADA0-89FDB290CBCC}"/>
              </a:ext>
            </a:extLst>
          </p:cNvPr>
          <p:cNvSpPr txBox="1"/>
          <p:nvPr userDrawn="1"/>
        </p:nvSpPr>
        <p:spPr>
          <a:xfrm>
            <a:off x="395289" y="4748422"/>
            <a:ext cx="7532933" cy="292688"/>
          </a:xfrm>
          <a:prstGeom prst="rect">
            <a:avLst/>
          </a:prstGeom>
          <a:noFill/>
        </p:spPr>
        <p:txBody>
          <a:bodyPr wrap="square" lIns="68505" tIns="34289" rIns="68505" bIns="34289" rtlCol="0" anchor="ctr">
            <a:noAutofit/>
          </a:bodyPr>
          <a:lstStyle/>
          <a:p>
            <a:pPr defTabSz="684950"/>
            <a:r>
              <a:rPr kumimoji="1" lang="en-GB" sz="800">
                <a:solidFill>
                  <a:srgbClr val="34373F"/>
                </a:solidFill>
                <a:cs typeface="Calibri" panose="020F0502020204030204" pitchFamily="34" charset="0"/>
              </a:rPr>
              <a:t>TAK-003 TIDES 54-month data advisory board| VV-MEDMAT-80368 |  Approval date: January 2023  |  Confidential – please do not distribute</a:t>
            </a:r>
          </a:p>
        </p:txBody>
      </p:sp>
    </p:spTree>
    <p:extLst>
      <p:ext uri="{BB962C8B-B14F-4D97-AF65-F5344CB8AC3E}">
        <p14:creationId xmlns:p14="http://schemas.microsoft.com/office/powerpoint/2010/main" val="415029585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1_タイトルとコンテンツ">
    <p:spTree>
      <p:nvGrpSpPr>
        <p:cNvPr id="1" name=""/>
        <p:cNvGrpSpPr/>
        <p:nvPr/>
      </p:nvGrpSpPr>
      <p:grpSpPr>
        <a:xfrm>
          <a:off x="0" y="0"/>
          <a:ext cx="0" cy="0"/>
          <a:chOff x="0" y="0"/>
          <a:chExt cx="0" cy="0"/>
        </a:xfrm>
      </p:grpSpPr>
      <p:sp>
        <p:nvSpPr>
          <p:cNvPr id="3" name="コンテンツ プレースホルダ 2"/>
          <p:cNvSpPr>
            <a:spLocks noGrp="1"/>
          </p:cNvSpPr>
          <p:nvPr>
            <p:ph idx="1" hasCustomPrompt="1"/>
          </p:nvPr>
        </p:nvSpPr>
        <p:spPr/>
        <p:txBody>
          <a:bodyPr>
            <a:normAutofit/>
          </a:bodyPr>
          <a:lstStyle>
            <a:lvl1pPr marL="342452" marR="0" indent="-342452" algn="l" defTabSz="684950" rtl="0" eaLnBrk="1" fontAlgn="auto" latinLnBrk="0" hangingPunct="1">
              <a:lnSpc>
                <a:spcPct val="100000"/>
              </a:lnSpc>
              <a:spcBef>
                <a:spcPct val="20000"/>
              </a:spcBef>
              <a:spcAft>
                <a:spcPts val="0"/>
              </a:spcAft>
              <a:buClr>
                <a:srgbClr val="4C4948"/>
              </a:buClr>
              <a:buSzTx/>
              <a:buFont typeface="Arial" panose="020B0604020202020204" pitchFamily="34" charset="0"/>
              <a:buChar char="•"/>
              <a:tabLst/>
              <a:defRPr sz="2000" baseline="0">
                <a:solidFill>
                  <a:schemeClr val="accent2"/>
                </a:solidFill>
                <a:latin typeface="Calibri" pitchFamily="34" charset="0"/>
                <a:cs typeface="Calibri" pitchFamily="34" charset="0"/>
              </a:defRPr>
            </a:lvl1pPr>
            <a:lvl2pPr marL="556513" marR="0" indent="-214063" algn="l" defTabSz="684950" rtl="0" eaLnBrk="1" fontAlgn="auto" latinLnBrk="0" hangingPunct="1">
              <a:lnSpc>
                <a:spcPct val="100000"/>
              </a:lnSpc>
              <a:spcBef>
                <a:spcPct val="20000"/>
              </a:spcBef>
              <a:spcAft>
                <a:spcPts val="0"/>
              </a:spcAft>
              <a:buClr>
                <a:srgbClr val="4C4948"/>
              </a:buClr>
              <a:buSzTx/>
              <a:buFont typeface="Arial" pitchFamily="34" charset="0"/>
              <a:buChar char="–"/>
              <a:tabLst/>
              <a:defRPr sz="1400" baseline="0">
                <a:solidFill>
                  <a:srgbClr val="231815"/>
                </a:solidFill>
                <a:latin typeface="Calibri" pitchFamily="34" charset="0"/>
                <a:cs typeface="Calibri" pitchFamily="34" charset="0"/>
              </a:defRPr>
            </a:lvl2pPr>
            <a:lvl3pPr marL="856199" marR="0" indent="-171250" algn="l" defTabSz="684950" rtl="0" eaLnBrk="1" fontAlgn="auto" latinLnBrk="0" hangingPunct="1">
              <a:lnSpc>
                <a:spcPct val="100000"/>
              </a:lnSpc>
              <a:spcBef>
                <a:spcPct val="20000"/>
              </a:spcBef>
              <a:spcAft>
                <a:spcPts val="0"/>
              </a:spcAft>
              <a:buClr>
                <a:srgbClr val="4C4948"/>
              </a:buClr>
              <a:buSzTx/>
              <a:buFont typeface="Arial" pitchFamily="34" charset="0"/>
              <a:buChar char="•"/>
              <a:tabLst/>
              <a:defRPr sz="1200" baseline="0">
                <a:solidFill>
                  <a:srgbClr val="231815"/>
                </a:solidFill>
                <a:latin typeface="Calibri" pitchFamily="34" charset="0"/>
                <a:cs typeface="Calibri" pitchFamily="34" charset="0"/>
              </a:defRPr>
            </a:lvl3pPr>
            <a:lvl4pPr marL="1198650" marR="0" indent="-171250" algn="l" defTabSz="684950" rtl="0" eaLnBrk="1" fontAlgn="auto" latinLnBrk="0" hangingPunct="1">
              <a:lnSpc>
                <a:spcPct val="100000"/>
              </a:lnSpc>
              <a:spcBef>
                <a:spcPct val="20000"/>
              </a:spcBef>
              <a:spcAft>
                <a:spcPts val="0"/>
              </a:spcAft>
              <a:buClr>
                <a:srgbClr val="4C4948"/>
              </a:buClr>
              <a:buSzTx/>
              <a:buFont typeface="Arial" pitchFamily="34" charset="0"/>
              <a:buChar char="–"/>
              <a:tabLst/>
              <a:defRPr sz="1100" baseline="0">
                <a:solidFill>
                  <a:srgbClr val="231815"/>
                </a:solidFill>
                <a:latin typeface="Calibri" pitchFamily="34" charset="0"/>
                <a:cs typeface="Calibri" pitchFamily="34" charset="0"/>
              </a:defRPr>
            </a:lvl4pPr>
            <a:lvl5pPr marL="1541102" marR="0" indent="-171250" algn="l" defTabSz="684950" rtl="0" eaLnBrk="1" fontAlgn="auto" latinLnBrk="0" hangingPunct="1">
              <a:lnSpc>
                <a:spcPct val="100000"/>
              </a:lnSpc>
              <a:spcBef>
                <a:spcPct val="20000"/>
              </a:spcBef>
              <a:spcAft>
                <a:spcPts val="0"/>
              </a:spcAft>
              <a:buClr>
                <a:srgbClr val="4C4948"/>
              </a:buClr>
              <a:buSzTx/>
              <a:buFont typeface="Arial" pitchFamily="34" charset="0"/>
              <a:buChar char="»"/>
              <a:tabLst/>
              <a:defRPr sz="1100" baseline="0">
                <a:solidFill>
                  <a:srgbClr val="231815"/>
                </a:solidFill>
                <a:latin typeface="Calibri" pitchFamily="34" charset="0"/>
                <a:cs typeface="Calibri" pitchFamily="34" charset="0"/>
              </a:defRPr>
            </a:lvl5pPr>
          </a:lstStyle>
          <a:p>
            <a:pPr marL="342452" marR="0" lvl="0" indent="-342452" algn="l" defTabSz="684950" rtl="0" eaLnBrk="1" fontAlgn="auto" latinLnBrk="0" hangingPunct="1">
              <a:lnSpc>
                <a:spcPct val="100000"/>
              </a:lnSpc>
              <a:spcBef>
                <a:spcPct val="20000"/>
              </a:spcBef>
              <a:spcAft>
                <a:spcPts val="0"/>
              </a:spcAft>
              <a:buClr>
                <a:srgbClr val="4C4948"/>
              </a:buClr>
              <a:buSzTx/>
              <a:buFont typeface="Arial" panose="020B0604020202020204" pitchFamily="34" charset="0"/>
              <a:buChar char="•"/>
              <a:tabLst/>
              <a:defRPr/>
            </a:pPr>
            <a:r>
              <a:rPr kumimoji="1" lang="en-US" sz="2000" b="0" i="0" u="none" strike="noStrike" kern="1200" cap="none" spc="0" normalizeH="0" baseline="0" noProof="0">
                <a:ln>
                  <a:noFill/>
                </a:ln>
                <a:solidFill>
                  <a:srgbClr val="4C4948"/>
                </a:solidFill>
                <a:effectLst/>
                <a:uLnTx/>
                <a:uFillTx/>
                <a:latin typeface="Calibri" pitchFamily="34" charset="0"/>
                <a:ea typeface="メイリオ" pitchFamily="50" charset="-128"/>
                <a:cs typeface="Calibri" pitchFamily="34" charset="0"/>
              </a:rPr>
              <a:t>Add your content here</a:t>
            </a:r>
          </a:p>
          <a:p>
            <a:pPr marL="556513" marR="0" lvl="1" indent="-214063" algn="l" defTabSz="684950" rtl="0" eaLnBrk="1" fontAlgn="auto" latinLnBrk="0" hangingPunct="1">
              <a:lnSpc>
                <a:spcPct val="100000"/>
              </a:lnSpc>
              <a:spcBef>
                <a:spcPct val="20000"/>
              </a:spcBef>
              <a:spcAft>
                <a:spcPts val="0"/>
              </a:spcAft>
              <a:buClr>
                <a:srgbClr val="4C4948"/>
              </a:buClr>
              <a:buSzTx/>
              <a:buFont typeface="Arial" pitchFamily="34" charset="0"/>
              <a:buChar char="–"/>
              <a:tabLst/>
              <a:defRPr/>
            </a:pPr>
            <a:r>
              <a:rPr kumimoji="1" lang="en-US" sz="1800" b="0" i="0" u="none" strike="noStrike" kern="1200" cap="none" spc="0" normalizeH="0" baseline="0" noProof="0">
                <a:ln>
                  <a:noFill/>
                </a:ln>
                <a:solidFill>
                  <a:srgbClr val="4C4948"/>
                </a:solidFill>
                <a:effectLst/>
                <a:uLnTx/>
                <a:uFillTx/>
                <a:latin typeface="Calibri" pitchFamily="34" charset="0"/>
                <a:ea typeface="メイリオ" pitchFamily="50" charset="-128"/>
                <a:cs typeface="Calibri" pitchFamily="34" charset="0"/>
              </a:rPr>
              <a:t>Second level</a:t>
            </a:r>
          </a:p>
          <a:p>
            <a:pPr marL="856199" marR="0" lvl="2" indent="-171250" algn="l" defTabSz="684950" rtl="0" eaLnBrk="1" fontAlgn="auto" latinLnBrk="0" hangingPunct="1">
              <a:lnSpc>
                <a:spcPct val="100000"/>
              </a:lnSpc>
              <a:spcBef>
                <a:spcPct val="20000"/>
              </a:spcBef>
              <a:spcAft>
                <a:spcPts val="0"/>
              </a:spcAft>
              <a:buClr>
                <a:srgbClr val="4C4948"/>
              </a:buClr>
              <a:buSzTx/>
              <a:buFont typeface="Arial" pitchFamily="34" charset="0"/>
              <a:buChar char="•"/>
              <a:tabLst/>
              <a:defRPr/>
            </a:pPr>
            <a:r>
              <a:rPr kumimoji="1" lang="en-US" sz="1700" b="0" i="0" u="none" strike="noStrike" kern="1200" cap="none" spc="0" normalizeH="0" baseline="0" noProof="0">
                <a:ln>
                  <a:noFill/>
                </a:ln>
                <a:solidFill>
                  <a:srgbClr val="4C4948"/>
                </a:solidFill>
                <a:effectLst/>
                <a:uLnTx/>
                <a:uFillTx/>
                <a:latin typeface="Calibri" pitchFamily="34" charset="0"/>
                <a:ea typeface="メイリオ" pitchFamily="50" charset="-128"/>
                <a:cs typeface="Calibri" pitchFamily="34" charset="0"/>
              </a:rPr>
              <a:t>Third level</a:t>
            </a:r>
          </a:p>
          <a:p>
            <a:pPr marL="1198650" marR="0" lvl="3" indent="-171250" algn="l" defTabSz="684950" rtl="0" eaLnBrk="1" fontAlgn="auto" latinLnBrk="0" hangingPunct="1">
              <a:lnSpc>
                <a:spcPct val="100000"/>
              </a:lnSpc>
              <a:spcBef>
                <a:spcPct val="20000"/>
              </a:spcBef>
              <a:spcAft>
                <a:spcPts val="0"/>
              </a:spcAft>
              <a:buClr>
                <a:srgbClr val="4C4948"/>
              </a:buClr>
              <a:buSzTx/>
              <a:buFont typeface="Arial" pitchFamily="34" charset="0"/>
              <a:buChar char="–"/>
              <a:tabLst/>
              <a:defRPr/>
            </a:pPr>
            <a:r>
              <a:rPr kumimoji="1" lang="en-US" sz="1500" b="0" i="0" u="none" strike="noStrike" kern="1200" cap="none" spc="0" normalizeH="0" baseline="0" noProof="0">
                <a:ln>
                  <a:noFill/>
                </a:ln>
                <a:solidFill>
                  <a:srgbClr val="4C4948"/>
                </a:solidFill>
                <a:effectLst/>
                <a:uLnTx/>
                <a:uFillTx/>
                <a:latin typeface="Calibri" pitchFamily="34" charset="0"/>
                <a:ea typeface="メイリオ" pitchFamily="50" charset="-128"/>
                <a:cs typeface="Calibri" pitchFamily="34" charset="0"/>
              </a:rPr>
              <a:t>Fourth level</a:t>
            </a:r>
          </a:p>
          <a:p>
            <a:pPr marL="1541102" marR="0" lvl="4" indent="-171250" algn="l" defTabSz="684950" rtl="0" eaLnBrk="1" fontAlgn="auto" latinLnBrk="0" hangingPunct="1">
              <a:lnSpc>
                <a:spcPct val="100000"/>
              </a:lnSpc>
              <a:spcBef>
                <a:spcPct val="20000"/>
              </a:spcBef>
              <a:spcAft>
                <a:spcPts val="0"/>
              </a:spcAft>
              <a:buClr>
                <a:srgbClr val="4C4948"/>
              </a:buClr>
              <a:buSzTx/>
              <a:buFont typeface="Arial" pitchFamily="34" charset="0"/>
              <a:buChar char="»"/>
              <a:tabLst/>
              <a:defRPr/>
            </a:pPr>
            <a:r>
              <a:rPr kumimoji="1" lang="en-US" sz="1500" b="0" i="0" u="none" strike="noStrike" kern="1200" cap="none" spc="0" normalizeH="0" baseline="0" noProof="0">
                <a:ln>
                  <a:noFill/>
                </a:ln>
                <a:solidFill>
                  <a:srgbClr val="4C4948"/>
                </a:solidFill>
                <a:effectLst/>
                <a:uLnTx/>
                <a:uFillTx/>
                <a:latin typeface="Calibri" pitchFamily="34" charset="0"/>
                <a:ea typeface="メイリオ" pitchFamily="50" charset="-128"/>
                <a:cs typeface="Calibri" pitchFamily="34" charset="0"/>
              </a:rPr>
              <a:t>Fifth level</a:t>
            </a:r>
            <a:endParaRPr kumimoji="1" lang="ja-JP" altLang="en-US"/>
          </a:p>
        </p:txBody>
      </p:sp>
      <p:sp>
        <p:nvSpPr>
          <p:cNvPr id="7" name="Title 14">
            <a:extLst>
              <a:ext uri="{FF2B5EF4-FFF2-40B4-BE49-F238E27FC236}">
                <a16:creationId xmlns="" xmlns:a16="http://schemas.microsoft.com/office/drawing/2014/main" id="{ACC062CD-A904-0F41-8348-B090B7D80016}"/>
              </a:ext>
            </a:extLst>
          </p:cNvPr>
          <p:cNvSpPr>
            <a:spLocks noGrp="1"/>
          </p:cNvSpPr>
          <p:nvPr>
            <p:ph type="title" hasCustomPrompt="1"/>
          </p:nvPr>
        </p:nvSpPr>
        <p:spPr>
          <a:xfrm>
            <a:off x="395288" y="99585"/>
            <a:ext cx="7290144" cy="527957"/>
          </a:xfrm>
        </p:spPr>
        <p:txBody>
          <a:bodyPr/>
          <a:lstStyle>
            <a:lvl1pPr>
              <a:defRPr>
                <a:solidFill>
                  <a:schemeClr val="accent2"/>
                </a:solidFill>
                <a:latin typeface="Calibri" panose="020F0502020204030204" pitchFamily="34" charset="0"/>
                <a:cs typeface="Calibri" panose="020F0502020204030204" pitchFamily="34" charset="0"/>
              </a:defRPr>
            </a:lvl1pPr>
          </a:lstStyle>
          <a:p>
            <a:r>
              <a:rPr lang="en-US"/>
              <a:t>Add your title here</a:t>
            </a:r>
          </a:p>
        </p:txBody>
      </p:sp>
      <p:sp>
        <p:nvSpPr>
          <p:cNvPr id="10" name="Slide Number Placeholder 2">
            <a:extLst>
              <a:ext uri="{FF2B5EF4-FFF2-40B4-BE49-F238E27FC236}">
                <a16:creationId xmlns="" xmlns:a16="http://schemas.microsoft.com/office/drawing/2014/main" id="{E66FFE87-AC99-D545-8637-52F42D6E6547}"/>
              </a:ext>
            </a:extLst>
          </p:cNvPr>
          <p:cNvSpPr>
            <a:spLocks noGrp="1"/>
          </p:cNvSpPr>
          <p:nvPr>
            <p:ph type="sldNum" sz="quarter" idx="4"/>
          </p:nvPr>
        </p:nvSpPr>
        <p:spPr>
          <a:xfrm>
            <a:off x="3" y="4748471"/>
            <a:ext cx="486833" cy="292687"/>
          </a:xfrm>
          <a:prstGeom prst="rect">
            <a:avLst/>
          </a:prstGeom>
        </p:spPr>
        <p:txBody>
          <a:bodyPr rIns="0" anchor="ctr" anchorCtr="0"/>
          <a:lstStyle>
            <a:lvl1pPr algn="r">
              <a:defRPr sz="800" b="0" i="0">
                <a:solidFill>
                  <a:schemeClr val="accent3"/>
                </a:solidFill>
                <a:latin typeface="Calibri" panose="020F0502020204030204" pitchFamily="34" charset="0"/>
                <a:cs typeface="Calibri" panose="020F0502020204030204" pitchFamily="34" charset="0"/>
              </a:defRPr>
            </a:lvl1pPr>
          </a:lstStyle>
          <a:p>
            <a:fld id="{E9B57936-92EF-4126-AE48-1D9D36D15E98}" type="slidenum">
              <a:rPr lang="ja-JP" altLang="en-US" smtClean="0">
                <a:solidFill>
                  <a:srgbClr val="34373F"/>
                </a:solidFill>
              </a:rPr>
              <a:pPr/>
              <a:t>‹Nº›</a:t>
            </a:fld>
            <a:endParaRPr lang="ja-JP" altLang="en-US">
              <a:solidFill>
                <a:srgbClr val="34373F"/>
              </a:solidFill>
            </a:endParaRPr>
          </a:p>
        </p:txBody>
      </p:sp>
      <p:sp>
        <p:nvSpPr>
          <p:cNvPr id="6" name="Text Placeholder 3">
            <a:extLst>
              <a:ext uri="{FF2B5EF4-FFF2-40B4-BE49-F238E27FC236}">
                <a16:creationId xmlns="" xmlns:a16="http://schemas.microsoft.com/office/drawing/2014/main" id="{B08CFEF5-24AE-495E-BBF3-2FCF473E5A90}"/>
              </a:ext>
            </a:extLst>
          </p:cNvPr>
          <p:cNvSpPr>
            <a:spLocks noGrp="1"/>
          </p:cNvSpPr>
          <p:nvPr>
            <p:ph type="body" sz="quarter" idx="14" hasCustomPrompt="1"/>
          </p:nvPr>
        </p:nvSpPr>
        <p:spPr>
          <a:xfrm>
            <a:off x="404820" y="4407744"/>
            <a:ext cx="7529513" cy="340519"/>
          </a:xfrm>
        </p:spPr>
        <p:txBody>
          <a:bodyPr anchor="b" anchorCtr="0">
            <a:noAutofit/>
          </a:bodyPr>
          <a:lstStyle>
            <a:lvl1pPr marL="0" indent="0">
              <a:spcBef>
                <a:spcPts val="0"/>
              </a:spcBef>
              <a:buFontTx/>
              <a:buNone/>
              <a:defRPr sz="700"/>
            </a:lvl1pPr>
          </a:lstStyle>
          <a:p>
            <a:pPr lvl="0"/>
            <a:r>
              <a:rPr lang="en-US"/>
              <a:t>Abbreviations and references</a:t>
            </a:r>
          </a:p>
        </p:txBody>
      </p:sp>
    </p:spTree>
    <p:extLst>
      <p:ext uri="{BB962C8B-B14F-4D97-AF65-F5344CB8AC3E}">
        <p14:creationId xmlns:p14="http://schemas.microsoft.com/office/powerpoint/2010/main" val="317467704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Title w/ Subtitle &amp; Content (Light)">
    <p:spTree>
      <p:nvGrpSpPr>
        <p:cNvPr id="1" name=""/>
        <p:cNvGrpSpPr/>
        <p:nvPr/>
      </p:nvGrpSpPr>
      <p:grpSpPr>
        <a:xfrm>
          <a:off x="0" y="0"/>
          <a:ext cx="0" cy="0"/>
          <a:chOff x="0" y="0"/>
          <a:chExt cx="0" cy="0"/>
        </a:xfrm>
      </p:grpSpPr>
      <p:sp>
        <p:nvSpPr>
          <p:cNvPr id="9" name="Text Placeholder 8">
            <a:extLst>
              <a:ext uri="{FF2B5EF4-FFF2-40B4-BE49-F238E27FC236}">
                <a16:creationId xmlns="" xmlns:a16="http://schemas.microsoft.com/office/drawing/2014/main" id="{2FD7B719-88C3-D0B1-8744-1FE29A712A60}"/>
              </a:ext>
            </a:extLst>
          </p:cNvPr>
          <p:cNvSpPr>
            <a:spLocks noGrp="1"/>
          </p:cNvSpPr>
          <p:nvPr>
            <p:ph type="body" sz="quarter" idx="13" hasCustomPrompt="1"/>
          </p:nvPr>
        </p:nvSpPr>
        <p:spPr>
          <a:xfrm>
            <a:off x="387000" y="1461845"/>
            <a:ext cx="8370000" cy="3170878"/>
          </a:xfrm>
        </p:spPr>
        <p:txBody>
          <a:bodyPr/>
          <a:lstStyle>
            <a:lvl1pPr>
              <a:defRPr sz="2100"/>
            </a:lvl1pPr>
            <a:lvl2pPr>
              <a:defRPr sz="1800"/>
            </a:lvl2pPr>
            <a:lvl3pPr>
              <a:defRPr sz="1500"/>
            </a:lvl3pPr>
            <a:lvl4pPr>
              <a:defRPr sz="1400"/>
            </a:lvl4pPr>
            <a:lvl5pPr>
              <a:defRPr sz="1400"/>
            </a:lvl5pPr>
          </a:lstStyle>
          <a:p>
            <a:pPr lvl="0"/>
            <a:r>
              <a:rPr lang="en-US"/>
              <a:t>Enter text here</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 xmlns:a16="http://schemas.microsoft.com/office/drawing/2014/main" id="{2791E102-F015-C78A-47B6-E9A6357A4664}"/>
              </a:ext>
            </a:extLst>
          </p:cNvPr>
          <p:cNvSpPr>
            <a:spLocks noGrp="1"/>
          </p:cNvSpPr>
          <p:nvPr>
            <p:ph type="title" hasCustomPrompt="1"/>
          </p:nvPr>
        </p:nvSpPr>
        <p:spPr/>
        <p:txBody>
          <a:bodyPr/>
          <a:lstStyle>
            <a:lvl1pPr>
              <a:defRPr>
                <a:solidFill>
                  <a:schemeClr val="tx2"/>
                </a:solidFill>
              </a:defRPr>
            </a:lvl1pPr>
          </a:lstStyle>
          <a:p>
            <a:r>
              <a:rPr lang="en-US"/>
              <a:t>Enter title here</a:t>
            </a:r>
            <a:endParaRPr lang="en-GB"/>
          </a:p>
        </p:txBody>
      </p:sp>
      <p:sp>
        <p:nvSpPr>
          <p:cNvPr id="3" name="Footer Placeholder 2">
            <a:extLst>
              <a:ext uri="{FF2B5EF4-FFF2-40B4-BE49-F238E27FC236}">
                <a16:creationId xmlns="" xmlns:a16="http://schemas.microsoft.com/office/drawing/2014/main" id="{D7FB5E98-4ADD-3B20-06BA-EA0D13A6542A}"/>
              </a:ext>
            </a:extLst>
          </p:cNvPr>
          <p:cNvSpPr>
            <a:spLocks noGrp="1"/>
          </p:cNvSpPr>
          <p:nvPr>
            <p:ph type="ftr" sz="quarter" idx="10"/>
          </p:nvPr>
        </p:nvSpPr>
        <p:spPr/>
        <p:txBody>
          <a:bodyPr lIns="68505" tIns="34289" rIns="68505" bIns="34289"/>
          <a:lstStyle/>
          <a:p>
            <a:pPr defTabSz="684950"/>
            <a:r>
              <a:rPr lang="es-AR" sz="1400" smtClean="0">
                <a:solidFill>
                  <a:srgbClr val="34373F"/>
                </a:solidFill>
              </a:rPr>
              <a:t>Reunión Grupo de Trabajo Dengue - 19 de abril de 2023 - No distribuir, confidencial</a:t>
            </a:r>
            <a:endParaRPr lang="en-GB" sz="1400">
              <a:solidFill>
                <a:srgbClr val="34373F"/>
              </a:solidFill>
            </a:endParaRPr>
          </a:p>
        </p:txBody>
      </p:sp>
      <p:sp>
        <p:nvSpPr>
          <p:cNvPr id="4" name="Slide Number Placeholder 3">
            <a:extLst>
              <a:ext uri="{FF2B5EF4-FFF2-40B4-BE49-F238E27FC236}">
                <a16:creationId xmlns="" xmlns:a16="http://schemas.microsoft.com/office/drawing/2014/main" id="{A42EA920-1055-F026-0BE2-8DFAFD83F4F6}"/>
              </a:ext>
            </a:extLst>
          </p:cNvPr>
          <p:cNvSpPr>
            <a:spLocks noGrp="1"/>
          </p:cNvSpPr>
          <p:nvPr>
            <p:ph type="sldNum" sz="quarter" idx="11"/>
          </p:nvPr>
        </p:nvSpPr>
        <p:spPr/>
        <p:txBody>
          <a:bodyPr/>
          <a:lstStyle/>
          <a:p>
            <a:fld id="{6C2D6B06-1DB8-4E35-8DFF-019CD55AEF0F}" type="slidenum">
              <a:rPr lang="en-GB" smtClean="0">
                <a:solidFill>
                  <a:srgbClr val="34373F"/>
                </a:solidFill>
              </a:rPr>
              <a:pPr/>
              <a:t>‹Nº›</a:t>
            </a:fld>
            <a:endParaRPr lang="en-GB">
              <a:solidFill>
                <a:srgbClr val="34373F"/>
              </a:solidFill>
            </a:endParaRPr>
          </a:p>
        </p:txBody>
      </p:sp>
      <p:sp>
        <p:nvSpPr>
          <p:cNvPr id="6" name="Text Placeholder 5">
            <a:extLst>
              <a:ext uri="{FF2B5EF4-FFF2-40B4-BE49-F238E27FC236}">
                <a16:creationId xmlns="" xmlns:a16="http://schemas.microsoft.com/office/drawing/2014/main" id="{903D6C97-FC56-1B1D-0BD8-2DA68BBEC8AC}"/>
              </a:ext>
            </a:extLst>
          </p:cNvPr>
          <p:cNvSpPr>
            <a:spLocks noGrp="1"/>
          </p:cNvSpPr>
          <p:nvPr>
            <p:ph type="body" sz="quarter" idx="12" hasCustomPrompt="1"/>
          </p:nvPr>
        </p:nvSpPr>
        <p:spPr>
          <a:xfrm>
            <a:off x="387000" y="940844"/>
            <a:ext cx="8370000" cy="432000"/>
          </a:xfrm>
        </p:spPr>
        <p:txBody>
          <a:bodyPr/>
          <a:lstStyle>
            <a:lvl1pPr marL="0" indent="0">
              <a:buNone/>
              <a:defRPr sz="1800">
                <a:solidFill>
                  <a:schemeClr val="accent1">
                    <a:lumMod val="50000"/>
                  </a:schemeClr>
                </a:solidFill>
              </a:defRPr>
            </a:lvl1pPr>
          </a:lstStyle>
          <a:p>
            <a:pPr lvl="0"/>
            <a:r>
              <a:rPr lang="en-GB"/>
              <a:t>Enter subtitle here</a:t>
            </a:r>
          </a:p>
        </p:txBody>
      </p:sp>
    </p:spTree>
    <p:extLst>
      <p:ext uri="{BB962C8B-B14F-4D97-AF65-F5344CB8AC3E}">
        <p14:creationId xmlns:p14="http://schemas.microsoft.com/office/powerpoint/2010/main" val="344140916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6" name="Text Placeholder 3">
            <a:extLst>
              <a:ext uri="{FF2B5EF4-FFF2-40B4-BE49-F238E27FC236}">
                <a16:creationId xmlns="" xmlns:a16="http://schemas.microsoft.com/office/drawing/2014/main" id="{B08CFEF5-24AE-495E-BBF3-2FCF473E5A90}"/>
              </a:ext>
            </a:extLst>
          </p:cNvPr>
          <p:cNvSpPr>
            <a:spLocks noGrp="1"/>
          </p:cNvSpPr>
          <p:nvPr>
            <p:ph type="body" sz="quarter" idx="14" hasCustomPrompt="1"/>
          </p:nvPr>
        </p:nvSpPr>
        <p:spPr>
          <a:xfrm>
            <a:off x="395289" y="4431391"/>
            <a:ext cx="7529513" cy="340727"/>
          </a:xfrm>
        </p:spPr>
        <p:txBody>
          <a:bodyPr bIns="0" anchor="b" anchorCtr="0">
            <a:noAutofit/>
          </a:bodyPr>
          <a:lstStyle>
            <a:lvl1pPr marL="0" indent="0">
              <a:spcBef>
                <a:spcPts val="0"/>
              </a:spcBef>
              <a:buFontTx/>
              <a:buNone/>
              <a:defRPr sz="700"/>
            </a:lvl1pPr>
          </a:lstStyle>
          <a:p>
            <a:r>
              <a:rPr lang="en-US"/>
              <a:t>Footnotes.</a:t>
            </a:r>
          </a:p>
          <a:p>
            <a:r>
              <a:rPr lang="en-US"/>
              <a:t>Abbreviations.</a:t>
            </a:r>
          </a:p>
          <a:p>
            <a:r>
              <a:rPr lang="en-US"/>
              <a:t>References.</a:t>
            </a:r>
          </a:p>
        </p:txBody>
      </p:sp>
      <p:sp>
        <p:nvSpPr>
          <p:cNvPr id="5" name="Slide Number Placeholder 4">
            <a:extLst>
              <a:ext uri="{FF2B5EF4-FFF2-40B4-BE49-F238E27FC236}">
                <a16:creationId xmlns="" xmlns:a16="http://schemas.microsoft.com/office/drawing/2014/main" id="{D62C38EF-9E03-4702-A967-554F359F12DA}"/>
              </a:ext>
            </a:extLst>
          </p:cNvPr>
          <p:cNvSpPr>
            <a:spLocks noGrp="1"/>
          </p:cNvSpPr>
          <p:nvPr>
            <p:ph type="sldNum" sz="quarter" idx="16"/>
          </p:nvPr>
        </p:nvSpPr>
        <p:spPr/>
        <p:txBody>
          <a:bodyPr/>
          <a:lstStyle/>
          <a:p>
            <a:fld id="{E9B57936-92EF-4126-AE48-1D9D36D15E98}" type="slidenum">
              <a:rPr lang="ja-JP" altLang="en-US" smtClean="0">
                <a:solidFill>
                  <a:srgbClr val="34373F"/>
                </a:solidFill>
              </a:rPr>
              <a:pPr/>
              <a:t>‹Nº›</a:t>
            </a:fld>
            <a:endParaRPr lang="ja-JP" altLang="en-US">
              <a:solidFill>
                <a:srgbClr val="34373F"/>
              </a:solidFill>
            </a:endParaRPr>
          </a:p>
        </p:txBody>
      </p:sp>
      <p:sp>
        <p:nvSpPr>
          <p:cNvPr id="8" name="Title 7">
            <a:extLst>
              <a:ext uri="{FF2B5EF4-FFF2-40B4-BE49-F238E27FC236}">
                <a16:creationId xmlns="" xmlns:a16="http://schemas.microsoft.com/office/drawing/2014/main" id="{4C912CFE-FD99-4A0D-9068-9156FF22F571}"/>
              </a:ext>
            </a:extLst>
          </p:cNvPr>
          <p:cNvSpPr>
            <a:spLocks noGrp="1"/>
          </p:cNvSpPr>
          <p:nvPr>
            <p:ph type="title"/>
          </p:nvPr>
        </p:nvSpPr>
        <p:spPr>
          <a:xfrm>
            <a:off x="395289" y="99585"/>
            <a:ext cx="7357234" cy="527957"/>
          </a:xfrm>
        </p:spPr>
        <p:txBody>
          <a:bodyPr/>
          <a:lstStyle/>
          <a:p>
            <a:r>
              <a:rPr lang="en-US"/>
              <a:t>Click to edit Master title style</a:t>
            </a:r>
          </a:p>
        </p:txBody>
      </p:sp>
      <p:sp>
        <p:nvSpPr>
          <p:cNvPr id="14" name="Content Placeholder 13">
            <a:extLst>
              <a:ext uri="{FF2B5EF4-FFF2-40B4-BE49-F238E27FC236}">
                <a16:creationId xmlns="" xmlns:a16="http://schemas.microsoft.com/office/drawing/2014/main" id="{BD455CB7-5206-463D-BED2-EAD28551A070}"/>
              </a:ext>
            </a:extLst>
          </p:cNvPr>
          <p:cNvSpPr>
            <a:spLocks noGrp="1"/>
          </p:cNvSpPr>
          <p:nvPr>
            <p:ph sz="quarter" idx="17" hasCustomPrompt="1"/>
          </p:nvPr>
        </p:nvSpPr>
        <p:spPr>
          <a:xfrm>
            <a:off x="395289" y="926920"/>
            <a:ext cx="8343899" cy="3480566"/>
          </a:xfrm>
        </p:spPr>
        <p:txBody>
          <a:bodyPr/>
          <a:lstStyle/>
          <a:p>
            <a:pPr lvl="0"/>
            <a:r>
              <a:rPr lang="en-US"/>
              <a:t>Add your content here</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 xmlns:a16="http://schemas.microsoft.com/office/drawing/2014/main" id="{58FB5C6F-365C-4BC7-A55F-F64700AA7CD4}"/>
              </a:ext>
            </a:extLst>
          </p:cNvPr>
          <p:cNvSpPr>
            <a:spLocks noGrp="1"/>
          </p:cNvSpPr>
          <p:nvPr>
            <p:ph type="ftr" sz="quarter" idx="18"/>
          </p:nvPr>
        </p:nvSpPr>
        <p:spPr/>
        <p:txBody>
          <a:bodyPr lIns="68505" tIns="34289" rIns="68505" bIns="34289"/>
          <a:lstStyle/>
          <a:p>
            <a:pPr defTabSz="684950"/>
            <a:r>
              <a:rPr lang="es-AR" altLang="ja-JP" sz="1400" smtClean="0">
                <a:solidFill>
                  <a:srgbClr val="34373F"/>
                </a:solidFill>
              </a:rPr>
              <a:t>Reunión Grupo de Trabajo Dengue - 19 de abril de 2023 - No distribuir, confidencial</a:t>
            </a:r>
            <a:endParaRPr lang="ja-JP" altLang="en-US" sz="100">
              <a:solidFill>
                <a:srgbClr val="34373F"/>
              </a:solidFill>
            </a:endParaRPr>
          </a:p>
        </p:txBody>
      </p:sp>
    </p:spTree>
    <p:extLst>
      <p:ext uri="{BB962C8B-B14F-4D97-AF65-F5344CB8AC3E}">
        <p14:creationId xmlns:p14="http://schemas.microsoft.com/office/powerpoint/2010/main" val="429169077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1_Standard 1-Column Text">
    <p:spTree>
      <p:nvGrpSpPr>
        <p:cNvPr id="1" name=""/>
        <p:cNvGrpSpPr/>
        <p:nvPr/>
      </p:nvGrpSpPr>
      <p:grpSpPr>
        <a:xfrm>
          <a:off x="0" y="0"/>
          <a:ext cx="0" cy="0"/>
          <a:chOff x="0" y="0"/>
          <a:chExt cx="0" cy="0"/>
        </a:xfrm>
      </p:grpSpPr>
      <p:sp>
        <p:nvSpPr>
          <p:cNvPr id="12" name="Text Placeholder 6">
            <a:extLst>
              <a:ext uri="{FF2B5EF4-FFF2-40B4-BE49-F238E27FC236}">
                <a16:creationId xmlns="" xmlns:a16="http://schemas.microsoft.com/office/drawing/2014/main" id="{FD2406EE-A554-5348-AE6D-4D8B343E6201}"/>
              </a:ext>
            </a:extLst>
          </p:cNvPr>
          <p:cNvSpPr>
            <a:spLocks noGrp="1"/>
          </p:cNvSpPr>
          <p:nvPr>
            <p:ph type="body" sz="quarter" idx="15" hasCustomPrompt="1"/>
          </p:nvPr>
        </p:nvSpPr>
        <p:spPr>
          <a:xfrm>
            <a:off x="233363" y="826793"/>
            <a:ext cx="8677275" cy="3996643"/>
          </a:xfrm>
          <a:prstGeom prst="rect">
            <a:avLst/>
          </a:prstGeom>
        </p:spPr>
        <p:txBody>
          <a:bodyPr tIns="0" rIns="0" bIns="0" numCol="1">
            <a:normAutofit/>
          </a:bodyPr>
          <a:lstStyle>
            <a:lvl1pPr marL="0" indent="0">
              <a:lnSpc>
                <a:spcPct val="100000"/>
              </a:lnSpc>
              <a:spcBef>
                <a:spcPts val="0"/>
              </a:spcBef>
              <a:spcAft>
                <a:spcPts val="450"/>
              </a:spcAft>
              <a:buFont typeface="Arial" panose="020B0604020202020204" pitchFamily="34" charset="0"/>
              <a:buNone/>
              <a:defRPr sz="1200" b="0">
                <a:solidFill>
                  <a:schemeClr val="tx1"/>
                </a:solidFill>
              </a:defRPr>
            </a:lvl1pPr>
            <a:lvl2pPr marL="342353" indent="0">
              <a:lnSpc>
                <a:spcPts val="1350"/>
              </a:lnSpc>
              <a:spcBef>
                <a:spcPts val="0"/>
              </a:spcBef>
              <a:buNone/>
              <a:defRPr sz="1100"/>
            </a:lvl2pPr>
            <a:lvl3pPr marL="684762" indent="0">
              <a:lnSpc>
                <a:spcPts val="1350"/>
              </a:lnSpc>
              <a:spcBef>
                <a:spcPts val="0"/>
              </a:spcBef>
              <a:buNone/>
              <a:defRPr sz="1100"/>
            </a:lvl3pPr>
            <a:lvl4pPr marL="1027139" indent="0">
              <a:lnSpc>
                <a:spcPts val="1350"/>
              </a:lnSpc>
              <a:spcBef>
                <a:spcPts val="0"/>
              </a:spcBef>
              <a:buNone/>
              <a:defRPr sz="1100"/>
            </a:lvl4pPr>
            <a:lvl5pPr marL="1369518" indent="0">
              <a:lnSpc>
                <a:spcPts val="1350"/>
              </a:lnSpc>
              <a:spcBef>
                <a:spcPts val="0"/>
              </a:spcBef>
              <a:buNone/>
              <a:defRPr sz="1100"/>
            </a:lvl5pPr>
          </a:lstStyle>
          <a:p>
            <a:pPr lvl="0"/>
            <a:r>
              <a:rPr lang="en-US"/>
              <a:t>This is a one-column layout. Click to add content</a:t>
            </a:r>
          </a:p>
        </p:txBody>
      </p:sp>
      <p:sp>
        <p:nvSpPr>
          <p:cNvPr id="19" name="Footer Placeholder 8">
            <a:extLst>
              <a:ext uri="{FF2B5EF4-FFF2-40B4-BE49-F238E27FC236}">
                <a16:creationId xmlns="" xmlns:a16="http://schemas.microsoft.com/office/drawing/2014/main" id="{CDA06C55-0643-C148-AAB1-C4BB26FD7B26}"/>
              </a:ext>
            </a:extLst>
          </p:cNvPr>
          <p:cNvSpPr>
            <a:spLocks noGrp="1"/>
          </p:cNvSpPr>
          <p:nvPr>
            <p:ph type="ftr" sz="quarter" idx="3"/>
          </p:nvPr>
        </p:nvSpPr>
        <p:spPr>
          <a:xfrm>
            <a:off x="5824538" y="4892251"/>
            <a:ext cx="3086100" cy="147098"/>
          </a:xfrm>
          <a:prstGeom prst="rect">
            <a:avLst/>
          </a:prstGeom>
        </p:spPr>
        <p:txBody>
          <a:bodyPr vert="horz" lIns="0" tIns="0" rIns="0" bIns="0" rtlCol="0" anchor="ctr"/>
          <a:lstStyle>
            <a:lvl1pPr algn="r">
              <a:defRPr sz="600" b="1" spc="75" baseline="0">
                <a:solidFill>
                  <a:schemeClr val="tx1"/>
                </a:solidFill>
              </a:defRPr>
            </a:lvl1pPr>
          </a:lstStyle>
          <a:p>
            <a:pPr defTabSz="684950"/>
            <a:r>
              <a:rPr lang="es-AR" smtClean="0">
                <a:solidFill>
                  <a:srgbClr val="34373F"/>
                </a:solidFill>
              </a:rPr>
              <a:t>Reunión Grupo de Trabajo Dengue - 19 de abril de 2023 - No distribuir, confidencial</a:t>
            </a:r>
            <a:endParaRPr lang="x-none">
              <a:solidFill>
                <a:srgbClr val="34373F"/>
              </a:solidFill>
            </a:endParaRPr>
          </a:p>
        </p:txBody>
      </p:sp>
      <p:pic>
        <p:nvPicPr>
          <p:cNvPr id="14" name="Picture 13" descr="Takeda">
            <a:extLst>
              <a:ext uri="{FF2B5EF4-FFF2-40B4-BE49-F238E27FC236}">
                <a16:creationId xmlns=""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09748" y="-1211"/>
            <a:ext cx="1272174" cy="705585"/>
          </a:xfrm>
          <a:prstGeom prst="rect">
            <a:avLst/>
          </a:prstGeom>
        </p:spPr>
      </p:pic>
      <p:sp>
        <p:nvSpPr>
          <p:cNvPr id="22" name="タイトル プレースホルダ 1">
            <a:extLst>
              <a:ext uri="{FF2B5EF4-FFF2-40B4-BE49-F238E27FC236}">
                <a16:creationId xmlns="" xmlns:a16="http://schemas.microsoft.com/office/drawing/2014/main" id="{86D2E5B8-9E2B-DB46-A55A-5F26569C4F99}"/>
              </a:ext>
            </a:extLst>
          </p:cNvPr>
          <p:cNvSpPr>
            <a:spLocks noGrp="1"/>
          </p:cNvSpPr>
          <p:nvPr>
            <p:ph type="title" hasCustomPrompt="1"/>
          </p:nvPr>
        </p:nvSpPr>
        <p:spPr>
          <a:xfrm>
            <a:off x="454560" y="121208"/>
            <a:ext cx="7455190" cy="51435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a:extLst>
              <a:ext uri="{FF2B5EF4-FFF2-40B4-BE49-F238E27FC236}">
                <a16:creationId xmlns="" xmlns:a16="http://schemas.microsoft.com/office/drawing/2014/main" id="{51A4825E-63A1-564F-BC3A-FBC167ECE5EB}"/>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2983"/>
            <a:fld id="{E9B57936-92EF-4126-AE48-1D9D36D15E98}" type="slidenum">
              <a:rPr lang="ja-JP" altLang="en-US" smtClean="0">
                <a:solidFill>
                  <a:srgbClr val="34373F"/>
                </a:solidFill>
              </a:rPr>
              <a:pPr defTabSz="912983"/>
              <a:t>‹Nº›</a:t>
            </a:fld>
            <a:endParaRPr lang="ja-JP" altLang="en-US">
              <a:solidFill>
                <a:srgbClr val="34373F"/>
              </a:solidFill>
            </a:endParaRPr>
          </a:p>
        </p:txBody>
      </p:sp>
      <p:sp>
        <p:nvSpPr>
          <p:cNvPr id="21" name="Rectangle 20">
            <a:extLst>
              <a:ext uri="{FF2B5EF4-FFF2-40B4-BE49-F238E27FC236}">
                <a16:creationId xmlns="" xmlns:a16="http://schemas.microsoft.com/office/drawing/2014/main" id="{FCF9CDB0-5730-E246-B31F-F5963CF8EFDC}"/>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05" tIns="34289" rIns="68505" bIns="34289" rtlCol="0" anchor="ctr"/>
          <a:lstStyle/>
          <a:p>
            <a:pPr algn="ctr" defTabSz="684950"/>
            <a:endParaRPr kumimoji="1" lang="x-none" sz="1400">
              <a:solidFill>
                <a:srgbClr val="E1242A"/>
              </a:solidFill>
            </a:endParaRPr>
          </a:p>
        </p:txBody>
      </p:sp>
      <p:sp>
        <p:nvSpPr>
          <p:cNvPr id="24" name="Text Placeholder 6">
            <a:extLst>
              <a:ext uri="{FF2B5EF4-FFF2-40B4-BE49-F238E27FC236}">
                <a16:creationId xmlns="" xmlns:a16="http://schemas.microsoft.com/office/drawing/2014/main" id="{44EB3013-FCB4-1B4E-A9F2-FD57CF727CCC}"/>
              </a:ext>
            </a:extLst>
          </p:cNvPr>
          <p:cNvSpPr>
            <a:spLocks noGrp="1"/>
          </p:cNvSpPr>
          <p:nvPr>
            <p:ph type="body" sz="quarter" idx="16" hasCustomPrompt="1"/>
          </p:nvPr>
        </p:nvSpPr>
        <p:spPr>
          <a:xfrm>
            <a:off x="454559" y="4892253"/>
            <a:ext cx="5226261" cy="154210"/>
          </a:xfrm>
          <a:prstGeom prst="rect">
            <a:avLst/>
          </a:prstGeom>
        </p:spPr>
        <p:txBody>
          <a:bodyPr wrap="none" tIns="0" rIns="0" bIns="53950" numCol="1" anchor="ctr">
            <a:noAutofit/>
          </a:bodyPr>
          <a:lstStyle>
            <a:lvl1pPr marL="0" indent="0">
              <a:lnSpc>
                <a:spcPts val="1200"/>
              </a:lnSpc>
              <a:spcBef>
                <a:spcPts val="0"/>
              </a:spcBef>
              <a:spcAft>
                <a:spcPts val="450"/>
              </a:spcAft>
              <a:buFont typeface="Arial" panose="020B0604020202020204" pitchFamily="34" charset="0"/>
              <a:buNone/>
              <a:defRPr sz="600" b="0">
                <a:solidFill>
                  <a:schemeClr val="accent3"/>
                </a:solidFill>
              </a:defRPr>
            </a:lvl1pPr>
            <a:lvl2pPr marL="342353" indent="0">
              <a:lnSpc>
                <a:spcPts val="1350"/>
              </a:lnSpc>
              <a:spcBef>
                <a:spcPts val="0"/>
              </a:spcBef>
              <a:buNone/>
              <a:defRPr sz="1100"/>
            </a:lvl2pPr>
            <a:lvl3pPr marL="684762" indent="0">
              <a:lnSpc>
                <a:spcPts val="1350"/>
              </a:lnSpc>
              <a:spcBef>
                <a:spcPts val="0"/>
              </a:spcBef>
              <a:buNone/>
              <a:defRPr sz="1100"/>
            </a:lvl3pPr>
            <a:lvl4pPr marL="1027139" indent="0">
              <a:lnSpc>
                <a:spcPts val="1350"/>
              </a:lnSpc>
              <a:spcBef>
                <a:spcPts val="0"/>
              </a:spcBef>
              <a:buNone/>
              <a:defRPr sz="1100"/>
            </a:lvl4pPr>
            <a:lvl5pPr marL="1369518" indent="0">
              <a:lnSpc>
                <a:spcPts val="1350"/>
              </a:lnSpc>
              <a:spcBef>
                <a:spcPts val="0"/>
              </a:spcBef>
              <a:buNone/>
              <a:defRPr sz="1100"/>
            </a:lvl5pPr>
          </a:lstStyle>
          <a:p>
            <a:pPr lvl="0"/>
            <a:r>
              <a:rPr lang="en-US"/>
              <a:t>Private and confidential. For internal use only.</a:t>
            </a:r>
          </a:p>
        </p:txBody>
      </p:sp>
    </p:spTree>
    <p:extLst>
      <p:ext uri="{BB962C8B-B14F-4D97-AF65-F5344CB8AC3E}">
        <p14:creationId xmlns:p14="http://schemas.microsoft.com/office/powerpoint/2010/main" val="130501631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Content Slide (Two Columns)">
    <p:bg>
      <p:bgPr>
        <a:solidFill>
          <a:schemeClr val="tx1"/>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 xmlns:a16="http://schemas.microsoft.com/office/drawing/2014/main" id="{7B7E4E0C-6316-408F-ACC1-46BE211C462F}"/>
              </a:ext>
            </a:extLst>
          </p:cNvPr>
          <p:cNvSpPr/>
          <p:nvPr userDrawn="1"/>
        </p:nvSpPr>
        <p:spPr>
          <a:xfrm>
            <a:off x="139824" y="153149"/>
            <a:ext cx="8855476" cy="4589095"/>
          </a:xfrm>
          <a:prstGeom prst="roundRect">
            <a:avLst>
              <a:gd name="adj" fmla="val 993"/>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05" tIns="34289" rIns="68505" bIns="34289" rtlCol="0" anchor="ctr"/>
          <a:lstStyle/>
          <a:p>
            <a:pPr algn="ctr" defTabSz="684950"/>
            <a:endParaRPr lang="en-GB" sz="1400">
              <a:solidFill>
                <a:srgbClr val="FFFFFF"/>
              </a:solidFill>
            </a:endParaRPr>
          </a:p>
        </p:txBody>
      </p:sp>
      <p:sp>
        <p:nvSpPr>
          <p:cNvPr id="11" name="Rectangle: Rounded Corners 10">
            <a:extLst>
              <a:ext uri="{FF2B5EF4-FFF2-40B4-BE49-F238E27FC236}">
                <a16:creationId xmlns="" xmlns:a16="http://schemas.microsoft.com/office/drawing/2014/main" id="{76311F75-200C-4E92-BDB1-43C6FBB22F56}"/>
              </a:ext>
            </a:extLst>
          </p:cNvPr>
          <p:cNvSpPr/>
          <p:nvPr userDrawn="1"/>
        </p:nvSpPr>
        <p:spPr>
          <a:xfrm>
            <a:off x="180812" y="848090"/>
            <a:ext cx="8773500" cy="3850371"/>
          </a:xfrm>
          <a:prstGeom prst="roundRect">
            <a:avLst>
              <a:gd name="adj" fmla="val 99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05" tIns="34289" rIns="68505" bIns="34289" rtlCol="0" anchor="ctr"/>
          <a:lstStyle/>
          <a:p>
            <a:pPr algn="ctr" defTabSz="684950"/>
            <a:endParaRPr lang="en-GB" sz="1400">
              <a:solidFill>
                <a:srgbClr val="FFFFFF"/>
              </a:solidFill>
            </a:endParaRPr>
          </a:p>
        </p:txBody>
      </p:sp>
      <p:sp>
        <p:nvSpPr>
          <p:cNvPr id="2" name="Title 1">
            <a:extLst>
              <a:ext uri="{FF2B5EF4-FFF2-40B4-BE49-F238E27FC236}">
                <a16:creationId xmlns="" xmlns:a16="http://schemas.microsoft.com/office/drawing/2014/main" id="{F64495CF-F1B2-4DCF-A952-C6F3C605F612}"/>
              </a:ext>
            </a:extLst>
          </p:cNvPr>
          <p:cNvSpPr>
            <a:spLocks noGrp="1"/>
          </p:cNvSpPr>
          <p:nvPr>
            <p:ph type="title" hasCustomPrompt="1"/>
          </p:nvPr>
        </p:nvSpPr>
        <p:spPr>
          <a:xfrm>
            <a:off x="332190" y="153147"/>
            <a:ext cx="8479631" cy="694949"/>
          </a:xfrm>
        </p:spPr>
        <p:txBody>
          <a:bodyPr/>
          <a:lstStyle>
            <a:lvl1pPr>
              <a:defRPr>
                <a:solidFill>
                  <a:schemeClr val="bg1"/>
                </a:solidFill>
              </a:defRPr>
            </a:lvl1pPr>
          </a:lstStyle>
          <a:p>
            <a:r>
              <a:rPr lang="en-US"/>
              <a:t>Click to edit Master title style</a:t>
            </a:r>
            <a:br>
              <a:rPr lang="en-US"/>
            </a:br>
            <a:r>
              <a:rPr lang="en-US"/>
              <a:t>Title can occupy 2 lines</a:t>
            </a:r>
            <a:endParaRPr lang="en-GB"/>
          </a:p>
        </p:txBody>
      </p:sp>
      <p:sp>
        <p:nvSpPr>
          <p:cNvPr id="4" name="Text Placeholder 3">
            <a:extLst>
              <a:ext uri="{FF2B5EF4-FFF2-40B4-BE49-F238E27FC236}">
                <a16:creationId xmlns="" xmlns:a16="http://schemas.microsoft.com/office/drawing/2014/main" id="{DCF7A507-3713-424D-8F8F-1DFFDD0C3D19}"/>
              </a:ext>
            </a:extLst>
          </p:cNvPr>
          <p:cNvSpPr>
            <a:spLocks noGrp="1"/>
          </p:cNvSpPr>
          <p:nvPr>
            <p:ph type="body" sz="quarter" idx="10"/>
          </p:nvPr>
        </p:nvSpPr>
        <p:spPr>
          <a:xfrm>
            <a:off x="332186" y="1027430"/>
            <a:ext cx="4131469" cy="3313752"/>
          </a:xfrm>
        </p:spPr>
        <p:txBody>
          <a:bodyPr tIns="107850"/>
          <a:lstStyle>
            <a:lvl1pPr>
              <a:spcAft>
                <a:spcPts val="450"/>
              </a:spcAft>
              <a:defRPr/>
            </a:lvl1pPr>
            <a:lvl2pPr>
              <a:spcAft>
                <a:spcPts val="450"/>
              </a:spcAft>
              <a:defRPr/>
            </a:lvl2pPr>
            <a:lvl3pPr>
              <a:spcAft>
                <a:spcPts val="450"/>
              </a:spcAft>
              <a:defRPr/>
            </a:lvl3pPr>
          </a:lstStyle>
          <a:p>
            <a:pPr lvl="0"/>
            <a:r>
              <a:rPr lang="en-US"/>
              <a:t>Click to edit Master text styles</a:t>
            </a:r>
          </a:p>
          <a:p>
            <a:pPr lvl="1"/>
            <a:r>
              <a:rPr lang="en-US"/>
              <a:t>Second level</a:t>
            </a:r>
          </a:p>
          <a:p>
            <a:pPr lvl="2"/>
            <a:r>
              <a:rPr lang="en-US"/>
              <a:t>Third level</a:t>
            </a:r>
          </a:p>
        </p:txBody>
      </p:sp>
      <p:sp>
        <p:nvSpPr>
          <p:cNvPr id="13" name="Text Placeholder 12">
            <a:extLst>
              <a:ext uri="{FF2B5EF4-FFF2-40B4-BE49-F238E27FC236}">
                <a16:creationId xmlns="" xmlns:a16="http://schemas.microsoft.com/office/drawing/2014/main" id="{D85EC3DA-DC1D-4DC9-81F2-E3876DE41FEC}"/>
              </a:ext>
            </a:extLst>
          </p:cNvPr>
          <p:cNvSpPr>
            <a:spLocks noGrp="1"/>
          </p:cNvSpPr>
          <p:nvPr>
            <p:ph type="body" sz="quarter" idx="11" hasCustomPrompt="1"/>
          </p:nvPr>
        </p:nvSpPr>
        <p:spPr>
          <a:xfrm>
            <a:off x="180812" y="4761689"/>
            <a:ext cx="8275170" cy="311970"/>
          </a:xfrm>
        </p:spPr>
        <p:txBody>
          <a:bodyPr/>
          <a:lstStyle>
            <a:lvl1pPr marL="0" indent="0">
              <a:buNone/>
              <a:defRPr sz="500">
                <a:solidFill>
                  <a:schemeClr val="bg1"/>
                </a:solidFill>
              </a:defRPr>
            </a:lvl1pPr>
            <a:lvl2pPr marL="134850" indent="0">
              <a:buNone/>
              <a:defRPr sz="600">
                <a:solidFill>
                  <a:schemeClr val="bg1"/>
                </a:solidFill>
              </a:defRPr>
            </a:lvl2pPr>
            <a:lvl3pPr marL="269699" indent="0">
              <a:buNone/>
              <a:defRPr sz="600">
                <a:solidFill>
                  <a:schemeClr val="bg1"/>
                </a:solidFill>
              </a:defRPr>
            </a:lvl3pPr>
            <a:lvl4pPr marL="1027425" indent="0">
              <a:buNone/>
              <a:defRPr sz="600">
                <a:solidFill>
                  <a:schemeClr val="bg1"/>
                </a:solidFill>
              </a:defRPr>
            </a:lvl4pPr>
            <a:lvl5pPr marL="1369900" indent="0">
              <a:buNone/>
              <a:defRPr sz="600">
                <a:solidFill>
                  <a:schemeClr val="bg1"/>
                </a:solidFill>
              </a:defRPr>
            </a:lvl5pPr>
          </a:lstStyle>
          <a:p>
            <a:pPr lvl="0"/>
            <a:r>
              <a:rPr lang="en-US"/>
              <a:t>1. Lorem ipsum dolor sit </a:t>
            </a:r>
            <a:r>
              <a:rPr lang="en-US" err="1"/>
              <a:t>amet</a:t>
            </a:r>
            <a:r>
              <a:rPr lang="en-US"/>
              <a:t>, </a:t>
            </a:r>
            <a:r>
              <a:rPr lang="en-US" err="1"/>
              <a:t>consectetuer</a:t>
            </a:r>
            <a:r>
              <a:rPr lang="en-US"/>
              <a:t> </a:t>
            </a:r>
            <a:r>
              <a:rPr lang="en-US" err="1"/>
              <a:t>adipiscing</a:t>
            </a:r>
            <a:r>
              <a:rPr lang="en-US"/>
              <a:t> </a:t>
            </a:r>
            <a:r>
              <a:rPr lang="en-US" err="1"/>
              <a:t>elit</a:t>
            </a:r>
            <a:r>
              <a:rPr lang="en-US"/>
              <a:t>, sed diam </a:t>
            </a:r>
            <a:r>
              <a:rPr lang="en-US" err="1"/>
              <a:t>nonummy</a:t>
            </a:r>
            <a:r>
              <a:rPr lang="en-US"/>
              <a:t> </a:t>
            </a:r>
            <a:r>
              <a:rPr lang="en-US" err="1"/>
              <a:t>nibh</a:t>
            </a:r>
            <a:r>
              <a:rPr lang="en-US"/>
              <a:t> </a:t>
            </a:r>
            <a:r>
              <a:rPr lang="en-US" err="1"/>
              <a:t>euismod</a:t>
            </a:r>
            <a:r>
              <a:rPr lang="en-US"/>
              <a:t> </a:t>
            </a:r>
            <a:r>
              <a:rPr lang="en-US" err="1"/>
              <a:t>tincidunt</a:t>
            </a:r>
            <a:r>
              <a:rPr lang="en-US"/>
              <a:t> </a:t>
            </a:r>
            <a:r>
              <a:rPr lang="en-US" err="1"/>
              <a:t>ut</a:t>
            </a:r>
            <a:r>
              <a:rPr lang="en-US"/>
              <a:t> </a:t>
            </a:r>
            <a:r>
              <a:rPr lang="en-US" err="1"/>
              <a:t>laoreet</a:t>
            </a:r>
            <a:r>
              <a:rPr lang="en-US"/>
              <a:t> dolore magna </a:t>
            </a:r>
            <a:r>
              <a:rPr lang="en-US" err="1"/>
              <a:t>aliquam</a:t>
            </a:r>
            <a:r>
              <a:rPr lang="en-US"/>
              <a:t> </a:t>
            </a:r>
          </a:p>
          <a:p>
            <a:pPr lvl="0"/>
            <a:r>
              <a:rPr lang="en-US"/>
              <a:t>2. Ut </a:t>
            </a:r>
            <a:r>
              <a:rPr lang="en-US" err="1"/>
              <a:t>wisi</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a:t>
            </a:r>
            <a:r>
              <a:rPr lang="en-US" err="1"/>
              <a:t>exerci</a:t>
            </a:r>
            <a:r>
              <a:rPr lang="en-US"/>
              <a:t> </a:t>
            </a:r>
            <a:r>
              <a:rPr lang="en-US" err="1"/>
              <a:t>tation</a:t>
            </a:r>
            <a:r>
              <a:rPr lang="en-US"/>
              <a:t> </a:t>
            </a:r>
            <a:r>
              <a:rPr lang="en-US" err="1"/>
              <a:t>ullamcorper</a:t>
            </a:r>
            <a:r>
              <a:rPr lang="en-US"/>
              <a:t> </a:t>
            </a:r>
            <a:r>
              <a:rPr lang="en-US" err="1"/>
              <a:t>suscipit</a:t>
            </a:r>
            <a:r>
              <a:rPr lang="en-US"/>
              <a:t> </a:t>
            </a:r>
            <a:r>
              <a:rPr lang="en-US" err="1"/>
              <a:t>lobortis</a:t>
            </a:r>
            <a:r>
              <a:rPr lang="en-US"/>
              <a:t> </a:t>
            </a:r>
            <a:r>
              <a:rPr lang="en-US" err="1"/>
              <a:t>nisl</a:t>
            </a:r>
            <a:r>
              <a:rPr lang="en-US"/>
              <a:t>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endParaRPr lang="en-US"/>
          </a:p>
          <a:p>
            <a:pPr lvl="0"/>
            <a:r>
              <a:rPr lang="en-US"/>
              <a:t>3. Duis </a:t>
            </a:r>
            <a:r>
              <a:rPr lang="en-US" err="1"/>
              <a:t>autem</a:t>
            </a:r>
            <a:r>
              <a:rPr lang="en-US"/>
              <a:t> vel </a:t>
            </a:r>
            <a:r>
              <a:rPr lang="en-US" err="1"/>
              <a:t>eum</a:t>
            </a:r>
            <a:r>
              <a:rPr lang="en-US"/>
              <a:t> </a:t>
            </a:r>
            <a:r>
              <a:rPr lang="en-US" err="1"/>
              <a:t>iriure</a:t>
            </a:r>
            <a:r>
              <a:rPr lang="en-US"/>
              <a:t> dolor in </a:t>
            </a:r>
            <a:r>
              <a:rPr lang="en-US" err="1"/>
              <a:t>hendrerit</a:t>
            </a:r>
            <a:r>
              <a:rPr lang="en-US"/>
              <a:t> in </a:t>
            </a:r>
            <a:r>
              <a:rPr lang="en-US" err="1"/>
              <a:t>vulputate</a:t>
            </a:r>
            <a:r>
              <a:rPr lang="en-US"/>
              <a:t> </a:t>
            </a:r>
            <a:r>
              <a:rPr lang="en-US" err="1"/>
              <a:t>velit</a:t>
            </a:r>
            <a:r>
              <a:rPr lang="en-US"/>
              <a:t> </a:t>
            </a:r>
            <a:r>
              <a:rPr lang="en-US" err="1"/>
              <a:t>esse</a:t>
            </a:r>
            <a:r>
              <a:rPr lang="en-US"/>
              <a:t> </a:t>
            </a:r>
            <a:r>
              <a:rPr lang="en-US" err="1"/>
              <a:t>molestie</a:t>
            </a:r>
            <a:r>
              <a:rPr lang="en-US"/>
              <a:t> </a:t>
            </a:r>
            <a:r>
              <a:rPr lang="en-US" err="1"/>
              <a:t>consequat</a:t>
            </a:r>
            <a:r>
              <a:rPr lang="en-US"/>
              <a:t>, vel </a:t>
            </a:r>
            <a:r>
              <a:rPr lang="en-US" err="1"/>
              <a:t>illum</a:t>
            </a:r>
            <a:r>
              <a:rPr lang="en-US"/>
              <a:t> dolore </a:t>
            </a:r>
            <a:r>
              <a:rPr lang="en-US" err="1"/>
              <a:t>eu</a:t>
            </a:r>
            <a:r>
              <a:rPr lang="en-US"/>
              <a:t> </a:t>
            </a:r>
            <a:r>
              <a:rPr lang="en-US" err="1"/>
              <a:t>feugiat</a:t>
            </a:r>
            <a:r>
              <a:rPr lang="en-US"/>
              <a:t> </a:t>
            </a:r>
            <a:r>
              <a:rPr lang="en-US" err="1"/>
              <a:t>nulla</a:t>
            </a:r>
            <a:r>
              <a:rPr lang="en-US"/>
              <a:t> </a:t>
            </a:r>
            <a:r>
              <a:rPr lang="en-US" err="1"/>
              <a:t>facilisis</a:t>
            </a:r>
            <a:r>
              <a:rPr lang="en-US"/>
              <a:t> at </a:t>
            </a:r>
            <a:r>
              <a:rPr lang="en-US" err="1"/>
              <a:t>vero</a:t>
            </a:r>
            <a:r>
              <a:rPr lang="en-US"/>
              <a:t> eros et </a:t>
            </a:r>
            <a:r>
              <a:rPr lang="en-US" err="1"/>
              <a:t>accumsan</a:t>
            </a:r>
            <a:r>
              <a:rPr lang="en-US"/>
              <a:t> et </a:t>
            </a:r>
            <a:r>
              <a:rPr lang="en-US" err="1"/>
              <a:t>iusto</a:t>
            </a:r>
            <a:r>
              <a:rPr lang="en-US"/>
              <a:t> </a:t>
            </a:r>
            <a:r>
              <a:rPr lang="en-US" err="1"/>
              <a:t>odio</a:t>
            </a:r>
            <a:r>
              <a:rPr lang="en-US"/>
              <a:t> </a:t>
            </a:r>
            <a:r>
              <a:rPr lang="en-US" err="1"/>
              <a:t>dignissim</a:t>
            </a:r>
            <a:r>
              <a:rPr lang="en-US"/>
              <a:t> qui </a:t>
            </a:r>
            <a:r>
              <a:rPr lang="en-US" err="1"/>
              <a:t>blandit</a:t>
            </a:r>
            <a:r>
              <a:rPr lang="en-US"/>
              <a:t> </a:t>
            </a:r>
            <a:r>
              <a:rPr lang="en-US" err="1"/>
              <a:t>praesent</a:t>
            </a:r>
            <a:r>
              <a:rPr lang="en-US"/>
              <a:t> </a:t>
            </a:r>
            <a:r>
              <a:rPr lang="en-US" err="1"/>
              <a:t>luptatum</a:t>
            </a:r>
            <a:r>
              <a:rPr lang="en-US"/>
              <a:t> </a:t>
            </a:r>
            <a:r>
              <a:rPr lang="en-US" err="1"/>
              <a:t>zzril</a:t>
            </a:r>
            <a:r>
              <a:rPr lang="en-US"/>
              <a:t> </a:t>
            </a:r>
            <a:r>
              <a:rPr lang="en-US" err="1"/>
              <a:t>delenit</a:t>
            </a:r>
            <a:r>
              <a:rPr lang="en-US"/>
              <a:t> </a:t>
            </a:r>
            <a:r>
              <a:rPr lang="en-US" err="1"/>
              <a:t>augue</a:t>
            </a:r>
            <a:r>
              <a:rPr lang="en-US"/>
              <a:t> </a:t>
            </a:r>
            <a:r>
              <a:rPr lang="en-US" err="1"/>
              <a:t>duis</a:t>
            </a:r>
            <a:r>
              <a:rPr lang="en-US"/>
              <a:t> dolore </a:t>
            </a:r>
            <a:r>
              <a:rPr lang="en-US" err="1"/>
              <a:t>te</a:t>
            </a:r>
            <a:r>
              <a:rPr lang="en-US"/>
              <a:t> </a:t>
            </a:r>
            <a:r>
              <a:rPr lang="en-US" err="1"/>
              <a:t>feugait</a:t>
            </a:r>
            <a:r>
              <a:rPr lang="en-US"/>
              <a:t> </a:t>
            </a:r>
            <a:r>
              <a:rPr lang="en-US" err="1"/>
              <a:t>nulla</a:t>
            </a:r>
            <a:r>
              <a:rPr lang="en-US"/>
              <a:t> </a:t>
            </a:r>
            <a:r>
              <a:rPr lang="en-US" err="1"/>
              <a:t>facilisi</a:t>
            </a:r>
            <a:endParaRPr lang="en-US"/>
          </a:p>
          <a:p>
            <a:pPr lvl="0"/>
            <a:r>
              <a:rPr lang="en-US"/>
              <a:t>4. Lorem ipsum dolor sit </a:t>
            </a:r>
            <a:r>
              <a:rPr lang="en-US" err="1"/>
              <a:t>amet</a:t>
            </a:r>
            <a:r>
              <a:rPr lang="en-US"/>
              <a:t>, cons </a:t>
            </a:r>
            <a:r>
              <a:rPr lang="en-US" err="1"/>
              <a:t>ectetuer</a:t>
            </a:r>
            <a:r>
              <a:rPr lang="en-US"/>
              <a:t> </a:t>
            </a:r>
            <a:r>
              <a:rPr lang="en-US" err="1"/>
              <a:t>adipiscing</a:t>
            </a:r>
            <a:r>
              <a:rPr lang="en-US"/>
              <a:t> </a:t>
            </a:r>
            <a:r>
              <a:rPr lang="en-US" err="1"/>
              <a:t>elit</a:t>
            </a:r>
            <a:r>
              <a:rPr lang="en-US"/>
              <a:t>, sed diam </a:t>
            </a:r>
            <a:r>
              <a:rPr lang="en-US" err="1"/>
              <a:t>nonummy</a:t>
            </a:r>
            <a:r>
              <a:rPr lang="en-US"/>
              <a:t> </a:t>
            </a:r>
            <a:r>
              <a:rPr lang="en-US" err="1"/>
              <a:t>nibh</a:t>
            </a:r>
            <a:r>
              <a:rPr lang="en-US"/>
              <a:t> </a:t>
            </a:r>
            <a:r>
              <a:rPr lang="en-US" err="1"/>
              <a:t>euismod</a:t>
            </a:r>
            <a:r>
              <a:rPr lang="en-US"/>
              <a:t> </a:t>
            </a:r>
            <a:r>
              <a:rPr lang="en-US" err="1"/>
              <a:t>tincidunt</a:t>
            </a:r>
            <a:r>
              <a:rPr lang="en-US"/>
              <a:t> </a:t>
            </a:r>
            <a:r>
              <a:rPr lang="en-US" err="1"/>
              <a:t>ut</a:t>
            </a:r>
            <a:r>
              <a:rPr lang="en-US"/>
              <a:t> </a:t>
            </a:r>
            <a:r>
              <a:rPr lang="en-US" err="1"/>
              <a:t>laoreet</a:t>
            </a:r>
            <a:r>
              <a:rPr lang="en-US"/>
              <a:t> dolore magna</a:t>
            </a:r>
          </a:p>
          <a:p>
            <a:pPr lvl="0"/>
            <a:r>
              <a:rPr lang="en-US"/>
              <a:t>5. Ut </a:t>
            </a:r>
            <a:r>
              <a:rPr lang="en-US" err="1"/>
              <a:t>wisi</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a:t>
            </a:r>
            <a:r>
              <a:rPr lang="en-US" err="1"/>
              <a:t>exerci</a:t>
            </a:r>
            <a:r>
              <a:rPr lang="en-US"/>
              <a:t> </a:t>
            </a:r>
            <a:r>
              <a:rPr lang="en-US" err="1"/>
              <a:t>tation</a:t>
            </a:r>
            <a:r>
              <a:rPr lang="en-US"/>
              <a:t> </a:t>
            </a:r>
            <a:r>
              <a:rPr lang="en-US" err="1"/>
              <a:t>ullamcorper</a:t>
            </a:r>
            <a:r>
              <a:rPr lang="en-US"/>
              <a:t> </a:t>
            </a:r>
            <a:r>
              <a:rPr lang="en-US" err="1"/>
              <a:t>suscipit</a:t>
            </a:r>
            <a:r>
              <a:rPr lang="en-US"/>
              <a:t> </a:t>
            </a:r>
            <a:r>
              <a:rPr lang="en-US" err="1"/>
              <a:t>lobortis</a:t>
            </a:r>
            <a:r>
              <a:rPr lang="en-US"/>
              <a:t> </a:t>
            </a:r>
            <a:r>
              <a:rPr lang="en-US" err="1"/>
              <a:t>nisl</a:t>
            </a:r>
            <a:r>
              <a:rPr lang="en-US"/>
              <a:t>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endParaRPr lang="en-GB"/>
          </a:p>
        </p:txBody>
      </p:sp>
      <p:sp>
        <p:nvSpPr>
          <p:cNvPr id="14" name="Slide Number Placeholder 3">
            <a:extLst>
              <a:ext uri="{FF2B5EF4-FFF2-40B4-BE49-F238E27FC236}">
                <a16:creationId xmlns="" xmlns:a16="http://schemas.microsoft.com/office/drawing/2014/main" id="{27C692D6-5DE2-447A-80CB-636C151B40EA}"/>
              </a:ext>
            </a:extLst>
          </p:cNvPr>
          <p:cNvSpPr>
            <a:spLocks noGrp="1"/>
          </p:cNvSpPr>
          <p:nvPr>
            <p:ph type="sldNum" sz="quarter" idx="4"/>
          </p:nvPr>
        </p:nvSpPr>
        <p:spPr>
          <a:xfrm>
            <a:off x="8455983" y="4734179"/>
            <a:ext cx="439444" cy="320025"/>
          </a:xfrm>
          <a:prstGeom prst="rect">
            <a:avLst/>
          </a:prstGeom>
        </p:spPr>
        <p:txBody>
          <a:bodyPr vert="horz" lIns="0" tIns="0" rIns="0" bIns="0" rtlCol="0" anchor="ctr"/>
          <a:lstStyle>
            <a:lvl1pPr algn="r">
              <a:defRPr sz="900">
                <a:solidFill>
                  <a:schemeClr val="bg1"/>
                </a:solidFill>
              </a:defRPr>
            </a:lvl1pPr>
          </a:lstStyle>
          <a:p>
            <a:fld id="{B89BA8B7-8224-4A34-9634-0635D23444FA}" type="slidenum">
              <a:rPr lang="en-GB" smtClean="0">
                <a:solidFill>
                  <a:srgbClr val="FFFFFF"/>
                </a:solidFill>
              </a:rPr>
              <a:pPr/>
              <a:t>‹Nº›</a:t>
            </a:fld>
            <a:endParaRPr lang="en-GB">
              <a:solidFill>
                <a:srgbClr val="FFFFFF"/>
              </a:solidFill>
            </a:endParaRPr>
          </a:p>
        </p:txBody>
      </p:sp>
      <p:sp>
        <p:nvSpPr>
          <p:cNvPr id="15" name="Text Placeholder 3">
            <a:extLst>
              <a:ext uri="{FF2B5EF4-FFF2-40B4-BE49-F238E27FC236}">
                <a16:creationId xmlns="" xmlns:a16="http://schemas.microsoft.com/office/drawing/2014/main" id="{A62329A5-D4CA-4F79-AF4C-B91B9623A0DD}"/>
              </a:ext>
            </a:extLst>
          </p:cNvPr>
          <p:cNvSpPr>
            <a:spLocks noGrp="1"/>
          </p:cNvSpPr>
          <p:nvPr>
            <p:ph type="body" sz="quarter" idx="12"/>
          </p:nvPr>
        </p:nvSpPr>
        <p:spPr>
          <a:xfrm>
            <a:off x="4691113" y="1027429"/>
            <a:ext cx="4131469" cy="3313752"/>
          </a:xfrm>
        </p:spPr>
        <p:txBody>
          <a:bodyPr tIns="107850"/>
          <a:lstStyle>
            <a:lvl1pPr>
              <a:spcAft>
                <a:spcPts val="450"/>
              </a:spcAft>
              <a:defRPr/>
            </a:lvl1pPr>
            <a:lvl2pPr>
              <a:spcAft>
                <a:spcPts val="450"/>
              </a:spcAft>
              <a:defRPr/>
            </a:lvl2pPr>
            <a:lvl3pPr>
              <a:spcAft>
                <a:spcPts val="450"/>
              </a:spcAft>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7897390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2_Standard 1-Column Text">
    <p:spTree>
      <p:nvGrpSpPr>
        <p:cNvPr id="1" name=""/>
        <p:cNvGrpSpPr/>
        <p:nvPr/>
      </p:nvGrpSpPr>
      <p:grpSpPr>
        <a:xfrm>
          <a:off x="0" y="0"/>
          <a:ext cx="0" cy="0"/>
          <a:chOff x="0" y="0"/>
          <a:chExt cx="0" cy="0"/>
        </a:xfrm>
      </p:grpSpPr>
      <p:pic>
        <p:nvPicPr>
          <p:cNvPr id="14" name="Picture 13" descr="Takeda">
            <a:extLst>
              <a:ext uri="{FF2B5EF4-FFF2-40B4-BE49-F238E27FC236}">
                <a16:creationId xmlns:a16="http://schemas.microsoft.com/office/drawing/2014/main" xmlns=""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09748" y="-1211"/>
            <a:ext cx="1272174" cy="705585"/>
          </a:xfrm>
          <a:prstGeom prst="rect">
            <a:avLst/>
          </a:prstGeom>
        </p:spPr>
      </p:pic>
      <p:sp>
        <p:nvSpPr>
          <p:cNvPr id="22" name="タイトル プレースホルダ 1">
            <a:extLst>
              <a:ext uri="{FF2B5EF4-FFF2-40B4-BE49-F238E27FC236}">
                <a16:creationId xmlns:a16="http://schemas.microsoft.com/office/drawing/2014/main" xmlns="" id="{86D2E5B8-9E2B-DB46-A55A-5F26569C4F99}"/>
              </a:ext>
            </a:extLst>
          </p:cNvPr>
          <p:cNvSpPr>
            <a:spLocks noGrp="1"/>
          </p:cNvSpPr>
          <p:nvPr>
            <p:ph type="title" hasCustomPrompt="1"/>
          </p:nvPr>
        </p:nvSpPr>
        <p:spPr>
          <a:xfrm>
            <a:off x="454559" y="121204"/>
            <a:ext cx="7455190" cy="51435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5" name="Rectangle 4">
            <a:extLst>
              <a:ext uri="{FF2B5EF4-FFF2-40B4-BE49-F238E27FC236}">
                <a16:creationId xmlns:a16="http://schemas.microsoft.com/office/drawing/2014/main" xmlns="" id="{12D1C143-C900-4302-B629-6C343D115039}"/>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1" lang="x-none" sz="1350" b="0" i="0" u="none" strike="noStrike" kern="1200" cap="none" spc="0" normalizeH="0" baseline="0" noProof="0">
              <a:ln>
                <a:noFill/>
              </a:ln>
              <a:solidFill>
                <a:srgbClr val="E1242A"/>
              </a:solidFill>
              <a:effectLst/>
              <a:uLnTx/>
              <a:uFillTx/>
              <a:latin typeface="Calibri" panose="020F0502020204030204"/>
              <a:ea typeface="+mn-ea"/>
              <a:cs typeface="+mn-cs"/>
            </a:endParaRPr>
          </a:p>
        </p:txBody>
      </p:sp>
      <p:sp>
        <p:nvSpPr>
          <p:cNvPr id="6" name="スライド番号プレースホルダ 5">
            <a:extLst>
              <a:ext uri="{FF2B5EF4-FFF2-40B4-BE49-F238E27FC236}">
                <a16:creationId xmlns:a16="http://schemas.microsoft.com/office/drawing/2014/main" xmlns="" id="{F97834FE-3404-479B-9513-039B29CD293C}"/>
              </a:ext>
            </a:extLst>
          </p:cNvPr>
          <p:cNvSpPr>
            <a:spLocks noGrp="1"/>
          </p:cNvSpPr>
          <p:nvPr>
            <p:ph type="sldNum" sz="quarter" idx="4"/>
          </p:nvPr>
        </p:nvSpPr>
        <p:spPr>
          <a:xfrm>
            <a:off x="233363" y="4867276"/>
            <a:ext cx="442392" cy="172074"/>
          </a:xfrm>
          <a:prstGeom prst="rect">
            <a:avLst/>
          </a:prstGeom>
        </p:spPr>
        <p:txBody>
          <a:bodyPr vert="horz" lIns="0" tIns="45710" rIns="0" bIns="45710" rtlCol="0" anchor="ctr"/>
          <a:lstStyle>
            <a:lvl1pPr algn="l">
              <a:defRPr sz="750" b="1" i="0">
                <a:solidFill>
                  <a:schemeClr val="tx1"/>
                </a:solidFill>
                <a:latin typeface="+mn-lt"/>
                <a:ea typeface="メイリオ" pitchFamily="50" charset="-128"/>
                <a:cs typeface="Calibri" panose="020F0502020204030204" pitchFamily="34" charset="0"/>
              </a:defRPr>
            </a:lvl1pPr>
          </a:lstStyle>
          <a:p>
            <a:pPr defTabSz="914108">
              <a:defRPr/>
            </a:pPr>
            <a:fld id="{E9B57936-92EF-4126-AE48-1D9D36D15E98}" type="slidenum">
              <a:rPr lang="ja-JP" altLang="en-US" smtClean="0">
                <a:solidFill>
                  <a:srgbClr val="34373F"/>
                </a:solidFill>
              </a:rPr>
              <a:pPr defTabSz="914108">
                <a:defRPr/>
              </a:pPr>
              <a:t>‹Nº›</a:t>
            </a:fld>
            <a:endParaRPr lang="ja-JP" altLang="en-US">
              <a:solidFill>
                <a:srgbClr val="34373F"/>
              </a:solidFill>
            </a:endParaRPr>
          </a:p>
        </p:txBody>
      </p:sp>
    </p:spTree>
    <p:extLst>
      <p:ext uri="{BB962C8B-B14F-4D97-AF65-F5344CB8AC3E}">
        <p14:creationId xmlns:p14="http://schemas.microsoft.com/office/powerpoint/2010/main" val="1548747537"/>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Page 1">
    <p:spTree>
      <p:nvGrpSpPr>
        <p:cNvPr id="1" name=""/>
        <p:cNvGrpSpPr/>
        <p:nvPr/>
      </p:nvGrpSpPr>
      <p:grpSpPr>
        <a:xfrm>
          <a:off x="0" y="0"/>
          <a:ext cx="0" cy="0"/>
          <a:chOff x="0" y="0"/>
          <a:chExt cx="0" cy="0"/>
        </a:xfrm>
      </p:grpSpPr>
      <p:sp>
        <p:nvSpPr>
          <p:cNvPr id="6" name="Rectangle 6">
            <a:extLst>
              <a:ext uri="{FF2B5EF4-FFF2-40B4-BE49-F238E27FC236}">
                <a16:creationId xmlns="" xmlns:a16="http://schemas.microsoft.com/office/drawing/2014/main" id="{82B9CECE-7D8F-8C4A-AFC6-A963B1F05594}"/>
              </a:ext>
            </a:extLst>
          </p:cNvPr>
          <p:cNvSpPr/>
          <p:nvPr userDrawn="1"/>
        </p:nvSpPr>
        <p:spPr>
          <a:xfrm>
            <a:off x="0" y="45949"/>
            <a:ext cx="191386" cy="6367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67" tIns="34289" rIns="68567" bIns="34289" anchor="ctr"/>
          <a:lstStyle/>
          <a:p>
            <a:pPr algn="ctr" defTabSz="685647"/>
            <a:endParaRPr lang="en-US" altLang="en-US" sz="1400">
              <a:solidFill>
                <a:srgbClr val="E1242A"/>
              </a:solidFill>
            </a:endParaRPr>
          </a:p>
        </p:txBody>
      </p:sp>
      <p:sp>
        <p:nvSpPr>
          <p:cNvPr id="10" name="Picture Placeholder 9">
            <a:extLst>
              <a:ext uri="{FF2B5EF4-FFF2-40B4-BE49-F238E27FC236}">
                <a16:creationId xmlns="" xmlns:a16="http://schemas.microsoft.com/office/drawing/2014/main" id="{91E79114-5B74-9547-8292-DAB8965D43FD}"/>
              </a:ext>
            </a:extLst>
          </p:cNvPr>
          <p:cNvSpPr>
            <a:spLocks noGrp="1"/>
          </p:cNvSpPr>
          <p:nvPr>
            <p:ph type="pic" sz="quarter" idx="10"/>
          </p:nvPr>
        </p:nvSpPr>
        <p:spPr>
          <a:xfrm>
            <a:off x="561756" y="381"/>
            <a:ext cx="8594519" cy="2571371"/>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2246">
                <a:moveTo>
                  <a:pt x="0" y="1652"/>
                </a:moveTo>
                <a:lnTo>
                  <a:pt x="11459359" y="0"/>
                </a:lnTo>
                <a:cubicBezTo>
                  <a:pt x="11456406" y="1115201"/>
                  <a:pt x="11441877" y="2245391"/>
                  <a:pt x="11438924" y="3360592"/>
                </a:cubicBezTo>
                <a:lnTo>
                  <a:pt x="579722" y="3362246"/>
                </a:lnTo>
                <a:cubicBezTo>
                  <a:pt x="259550" y="3362246"/>
                  <a:pt x="0" y="3102696"/>
                  <a:pt x="0" y="2782524"/>
                </a:cubicBezTo>
                <a:lnTo>
                  <a:pt x="0" y="1652"/>
                </a:lnTo>
                <a:close/>
              </a:path>
            </a:pathLst>
          </a:custGeom>
          <a:noFill/>
        </p:spPr>
        <p:txBody>
          <a:bodyPr/>
          <a:lstStyle>
            <a:lvl1pPr marL="0" indent="0">
              <a:buNone/>
              <a:defRPr sz="1800">
                <a:solidFill>
                  <a:schemeClr val="bg1"/>
                </a:solidFill>
              </a:defRPr>
            </a:lvl1pPr>
          </a:lstStyle>
          <a:p>
            <a:r>
              <a:rPr lang="de-DE"/>
              <a:t>Bild durch Klicken auf Symbol hinzufügen</a:t>
            </a:r>
            <a:endParaRPr lang="x-none"/>
          </a:p>
        </p:txBody>
      </p:sp>
      <p:sp>
        <p:nvSpPr>
          <p:cNvPr id="15" name="Title 1">
            <a:extLst>
              <a:ext uri="{FF2B5EF4-FFF2-40B4-BE49-F238E27FC236}">
                <a16:creationId xmlns="" xmlns:a16="http://schemas.microsoft.com/office/drawing/2014/main" id="{9F5E8E0A-41D4-8346-9248-0B9AAC71238D}"/>
              </a:ext>
            </a:extLst>
          </p:cNvPr>
          <p:cNvSpPr>
            <a:spLocks noGrp="1"/>
          </p:cNvSpPr>
          <p:nvPr>
            <p:ph type="ctrTitle" hasCustomPrompt="1"/>
          </p:nvPr>
        </p:nvSpPr>
        <p:spPr>
          <a:xfrm>
            <a:off x="896055" y="2967621"/>
            <a:ext cx="5774753" cy="761761"/>
          </a:xfrm>
          <a:prstGeom prst="rect">
            <a:avLst/>
          </a:prstGeom>
        </p:spPr>
        <p:txBody>
          <a:bodyPr wrap="square" lIns="0" tIns="0" rIns="0" bIns="0" anchor="t" anchorCtr="0">
            <a:normAutofit/>
          </a:bodyPr>
          <a:lstStyle>
            <a:lvl1pPr>
              <a:lnSpc>
                <a:spcPts val="2850"/>
              </a:lnSpc>
              <a:defRPr sz="27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a:t>
            </a:r>
            <a:br>
              <a:rPr lang="en-GB"/>
            </a:br>
            <a:r>
              <a:rPr lang="en-GB"/>
              <a:t>Title</a:t>
            </a:r>
          </a:p>
        </p:txBody>
      </p:sp>
      <p:sp>
        <p:nvSpPr>
          <p:cNvPr id="17" name="Rectangle 16">
            <a:extLst>
              <a:ext uri="{FF2B5EF4-FFF2-40B4-BE49-F238E27FC236}">
                <a16:creationId xmlns="" xmlns:a16="http://schemas.microsoft.com/office/drawing/2014/main" id="{F5A63B8E-5554-A04E-B4C5-97ECEE58B6CC}"/>
              </a:ext>
            </a:extLst>
          </p:cNvPr>
          <p:cNvSpPr/>
          <p:nvPr userDrawn="1"/>
        </p:nvSpPr>
        <p:spPr>
          <a:xfrm>
            <a:off x="561754" y="2823032"/>
            <a:ext cx="72900" cy="20303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67" tIns="34289" rIns="68567" bIns="34289" anchor="ctr"/>
          <a:lstStyle/>
          <a:p>
            <a:pPr algn="ctr" defTabSz="685647"/>
            <a:endParaRPr lang="en-US" altLang="en-US" sz="1400">
              <a:solidFill>
                <a:srgbClr val="FFFFFF"/>
              </a:solidFill>
            </a:endParaRPr>
          </a:p>
        </p:txBody>
      </p:sp>
      <p:pic>
        <p:nvPicPr>
          <p:cNvPr id="21" name="Picture 20">
            <a:extLst>
              <a:ext uri="{FF2B5EF4-FFF2-40B4-BE49-F238E27FC236}">
                <a16:creationId xmlns="" xmlns:a16="http://schemas.microsoft.com/office/drawing/2014/main" id="{C2637423-F180-3943-B758-C8CCFA816E0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178941" y="4768467"/>
            <a:ext cx="1468934" cy="88097"/>
          </a:xfrm>
          <a:prstGeom prst="rect">
            <a:avLst/>
          </a:prstGeom>
        </p:spPr>
      </p:pic>
      <p:sp>
        <p:nvSpPr>
          <p:cNvPr id="23" name="Text Placeholder 2">
            <a:extLst>
              <a:ext uri="{FF2B5EF4-FFF2-40B4-BE49-F238E27FC236}">
                <a16:creationId xmlns="" xmlns:a16="http://schemas.microsoft.com/office/drawing/2014/main" id="{F7327E43-4F43-914D-BE65-DB0ADB5A5E11}"/>
              </a:ext>
            </a:extLst>
          </p:cNvPr>
          <p:cNvSpPr>
            <a:spLocks noGrp="1"/>
          </p:cNvSpPr>
          <p:nvPr>
            <p:ph type="body" sz="quarter" idx="23" hasCustomPrompt="1"/>
          </p:nvPr>
        </p:nvSpPr>
        <p:spPr>
          <a:xfrm>
            <a:off x="896055" y="3942033"/>
            <a:ext cx="5774753" cy="175501"/>
          </a:xfrm>
          <a:prstGeom prst="rect">
            <a:avLst/>
          </a:prstGeom>
        </p:spPr>
        <p:txBody>
          <a:bodyPr lIns="0" tIns="0" rIns="0" bIns="0">
            <a:noAutofit/>
          </a:bodyPr>
          <a:lstStyle>
            <a:lvl1pPr marL="0" indent="0">
              <a:buNone/>
              <a:defRPr sz="1100" b="0" i="0">
                <a:solidFill>
                  <a:schemeClr val="tx1"/>
                </a:solidFill>
                <a:latin typeface="Calibri" panose="020F0502020204030204" pitchFamily="34" charset="0"/>
                <a:cs typeface="Calibri" panose="020F0502020204030204" pitchFamily="34" charset="0"/>
              </a:defRPr>
            </a:lvl1pPr>
            <a:lvl2pPr marL="342722" indent="0">
              <a:buNone/>
              <a:defRPr sz="1100">
                <a:solidFill>
                  <a:schemeClr val="tx1"/>
                </a:solidFill>
              </a:defRPr>
            </a:lvl2pPr>
            <a:lvl3pPr marL="685459" indent="0">
              <a:buNone/>
              <a:defRPr sz="1100">
                <a:solidFill>
                  <a:schemeClr val="tx1"/>
                </a:solidFill>
              </a:defRPr>
            </a:lvl3pPr>
            <a:lvl4pPr marL="1028184" indent="0">
              <a:buNone/>
              <a:defRPr sz="1100">
                <a:solidFill>
                  <a:schemeClr val="tx1"/>
                </a:solidFill>
              </a:defRPr>
            </a:lvl4pPr>
            <a:lvl5pPr marL="1370912" indent="0">
              <a:buNone/>
              <a:defRPr sz="1100">
                <a:solidFill>
                  <a:schemeClr val="tx1"/>
                </a:solidFill>
              </a:defRPr>
            </a:lvl5pPr>
          </a:lstStyle>
          <a:p>
            <a:pPr lvl="0"/>
            <a:r>
              <a:rPr lang="en-US"/>
              <a:t>Title of Position</a:t>
            </a:r>
          </a:p>
        </p:txBody>
      </p:sp>
      <p:sp>
        <p:nvSpPr>
          <p:cNvPr id="24" name="Text Placeholder 2">
            <a:extLst>
              <a:ext uri="{FF2B5EF4-FFF2-40B4-BE49-F238E27FC236}">
                <a16:creationId xmlns="" xmlns:a16="http://schemas.microsoft.com/office/drawing/2014/main" id="{4A23AA60-6137-8841-B2ED-51B2F2E5C1BB}"/>
              </a:ext>
            </a:extLst>
          </p:cNvPr>
          <p:cNvSpPr>
            <a:spLocks noGrp="1"/>
          </p:cNvSpPr>
          <p:nvPr>
            <p:ph type="body" sz="quarter" idx="24" hasCustomPrompt="1"/>
          </p:nvPr>
        </p:nvSpPr>
        <p:spPr>
          <a:xfrm>
            <a:off x="896055" y="4136293"/>
            <a:ext cx="5774753" cy="175501"/>
          </a:xfrm>
          <a:prstGeom prst="rect">
            <a:avLst/>
          </a:prstGeom>
        </p:spPr>
        <p:txBody>
          <a:bodyPr lIns="0" tIns="0" rIns="0" bIns="0">
            <a:noAutofit/>
          </a:bodyPr>
          <a:lstStyle>
            <a:lvl1pPr marL="0" indent="0">
              <a:buNone/>
              <a:defRPr sz="1100" b="0" i="0">
                <a:solidFill>
                  <a:schemeClr val="tx1"/>
                </a:solidFill>
                <a:latin typeface="Calibri" panose="020F0502020204030204" pitchFamily="34" charset="0"/>
                <a:cs typeface="Calibri" panose="020F0502020204030204" pitchFamily="34" charset="0"/>
              </a:defRPr>
            </a:lvl1pPr>
            <a:lvl2pPr marL="342722" indent="0">
              <a:buNone/>
              <a:defRPr sz="1100">
                <a:solidFill>
                  <a:schemeClr val="tx1"/>
                </a:solidFill>
              </a:defRPr>
            </a:lvl2pPr>
            <a:lvl3pPr marL="685459" indent="0">
              <a:buNone/>
              <a:defRPr sz="1100">
                <a:solidFill>
                  <a:schemeClr val="tx1"/>
                </a:solidFill>
              </a:defRPr>
            </a:lvl3pPr>
            <a:lvl4pPr marL="1028184" indent="0">
              <a:buNone/>
              <a:defRPr sz="1100">
                <a:solidFill>
                  <a:schemeClr val="tx1"/>
                </a:solidFill>
              </a:defRPr>
            </a:lvl4pPr>
            <a:lvl5pPr marL="1370912" indent="0">
              <a:buNone/>
              <a:defRPr sz="1100">
                <a:solidFill>
                  <a:schemeClr val="tx1"/>
                </a:solidFill>
              </a:defRPr>
            </a:lvl5pPr>
          </a:lstStyle>
          <a:p>
            <a:pPr lvl="0"/>
            <a:r>
              <a:rPr lang="en-US"/>
              <a:t>Department</a:t>
            </a:r>
          </a:p>
        </p:txBody>
      </p:sp>
      <p:sp>
        <p:nvSpPr>
          <p:cNvPr id="25" name="Text Placeholder 2">
            <a:extLst>
              <a:ext uri="{FF2B5EF4-FFF2-40B4-BE49-F238E27FC236}">
                <a16:creationId xmlns="" xmlns:a16="http://schemas.microsoft.com/office/drawing/2014/main" id="{BB4FEAB2-22C6-3446-B4D2-5B610A729BCC}"/>
              </a:ext>
            </a:extLst>
          </p:cNvPr>
          <p:cNvSpPr>
            <a:spLocks noGrp="1"/>
          </p:cNvSpPr>
          <p:nvPr>
            <p:ph type="body" sz="quarter" idx="25" hasCustomPrompt="1"/>
          </p:nvPr>
        </p:nvSpPr>
        <p:spPr>
          <a:xfrm>
            <a:off x="896055" y="4327158"/>
            <a:ext cx="5774753" cy="175501"/>
          </a:xfrm>
          <a:prstGeom prst="rect">
            <a:avLst/>
          </a:prstGeom>
        </p:spPr>
        <p:txBody>
          <a:bodyPr lIns="0" tIns="0" rIns="0" bIns="0">
            <a:noAutofit/>
          </a:bodyPr>
          <a:lstStyle>
            <a:lvl1pPr marL="0" indent="0">
              <a:buNone/>
              <a:defRPr sz="1100" b="0" i="0">
                <a:solidFill>
                  <a:schemeClr val="tx1"/>
                </a:solidFill>
                <a:latin typeface="Calibri" panose="020F0502020204030204" pitchFamily="34" charset="0"/>
                <a:cs typeface="Calibri" panose="020F0502020204030204" pitchFamily="34" charset="0"/>
              </a:defRPr>
            </a:lvl1pPr>
            <a:lvl2pPr marL="342722" indent="0">
              <a:buNone/>
              <a:defRPr sz="1100">
                <a:solidFill>
                  <a:schemeClr val="tx1"/>
                </a:solidFill>
              </a:defRPr>
            </a:lvl2pPr>
            <a:lvl3pPr marL="685459" indent="0">
              <a:buNone/>
              <a:defRPr sz="1100">
                <a:solidFill>
                  <a:schemeClr val="tx1"/>
                </a:solidFill>
              </a:defRPr>
            </a:lvl3pPr>
            <a:lvl4pPr marL="1028184" indent="0">
              <a:buNone/>
              <a:defRPr sz="1100">
                <a:solidFill>
                  <a:schemeClr val="tx1"/>
                </a:solidFill>
              </a:defRPr>
            </a:lvl4pPr>
            <a:lvl5pPr marL="1370912" indent="0">
              <a:buNone/>
              <a:defRPr sz="1100">
                <a:solidFill>
                  <a:schemeClr val="tx1"/>
                </a:solidFill>
              </a:defRPr>
            </a:lvl5pPr>
          </a:lstStyle>
          <a:p>
            <a:pPr lvl="0"/>
            <a:r>
              <a:rPr lang="en-US"/>
              <a:t>Date</a:t>
            </a:r>
          </a:p>
        </p:txBody>
      </p:sp>
      <p:sp>
        <p:nvSpPr>
          <p:cNvPr id="28" name="Text Placeholder 2">
            <a:extLst>
              <a:ext uri="{FF2B5EF4-FFF2-40B4-BE49-F238E27FC236}">
                <a16:creationId xmlns="" xmlns:a16="http://schemas.microsoft.com/office/drawing/2014/main" id="{4085F378-E668-A648-B7B1-8C76C309ED6D}"/>
              </a:ext>
            </a:extLst>
          </p:cNvPr>
          <p:cNvSpPr>
            <a:spLocks noGrp="1"/>
          </p:cNvSpPr>
          <p:nvPr>
            <p:ph type="body" sz="quarter" idx="26" hasCustomPrompt="1"/>
          </p:nvPr>
        </p:nvSpPr>
        <p:spPr>
          <a:xfrm>
            <a:off x="896055" y="3748142"/>
            <a:ext cx="5774753" cy="175501"/>
          </a:xfrm>
          <a:prstGeom prst="rect">
            <a:avLst/>
          </a:prstGeom>
        </p:spPr>
        <p:txBody>
          <a:bodyPr lIns="0" tIns="0" rIns="0" bIns="0">
            <a:noAutofit/>
          </a:bodyPr>
          <a:lstStyle>
            <a:lvl1pPr marL="0" indent="0">
              <a:buNone/>
              <a:defRPr sz="1100" b="0" i="0">
                <a:solidFill>
                  <a:schemeClr val="tx1"/>
                </a:solidFill>
                <a:latin typeface="Calibri" panose="020F0502020204030204" pitchFamily="34" charset="0"/>
                <a:cs typeface="Calibri" panose="020F0502020204030204" pitchFamily="34" charset="0"/>
              </a:defRPr>
            </a:lvl1pPr>
            <a:lvl2pPr marL="342722" indent="0">
              <a:buNone/>
              <a:defRPr sz="1100">
                <a:solidFill>
                  <a:schemeClr val="tx1"/>
                </a:solidFill>
              </a:defRPr>
            </a:lvl2pPr>
            <a:lvl3pPr marL="685459" indent="0">
              <a:buNone/>
              <a:defRPr sz="1100">
                <a:solidFill>
                  <a:schemeClr val="tx1"/>
                </a:solidFill>
              </a:defRPr>
            </a:lvl3pPr>
            <a:lvl4pPr marL="1028184" indent="0">
              <a:buNone/>
              <a:defRPr sz="1100">
                <a:solidFill>
                  <a:schemeClr val="tx1"/>
                </a:solidFill>
              </a:defRPr>
            </a:lvl4pPr>
            <a:lvl5pPr marL="1370912" indent="0">
              <a:buNone/>
              <a:defRPr sz="1100">
                <a:solidFill>
                  <a:schemeClr val="tx1"/>
                </a:solidFill>
              </a:defRPr>
            </a:lvl5pPr>
          </a:lstStyle>
          <a:p>
            <a:pPr lvl="0"/>
            <a:r>
              <a:rPr lang="en-US"/>
              <a:t>Presenter Name</a:t>
            </a:r>
          </a:p>
        </p:txBody>
      </p:sp>
      <p:sp>
        <p:nvSpPr>
          <p:cNvPr id="13" name="Text Placeholder 2">
            <a:extLst>
              <a:ext uri="{FF2B5EF4-FFF2-40B4-BE49-F238E27FC236}">
                <a16:creationId xmlns="" xmlns:a16="http://schemas.microsoft.com/office/drawing/2014/main" id="{C1E31EF6-BED5-C14F-94AD-4E5C55B85515}"/>
              </a:ext>
            </a:extLst>
          </p:cNvPr>
          <p:cNvSpPr>
            <a:spLocks noGrp="1"/>
          </p:cNvSpPr>
          <p:nvPr>
            <p:ph type="body" sz="quarter" idx="16" hasCustomPrompt="1"/>
          </p:nvPr>
        </p:nvSpPr>
        <p:spPr>
          <a:xfrm>
            <a:off x="896055" y="4520523"/>
            <a:ext cx="5774753" cy="175501"/>
          </a:xfrm>
        </p:spPr>
        <p:txBody>
          <a:bodyPr tIns="0" rIns="0" bIns="0" anchor="ctr" anchorCtr="0">
            <a:noAutofit/>
          </a:bodyPr>
          <a:lstStyle>
            <a:lvl1pPr marL="0" marR="0" indent="0" algn="l" defTabSz="68546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600"/>
            </a:lvl1pPr>
            <a:lvl2pPr>
              <a:defRPr sz="600"/>
            </a:lvl2pPr>
            <a:lvl3pPr>
              <a:defRPr sz="600"/>
            </a:lvl3pPr>
            <a:lvl4pPr>
              <a:defRPr sz="600"/>
            </a:lvl4pPr>
            <a:lvl5pPr>
              <a:defRPr sz="600"/>
            </a:lvl5pPr>
          </a:lstStyle>
          <a:p>
            <a:pPr marL="0" marR="0" lvl="0" indent="0" algn="l" defTabSz="68546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err="1"/>
              <a:t>Vertraulich</a:t>
            </a:r>
            <a:r>
              <a:rPr lang="en-US"/>
              <a:t> – </a:t>
            </a:r>
            <a:r>
              <a:rPr lang="en-US" err="1"/>
              <a:t>nur</a:t>
            </a:r>
            <a:r>
              <a:rPr lang="en-US"/>
              <a:t> </a:t>
            </a:r>
            <a:r>
              <a:rPr lang="en-US" err="1"/>
              <a:t>für</a:t>
            </a:r>
            <a:r>
              <a:rPr lang="en-US"/>
              <a:t> den </a:t>
            </a:r>
            <a:r>
              <a:rPr lang="en-US" err="1"/>
              <a:t>internen</a:t>
            </a:r>
            <a:r>
              <a:rPr lang="en-US"/>
              <a:t> </a:t>
            </a:r>
            <a:r>
              <a:rPr lang="en-US" err="1"/>
              <a:t>Gebrauch</a:t>
            </a:r>
            <a:r>
              <a:rPr lang="en-US"/>
              <a:t>.</a:t>
            </a:r>
          </a:p>
        </p:txBody>
      </p:sp>
      <p:pic>
        <p:nvPicPr>
          <p:cNvPr id="16" name="Grafik 15">
            <a:extLst>
              <a:ext uri="{FF2B5EF4-FFF2-40B4-BE49-F238E27FC236}">
                <a16:creationId xmlns="" xmlns:a16="http://schemas.microsoft.com/office/drawing/2014/main" id="{F39A5245-D77A-A142-9FC4-3B955CD598B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577146" y="2760562"/>
            <a:ext cx="1210823" cy="459278"/>
          </a:xfrm>
          <a:prstGeom prst="rect">
            <a:avLst/>
          </a:prstGeom>
        </p:spPr>
      </p:pic>
    </p:spTree>
    <p:extLst>
      <p:ext uri="{BB962C8B-B14F-4D97-AF65-F5344CB8AC3E}">
        <p14:creationId xmlns:p14="http://schemas.microsoft.com/office/powerpoint/2010/main" val="4091379896"/>
      </p:ext>
    </p:extLst>
  </p:cSld>
  <p:clrMapOvr>
    <a:masterClrMapping/>
  </p:clrMapOvr>
  <p:transition spd="slow">
    <p:push dir="u"/>
  </p:transition>
  <p:extLst mod="1">
    <p:ext uri="{DCECCB84-F9BA-43D5-87BE-67443E8EF086}">
      <p15:sldGuideLst xmlns:p15="http://schemas.microsoft.com/office/powerpoint/2012/main">
        <p15:guide id="1" orient="horz" pos="4065">
          <p15:clr>
            <a:srgbClr val="FBAE40"/>
          </p15:clr>
        </p15:guide>
        <p15:guide id="2" orient="horz" pos="2364">
          <p15:clr>
            <a:srgbClr val="FBAE40"/>
          </p15:clr>
        </p15:guide>
        <p15:guide id="3" orient="horz" pos="216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Page 2 ">
    <p:spTree>
      <p:nvGrpSpPr>
        <p:cNvPr id="1" name=""/>
        <p:cNvGrpSpPr/>
        <p:nvPr/>
      </p:nvGrpSpPr>
      <p:grpSpPr>
        <a:xfrm>
          <a:off x="0" y="0"/>
          <a:ext cx="0" cy="0"/>
          <a:chOff x="0" y="0"/>
          <a:chExt cx="0" cy="0"/>
        </a:xfrm>
      </p:grpSpPr>
      <p:sp>
        <p:nvSpPr>
          <p:cNvPr id="33" name="Title 1">
            <a:extLst>
              <a:ext uri="{FF2B5EF4-FFF2-40B4-BE49-F238E27FC236}">
                <a16:creationId xmlns="" xmlns:a16="http://schemas.microsoft.com/office/drawing/2014/main" id="{E02383DA-65B3-044E-9E1B-2CC00A0B1CC6}"/>
              </a:ext>
            </a:extLst>
          </p:cNvPr>
          <p:cNvSpPr>
            <a:spLocks noGrp="1"/>
          </p:cNvSpPr>
          <p:nvPr>
            <p:ph type="ctrTitle" hasCustomPrompt="1"/>
          </p:nvPr>
        </p:nvSpPr>
        <p:spPr>
          <a:xfrm>
            <a:off x="896050" y="1727282"/>
            <a:ext cx="3266048" cy="844477"/>
          </a:xfrm>
          <a:prstGeom prst="rect">
            <a:avLst/>
          </a:prstGeom>
        </p:spPr>
        <p:txBody>
          <a:bodyPr wrap="square" lIns="0" tIns="0" rIns="0" bIns="0" anchor="t" anchorCtr="0">
            <a:normAutofit/>
          </a:bodyPr>
          <a:lstStyle>
            <a:lvl1pPr>
              <a:lnSpc>
                <a:spcPts val="2850"/>
              </a:lnSpc>
              <a:defRPr sz="27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0" name="Picture Placeholder 3">
            <a:extLst>
              <a:ext uri="{FF2B5EF4-FFF2-40B4-BE49-F238E27FC236}">
                <a16:creationId xmlns="" xmlns:a16="http://schemas.microsoft.com/office/drawing/2014/main" id="{902F3095-EA6E-F94A-AF04-18ED691DEB75}"/>
              </a:ext>
            </a:extLst>
          </p:cNvPr>
          <p:cNvSpPr>
            <a:spLocks noGrp="1"/>
          </p:cNvSpPr>
          <p:nvPr>
            <p:ph type="pic" sz="quarter" idx="17"/>
          </p:nvPr>
        </p:nvSpPr>
        <p:spPr>
          <a:xfrm>
            <a:off x="4399887" y="282135"/>
            <a:ext cx="4744900" cy="4581401"/>
          </a:xfrm>
          <a:custGeom>
            <a:avLst/>
            <a:gdLst>
              <a:gd name="connsiteX0" fmla="*/ 0 w 6462532"/>
              <a:gd name="connsiteY0" fmla="*/ 3052818 h 6105636"/>
              <a:gd name="connsiteX1" fmla="*/ 3052818 w 6462532"/>
              <a:gd name="connsiteY1" fmla="*/ 0 h 6105636"/>
              <a:gd name="connsiteX2" fmla="*/ 3409714 w 6462532"/>
              <a:gd name="connsiteY2" fmla="*/ 0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309764"/>
              <a:gd name="connsiteY0" fmla="*/ 3060215 h 6113033"/>
              <a:gd name="connsiteX1" fmla="*/ 3052818 w 7309764"/>
              <a:gd name="connsiteY1" fmla="*/ 7397 h 6113033"/>
              <a:gd name="connsiteX2" fmla="*/ 6592752 w 7309764"/>
              <a:gd name="connsiteY2" fmla="*/ 53695 h 6113033"/>
              <a:gd name="connsiteX3" fmla="*/ 6462532 w 7309764"/>
              <a:gd name="connsiteY3" fmla="*/ 3060215 h 6113033"/>
              <a:gd name="connsiteX4" fmla="*/ 6462532 w 7309764"/>
              <a:gd name="connsiteY4" fmla="*/ 3060215 h 6113033"/>
              <a:gd name="connsiteX5" fmla="*/ 3409714 w 7309764"/>
              <a:gd name="connsiteY5" fmla="*/ 6113033 h 6113033"/>
              <a:gd name="connsiteX6" fmla="*/ 3052818 w 7309764"/>
              <a:gd name="connsiteY6" fmla="*/ 6113033 h 6113033"/>
              <a:gd name="connsiteX7" fmla="*/ 0 w 7309764"/>
              <a:gd name="connsiteY7" fmla="*/ 3060215 h 6113033"/>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6750471"/>
              <a:gd name="connsiteY0" fmla="*/ 3052818 h 6105636"/>
              <a:gd name="connsiteX1" fmla="*/ 3052818 w 6750471"/>
              <a:gd name="connsiteY1" fmla="*/ 0 h 6105636"/>
              <a:gd name="connsiteX2" fmla="*/ 6395982 w 6750471"/>
              <a:gd name="connsiteY2" fmla="*/ 11574 h 6105636"/>
              <a:gd name="connsiteX3" fmla="*/ 6462532 w 6750471"/>
              <a:gd name="connsiteY3" fmla="*/ 3052818 h 6105636"/>
              <a:gd name="connsiteX4" fmla="*/ 6462532 w 6750471"/>
              <a:gd name="connsiteY4" fmla="*/ 3052818 h 6105636"/>
              <a:gd name="connsiteX5" fmla="*/ 3409714 w 6750471"/>
              <a:gd name="connsiteY5" fmla="*/ 6105636 h 6105636"/>
              <a:gd name="connsiteX6" fmla="*/ 3052818 w 6750471"/>
              <a:gd name="connsiteY6" fmla="*/ 6105636 h 6105636"/>
              <a:gd name="connsiteX7" fmla="*/ 0 w 6750471"/>
              <a:gd name="connsiteY7" fmla="*/ 3052818 h 6105636"/>
              <a:gd name="connsiteX0" fmla="*/ 0 w 6462532"/>
              <a:gd name="connsiteY0" fmla="*/ 3052818 h 6105636"/>
              <a:gd name="connsiteX1" fmla="*/ 3052818 w 6462532"/>
              <a:gd name="connsiteY1" fmla="*/ 0 h 6105636"/>
              <a:gd name="connsiteX2" fmla="*/ 6395982 w 6462532"/>
              <a:gd name="connsiteY2" fmla="*/ 11574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6462532 w 6477004"/>
              <a:gd name="connsiteY4" fmla="*/ 3052819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5756477 w 6477004"/>
              <a:gd name="connsiteY4" fmla="*/ 3018095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3409714 w 6477004"/>
              <a:gd name="connsiteY4" fmla="*/ 6105637 h 6105637"/>
              <a:gd name="connsiteX5" fmla="*/ 3052818 w 6477004"/>
              <a:gd name="connsiteY5" fmla="*/ 6105637 h 6105637"/>
              <a:gd name="connsiteX6" fmla="*/ 0 w 6477004"/>
              <a:gd name="connsiteY6" fmla="*/ 3052819 h 6105637"/>
              <a:gd name="connsiteX0" fmla="*/ 0 w 6477004"/>
              <a:gd name="connsiteY0" fmla="*/ 3052819 h 6108535"/>
              <a:gd name="connsiteX1" fmla="*/ 3052818 w 6477004"/>
              <a:gd name="connsiteY1" fmla="*/ 1 h 6108535"/>
              <a:gd name="connsiteX2" fmla="*/ 6477004 w 6477004"/>
              <a:gd name="connsiteY2" fmla="*/ 0 h 6108535"/>
              <a:gd name="connsiteX3" fmla="*/ 6462532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477004"/>
              <a:gd name="connsiteY0" fmla="*/ 3052819 h 6108535"/>
              <a:gd name="connsiteX1" fmla="*/ 3052818 w 6477004"/>
              <a:gd name="connsiteY1" fmla="*/ 1 h 6108535"/>
              <a:gd name="connsiteX2" fmla="*/ 6477004 w 6477004"/>
              <a:gd name="connsiteY2" fmla="*/ 0 h 6108535"/>
              <a:gd name="connsiteX3" fmla="*/ 6323635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326533"/>
              <a:gd name="connsiteY0" fmla="*/ 3052819 h 6108535"/>
              <a:gd name="connsiteX1" fmla="*/ 3052818 w 6326533"/>
              <a:gd name="connsiteY1" fmla="*/ 1 h 6108535"/>
              <a:gd name="connsiteX2" fmla="*/ 6326533 w 6326533"/>
              <a:gd name="connsiteY2" fmla="*/ 0 h 6108535"/>
              <a:gd name="connsiteX3" fmla="*/ 6323635 w 6326533"/>
              <a:gd name="connsiteY3" fmla="*/ 6108535 h 6108535"/>
              <a:gd name="connsiteX4" fmla="*/ 3409714 w 6326533"/>
              <a:gd name="connsiteY4" fmla="*/ 6105637 h 6108535"/>
              <a:gd name="connsiteX5" fmla="*/ 3052818 w 6326533"/>
              <a:gd name="connsiteY5" fmla="*/ 6105637 h 6108535"/>
              <a:gd name="connsiteX6" fmla="*/ 0 w 6326533"/>
              <a:gd name="connsiteY6" fmla="*/ 3052819 h 61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26533" h="6108535">
                <a:moveTo>
                  <a:pt x="0" y="3052819"/>
                </a:moveTo>
                <a:cubicBezTo>
                  <a:pt x="0" y="1366794"/>
                  <a:pt x="1366793" y="1"/>
                  <a:pt x="3052818" y="1"/>
                </a:cubicBezTo>
                <a:lnTo>
                  <a:pt x="6326533" y="0"/>
                </a:lnTo>
                <a:lnTo>
                  <a:pt x="6323635" y="6108535"/>
                </a:lnTo>
                <a:lnTo>
                  <a:pt x="3409714" y="6105637"/>
                </a:lnTo>
                <a:lnTo>
                  <a:pt x="3052818" y="6105637"/>
                </a:lnTo>
                <a:cubicBezTo>
                  <a:pt x="1366793" y="6105637"/>
                  <a:pt x="0" y="4738844"/>
                  <a:pt x="0" y="3052819"/>
                </a:cubicBezTo>
                <a:close/>
              </a:path>
            </a:pathLst>
          </a:custGeom>
          <a:noFill/>
        </p:spPr>
        <p:txBody>
          <a:bodyPr>
            <a:normAutofit/>
          </a:bodyPr>
          <a:lstStyle>
            <a:lvl1pPr marL="0" indent="0">
              <a:buNone/>
              <a:defRPr sz="1800">
                <a:solidFill>
                  <a:schemeClr val="bg1"/>
                </a:solidFill>
              </a:defRPr>
            </a:lvl1pPr>
          </a:lstStyle>
          <a:p>
            <a:r>
              <a:rPr lang="de-DE"/>
              <a:t>Bild durch Klicken auf Symbol hinzufügen</a:t>
            </a:r>
            <a:endParaRPr lang="en-US"/>
          </a:p>
        </p:txBody>
      </p:sp>
      <p:pic>
        <p:nvPicPr>
          <p:cNvPr id="19" name="Picture 18">
            <a:extLst>
              <a:ext uri="{FF2B5EF4-FFF2-40B4-BE49-F238E27FC236}">
                <a16:creationId xmlns="" xmlns:a16="http://schemas.microsoft.com/office/drawing/2014/main" id="{C219044E-3CA3-8043-AF11-ED42DE4ECFF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96047" y="4775449"/>
            <a:ext cx="1468934" cy="88097"/>
          </a:xfrm>
          <a:prstGeom prst="rect">
            <a:avLst/>
          </a:prstGeom>
        </p:spPr>
      </p:pic>
      <p:sp>
        <p:nvSpPr>
          <p:cNvPr id="28" name="Rectangle 27">
            <a:extLst>
              <a:ext uri="{FF2B5EF4-FFF2-40B4-BE49-F238E27FC236}">
                <a16:creationId xmlns="" xmlns:a16="http://schemas.microsoft.com/office/drawing/2014/main" id="{92F9C2FE-7E43-3948-92F0-0CEA804BDBFE}"/>
              </a:ext>
            </a:extLst>
          </p:cNvPr>
          <p:cNvSpPr/>
          <p:nvPr userDrawn="1"/>
        </p:nvSpPr>
        <p:spPr>
          <a:xfrm>
            <a:off x="561754" y="1582693"/>
            <a:ext cx="72900" cy="20303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67" tIns="34289" rIns="68567" bIns="34289" anchor="ctr"/>
          <a:lstStyle/>
          <a:p>
            <a:pPr algn="ctr" defTabSz="685647"/>
            <a:endParaRPr lang="en-US" altLang="en-US" sz="1400">
              <a:solidFill>
                <a:srgbClr val="FFFFFF"/>
              </a:solidFill>
            </a:endParaRPr>
          </a:p>
        </p:txBody>
      </p:sp>
      <p:sp>
        <p:nvSpPr>
          <p:cNvPr id="29" name="Text Placeholder 2">
            <a:extLst>
              <a:ext uri="{FF2B5EF4-FFF2-40B4-BE49-F238E27FC236}">
                <a16:creationId xmlns="" xmlns:a16="http://schemas.microsoft.com/office/drawing/2014/main" id="{8F239D86-1AC3-1D48-9675-22CEFBB263F8}"/>
              </a:ext>
            </a:extLst>
          </p:cNvPr>
          <p:cNvSpPr>
            <a:spLocks noGrp="1"/>
          </p:cNvSpPr>
          <p:nvPr>
            <p:ph type="body" sz="quarter" idx="27" hasCustomPrompt="1"/>
          </p:nvPr>
        </p:nvSpPr>
        <p:spPr>
          <a:xfrm>
            <a:off x="896048" y="2876954"/>
            <a:ext cx="3266049" cy="175501"/>
          </a:xfrm>
          <a:prstGeom prst="rect">
            <a:avLst/>
          </a:prstGeom>
        </p:spPr>
        <p:txBody>
          <a:bodyPr lIns="0" tIns="0" rIns="0" bIns="0">
            <a:noAutofit/>
          </a:bodyPr>
          <a:lstStyle>
            <a:lvl1pPr marL="0" indent="0">
              <a:buNone/>
              <a:defRPr sz="1100" b="0" i="0">
                <a:solidFill>
                  <a:schemeClr val="tx1"/>
                </a:solidFill>
                <a:latin typeface="Calibri" panose="020F0502020204030204" pitchFamily="34" charset="0"/>
                <a:cs typeface="Calibri" panose="020F0502020204030204" pitchFamily="34" charset="0"/>
              </a:defRPr>
            </a:lvl1pPr>
            <a:lvl2pPr marL="342722" indent="0">
              <a:buNone/>
              <a:defRPr sz="1100">
                <a:solidFill>
                  <a:schemeClr val="tx1"/>
                </a:solidFill>
              </a:defRPr>
            </a:lvl2pPr>
            <a:lvl3pPr marL="685459" indent="0">
              <a:buNone/>
              <a:defRPr sz="1100">
                <a:solidFill>
                  <a:schemeClr val="tx1"/>
                </a:solidFill>
              </a:defRPr>
            </a:lvl3pPr>
            <a:lvl4pPr marL="1028184" indent="0">
              <a:buNone/>
              <a:defRPr sz="1100">
                <a:solidFill>
                  <a:schemeClr val="tx1"/>
                </a:solidFill>
              </a:defRPr>
            </a:lvl4pPr>
            <a:lvl5pPr marL="1370912" indent="0">
              <a:buNone/>
              <a:defRPr sz="1100">
                <a:solidFill>
                  <a:schemeClr val="tx1"/>
                </a:solidFill>
              </a:defRPr>
            </a:lvl5pPr>
          </a:lstStyle>
          <a:p>
            <a:pPr lvl="0"/>
            <a:r>
              <a:rPr lang="en-US"/>
              <a:t>Title of Position</a:t>
            </a:r>
          </a:p>
        </p:txBody>
      </p:sp>
      <p:sp>
        <p:nvSpPr>
          <p:cNvPr id="30" name="Text Placeholder 2">
            <a:extLst>
              <a:ext uri="{FF2B5EF4-FFF2-40B4-BE49-F238E27FC236}">
                <a16:creationId xmlns="" xmlns:a16="http://schemas.microsoft.com/office/drawing/2014/main" id="{91BF6710-27B9-2444-8317-2C64F0D30847}"/>
              </a:ext>
            </a:extLst>
          </p:cNvPr>
          <p:cNvSpPr>
            <a:spLocks noGrp="1"/>
          </p:cNvSpPr>
          <p:nvPr>
            <p:ph type="body" sz="quarter" idx="28" hasCustomPrompt="1"/>
          </p:nvPr>
        </p:nvSpPr>
        <p:spPr>
          <a:xfrm>
            <a:off x="896048" y="3071214"/>
            <a:ext cx="3266049" cy="175501"/>
          </a:xfrm>
          <a:prstGeom prst="rect">
            <a:avLst/>
          </a:prstGeom>
        </p:spPr>
        <p:txBody>
          <a:bodyPr lIns="0" tIns="0" rIns="0" bIns="0">
            <a:noAutofit/>
          </a:bodyPr>
          <a:lstStyle>
            <a:lvl1pPr marL="0" indent="0">
              <a:buNone/>
              <a:defRPr sz="1100" b="0" i="0">
                <a:solidFill>
                  <a:schemeClr val="tx1"/>
                </a:solidFill>
                <a:latin typeface="Calibri" panose="020F0502020204030204" pitchFamily="34" charset="0"/>
                <a:cs typeface="Calibri" panose="020F0502020204030204" pitchFamily="34" charset="0"/>
              </a:defRPr>
            </a:lvl1pPr>
            <a:lvl2pPr marL="342722" indent="0">
              <a:buNone/>
              <a:defRPr sz="1100">
                <a:solidFill>
                  <a:schemeClr val="tx1"/>
                </a:solidFill>
              </a:defRPr>
            </a:lvl2pPr>
            <a:lvl3pPr marL="685459" indent="0">
              <a:buNone/>
              <a:defRPr sz="1100">
                <a:solidFill>
                  <a:schemeClr val="tx1"/>
                </a:solidFill>
              </a:defRPr>
            </a:lvl3pPr>
            <a:lvl4pPr marL="1028184" indent="0">
              <a:buNone/>
              <a:defRPr sz="1100">
                <a:solidFill>
                  <a:schemeClr val="tx1"/>
                </a:solidFill>
              </a:defRPr>
            </a:lvl4pPr>
            <a:lvl5pPr marL="1370912" indent="0">
              <a:buNone/>
              <a:defRPr sz="1100">
                <a:solidFill>
                  <a:schemeClr val="tx1"/>
                </a:solidFill>
              </a:defRPr>
            </a:lvl5pPr>
          </a:lstStyle>
          <a:p>
            <a:pPr lvl="0"/>
            <a:r>
              <a:rPr lang="en-US"/>
              <a:t>Department</a:t>
            </a:r>
          </a:p>
        </p:txBody>
      </p:sp>
      <p:sp>
        <p:nvSpPr>
          <p:cNvPr id="31" name="Text Placeholder 2">
            <a:extLst>
              <a:ext uri="{FF2B5EF4-FFF2-40B4-BE49-F238E27FC236}">
                <a16:creationId xmlns="" xmlns:a16="http://schemas.microsoft.com/office/drawing/2014/main" id="{669B2D41-B11D-9D45-B189-F838AC342B07}"/>
              </a:ext>
            </a:extLst>
          </p:cNvPr>
          <p:cNvSpPr>
            <a:spLocks noGrp="1"/>
          </p:cNvSpPr>
          <p:nvPr>
            <p:ph type="body" sz="quarter" idx="29" hasCustomPrompt="1"/>
          </p:nvPr>
        </p:nvSpPr>
        <p:spPr>
          <a:xfrm>
            <a:off x="896048" y="3262080"/>
            <a:ext cx="3266049" cy="175501"/>
          </a:xfrm>
          <a:prstGeom prst="rect">
            <a:avLst/>
          </a:prstGeom>
        </p:spPr>
        <p:txBody>
          <a:bodyPr lIns="0" tIns="0" rIns="0" bIns="0">
            <a:noAutofit/>
          </a:bodyPr>
          <a:lstStyle>
            <a:lvl1pPr marL="0" indent="0">
              <a:buNone/>
              <a:defRPr sz="1100" b="0" i="0">
                <a:solidFill>
                  <a:schemeClr val="tx1"/>
                </a:solidFill>
                <a:latin typeface="Calibri" panose="020F0502020204030204" pitchFamily="34" charset="0"/>
                <a:cs typeface="Calibri" panose="020F0502020204030204" pitchFamily="34" charset="0"/>
              </a:defRPr>
            </a:lvl1pPr>
            <a:lvl2pPr marL="342722" indent="0">
              <a:buNone/>
              <a:defRPr sz="1100">
                <a:solidFill>
                  <a:schemeClr val="tx1"/>
                </a:solidFill>
              </a:defRPr>
            </a:lvl2pPr>
            <a:lvl3pPr marL="685459" indent="0">
              <a:buNone/>
              <a:defRPr sz="1100">
                <a:solidFill>
                  <a:schemeClr val="tx1"/>
                </a:solidFill>
              </a:defRPr>
            </a:lvl3pPr>
            <a:lvl4pPr marL="1028184" indent="0">
              <a:buNone/>
              <a:defRPr sz="1100">
                <a:solidFill>
                  <a:schemeClr val="tx1"/>
                </a:solidFill>
              </a:defRPr>
            </a:lvl4pPr>
            <a:lvl5pPr marL="1370912" indent="0">
              <a:buNone/>
              <a:defRPr sz="1100">
                <a:solidFill>
                  <a:schemeClr val="tx1"/>
                </a:solidFill>
              </a:defRPr>
            </a:lvl5pPr>
          </a:lstStyle>
          <a:p>
            <a:pPr lvl="0"/>
            <a:r>
              <a:rPr lang="en-US"/>
              <a:t>Date</a:t>
            </a:r>
          </a:p>
        </p:txBody>
      </p:sp>
      <p:sp>
        <p:nvSpPr>
          <p:cNvPr id="32" name="Text Placeholder 2">
            <a:extLst>
              <a:ext uri="{FF2B5EF4-FFF2-40B4-BE49-F238E27FC236}">
                <a16:creationId xmlns="" xmlns:a16="http://schemas.microsoft.com/office/drawing/2014/main" id="{D7467C81-9D88-4140-B42C-28DFB5646475}"/>
              </a:ext>
            </a:extLst>
          </p:cNvPr>
          <p:cNvSpPr>
            <a:spLocks noGrp="1"/>
          </p:cNvSpPr>
          <p:nvPr>
            <p:ph type="body" sz="quarter" idx="30" hasCustomPrompt="1"/>
          </p:nvPr>
        </p:nvSpPr>
        <p:spPr>
          <a:xfrm>
            <a:off x="896048" y="2683063"/>
            <a:ext cx="3266049" cy="175501"/>
          </a:xfrm>
          <a:prstGeom prst="rect">
            <a:avLst/>
          </a:prstGeom>
        </p:spPr>
        <p:txBody>
          <a:bodyPr lIns="0" tIns="0" rIns="0" bIns="0">
            <a:noAutofit/>
          </a:bodyPr>
          <a:lstStyle>
            <a:lvl1pPr marL="0" indent="0">
              <a:buNone/>
              <a:defRPr sz="1100" b="0" i="0">
                <a:solidFill>
                  <a:schemeClr val="tx1"/>
                </a:solidFill>
                <a:latin typeface="Calibri" panose="020F0502020204030204" pitchFamily="34" charset="0"/>
                <a:cs typeface="Calibri" panose="020F0502020204030204" pitchFamily="34" charset="0"/>
              </a:defRPr>
            </a:lvl1pPr>
            <a:lvl2pPr marL="342722" indent="0">
              <a:buNone/>
              <a:defRPr sz="1100">
                <a:solidFill>
                  <a:schemeClr val="tx1"/>
                </a:solidFill>
              </a:defRPr>
            </a:lvl2pPr>
            <a:lvl3pPr marL="685459" indent="0">
              <a:buNone/>
              <a:defRPr sz="1100">
                <a:solidFill>
                  <a:schemeClr val="tx1"/>
                </a:solidFill>
              </a:defRPr>
            </a:lvl3pPr>
            <a:lvl4pPr marL="1028184" indent="0">
              <a:buNone/>
              <a:defRPr sz="1100">
                <a:solidFill>
                  <a:schemeClr val="tx1"/>
                </a:solidFill>
              </a:defRPr>
            </a:lvl4pPr>
            <a:lvl5pPr marL="1370912" indent="0">
              <a:buNone/>
              <a:defRPr sz="1100">
                <a:solidFill>
                  <a:schemeClr val="tx1"/>
                </a:solidFill>
              </a:defRPr>
            </a:lvl5pPr>
          </a:lstStyle>
          <a:p>
            <a:pPr lvl="0"/>
            <a:r>
              <a:rPr lang="en-US"/>
              <a:t>Presenter Name</a:t>
            </a:r>
          </a:p>
        </p:txBody>
      </p:sp>
    </p:spTree>
    <p:extLst>
      <p:ext uri="{BB962C8B-B14F-4D97-AF65-F5344CB8AC3E}">
        <p14:creationId xmlns:p14="http://schemas.microsoft.com/office/powerpoint/2010/main" val="2766817579"/>
      </p:ext>
    </p:extLst>
  </p:cSld>
  <p:clrMapOvr>
    <a:masterClrMapping/>
  </p:clrMapOvr>
  <p:transition spd="slow">
    <p:push dir="u"/>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Title Page 2 ">
    <p:spTree>
      <p:nvGrpSpPr>
        <p:cNvPr id="1" name=""/>
        <p:cNvGrpSpPr/>
        <p:nvPr/>
      </p:nvGrpSpPr>
      <p:grpSpPr>
        <a:xfrm>
          <a:off x="0" y="0"/>
          <a:ext cx="0" cy="0"/>
          <a:chOff x="0" y="0"/>
          <a:chExt cx="0" cy="0"/>
        </a:xfrm>
      </p:grpSpPr>
      <p:sp>
        <p:nvSpPr>
          <p:cNvPr id="33" name="Title 1">
            <a:extLst>
              <a:ext uri="{FF2B5EF4-FFF2-40B4-BE49-F238E27FC236}">
                <a16:creationId xmlns="" xmlns:a16="http://schemas.microsoft.com/office/drawing/2014/main" id="{E02383DA-65B3-044E-9E1B-2CC00A0B1CC6}"/>
              </a:ext>
            </a:extLst>
          </p:cNvPr>
          <p:cNvSpPr>
            <a:spLocks noGrp="1"/>
          </p:cNvSpPr>
          <p:nvPr>
            <p:ph type="ctrTitle" hasCustomPrompt="1"/>
          </p:nvPr>
        </p:nvSpPr>
        <p:spPr>
          <a:xfrm>
            <a:off x="896049" y="1727282"/>
            <a:ext cx="5146613" cy="844477"/>
          </a:xfrm>
          <a:prstGeom prst="rect">
            <a:avLst/>
          </a:prstGeom>
        </p:spPr>
        <p:txBody>
          <a:bodyPr wrap="square" lIns="0" tIns="0" rIns="0" bIns="0" anchor="t" anchorCtr="0">
            <a:normAutofit/>
          </a:bodyPr>
          <a:lstStyle>
            <a:lvl1pPr>
              <a:lnSpc>
                <a:spcPts val="2850"/>
              </a:lnSpc>
              <a:defRPr sz="27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8" name="Rectangle 27">
            <a:extLst>
              <a:ext uri="{FF2B5EF4-FFF2-40B4-BE49-F238E27FC236}">
                <a16:creationId xmlns="" xmlns:a16="http://schemas.microsoft.com/office/drawing/2014/main" id="{92F9C2FE-7E43-3948-92F0-0CEA804BDBFE}"/>
              </a:ext>
            </a:extLst>
          </p:cNvPr>
          <p:cNvSpPr/>
          <p:nvPr userDrawn="1"/>
        </p:nvSpPr>
        <p:spPr>
          <a:xfrm>
            <a:off x="561754" y="1582693"/>
            <a:ext cx="72900" cy="20303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67" tIns="34289" rIns="68567" bIns="34289" anchor="ctr"/>
          <a:lstStyle/>
          <a:p>
            <a:pPr algn="ctr" defTabSz="685647"/>
            <a:endParaRPr lang="en-US" altLang="en-US" sz="1400">
              <a:solidFill>
                <a:srgbClr val="FFFFFF"/>
              </a:solidFill>
            </a:endParaRPr>
          </a:p>
        </p:txBody>
      </p:sp>
      <p:sp>
        <p:nvSpPr>
          <p:cNvPr id="29" name="Text Placeholder 2">
            <a:extLst>
              <a:ext uri="{FF2B5EF4-FFF2-40B4-BE49-F238E27FC236}">
                <a16:creationId xmlns="" xmlns:a16="http://schemas.microsoft.com/office/drawing/2014/main" id="{8F239D86-1AC3-1D48-9675-22CEFBB263F8}"/>
              </a:ext>
            </a:extLst>
          </p:cNvPr>
          <p:cNvSpPr>
            <a:spLocks noGrp="1"/>
          </p:cNvSpPr>
          <p:nvPr>
            <p:ph type="body" sz="quarter" idx="27" hasCustomPrompt="1"/>
          </p:nvPr>
        </p:nvSpPr>
        <p:spPr>
          <a:xfrm>
            <a:off x="896049" y="2876947"/>
            <a:ext cx="5146613" cy="197306"/>
          </a:xfrm>
          <a:prstGeom prst="rect">
            <a:avLst/>
          </a:prstGeom>
        </p:spPr>
        <p:txBody>
          <a:bodyPr lIns="0" tIns="0" rIns="0" bIns="0">
            <a:noAutofit/>
          </a:bodyPr>
          <a:lstStyle>
            <a:lvl1pPr marL="0" indent="0">
              <a:buNone/>
              <a:defRPr sz="1100" b="0" i="0">
                <a:solidFill>
                  <a:schemeClr val="tx1"/>
                </a:solidFill>
                <a:latin typeface="Calibri" panose="020F0502020204030204" pitchFamily="34" charset="0"/>
                <a:cs typeface="Calibri" panose="020F0502020204030204" pitchFamily="34" charset="0"/>
              </a:defRPr>
            </a:lvl1pPr>
            <a:lvl2pPr marL="342722" indent="0">
              <a:buNone/>
              <a:defRPr sz="1100">
                <a:solidFill>
                  <a:schemeClr val="tx1"/>
                </a:solidFill>
              </a:defRPr>
            </a:lvl2pPr>
            <a:lvl3pPr marL="685459" indent="0">
              <a:buNone/>
              <a:defRPr sz="1100">
                <a:solidFill>
                  <a:schemeClr val="tx1"/>
                </a:solidFill>
              </a:defRPr>
            </a:lvl3pPr>
            <a:lvl4pPr marL="1028184" indent="0">
              <a:buNone/>
              <a:defRPr sz="1100">
                <a:solidFill>
                  <a:schemeClr val="tx1"/>
                </a:solidFill>
              </a:defRPr>
            </a:lvl4pPr>
            <a:lvl5pPr marL="1370912" indent="0">
              <a:buNone/>
              <a:defRPr sz="1100">
                <a:solidFill>
                  <a:schemeClr val="tx1"/>
                </a:solidFill>
              </a:defRPr>
            </a:lvl5pPr>
          </a:lstStyle>
          <a:p>
            <a:pPr lvl="0"/>
            <a:r>
              <a:rPr lang="en-US"/>
              <a:t>Title of Position</a:t>
            </a:r>
          </a:p>
        </p:txBody>
      </p:sp>
      <p:sp>
        <p:nvSpPr>
          <p:cNvPr id="30" name="Text Placeholder 2">
            <a:extLst>
              <a:ext uri="{FF2B5EF4-FFF2-40B4-BE49-F238E27FC236}">
                <a16:creationId xmlns="" xmlns:a16="http://schemas.microsoft.com/office/drawing/2014/main" id="{91BF6710-27B9-2444-8317-2C64F0D30847}"/>
              </a:ext>
            </a:extLst>
          </p:cNvPr>
          <p:cNvSpPr>
            <a:spLocks noGrp="1"/>
          </p:cNvSpPr>
          <p:nvPr>
            <p:ph type="body" sz="quarter" idx="28" hasCustomPrompt="1"/>
          </p:nvPr>
        </p:nvSpPr>
        <p:spPr>
          <a:xfrm>
            <a:off x="896049" y="3071206"/>
            <a:ext cx="5146613" cy="197306"/>
          </a:xfrm>
          <a:prstGeom prst="rect">
            <a:avLst/>
          </a:prstGeom>
        </p:spPr>
        <p:txBody>
          <a:bodyPr lIns="0" tIns="0" rIns="0" bIns="0">
            <a:noAutofit/>
          </a:bodyPr>
          <a:lstStyle>
            <a:lvl1pPr marL="0" indent="0">
              <a:buNone/>
              <a:defRPr sz="1100" b="0" i="0">
                <a:solidFill>
                  <a:schemeClr val="tx1"/>
                </a:solidFill>
                <a:latin typeface="Calibri" panose="020F0502020204030204" pitchFamily="34" charset="0"/>
                <a:cs typeface="Calibri" panose="020F0502020204030204" pitchFamily="34" charset="0"/>
              </a:defRPr>
            </a:lvl1pPr>
            <a:lvl2pPr marL="342722" indent="0">
              <a:buNone/>
              <a:defRPr sz="1100">
                <a:solidFill>
                  <a:schemeClr val="tx1"/>
                </a:solidFill>
              </a:defRPr>
            </a:lvl2pPr>
            <a:lvl3pPr marL="685459" indent="0">
              <a:buNone/>
              <a:defRPr sz="1100">
                <a:solidFill>
                  <a:schemeClr val="tx1"/>
                </a:solidFill>
              </a:defRPr>
            </a:lvl3pPr>
            <a:lvl4pPr marL="1028184" indent="0">
              <a:buNone/>
              <a:defRPr sz="1100">
                <a:solidFill>
                  <a:schemeClr val="tx1"/>
                </a:solidFill>
              </a:defRPr>
            </a:lvl4pPr>
            <a:lvl5pPr marL="1370912" indent="0">
              <a:buNone/>
              <a:defRPr sz="1100">
                <a:solidFill>
                  <a:schemeClr val="tx1"/>
                </a:solidFill>
              </a:defRPr>
            </a:lvl5pPr>
          </a:lstStyle>
          <a:p>
            <a:pPr lvl="0"/>
            <a:r>
              <a:rPr lang="en-US"/>
              <a:t>Department</a:t>
            </a:r>
          </a:p>
        </p:txBody>
      </p:sp>
      <p:sp>
        <p:nvSpPr>
          <p:cNvPr id="31" name="Text Placeholder 2">
            <a:extLst>
              <a:ext uri="{FF2B5EF4-FFF2-40B4-BE49-F238E27FC236}">
                <a16:creationId xmlns="" xmlns:a16="http://schemas.microsoft.com/office/drawing/2014/main" id="{669B2D41-B11D-9D45-B189-F838AC342B07}"/>
              </a:ext>
            </a:extLst>
          </p:cNvPr>
          <p:cNvSpPr>
            <a:spLocks noGrp="1"/>
          </p:cNvSpPr>
          <p:nvPr>
            <p:ph type="body" sz="quarter" idx="29" hasCustomPrompt="1"/>
          </p:nvPr>
        </p:nvSpPr>
        <p:spPr>
          <a:xfrm>
            <a:off x="896049" y="3262072"/>
            <a:ext cx="5146613" cy="197306"/>
          </a:xfrm>
          <a:prstGeom prst="rect">
            <a:avLst/>
          </a:prstGeom>
        </p:spPr>
        <p:txBody>
          <a:bodyPr lIns="0" tIns="0" rIns="0" bIns="0">
            <a:noAutofit/>
          </a:bodyPr>
          <a:lstStyle>
            <a:lvl1pPr marL="0" indent="0">
              <a:buNone/>
              <a:defRPr sz="1100" b="0" i="0">
                <a:solidFill>
                  <a:schemeClr val="tx1"/>
                </a:solidFill>
                <a:latin typeface="Calibri" panose="020F0502020204030204" pitchFamily="34" charset="0"/>
                <a:cs typeface="Calibri" panose="020F0502020204030204" pitchFamily="34" charset="0"/>
              </a:defRPr>
            </a:lvl1pPr>
            <a:lvl2pPr marL="342722" indent="0">
              <a:buNone/>
              <a:defRPr sz="1100">
                <a:solidFill>
                  <a:schemeClr val="tx1"/>
                </a:solidFill>
              </a:defRPr>
            </a:lvl2pPr>
            <a:lvl3pPr marL="685459" indent="0">
              <a:buNone/>
              <a:defRPr sz="1100">
                <a:solidFill>
                  <a:schemeClr val="tx1"/>
                </a:solidFill>
              </a:defRPr>
            </a:lvl3pPr>
            <a:lvl4pPr marL="1028184" indent="0">
              <a:buNone/>
              <a:defRPr sz="1100">
                <a:solidFill>
                  <a:schemeClr val="tx1"/>
                </a:solidFill>
              </a:defRPr>
            </a:lvl4pPr>
            <a:lvl5pPr marL="1370912" indent="0">
              <a:buNone/>
              <a:defRPr sz="1100">
                <a:solidFill>
                  <a:schemeClr val="tx1"/>
                </a:solidFill>
              </a:defRPr>
            </a:lvl5pPr>
          </a:lstStyle>
          <a:p>
            <a:pPr lvl="0"/>
            <a:r>
              <a:rPr lang="en-US"/>
              <a:t>Date</a:t>
            </a:r>
          </a:p>
        </p:txBody>
      </p:sp>
      <p:sp>
        <p:nvSpPr>
          <p:cNvPr id="32" name="Text Placeholder 2">
            <a:extLst>
              <a:ext uri="{FF2B5EF4-FFF2-40B4-BE49-F238E27FC236}">
                <a16:creationId xmlns="" xmlns:a16="http://schemas.microsoft.com/office/drawing/2014/main" id="{D7467C81-9D88-4140-B42C-28DFB5646475}"/>
              </a:ext>
            </a:extLst>
          </p:cNvPr>
          <p:cNvSpPr>
            <a:spLocks noGrp="1"/>
          </p:cNvSpPr>
          <p:nvPr>
            <p:ph type="body" sz="quarter" idx="30" hasCustomPrompt="1"/>
          </p:nvPr>
        </p:nvSpPr>
        <p:spPr>
          <a:xfrm>
            <a:off x="896049" y="2683054"/>
            <a:ext cx="5146613" cy="197306"/>
          </a:xfrm>
          <a:prstGeom prst="rect">
            <a:avLst/>
          </a:prstGeom>
        </p:spPr>
        <p:txBody>
          <a:bodyPr lIns="0" tIns="0" rIns="0" bIns="0">
            <a:noAutofit/>
          </a:bodyPr>
          <a:lstStyle>
            <a:lvl1pPr marL="0" indent="0">
              <a:buNone/>
              <a:defRPr sz="1100" b="0" i="0">
                <a:solidFill>
                  <a:schemeClr val="tx1"/>
                </a:solidFill>
                <a:latin typeface="Calibri" panose="020F0502020204030204" pitchFamily="34" charset="0"/>
                <a:cs typeface="Calibri" panose="020F0502020204030204" pitchFamily="34" charset="0"/>
              </a:defRPr>
            </a:lvl1pPr>
            <a:lvl2pPr marL="342722" indent="0">
              <a:buNone/>
              <a:defRPr sz="1100">
                <a:solidFill>
                  <a:schemeClr val="tx1"/>
                </a:solidFill>
              </a:defRPr>
            </a:lvl2pPr>
            <a:lvl3pPr marL="685459" indent="0">
              <a:buNone/>
              <a:defRPr sz="1100">
                <a:solidFill>
                  <a:schemeClr val="tx1"/>
                </a:solidFill>
              </a:defRPr>
            </a:lvl3pPr>
            <a:lvl4pPr marL="1028184" indent="0">
              <a:buNone/>
              <a:defRPr sz="1100">
                <a:solidFill>
                  <a:schemeClr val="tx1"/>
                </a:solidFill>
              </a:defRPr>
            </a:lvl4pPr>
            <a:lvl5pPr marL="1370912" indent="0">
              <a:buNone/>
              <a:defRPr sz="1100">
                <a:solidFill>
                  <a:schemeClr val="tx1"/>
                </a:solidFill>
              </a:defRPr>
            </a:lvl5pPr>
          </a:lstStyle>
          <a:p>
            <a:pPr lvl="0"/>
            <a:r>
              <a:rPr lang="en-US"/>
              <a:t>Presenter Name</a:t>
            </a:r>
          </a:p>
        </p:txBody>
      </p:sp>
      <p:pic>
        <p:nvPicPr>
          <p:cNvPr id="12" name="Picture 11">
            <a:extLst>
              <a:ext uri="{FF2B5EF4-FFF2-40B4-BE49-F238E27FC236}">
                <a16:creationId xmlns="" xmlns:a16="http://schemas.microsoft.com/office/drawing/2014/main" id="{16819C41-2A79-B54D-9C44-C619DA694E6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178941" y="4768467"/>
            <a:ext cx="1468934" cy="88097"/>
          </a:xfrm>
          <a:prstGeom prst="rect">
            <a:avLst/>
          </a:prstGeom>
        </p:spPr>
      </p:pic>
    </p:spTree>
    <p:extLst>
      <p:ext uri="{BB962C8B-B14F-4D97-AF65-F5344CB8AC3E}">
        <p14:creationId xmlns:p14="http://schemas.microsoft.com/office/powerpoint/2010/main" val="3116685551"/>
      </p:ext>
    </p:extLst>
  </p:cSld>
  <p:clrMapOvr>
    <a:masterClrMapping/>
  </p:clrMapOvr>
  <p:transition spd="slow">
    <p:push dir="u"/>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800" y="1598850"/>
            <a:ext cx="7772400" cy="1102519"/>
          </a:xfrm>
        </p:spPr>
        <p:txBody>
          <a:bodyPr/>
          <a:lstStyle/>
          <a:p>
            <a:r>
              <a:rPr lang="es-ES"/>
              <a:t>Haga clic para modificar el estilo de título del patrón</a:t>
            </a:r>
          </a:p>
        </p:txBody>
      </p:sp>
      <p:sp>
        <p:nvSpPr>
          <p:cNvPr id="3" name="2 Subtítulo"/>
          <p:cNvSpPr>
            <a:spLocks noGrp="1"/>
          </p:cNvSpPr>
          <p:nvPr>
            <p:ph type="subTitle" idx="1"/>
          </p:nvPr>
        </p:nvSpPr>
        <p:spPr>
          <a:xfrm>
            <a:off x="1371600" y="2914653"/>
            <a:ext cx="6400800" cy="1314450"/>
          </a:xfrm>
        </p:spPr>
        <p:txBody>
          <a:bodyPr/>
          <a:lstStyle>
            <a:lvl1pPr marL="0" indent="0" algn="ctr">
              <a:buNone/>
              <a:defRPr>
                <a:solidFill>
                  <a:schemeClr val="tx1">
                    <a:tint val="75000"/>
                  </a:schemeClr>
                </a:solidFill>
              </a:defRPr>
            </a:lvl1pPr>
            <a:lvl2pPr marL="448575" indent="0" algn="ctr">
              <a:buNone/>
              <a:defRPr>
                <a:solidFill>
                  <a:schemeClr val="tx1">
                    <a:tint val="75000"/>
                  </a:schemeClr>
                </a:solidFill>
              </a:defRPr>
            </a:lvl2pPr>
            <a:lvl3pPr marL="897136" indent="0" algn="ctr">
              <a:buNone/>
              <a:defRPr>
                <a:solidFill>
                  <a:schemeClr val="tx1">
                    <a:tint val="75000"/>
                  </a:schemeClr>
                </a:solidFill>
              </a:defRPr>
            </a:lvl3pPr>
            <a:lvl4pPr marL="1345700" indent="0" algn="ctr">
              <a:buNone/>
              <a:defRPr>
                <a:solidFill>
                  <a:schemeClr val="tx1">
                    <a:tint val="75000"/>
                  </a:schemeClr>
                </a:solidFill>
              </a:defRPr>
            </a:lvl4pPr>
            <a:lvl5pPr marL="1794279" indent="0" algn="ctr">
              <a:buNone/>
              <a:defRPr>
                <a:solidFill>
                  <a:schemeClr val="tx1">
                    <a:tint val="75000"/>
                  </a:schemeClr>
                </a:solidFill>
              </a:defRPr>
            </a:lvl5pPr>
            <a:lvl6pPr marL="2242845" indent="0" algn="ctr">
              <a:buNone/>
              <a:defRPr>
                <a:solidFill>
                  <a:schemeClr val="tx1">
                    <a:tint val="75000"/>
                  </a:schemeClr>
                </a:solidFill>
              </a:defRPr>
            </a:lvl6pPr>
            <a:lvl7pPr marL="2691413" indent="0" algn="ctr">
              <a:buNone/>
              <a:defRPr>
                <a:solidFill>
                  <a:schemeClr val="tx1">
                    <a:tint val="75000"/>
                  </a:schemeClr>
                </a:solidFill>
              </a:defRPr>
            </a:lvl7pPr>
            <a:lvl8pPr marL="3139987" indent="0" algn="ctr">
              <a:buNone/>
              <a:defRPr>
                <a:solidFill>
                  <a:schemeClr val="tx1">
                    <a:tint val="75000"/>
                  </a:schemeClr>
                </a:solidFill>
              </a:defRPr>
            </a:lvl8pPr>
            <a:lvl9pPr marL="3588554" indent="0" algn="ctr">
              <a:buNone/>
              <a:defRPr>
                <a:solidFill>
                  <a:schemeClr val="tx1">
                    <a:tint val="75000"/>
                  </a:schemeClr>
                </a:solidFill>
              </a:defRPr>
            </a:lvl9pPr>
          </a:lstStyle>
          <a:p>
            <a:r>
              <a:rPr lang="es-ES"/>
              <a:t>Haga clic para modificar el estilo de subtítulo del patrón</a:t>
            </a:r>
          </a:p>
        </p:txBody>
      </p:sp>
      <p:sp>
        <p:nvSpPr>
          <p:cNvPr id="5" name="4 Marcador de pie de página"/>
          <p:cNvSpPr>
            <a:spLocks noGrp="1"/>
          </p:cNvSpPr>
          <p:nvPr>
            <p:ph type="ftr" sz="quarter" idx="11"/>
          </p:nvPr>
        </p:nvSpPr>
        <p:spPr/>
        <p:txBody>
          <a:bodyPr/>
          <a:lstStyle>
            <a:lvl1pPr>
              <a:defRPr b="1"/>
            </a:lvl1pPr>
          </a:lstStyle>
          <a:p>
            <a:pPr>
              <a:defRPr/>
            </a:pPr>
            <a:r>
              <a:rPr lang="es-AR"/>
              <a:t>Presentación dirigida a profesionales de la salud - </a:t>
            </a:r>
            <a:r>
              <a:rPr lang="en-GB"/>
              <a:t>SPAR.OTHE.20.04.0086 - 2.1</a:t>
            </a:r>
            <a:endParaRPr lang="es-AR"/>
          </a:p>
          <a:p>
            <a:pPr>
              <a:defRPr/>
            </a:pPr>
            <a:endParaRPr lang="es-ES"/>
          </a:p>
        </p:txBody>
      </p:sp>
      <p:sp>
        <p:nvSpPr>
          <p:cNvPr id="6" name="5 Marcador de número de diapositiva"/>
          <p:cNvSpPr>
            <a:spLocks noGrp="1"/>
          </p:cNvSpPr>
          <p:nvPr>
            <p:ph type="sldNum" sz="quarter" idx="12"/>
          </p:nvPr>
        </p:nvSpPr>
        <p:spPr/>
        <p:txBody>
          <a:bodyPr/>
          <a:lstStyle>
            <a:lvl1pPr>
              <a:defRPr b="1"/>
            </a:lvl1pPr>
          </a:lstStyle>
          <a:p>
            <a:pPr>
              <a:defRPr/>
            </a:pPr>
            <a:fld id="{6C732D64-44EA-40AF-9D46-995CAEF5B6A7}" type="slidenum">
              <a:rPr lang="es-ES"/>
              <a:pPr>
                <a:defRPr/>
              </a:pPr>
              <a:t>‹Nº›</a:t>
            </a:fld>
            <a:endParaRPr lang="es-ES"/>
          </a:p>
        </p:txBody>
      </p:sp>
    </p:spTree>
    <p:extLst>
      <p:ext uri="{BB962C8B-B14F-4D97-AF65-F5344CB8AC3E}">
        <p14:creationId xmlns:p14="http://schemas.microsoft.com/office/powerpoint/2010/main" val="618606415"/>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tandard 1-Column Text">
    <p:spTree>
      <p:nvGrpSpPr>
        <p:cNvPr id="1" name=""/>
        <p:cNvGrpSpPr/>
        <p:nvPr/>
      </p:nvGrpSpPr>
      <p:grpSpPr>
        <a:xfrm>
          <a:off x="0" y="0"/>
          <a:ext cx="0" cy="0"/>
          <a:chOff x="0" y="0"/>
          <a:chExt cx="0" cy="0"/>
        </a:xfrm>
      </p:grpSpPr>
      <p:sp>
        <p:nvSpPr>
          <p:cNvPr id="12" name="Text Placeholder 6">
            <a:extLst>
              <a:ext uri="{FF2B5EF4-FFF2-40B4-BE49-F238E27FC236}">
                <a16:creationId xmlns="" xmlns:a16="http://schemas.microsoft.com/office/drawing/2014/main" id="{FD2406EE-A554-5348-AE6D-4D8B343E6201}"/>
              </a:ext>
            </a:extLst>
          </p:cNvPr>
          <p:cNvSpPr>
            <a:spLocks noGrp="1"/>
          </p:cNvSpPr>
          <p:nvPr>
            <p:ph type="body" sz="quarter" idx="15" hasCustomPrompt="1"/>
          </p:nvPr>
        </p:nvSpPr>
        <p:spPr>
          <a:xfrm>
            <a:off x="233363" y="826793"/>
            <a:ext cx="8677275" cy="3996643"/>
          </a:xfrm>
          <a:prstGeom prst="rect">
            <a:avLst/>
          </a:prstGeom>
        </p:spPr>
        <p:txBody>
          <a:bodyPr tIns="0" rIns="0" bIns="0" numCol="1">
            <a:normAutofit/>
          </a:bodyPr>
          <a:lstStyle>
            <a:lvl1pPr marL="0" indent="0">
              <a:lnSpc>
                <a:spcPct val="100000"/>
              </a:lnSpc>
              <a:spcBef>
                <a:spcPts val="0"/>
              </a:spcBef>
              <a:spcAft>
                <a:spcPts val="450"/>
              </a:spcAft>
              <a:buFont typeface="Arial" panose="020B0604020202020204" pitchFamily="34" charset="0"/>
              <a:buNone/>
              <a:defRPr sz="1200" b="0">
                <a:solidFill>
                  <a:schemeClr val="tx1"/>
                </a:solidFill>
              </a:defRPr>
            </a:lvl1pPr>
            <a:lvl2pPr marL="342722" indent="0">
              <a:lnSpc>
                <a:spcPts val="1350"/>
              </a:lnSpc>
              <a:spcBef>
                <a:spcPts val="0"/>
              </a:spcBef>
              <a:buNone/>
              <a:defRPr sz="1100"/>
            </a:lvl2pPr>
            <a:lvl3pPr marL="685459" indent="0">
              <a:lnSpc>
                <a:spcPts val="1350"/>
              </a:lnSpc>
              <a:spcBef>
                <a:spcPts val="0"/>
              </a:spcBef>
              <a:buNone/>
              <a:defRPr sz="1100"/>
            </a:lvl3pPr>
            <a:lvl4pPr marL="1028184" indent="0">
              <a:lnSpc>
                <a:spcPts val="1350"/>
              </a:lnSpc>
              <a:spcBef>
                <a:spcPts val="0"/>
              </a:spcBef>
              <a:buNone/>
              <a:defRPr sz="1100"/>
            </a:lvl4pPr>
            <a:lvl5pPr marL="1370912" indent="0">
              <a:lnSpc>
                <a:spcPts val="1350"/>
              </a:lnSpc>
              <a:spcBef>
                <a:spcPts val="0"/>
              </a:spcBef>
              <a:buNone/>
              <a:defRPr sz="1100"/>
            </a:lvl5pPr>
          </a:lstStyle>
          <a:p>
            <a:pPr lvl="0"/>
            <a:r>
              <a:rPr lang="en-US"/>
              <a:t>This is a one-column layout. Click to add content</a:t>
            </a:r>
          </a:p>
        </p:txBody>
      </p:sp>
      <p:sp>
        <p:nvSpPr>
          <p:cNvPr id="22" name="タイトル プレースホルダ 1">
            <a:extLst>
              <a:ext uri="{FF2B5EF4-FFF2-40B4-BE49-F238E27FC236}">
                <a16:creationId xmlns="" xmlns:a16="http://schemas.microsoft.com/office/drawing/2014/main" id="{86D2E5B8-9E2B-DB46-A55A-5F26569C4F99}"/>
              </a:ext>
            </a:extLst>
          </p:cNvPr>
          <p:cNvSpPr>
            <a:spLocks noGrp="1"/>
          </p:cNvSpPr>
          <p:nvPr>
            <p:ph type="title" hasCustomPrompt="1"/>
          </p:nvPr>
        </p:nvSpPr>
        <p:spPr>
          <a:xfrm>
            <a:off x="454559" y="121208"/>
            <a:ext cx="7455190" cy="51435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a:extLst>
              <a:ext uri="{FF2B5EF4-FFF2-40B4-BE49-F238E27FC236}">
                <a16:creationId xmlns="" xmlns:a16="http://schemas.microsoft.com/office/drawing/2014/main" id="{51A4825E-63A1-564F-BC3A-FBC167ECE5EB}"/>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3905"/>
            <a:fld id="{E9B57936-92EF-4126-AE48-1D9D36D15E98}" type="slidenum">
              <a:rPr lang="ja-JP" altLang="en-US" smtClean="0">
                <a:solidFill>
                  <a:srgbClr val="34373F"/>
                </a:solidFill>
              </a:rPr>
              <a:pPr defTabSz="913905"/>
              <a:t>‹Nº›</a:t>
            </a:fld>
            <a:endParaRPr lang="ja-JP" altLang="en-US">
              <a:solidFill>
                <a:srgbClr val="34373F"/>
              </a:solidFill>
            </a:endParaRPr>
          </a:p>
        </p:txBody>
      </p:sp>
      <p:sp>
        <p:nvSpPr>
          <p:cNvPr id="21" name="Rectangle 20">
            <a:extLst>
              <a:ext uri="{FF2B5EF4-FFF2-40B4-BE49-F238E27FC236}">
                <a16:creationId xmlns="" xmlns:a16="http://schemas.microsoft.com/office/drawing/2014/main" id="{FCF9CDB0-5730-E246-B31F-F5963CF8EFDC}"/>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67" tIns="34289" rIns="68567" bIns="34289" rtlCol="0" anchor="ctr"/>
          <a:lstStyle/>
          <a:p>
            <a:pPr algn="ctr" defTabSz="685647"/>
            <a:endParaRPr kumimoji="1" lang="x-none" sz="1400">
              <a:solidFill>
                <a:srgbClr val="E1242A"/>
              </a:solidFill>
            </a:endParaRPr>
          </a:p>
        </p:txBody>
      </p:sp>
      <p:pic>
        <p:nvPicPr>
          <p:cNvPr id="9" name="Picture 8">
            <a:extLst>
              <a:ext uri="{FF2B5EF4-FFF2-40B4-BE49-F238E27FC236}">
                <a16:creationId xmlns="" xmlns:a16="http://schemas.microsoft.com/office/drawing/2014/main" id="{2F85A9C0-408D-409A-9C66-EC94F1A7CAE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937746" y="4604928"/>
            <a:ext cx="1008126" cy="603504"/>
          </a:xfrm>
          <a:prstGeom prst="rect">
            <a:avLst/>
          </a:prstGeom>
        </p:spPr>
      </p:pic>
      <p:pic>
        <p:nvPicPr>
          <p:cNvPr id="11" name="Picture 12" descr="Takeda_Logo_Pos_RGB.emf">
            <a:extLst>
              <a:ext uri="{FF2B5EF4-FFF2-40B4-BE49-F238E27FC236}">
                <a16:creationId xmlns="" xmlns:a16="http://schemas.microsoft.com/office/drawing/2014/main" id="{D1FC7823-0381-4A75-A618-7FD9A985CE9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7975658" y="233604"/>
            <a:ext cx="772806" cy="259904"/>
          </a:xfrm>
          <a:prstGeom prst="rect">
            <a:avLst/>
          </a:prstGeom>
          <a:noFill/>
          <a:ln w="9525">
            <a:noFill/>
            <a:miter lim="800000"/>
            <a:headEnd/>
            <a:tailEnd/>
          </a:ln>
        </p:spPr>
      </p:pic>
    </p:spTree>
    <p:extLst>
      <p:ext uri="{BB962C8B-B14F-4D97-AF65-F5344CB8AC3E}">
        <p14:creationId xmlns:p14="http://schemas.microsoft.com/office/powerpoint/2010/main" val="2276865070"/>
      </p:ext>
    </p:extLst>
  </p:cSld>
  <p:clrMapOvr>
    <a:masterClrMapping/>
  </p:clrMapOvr>
  <p:transition spd="slow">
    <p:push dir="u"/>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tandard 2-Column Text">
    <p:spTree>
      <p:nvGrpSpPr>
        <p:cNvPr id="1" name=""/>
        <p:cNvGrpSpPr/>
        <p:nvPr/>
      </p:nvGrpSpPr>
      <p:grpSpPr>
        <a:xfrm>
          <a:off x="0" y="0"/>
          <a:ext cx="0" cy="0"/>
          <a:chOff x="0" y="0"/>
          <a:chExt cx="0" cy="0"/>
        </a:xfrm>
      </p:grpSpPr>
      <p:sp>
        <p:nvSpPr>
          <p:cNvPr id="12" name="Text Placeholder 6">
            <a:extLst>
              <a:ext uri="{FF2B5EF4-FFF2-40B4-BE49-F238E27FC236}">
                <a16:creationId xmlns="" xmlns:a16="http://schemas.microsoft.com/office/drawing/2014/main" id="{FD2406EE-A554-5348-AE6D-4D8B343E6201}"/>
              </a:ext>
            </a:extLst>
          </p:cNvPr>
          <p:cNvSpPr>
            <a:spLocks noGrp="1"/>
          </p:cNvSpPr>
          <p:nvPr>
            <p:ph type="body" sz="quarter" idx="15" hasCustomPrompt="1"/>
          </p:nvPr>
        </p:nvSpPr>
        <p:spPr>
          <a:xfrm>
            <a:off x="233363" y="826793"/>
            <a:ext cx="8677275" cy="3996643"/>
          </a:xfrm>
          <a:prstGeom prst="rect">
            <a:avLst/>
          </a:prstGeom>
        </p:spPr>
        <p:txBody>
          <a:bodyPr tIns="0" rIns="0" bIns="0" numCol="2" spcCol="404910">
            <a:normAutofit/>
          </a:bodyPr>
          <a:lstStyle>
            <a:lvl1pPr marL="0" indent="0">
              <a:lnSpc>
                <a:spcPct val="100000"/>
              </a:lnSpc>
              <a:spcBef>
                <a:spcPts val="0"/>
              </a:spcBef>
              <a:spcAft>
                <a:spcPts val="450"/>
              </a:spcAft>
              <a:buFont typeface="Arial" panose="020B0604020202020204" pitchFamily="34" charset="0"/>
              <a:buNone/>
              <a:defRPr sz="1200" b="0">
                <a:solidFill>
                  <a:schemeClr val="tx1"/>
                </a:solidFill>
              </a:defRPr>
            </a:lvl1pPr>
            <a:lvl2pPr marL="342722" indent="0">
              <a:lnSpc>
                <a:spcPts val="1350"/>
              </a:lnSpc>
              <a:spcBef>
                <a:spcPts val="0"/>
              </a:spcBef>
              <a:buNone/>
              <a:defRPr sz="1100"/>
            </a:lvl2pPr>
            <a:lvl3pPr marL="685459" indent="0">
              <a:lnSpc>
                <a:spcPts val="1350"/>
              </a:lnSpc>
              <a:spcBef>
                <a:spcPts val="0"/>
              </a:spcBef>
              <a:buNone/>
              <a:defRPr sz="1100"/>
            </a:lvl3pPr>
            <a:lvl4pPr marL="1028184" indent="0">
              <a:lnSpc>
                <a:spcPts val="1350"/>
              </a:lnSpc>
              <a:spcBef>
                <a:spcPts val="0"/>
              </a:spcBef>
              <a:buNone/>
              <a:defRPr sz="1100"/>
            </a:lvl4pPr>
            <a:lvl5pPr marL="1370912" indent="0">
              <a:lnSpc>
                <a:spcPts val="1350"/>
              </a:lnSpc>
              <a:spcBef>
                <a:spcPts val="0"/>
              </a:spcBef>
              <a:buNone/>
              <a:defRPr sz="1100"/>
            </a:lvl5pPr>
          </a:lstStyle>
          <a:p>
            <a:pPr lvl="0"/>
            <a:r>
              <a:rPr lang="en-US"/>
              <a:t>This is a two-column layout. Click to add content. </a:t>
            </a:r>
          </a:p>
        </p:txBody>
      </p:sp>
      <p:sp>
        <p:nvSpPr>
          <p:cNvPr id="22" name="タイトル プレースホルダ 1">
            <a:extLst>
              <a:ext uri="{FF2B5EF4-FFF2-40B4-BE49-F238E27FC236}">
                <a16:creationId xmlns="" xmlns:a16="http://schemas.microsoft.com/office/drawing/2014/main" id="{86D2E5B8-9E2B-DB46-A55A-5F26569C4F99}"/>
              </a:ext>
            </a:extLst>
          </p:cNvPr>
          <p:cNvSpPr>
            <a:spLocks noGrp="1"/>
          </p:cNvSpPr>
          <p:nvPr>
            <p:ph type="title" hasCustomPrompt="1"/>
          </p:nvPr>
        </p:nvSpPr>
        <p:spPr>
          <a:xfrm>
            <a:off x="454559" y="121208"/>
            <a:ext cx="7455190" cy="514351"/>
          </a:xfrm>
          <a:prstGeom prst="rect">
            <a:avLst/>
          </a:prstGeom>
        </p:spPr>
        <p:txBody>
          <a:bodyPr vert="horz" lIns="0" tIns="0" rIns="0" bIns="0" rtlCol="0" anchor="ctr">
            <a:normAutofit/>
          </a:bodyPr>
          <a:lstStyle/>
          <a:p>
            <a:r>
              <a:rPr kumimoji="1" lang="en-US" altLang="ja-JP"/>
              <a:t>Two-column layout. Click to add title</a:t>
            </a:r>
            <a:endParaRPr kumimoji="1" lang="ja-JP" altLang="en-US"/>
          </a:p>
        </p:txBody>
      </p:sp>
      <p:sp>
        <p:nvSpPr>
          <p:cNvPr id="13" name="Rectangle 12">
            <a:extLst>
              <a:ext uri="{FF2B5EF4-FFF2-40B4-BE49-F238E27FC236}">
                <a16:creationId xmlns="" xmlns:a16="http://schemas.microsoft.com/office/drawing/2014/main" id="{F49634AC-7DDA-D44D-88DB-5850289DD643}"/>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67" tIns="34289" rIns="68567" bIns="34289" rtlCol="0" anchor="ctr"/>
          <a:lstStyle/>
          <a:p>
            <a:pPr algn="ctr" defTabSz="685647"/>
            <a:endParaRPr kumimoji="1" lang="x-none" sz="1400">
              <a:solidFill>
                <a:srgbClr val="E1242A"/>
              </a:solidFill>
            </a:endParaRPr>
          </a:p>
        </p:txBody>
      </p:sp>
      <p:sp>
        <p:nvSpPr>
          <p:cNvPr id="20" name="スライド番号プレースホルダ 5">
            <a:extLst>
              <a:ext uri="{FF2B5EF4-FFF2-40B4-BE49-F238E27FC236}">
                <a16:creationId xmlns="" xmlns:a16="http://schemas.microsoft.com/office/drawing/2014/main" id="{E22A984C-7436-8C4C-83C8-F2AD67592041}"/>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3905"/>
            <a:fld id="{E9B57936-92EF-4126-AE48-1D9D36D15E98}" type="slidenum">
              <a:rPr lang="ja-JP" altLang="en-US" smtClean="0">
                <a:solidFill>
                  <a:srgbClr val="34373F"/>
                </a:solidFill>
              </a:rPr>
              <a:pPr defTabSz="913905"/>
              <a:t>‹Nº›</a:t>
            </a:fld>
            <a:endParaRPr lang="ja-JP" altLang="en-US">
              <a:solidFill>
                <a:srgbClr val="34373F"/>
              </a:solidFill>
            </a:endParaRPr>
          </a:p>
        </p:txBody>
      </p:sp>
      <p:pic>
        <p:nvPicPr>
          <p:cNvPr id="10" name="Picture 9">
            <a:extLst>
              <a:ext uri="{FF2B5EF4-FFF2-40B4-BE49-F238E27FC236}">
                <a16:creationId xmlns="" xmlns:a16="http://schemas.microsoft.com/office/drawing/2014/main" id="{3DA3BBB8-ACDC-49A9-8186-7DE88F783B1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937746" y="4604928"/>
            <a:ext cx="1008126" cy="603504"/>
          </a:xfrm>
          <a:prstGeom prst="rect">
            <a:avLst/>
          </a:prstGeom>
        </p:spPr>
      </p:pic>
      <p:pic>
        <p:nvPicPr>
          <p:cNvPr id="11" name="Picture 12" descr="Takeda_Logo_Pos_RGB.emf">
            <a:extLst>
              <a:ext uri="{FF2B5EF4-FFF2-40B4-BE49-F238E27FC236}">
                <a16:creationId xmlns="" xmlns:a16="http://schemas.microsoft.com/office/drawing/2014/main" id="{AF30BB5F-C96A-465C-9485-587EA35C582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7975658" y="233604"/>
            <a:ext cx="772806" cy="259904"/>
          </a:xfrm>
          <a:prstGeom prst="rect">
            <a:avLst/>
          </a:prstGeom>
          <a:noFill/>
          <a:ln w="9525">
            <a:noFill/>
            <a:miter lim="800000"/>
            <a:headEnd/>
            <a:tailEnd/>
          </a:ln>
        </p:spPr>
      </p:pic>
    </p:spTree>
    <p:extLst>
      <p:ext uri="{BB962C8B-B14F-4D97-AF65-F5344CB8AC3E}">
        <p14:creationId xmlns:p14="http://schemas.microsoft.com/office/powerpoint/2010/main" val="2639529221"/>
      </p:ext>
    </p:extLst>
  </p:cSld>
  <p:clrMapOvr>
    <a:masterClrMapping/>
  </p:clrMapOvr>
  <p:transition spd="slow">
    <p:push dir="u"/>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ection Title Page">
    <p:spTree>
      <p:nvGrpSpPr>
        <p:cNvPr id="1" name=""/>
        <p:cNvGrpSpPr/>
        <p:nvPr/>
      </p:nvGrpSpPr>
      <p:grpSpPr>
        <a:xfrm>
          <a:off x="0" y="0"/>
          <a:ext cx="0" cy="0"/>
          <a:chOff x="0" y="0"/>
          <a:chExt cx="0" cy="0"/>
        </a:xfrm>
      </p:grpSpPr>
      <p:sp>
        <p:nvSpPr>
          <p:cNvPr id="33" name="Title 1">
            <a:extLst>
              <a:ext uri="{FF2B5EF4-FFF2-40B4-BE49-F238E27FC236}">
                <a16:creationId xmlns="" xmlns:a16="http://schemas.microsoft.com/office/drawing/2014/main" id="{E02383DA-65B3-044E-9E1B-2CC00A0B1CC6}"/>
              </a:ext>
            </a:extLst>
          </p:cNvPr>
          <p:cNvSpPr>
            <a:spLocks noGrp="1"/>
          </p:cNvSpPr>
          <p:nvPr>
            <p:ph type="ctrTitle" hasCustomPrompt="1"/>
          </p:nvPr>
        </p:nvSpPr>
        <p:spPr>
          <a:xfrm>
            <a:off x="896050" y="1727272"/>
            <a:ext cx="3266048" cy="1709348"/>
          </a:xfrm>
          <a:prstGeom prst="rect">
            <a:avLst/>
          </a:prstGeom>
        </p:spPr>
        <p:txBody>
          <a:bodyPr wrap="square" lIns="0" tIns="0" rIns="0" bIns="0" anchor="ctr" anchorCtr="0">
            <a:normAutofit/>
          </a:bodyPr>
          <a:lstStyle>
            <a:lvl1pPr>
              <a:lnSpc>
                <a:spcPts val="2850"/>
              </a:lnSpc>
              <a:defRPr sz="27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section title</a:t>
            </a:r>
          </a:p>
        </p:txBody>
      </p:sp>
      <p:sp>
        <p:nvSpPr>
          <p:cNvPr id="28" name="Rectangle 27">
            <a:extLst>
              <a:ext uri="{FF2B5EF4-FFF2-40B4-BE49-F238E27FC236}">
                <a16:creationId xmlns="" xmlns:a16="http://schemas.microsoft.com/office/drawing/2014/main" id="{92F9C2FE-7E43-3948-92F0-0CEA804BDBFE}"/>
              </a:ext>
            </a:extLst>
          </p:cNvPr>
          <p:cNvSpPr/>
          <p:nvPr userDrawn="1"/>
        </p:nvSpPr>
        <p:spPr>
          <a:xfrm>
            <a:off x="561754" y="1582693"/>
            <a:ext cx="72900" cy="20303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67" tIns="34289" rIns="68567" bIns="34289" anchor="ctr"/>
          <a:lstStyle/>
          <a:p>
            <a:pPr algn="ctr" defTabSz="685647"/>
            <a:endParaRPr lang="en-US" altLang="en-US" sz="1400">
              <a:solidFill>
                <a:srgbClr val="FFFFFF"/>
              </a:solidFill>
            </a:endParaRPr>
          </a:p>
        </p:txBody>
      </p:sp>
      <p:sp>
        <p:nvSpPr>
          <p:cNvPr id="13" name="Picture Placeholder 9">
            <a:extLst>
              <a:ext uri="{FF2B5EF4-FFF2-40B4-BE49-F238E27FC236}">
                <a16:creationId xmlns="" xmlns:a16="http://schemas.microsoft.com/office/drawing/2014/main" id="{46656F8F-0621-5F47-BF80-4A4E365A2D91}"/>
              </a:ext>
            </a:extLst>
          </p:cNvPr>
          <p:cNvSpPr>
            <a:spLocks noGrp="1"/>
          </p:cNvSpPr>
          <p:nvPr>
            <p:ph type="pic" sz="quarter" idx="10"/>
          </p:nvPr>
        </p:nvSpPr>
        <p:spPr>
          <a:xfrm>
            <a:off x="4981915" y="0"/>
            <a:ext cx="4174367" cy="4812506"/>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158474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782524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0592">
                <a:moveTo>
                  <a:pt x="0" y="1652"/>
                </a:moveTo>
                <a:lnTo>
                  <a:pt x="11459359" y="0"/>
                </a:lnTo>
                <a:cubicBezTo>
                  <a:pt x="11456406" y="1115201"/>
                  <a:pt x="11441877" y="2245391"/>
                  <a:pt x="11438924" y="3360592"/>
                </a:cubicBezTo>
                <a:lnTo>
                  <a:pt x="1188396" y="3358591"/>
                </a:lnTo>
                <a:cubicBezTo>
                  <a:pt x="848612" y="3356903"/>
                  <a:pt x="0" y="3267167"/>
                  <a:pt x="0" y="2946995"/>
                </a:cubicBezTo>
                <a:lnTo>
                  <a:pt x="0" y="1652"/>
                </a:lnTo>
                <a:close/>
              </a:path>
            </a:pathLst>
          </a:custGeom>
          <a:noFill/>
        </p:spPr>
        <p:txBody>
          <a:bodyPr/>
          <a:lstStyle>
            <a:lvl1pPr marL="0" indent="0">
              <a:buNone/>
              <a:defRPr sz="1800">
                <a:solidFill>
                  <a:schemeClr val="bg1"/>
                </a:solidFill>
              </a:defRPr>
            </a:lvl1pPr>
          </a:lstStyle>
          <a:p>
            <a:r>
              <a:rPr lang="de-DE"/>
              <a:t>Bild durch Klicken auf Symbol hinzufügen</a:t>
            </a:r>
            <a:endParaRPr lang="x-none"/>
          </a:p>
        </p:txBody>
      </p:sp>
    </p:spTree>
    <p:extLst>
      <p:ext uri="{BB962C8B-B14F-4D97-AF65-F5344CB8AC3E}">
        <p14:creationId xmlns:p14="http://schemas.microsoft.com/office/powerpoint/2010/main" val="1527985654"/>
      </p:ext>
    </p:extLst>
  </p:cSld>
  <p:clrMapOvr>
    <a:masterClrMapping/>
  </p:clrMapOvr>
  <p:transition spd="slow">
    <p:push dir="u"/>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End Slide">
    <p:spTree>
      <p:nvGrpSpPr>
        <p:cNvPr id="1" name=""/>
        <p:cNvGrpSpPr/>
        <p:nvPr/>
      </p:nvGrpSpPr>
      <p:grpSpPr>
        <a:xfrm>
          <a:off x="0" y="0"/>
          <a:ext cx="0" cy="0"/>
          <a:chOff x="0" y="0"/>
          <a:chExt cx="0" cy="0"/>
        </a:xfrm>
      </p:grpSpPr>
      <p:pic>
        <p:nvPicPr>
          <p:cNvPr id="13" name="Picture 12">
            <a:extLst>
              <a:ext uri="{FF2B5EF4-FFF2-40B4-BE49-F238E27FC236}">
                <a16:creationId xmlns="" xmlns:a16="http://schemas.microsoft.com/office/drawing/2014/main" id="{5709C50A-25A5-7641-AAFB-B85296034B7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67728" y="4645759"/>
            <a:ext cx="2008545" cy="120458"/>
          </a:xfrm>
          <a:prstGeom prst="rect">
            <a:avLst/>
          </a:prstGeom>
        </p:spPr>
      </p:pic>
      <p:pic>
        <p:nvPicPr>
          <p:cNvPr id="15" name="Picture 14">
            <a:extLst>
              <a:ext uri="{FF2B5EF4-FFF2-40B4-BE49-F238E27FC236}">
                <a16:creationId xmlns="" xmlns:a16="http://schemas.microsoft.com/office/drawing/2014/main" id="{7CE62861-818A-CA4D-9EEF-1ABA93081F5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255166" y="4930883"/>
            <a:ext cx="2633666" cy="69837"/>
          </a:xfrm>
          <a:prstGeom prst="rect">
            <a:avLst/>
          </a:prstGeom>
        </p:spPr>
      </p:pic>
      <p:sp>
        <p:nvSpPr>
          <p:cNvPr id="3" name="Text Placeholder 2">
            <a:extLst>
              <a:ext uri="{FF2B5EF4-FFF2-40B4-BE49-F238E27FC236}">
                <a16:creationId xmlns="" xmlns:a16="http://schemas.microsoft.com/office/drawing/2014/main" id="{30A5DA52-BBAF-EA48-AEC6-EA08F428CF57}"/>
              </a:ext>
            </a:extLst>
          </p:cNvPr>
          <p:cNvSpPr>
            <a:spLocks noGrp="1"/>
          </p:cNvSpPr>
          <p:nvPr>
            <p:ph type="body" sz="quarter" idx="10" hasCustomPrompt="1"/>
          </p:nvPr>
        </p:nvSpPr>
        <p:spPr>
          <a:xfrm>
            <a:off x="225030" y="1720455"/>
            <a:ext cx="8693944" cy="1702594"/>
          </a:xfrm>
          <a:prstGeom prst="rect">
            <a:avLst/>
          </a:prstGeom>
        </p:spPr>
        <p:txBody>
          <a:bodyPr anchor="ctr" anchorCtr="0"/>
          <a:lstStyle>
            <a:lvl1pPr marL="0" indent="0" algn="ctr">
              <a:buNone/>
              <a:defRPr sz="2300"/>
            </a:lvl1pPr>
          </a:lstStyle>
          <a:p>
            <a:pPr lvl="0"/>
            <a:r>
              <a:rPr lang="en-US"/>
              <a:t>Thank You</a:t>
            </a:r>
            <a:endParaRPr lang="x-none"/>
          </a:p>
        </p:txBody>
      </p:sp>
      <p:pic>
        <p:nvPicPr>
          <p:cNvPr id="7" name="Grafik 6">
            <a:extLst>
              <a:ext uri="{FF2B5EF4-FFF2-40B4-BE49-F238E27FC236}">
                <a16:creationId xmlns="" xmlns:a16="http://schemas.microsoft.com/office/drawing/2014/main" id="{DD7109B6-665E-C642-9C73-2A90528534B3}"/>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947360" y="4029084"/>
            <a:ext cx="1249291" cy="473869"/>
          </a:xfrm>
          <a:prstGeom prst="rect">
            <a:avLst/>
          </a:prstGeom>
        </p:spPr>
      </p:pic>
    </p:spTree>
    <p:extLst>
      <p:ext uri="{BB962C8B-B14F-4D97-AF65-F5344CB8AC3E}">
        <p14:creationId xmlns:p14="http://schemas.microsoft.com/office/powerpoint/2010/main" val="1496559945"/>
      </p:ext>
    </p:extLst>
  </p:cSld>
  <p:clrMapOvr>
    <a:masterClrMapping/>
  </p:clrMapOvr>
  <p:transition spd="slow">
    <p:push dir="u"/>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30A5DA52-BBAF-EA48-AEC6-EA08F428CF57}"/>
              </a:ext>
            </a:extLst>
          </p:cNvPr>
          <p:cNvSpPr>
            <a:spLocks noGrp="1"/>
          </p:cNvSpPr>
          <p:nvPr>
            <p:ph type="body" sz="quarter" idx="10" hasCustomPrompt="1"/>
          </p:nvPr>
        </p:nvSpPr>
        <p:spPr>
          <a:xfrm>
            <a:off x="225030" y="278969"/>
            <a:ext cx="8693944" cy="4533537"/>
          </a:xfrm>
          <a:prstGeom prst="rect">
            <a:avLst/>
          </a:prstGeom>
        </p:spPr>
        <p:txBody>
          <a:bodyPr anchor="ctr" anchorCtr="0"/>
          <a:lstStyle>
            <a:lvl1pPr marL="0" indent="0" algn="ctr">
              <a:lnSpc>
                <a:spcPct val="100000"/>
              </a:lnSpc>
              <a:buNone/>
              <a:defRPr sz="2300"/>
            </a:lvl1pPr>
          </a:lstStyle>
          <a:p>
            <a:pPr lvl="0"/>
            <a:r>
              <a:rPr lang="en-US"/>
              <a:t>Blank slide</a:t>
            </a:r>
            <a:endParaRPr lang="x-none"/>
          </a:p>
        </p:txBody>
      </p:sp>
      <p:pic>
        <p:nvPicPr>
          <p:cNvPr id="4" name="Picture 12" descr="Takeda_Logo_Pos_RGB.emf">
            <a:extLst>
              <a:ext uri="{FF2B5EF4-FFF2-40B4-BE49-F238E27FC236}">
                <a16:creationId xmlns="" xmlns:a16="http://schemas.microsoft.com/office/drawing/2014/main" id="{D1616EE3-EBD6-4815-B9EE-F25C4FC853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7975658" y="233604"/>
            <a:ext cx="772806" cy="259904"/>
          </a:xfrm>
          <a:prstGeom prst="rect">
            <a:avLst/>
          </a:prstGeom>
          <a:noFill/>
          <a:ln w="9525">
            <a:noFill/>
            <a:miter lim="800000"/>
            <a:headEnd/>
            <a:tailEnd/>
          </a:ln>
        </p:spPr>
      </p:pic>
      <p:pic>
        <p:nvPicPr>
          <p:cNvPr id="5" name="Picture 4">
            <a:extLst>
              <a:ext uri="{FF2B5EF4-FFF2-40B4-BE49-F238E27FC236}">
                <a16:creationId xmlns="" xmlns:a16="http://schemas.microsoft.com/office/drawing/2014/main" id="{0DDB41B3-B90B-4A34-9F9F-2B1B9E34BE9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937746" y="4604928"/>
            <a:ext cx="1008126" cy="603504"/>
          </a:xfrm>
          <a:prstGeom prst="rect">
            <a:avLst/>
          </a:prstGeom>
        </p:spPr>
      </p:pic>
      <p:sp>
        <p:nvSpPr>
          <p:cNvPr id="6" name="スライド番号プレースホルダ 5">
            <a:extLst>
              <a:ext uri="{FF2B5EF4-FFF2-40B4-BE49-F238E27FC236}">
                <a16:creationId xmlns="" xmlns:a16="http://schemas.microsoft.com/office/drawing/2014/main" id="{D45CE10D-CC26-4995-BFE4-D292C401E3AC}"/>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3905"/>
            <a:fld id="{E9B57936-92EF-4126-AE48-1D9D36D15E98}" type="slidenum">
              <a:rPr lang="ja-JP" altLang="en-US" smtClean="0">
                <a:solidFill>
                  <a:srgbClr val="34373F"/>
                </a:solidFill>
              </a:rPr>
              <a:pPr defTabSz="913905"/>
              <a:t>‹Nº›</a:t>
            </a:fld>
            <a:endParaRPr lang="ja-JP" altLang="en-US">
              <a:solidFill>
                <a:srgbClr val="34373F"/>
              </a:solidFill>
            </a:endParaRPr>
          </a:p>
        </p:txBody>
      </p:sp>
    </p:spTree>
    <p:extLst>
      <p:ext uri="{BB962C8B-B14F-4D97-AF65-F5344CB8AC3E}">
        <p14:creationId xmlns:p14="http://schemas.microsoft.com/office/powerpoint/2010/main" val="3055606190"/>
      </p:ext>
    </p:extLst>
  </p:cSld>
  <p:clrMapOvr>
    <a:masterClrMapping/>
  </p:clrMapOvr>
  <p:transition spd="slow">
    <p:push dir="u"/>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Advanced 3-Column Text">
    <p:spTree>
      <p:nvGrpSpPr>
        <p:cNvPr id="1" name=""/>
        <p:cNvGrpSpPr/>
        <p:nvPr/>
      </p:nvGrpSpPr>
      <p:grpSpPr>
        <a:xfrm>
          <a:off x="0" y="0"/>
          <a:ext cx="0" cy="0"/>
          <a:chOff x="0" y="0"/>
          <a:chExt cx="0" cy="0"/>
        </a:xfrm>
      </p:grpSpPr>
      <p:sp>
        <p:nvSpPr>
          <p:cNvPr id="7" name="Text Placeholder 6">
            <a:extLst>
              <a:ext uri="{FF2B5EF4-FFF2-40B4-BE49-F238E27FC236}">
                <a16:creationId xmlns="" xmlns:a16="http://schemas.microsoft.com/office/drawing/2014/main" id="{65925D82-457F-D84D-B8DF-D8ADFD7E71DF}"/>
              </a:ext>
            </a:extLst>
          </p:cNvPr>
          <p:cNvSpPr>
            <a:spLocks noGrp="1"/>
          </p:cNvSpPr>
          <p:nvPr>
            <p:ph type="body" sz="quarter" idx="14" hasCustomPrompt="1"/>
          </p:nvPr>
        </p:nvSpPr>
        <p:spPr>
          <a:xfrm>
            <a:off x="233362" y="2383723"/>
            <a:ext cx="4281488" cy="204590"/>
          </a:xfrm>
          <a:prstGeom prst="rect">
            <a:avLst/>
          </a:prstGeom>
        </p:spPr>
        <p:txBody>
          <a:bodyPr tIns="0" rIns="0" bIns="0" numCol="1">
            <a:noAutofit/>
          </a:bodyPr>
          <a:lstStyle>
            <a:lvl1pPr marL="0" indent="0">
              <a:lnSpc>
                <a:spcPct val="100000"/>
              </a:lnSpc>
              <a:spcBef>
                <a:spcPts val="0"/>
              </a:spcBef>
              <a:spcAft>
                <a:spcPts val="450"/>
              </a:spcAft>
              <a:buNone/>
              <a:defRPr sz="1400" b="1">
                <a:solidFill>
                  <a:schemeClr val="accent1"/>
                </a:solidFill>
              </a:defRPr>
            </a:lvl1pPr>
            <a:lvl2pPr marL="342722" indent="0">
              <a:lnSpc>
                <a:spcPts val="1350"/>
              </a:lnSpc>
              <a:spcBef>
                <a:spcPts val="0"/>
              </a:spcBef>
              <a:buNone/>
              <a:defRPr sz="1100"/>
            </a:lvl2pPr>
            <a:lvl3pPr marL="685459" indent="0">
              <a:lnSpc>
                <a:spcPts val="1350"/>
              </a:lnSpc>
              <a:spcBef>
                <a:spcPts val="0"/>
              </a:spcBef>
              <a:buNone/>
              <a:defRPr sz="1100"/>
            </a:lvl3pPr>
            <a:lvl4pPr marL="1028184" indent="0">
              <a:lnSpc>
                <a:spcPts val="1350"/>
              </a:lnSpc>
              <a:spcBef>
                <a:spcPts val="0"/>
              </a:spcBef>
              <a:buNone/>
              <a:defRPr sz="1100"/>
            </a:lvl4pPr>
            <a:lvl5pPr marL="1370912" indent="0">
              <a:lnSpc>
                <a:spcPts val="1350"/>
              </a:lnSpc>
              <a:spcBef>
                <a:spcPts val="0"/>
              </a:spcBef>
              <a:buNone/>
              <a:defRPr sz="1100"/>
            </a:lvl5pPr>
          </a:lstStyle>
          <a:p>
            <a:pPr lvl="0"/>
            <a:r>
              <a:rPr lang="en-US"/>
              <a:t>This is your Secondary Title</a:t>
            </a:r>
          </a:p>
        </p:txBody>
      </p:sp>
      <p:sp>
        <p:nvSpPr>
          <p:cNvPr id="12" name="Text Placeholder 6">
            <a:extLst>
              <a:ext uri="{FF2B5EF4-FFF2-40B4-BE49-F238E27FC236}">
                <a16:creationId xmlns="" xmlns:a16="http://schemas.microsoft.com/office/drawing/2014/main" id="{FD2406EE-A554-5348-AE6D-4D8B343E6201}"/>
              </a:ext>
            </a:extLst>
          </p:cNvPr>
          <p:cNvSpPr>
            <a:spLocks noGrp="1"/>
          </p:cNvSpPr>
          <p:nvPr>
            <p:ph type="body" sz="quarter" idx="15" hasCustomPrompt="1"/>
          </p:nvPr>
        </p:nvSpPr>
        <p:spPr>
          <a:xfrm>
            <a:off x="233363" y="2681929"/>
            <a:ext cx="2822659" cy="2130578"/>
          </a:xfrm>
          <a:prstGeom prst="rect">
            <a:avLst/>
          </a:prstGeom>
        </p:spPr>
        <p:txBody>
          <a:bodyPr tIns="0" rIns="0" bIns="0" numCol="1">
            <a:noAutofit/>
          </a:bodyPr>
          <a:lstStyle>
            <a:lvl1pPr marL="128561" indent="-128561">
              <a:lnSpc>
                <a:spcPct val="100000"/>
              </a:lnSpc>
              <a:spcBef>
                <a:spcPts val="0"/>
              </a:spcBef>
              <a:spcAft>
                <a:spcPts val="450"/>
              </a:spcAft>
              <a:buFont typeface="Arial" panose="020B0604020202020204" pitchFamily="34" charset="0"/>
              <a:buChar char="•"/>
              <a:defRPr sz="1100" b="0">
                <a:solidFill>
                  <a:schemeClr val="tx1"/>
                </a:solidFill>
              </a:defRPr>
            </a:lvl1pPr>
            <a:lvl2pPr marL="342722" indent="0">
              <a:lnSpc>
                <a:spcPts val="1350"/>
              </a:lnSpc>
              <a:spcBef>
                <a:spcPts val="0"/>
              </a:spcBef>
              <a:buNone/>
              <a:defRPr sz="1100"/>
            </a:lvl2pPr>
            <a:lvl3pPr marL="685459" indent="0">
              <a:lnSpc>
                <a:spcPts val="1350"/>
              </a:lnSpc>
              <a:spcBef>
                <a:spcPts val="0"/>
              </a:spcBef>
              <a:buNone/>
              <a:defRPr sz="1100"/>
            </a:lvl3pPr>
            <a:lvl4pPr marL="1028184" indent="0">
              <a:lnSpc>
                <a:spcPts val="1350"/>
              </a:lnSpc>
              <a:spcBef>
                <a:spcPts val="0"/>
              </a:spcBef>
              <a:buNone/>
              <a:defRPr sz="1100"/>
            </a:lvl4pPr>
            <a:lvl5pPr marL="1370912" indent="0">
              <a:lnSpc>
                <a:spcPts val="1350"/>
              </a:lnSpc>
              <a:spcBef>
                <a:spcPts val="0"/>
              </a:spcBef>
              <a:buNone/>
              <a:defRPr sz="1100"/>
            </a:lvl5pPr>
          </a:lstStyle>
          <a:p>
            <a:pPr lvl="0"/>
            <a:r>
              <a:rPr lang="en-US"/>
              <a:t>This is your Secondary text. </a:t>
            </a:r>
          </a:p>
        </p:txBody>
      </p:sp>
      <p:sp>
        <p:nvSpPr>
          <p:cNvPr id="17" name="Text Placeholder 6">
            <a:extLst>
              <a:ext uri="{FF2B5EF4-FFF2-40B4-BE49-F238E27FC236}">
                <a16:creationId xmlns="" xmlns:a16="http://schemas.microsoft.com/office/drawing/2014/main" id="{3BB454FD-9C16-FC47-B46E-6675394572BB}"/>
              </a:ext>
            </a:extLst>
          </p:cNvPr>
          <p:cNvSpPr>
            <a:spLocks noGrp="1"/>
          </p:cNvSpPr>
          <p:nvPr>
            <p:ph type="body" sz="quarter" idx="18" hasCustomPrompt="1"/>
          </p:nvPr>
        </p:nvSpPr>
        <p:spPr>
          <a:xfrm>
            <a:off x="3160304" y="2681929"/>
            <a:ext cx="2822659" cy="2130578"/>
          </a:xfrm>
          <a:prstGeom prst="rect">
            <a:avLst/>
          </a:prstGeom>
        </p:spPr>
        <p:txBody>
          <a:bodyPr tIns="0" rIns="0" bIns="0" numCol="1">
            <a:noAutofit/>
          </a:bodyPr>
          <a:lstStyle>
            <a:lvl1pPr marL="128561" indent="-128561">
              <a:lnSpc>
                <a:spcPct val="100000"/>
              </a:lnSpc>
              <a:spcBef>
                <a:spcPts val="0"/>
              </a:spcBef>
              <a:spcAft>
                <a:spcPts val="450"/>
              </a:spcAft>
              <a:buFont typeface="Arial" panose="020B0604020202020204" pitchFamily="34" charset="0"/>
              <a:buChar char="•"/>
              <a:defRPr sz="1100" b="0">
                <a:solidFill>
                  <a:schemeClr val="tx1"/>
                </a:solidFill>
              </a:defRPr>
            </a:lvl1pPr>
            <a:lvl2pPr marL="342722" indent="0">
              <a:lnSpc>
                <a:spcPts val="1350"/>
              </a:lnSpc>
              <a:spcBef>
                <a:spcPts val="0"/>
              </a:spcBef>
              <a:buNone/>
              <a:defRPr sz="1100"/>
            </a:lvl2pPr>
            <a:lvl3pPr marL="685459" indent="0">
              <a:lnSpc>
                <a:spcPts val="1350"/>
              </a:lnSpc>
              <a:spcBef>
                <a:spcPts val="0"/>
              </a:spcBef>
              <a:buNone/>
              <a:defRPr sz="1100"/>
            </a:lvl3pPr>
            <a:lvl4pPr marL="1028184" indent="0">
              <a:lnSpc>
                <a:spcPts val="1350"/>
              </a:lnSpc>
              <a:spcBef>
                <a:spcPts val="0"/>
              </a:spcBef>
              <a:buNone/>
              <a:defRPr sz="1100"/>
            </a:lvl4pPr>
            <a:lvl5pPr marL="1370912" indent="0">
              <a:lnSpc>
                <a:spcPts val="1350"/>
              </a:lnSpc>
              <a:spcBef>
                <a:spcPts val="0"/>
              </a:spcBef>
              <a:buNone/>
              <a:defRPr sz="1100"/>
            </a:lvl5pPr>
          </a:lstStyle>
          <a:p>
            <a:pPr lvl="0"/>
            <a:r>
              <a:rPr lang="en-US"/>
              <a:t>This is your Secondary text. </a:t>
            </a:r>
          </a:p>
        </p:txBody>
      </p:sp>
      <p:sp>
        <p:nvSpPr>
          <p:cNvPr id="18" name="Text Placeholder 6">
            <a:extLst>
              <a:ext uri="{FF2B5EF4-FFF2-40B4-BE49-F238E27FC236}">
                <a16:creationId xmlns="" xmlns:a16="http://schemas.microsoft.com/office/drawing/2014/main" id="{568F3A49-7287-1C4D-93C8-50E3C0B4F15A}"/>
              </a:ext>
            </a:extLst>
          </p:cNvPr>
          <p:cNvSpPr>
            <a:spLocks noGrp="1"/>
          </p:cNvSpPr>
          <p:nvPr>
            <p:ph type="body" sz="quarter" idx="19" hasCustomPrompt="1"/>
          </p:nvPr>
        </p:nvSpPr>
        <p:spPr>
          <a:xfrm>
            <a:off x="6074985" y="2681929"/>
            <a:ext cx="2822659" cy="2130578"/>
          </a:xfrm>
          <a:prstGeom prst="rect">
            <a:avLst/>
          </a:prstGeom>
        </p:spPr>
        <p:txBody>
          <a:bodyPr tIns="0" rIns="0" bIns="0" numCol="1">
            <a:noAutofit/>
          </a:bodyPr>
          <a:lstStyle>
            <a:lvl1pPr marL="128561" indent="-128561">
              <a:lnSpc>
                <a:spcPct val="100000"/>
              </a:lnSpc>
              <a:spcBef>
                <a:spcPts val="0"/>
              </a:spcBef>
              <a:spcAft>
                <a:spcPts val="450"/>
              </a:spcAft>
              <a:buFont typeface="Arial" panose="020B0604020202020204" pitchFamily="34" charset="0"/>
              <a:buChar char="•"/>
              <a:defRPr sz="1100" b="0">
                <a:solidFill>
                  <a:schemeClr val="tx1"/>
                </a:solidFill>
              </a:defRPr>
            </a:lvl1pPr>
            <a:lvl2pPr marL="342722" indent="0">
              <a:lnSpc>
                <a:spcPts val="1350"/>
              </a:lnSpc>
              <a:spcBef>
                <a:spcPts val="0"/>
              </a:spcBef>
              <a:buNone/>
              <a:defRPr sz="1100"/>
            </a:lvl2pPr>
            <a:lvl3pPr marL="685459" indent="0">
              <a:lnSpc>
                <a:spcPts val="1350"/>
              </a:lnSpc>
              <a:spcBef>
                <a:spcPts val="0"/>
              </a:spcBef>
              <a:buNone/>
              <a:defRPr sz="1100"/>
            </a:lvl3pPr>
            <a:lvl4pPr marL="1028184" indent="0">
              <a:lnSpc>
                <a:spcPts val="1350"/>
              </a:lnSpc>
              <a:spcBef>
                <a:spcPts val="0"/>
              </a:spcBef>
              <a:buNone/>
              <a:defRPr sz="1100"/>
            </a:lvl4pPr>
            <a:lvl5pPr marL="1370912" indent="0">
              <a:lnSpc>
                <a:spcPts val="1350"/>
              </a:lnSpc>
              <a:spcBef>
                <a:spcPts val="0"/>
              </a:spcBef>
              <a:buNone/>
              <a:defRPr sz="1100"/>
            </a:lvl5pPr>
          </a:lstStyle>
          <a:p>
            <a:pPr lvl="0"/>
            <a:r>
              <a:rPr lang="en-US"/>
              <a:t>This is your Secondary text. </a:t>
            </a:r>
          </a:p>
        </p:txBody>
      </p:sp>
      <p:sp>
        <p:nvSpPr>
          <p:cNvPr id="24" name="タイトル プレースホルダ 1">
            <a:extLst>
              <a:ext uri="{FF2B5EF4-FFF2-40B4-BE49-F238E27FC236}">
                <a16:creationId xmlns="" xmlns:a16="http://schemas.microsoft.com/office/drawing/2014/main" id="{CC986DF6-9894-F144-B9DA-A9DBE0000AB8}"/>
              </a:ext>
            </a:extLst>
          </p:cNvPr>
          <p:cNvSpPr>
            <a:spLocks noGrp="1"/>
          </p:cNvSpPr>
          <p:nvPr>
            <p:ph type="title" hasCustomPrompt="1"/>
          </p:nvPr>
        </p:nvSpPr>
        <p:spPr>
          <a:xfrm>
            <a:off x="454559" y="121208"/>
            <a:ext cx="7455190" cy="51435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3" name="Rectangle 22">
            <a:extLst>
              <a:ext uri="{FF2B5EF4-FFF2-40B4-BE49-F238E27FC236}">
                <a16:creationId xmlns="" xmlns:a16="http://schemas.microsoft.com/office/drawing/2014/main" id="{886528CE-2840-6C44-965A-04D8835743E3}"/>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67" tIns="34289" rIns="68567" bIns="34289" rtlCol="0" anchor="ctr"/>
          <a:lstStyle/>
          <a:p>
            <a:pPr algn="ctr" defTabSz="685647"/>
            <a:endParaRPr kumimoji="1" lang="x-none" sz="1400">
              <a:solidFill>
                <a:srgbClr val="E1242A"/>
              </a:solidFill>
            </a:endParaRPr>
          </a:p>
        </p:txBody>
      </p:sp>
      <p:sp>
        <p:nvSpPr>
          <p:cNvPr id="27" name="スライド番号プレースホルダ 5">
            <a:extLst>
              <a:ext uri="{FF2B5EF4-FFF2-40B4-BE49-F238E27FC236}">
                <a16:creationId xmlns="" xmlns:a16="http://schemas.microsoft.com/office/drawing/2014/main" id="{854E474F-30B0-604E-9699-287AC57CAAFA}"/>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3905"/>
            <a:fld id="{E9B57936-92EF-4126-AE48-1D9D36D15E98}" type="slidenum">
              <a:rPr lang="ja-JP" altLang="en-US" smtClean="0">
                <a:solidFill>
                  <a:srgbClr val="34373F"/>
                </a:solidFill>
              </a:rPr>
              <a:pPr defTabSz="913905"/>
              <a:t>‹Nº›</a:t>
            </a:fld>
            <a:endParaRPr lang="ja-JP" altLang="en-US">
              <a:solidFill>
                <a:srgbClr val="34373F"/>
              </a:solidFill>
            </a:endParaRPr>
          </a:p>
        </p:txBody>
      </p:sp>
      <p:sp>
        <p:nvSpPr>
          <p:cNvPr id="22" name="Text Placeholder 2">
            <a:extLst>
              <a:ext uri="{FF2B5EF4-FFF2-40B4-BE49-F238E27FC236}">
                <a16:creationId xmlns="" xmlns:a16="http://schemas.microsoft.com/office/drawing/2014/main" id="{110504E2-40F0-054E-8424-D247EF2CA216}"/>
              </a:ext>
            </a:extLst>
          </p:cNvPr>
          <p:cNvSpPr>
            <a:spLocks noGrp="1"/>
          </p:cNvSpPr>
          <p:nvPr>
            <p:ph type="body" sz="quarter" idx="20" hasCustomPrompt="1"/>
          </p:nvPr>
        </p:nvSpPr>
        <p:spPr>
          <a:xfrm>
            <a:off x="233363" y="1118532"/>
            <a:ext cx="8677275" cy="1098718"/>
          </a:xfrm>
        </p:spPr>
        <p:txBody>
          <a:bodyPr tIns="0" rIns="0" bIns="0" numCol="1" spcCol="94482">
            <a:noAutofit/>
          </a:bodyPr>
          <a:lstStyle>
            <a:lvl1pPr marL="0" indent="0">
              <a:lnSpc>
                <a:spcPct val="100000"/>
              </a:lnSpc>
              <a:spcBef>
                <a:spcPts val="0"/>
              </a:spcBef>
              <a:buNone/>
              <a:defRPr sz="1200" b="1"/>
            </a:lvl1pPr>
            <a:lvl2pPr marL="342722" indent="0">
              <a:buNone/>
              <a:defRPr sz="1400" b="1"/>
            </a:lvl2pPr>
            <a:lvl3pPr marL="685459" indent="0">
              <a:buNone/>
              <a:defRPr sz="1400" b="1"/>
            </a:lvl3pPr>
            <a:lvl4pPr marL="1028184" indent="0">
              <a:buNone/>
              <a:defRPr sz="1400" b="1"/>
            </a:lvl4pPr>
            <a:lvl5pPr marL="1370912" indent="0">
              <a:buNone/>
              <a:defRPr sz="1400" b="1"/>
            </a:lvl5pPr>
          </a:lstStyle>
          <a:p>
            <a:pPr lvl="0"/>
            <a:r>
              <a:rPr lang="en-US"/>
              <a:t>This is your Primary Text.</a:t>
            </a:r>
            <a:endParaRPr lang="x-none"/>
          </a:p>
        </p:txBody>
      </p:sp>
      <p:sp>
        <p:nvSpPr>
          <p:cNvPr id="25" name="Text Placeholder 6">
            <a:extLst>
              <a:ext uri="{FF2B5EF4-FFF2-40B4-BE49-F238E27FC236}">
                <a16:creationId xmlns="" xmlns:a16="http://schemas.microsoft.com/office/drawing/2014/main" id="{073E75F2-7FFB-DC4C-8964-799372FCF583}"/>
              </a:ext>
            </a:extLst>
          </p:cNvPr>
          <p:cNvSpPr>
            <a:spLocks noGrp="1"/>
          </p:cNvSpPr>
          <p:nvPr>
            <p:ph type="body" sz="quarter" idx="21" hasCustomPrompt="1"/>
          </p:nvPr>
        </p:nvSpPr>
        <p:spPr>
          <a:xfrm>
            <a:off x="233363" y="820327"/>
            <a:ext cx="8677275" cy="204590"/>
          </a:xfrm>
        </p:spPr>
        <p:txBody>
          <a:bodyPr tIns="0" rIns="0" bIns="0" numCol="1">
            <a:noAutofit/>
          </a:bodyPr>
          <a:lstStyle>
            <a:lvl1pPr marL="0" indent="0">
              <a:lnSpc>
                <a:spcPct val="100000"/>
              </a:lnSpc>
              <a:spcBef>
                <a:spcPts val="0"/>
              </a:spcBef>
              <a:spcAft>
                <a:spcPts val="450"/>
              </a:spcAft>
              <a:buNone/>
              <a:defRPr sz="1500" b="1">
                <a:solidFill>
                  <a:schemeClr val="accent1"/>
                </a:solidFill>
              </a:defRPr>
            </a:lvl1pPr>
            <a:lvl2pPr marL="342722" indent="0">
              <a:lnSpc>
                <a:spcPts val="1350"/>
              </a:lnSpc>
              <a:spcBef>
                <a:spcPts val="0"/>
              </a:spcBef>
              <a:buNone/>
              <a:defRPr sz="1100"/>
            </a:lvl2pPr>
            <a:lvl3pPr marL="685459" indent="0">
              <a:lnSpc>
                <a:spcPts val="1350"/>
              </a:lnSpc>
              <a:spcBef>
                <a:spcPts val="0"/>
              </a:spcBef>
              <a:buNone/>
              <a:defRPr sz="1100"/>
            </a:lvl3pPr>
            <a:lvl4pPr marL="1028184" indent="0">
              <a:lnSpc>
                <a:spcPts val="1350"/>
              </a:lnSpc>
              <a:spcBef>
                <a:spcPts val="0"/>
              </a:spcBef>
              <a:buNone/>
              <a:defRPr sz="1100"/>
            </a:lvl4pPr>
            <a:lvl5pPr marL="1370912" indent="0">
              <a:lnSpc>
                <a:spcPts val="1350"/>
              </a:lnSpc>
              <a:spcBef>
                <a:spcPts val="0"/>
              </a:spcBef>
              <a:buNone/>
              <a:defRPr sz="1100"/>
            </a:lvl5pPr>
          </a:lstStyle>
          <a:p>
            <a:pPr lvl="0"/>
            <a:r>
              <a:rPr lang="en-US"/>
              <a:t>This is your Primary Title</a:t>
            </a:r>
          </a:p>
        </p:txBody>
      </p:sp>
      <p:pic>
        <p:nvPicPr>
          <p:cNvPr id="14" name="Picture 13">
            <a:extLst>
              <a:ext uri="{FF2B5EF4-FFF2-40B4-BE49-F238E27FC236}">
                <a16:creationId xmlns="" xmlns:a16="http://schemas.microsoft.com/office/drawing/2014/main" id="{B6A649DC-D852-496D-B909-12664DF132E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937746" y="4604928"/>
            <a:ext cx="1008126" cy="603504"/>
          </a:xfrm>
          <a:prstGeom prst="rect">
            <a:avLst/>
          </a:prstGeom>
        </p:spPr>
      </p:pic>
    </p:spTree>
    <p:extLst>
      <p:ext uri="{BB962C8B-B14F-4D97-AF65-F5344CB8AC3E}">
        <p14:creationId xmlns:p14="http://schemas.microsoft.com/office/powerpoint/2010/main" val="1341004595"/>
      </p:ext>
    </p:extLst>
  </p:cSld>
  <p:clrMapOvr>
    <a:masterClrMapping/>
  </p:clrMapOvr>
  <p:transition spd="slow">
    <p:push dir="u"/>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Advanced 2/3 Image">
    <p:spTree>
      <p:nvGrpSpPr>
        <p:cNvPr id="1" name=""/>
        <p:cNvGrpSpPr/>
        <p:nvPr/>
      </p:nvGrpSpPr>
      <p:grpSpPr>
        <a:xfrm>
          <a:off x="0" y="0"/>
          <a:ext cx="0" cy="0"/>
          <a:chOff x="0" y="0"/>
          <a:chExt cx="0" cy="0"/>
        </a:xfrm>
      </p:grpSpPr>
      <p:sp>
        <p:nvSpPr>
          <p:cNvPr id="13" name="Picture Placeholder 9">
            <a:extLst>
              <a:ext uri="{FF2B5EF4-FFF2-40B4-BE49-F238E27FC236}">
                <a16:creationId xmlns="" xmlns:a16="http://schemas.microsoft.com/office/drawing/2014/main" id="{B3311DE3-EC35-4C49-805E-57AB2D90E99E}"/>
              </a:ext>
            </a:extLst>
          </p:cNvPr>
          <p:cNvSpPr>
            <a:spLocks noGrp="1"/>
          </p:cNvSpPr>
          <p:nvPr>
            <p:ph type="pic" sz="quarter" idx="10" hasCustomPrompt="1"/>
          </p:nvPr>
        </p:nvSpPr>
        <p:spPr>
          <a:xfrm>
            <a:off x="3158057" y="820325"/>
            <a:ext cx="5991267" cy="3992181"/>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88356" h="5135028">
                <a:moveTo>
                  <a:pt x="0" y="0"/>
                </a:moveTo>
                <a:lnTo>
                  <a:pt x="7988281" y="7569"/>
                </a:lnTo>
                <a:cubicBezTo>
                  <a:pt x="7989186" y="2154376"/>
                  <a:pt x="7981645" y="2988221"/>
                  <a:pt x="7982550" y="5135028"/>
                </a:cubicBezTo>
                <a:lnTo>
                  <a:pt x="596656" y="5124807"/>
                </a:lnTo>
                <a:cubicBezTo>
                  <a:pt x="276484" y="5124807"/>
                  <a:pt x="16934" y="4865257"/>
                  <a:pt x="16934" y="4545085"/>
                </a:cubicBezTo>
                <a:cubicBezTo>
                  <a:pt x="11289" y="3022648"/>
                  <a:pt x="5645" y="1522437"/>
                  <a:pt x="0" y="0"/>
                </a:cubicBezTo>
                <a:close/>
              </a:path>
            </a:pathLst>
          </a:custGeom>
          <a:noFill/>
        </p:spPr>
        <p:txBody>
          <a:bodyPr>
            <a:normAutofit/>
          </a:bodyPr>
          <a:lstStyle>
            <a:lvl1pPr marL="0" indent="0">
              <a:buNone/>
              <a:defRPr sz="1100">
                <a:solidFill>
                  <a:schemeClr val="tx1"/>
                </a:solidFill>
              </a:defRPr>
            </a:lvl1pPr>
          </a:lstStyle>
          <a:p>
            <a:r>
              <a:rPr lang="x-none"/>
              <a:t>Insert Photo</a:t>
            </a:r>
          </a:p>
        </p:txBody>
      </p:sp>
      <p:sp>
        <p:nvSpPr>
          <p:cNvPr id="7" name="Text Placeholder 6">
            <a:extLst>
              <a:ext uri="{FF2B5EF4-FFF2-40B4-BE49-F238E27FC236}">
                <a16:creationId xmlns="" xmlns:a16="http://schemas.microsoft.com/office/drawing/2014/main" id="{65925D82-457F-D84D-B8DF-D8ADFD7E71DF}"/>
              </a:ext>
            </a:extLst>
          </p:cNvPr>
          <p:cNvSpPr>
            <a:spLocks noGrp="1"/>
          </p:cNvSpPr>
          <p:nvPr>
            <p:ph type="body" sz="quarter" idx="14" hasCustomPrompt="1"/>
          </p:nvPr>
        </p:nvSpPr>
        <p:spPr>
          <a:xfrm>
            <a:off x="233367" y="2383723"/>
            <a:ext cx="2813975" cy="204590"/>
          </a:xfrm>
          <a:prstGeom prst="rect">
            <a:avLst/>
          </a:prstGeom>
        </p:spPr>
        <p:txBody>
          <a:bodyPr tIns="0" rIns="0" bIns="0" numCol="1">
            <a:noAutofit/>
          </a:bodyPr>
          <a:lstStyle>
            <a:lvl1pPr marL="0" indent="0">
              <a:lnSpc>
                <a:spcPct val="100000"/>
              </a:lnSpc>
              <a:spcBef>
                <a:spcPts val="0"/>
              </a:spcBef>
              <a:spcAft>
                <a:spcPts val="450"/>
              </a:spcAft>
              <a:buNone/>
              <a:defRPr sz="1400" b="1">
                <a:solidFill>
                  <a:schemeClr val="accent1"/>
                </a:solidFill>
              </a:defRPr>
            </a:lvl1pPr>
            <a:lvl2pPr marL="342722" indent="0">
              <a:lnSpc>
                <a:spcPts val="1350"/>
              </a:lnSpc>
              <a:spcBef>
                <a:spcPts val="0"/>
              </a:spcBef>
              <a:buNone/>
              <a:defRPr sz="1100"/>
            </a:lvl2pPr>
            <a:lvl3pPr marL="685459" indent="0">
              <a:lnSpc>
                <a:spcPts val="1350"/>
              </a:lnSpc>
              <a:spcBef>
                <a:spcPts val="0"/>
              </a:spcBef>
              <a:buNone/>
              <a:defRPr sz="1100"/>
            </a:lvl3pPr>
            <a:lvl4pPr marL="1028184" indent="0">
              <a:lnSpc>
                <a:spcPts val="1350"/>
              </a:lnSpc>
              <a:spcBef>
                <a:spcPts val="0"/>
              </a:spcBef>
              <a:buNone/>
              <a:defRPr sz="1100"/>
            </a:lvl4pPr>
            <a:lvl5pPr marL="1370912" indent="0">
              <a:lnSpc>
                <a:spcPts val="1350"/>
              </a:lnSpc>
              <a:spcBef>
                <a:spcPts val="0"/>
              </a:spcBef>
              <a:buNone/>
              <a:defRPr sz="1100"/>
            </a:lvl5pPr>
          </a:lstStyle>
          <a:p>
            <a:pPr lvl="0"/>
            <a:r>
              <a:rPr lang="en-US"/>
              <a:t>This is your Secondary Title</a:t>
            </a:r>
          </a:p>
        </p:txBody>
      </p:sp>
      <p:sp>
        <p:nvSpPr>
          <p:cNvPr id="12" name="Text Placeholder 6">
            <a:extLst>
              <a:ext uri="{FF2B5EF4-FFF2-40B4-BE49-F238E27FC236}">
                <a16:creationId xmlns="" xmlns:a16="http://schemas.microsoft.com/office/drawing/2014/main" id="{FD2406EE-A554-5348-AE6D-4D8B343E6201}"/>
              </a:ext>
            </a:extLst>
          </p:cNvPr>
          <p:cNvSpPr>
            <a:spLocks noGrp="1"/>
          </p:cNvSpPr>
          <p:nvPr>
            <p:ph type="body" sz="quarter" idx="15" hasCustomPrompt="1"/>
          </p:nvPr>
        </p:nvSpPr>
        <p:spPr>
          <a:xfrm>
            <a:off x="233367" y="2681929"/>
            <a:ext cx="2813975" cy="2130578"/>
          </a:xfrm>
          <a:prstGeom prst="rect">
            <a:avLst/>
          </a:prstGeom>
        </p:spPr>
        <p:txBody>
          <a:bodyPr tIns="0" rIns="0" bIns="0" numCol="1">
            <a:noAutofit/>
          </a:bodyPr>
          <a:lstStyle>
            <a:lvl1pPr marL="128561" indent="-128561">
              <a:lnSpc>
                <a:spcPct val="100000"/>
              </a:lnSpc>
              <a:spcBef>
                <a:spcPts val="0"/>
              </a:spcBef>
              <a:spcAft>
                <a:spcPts val="450"/>
              </a:spcAft>
              <a:buFont typeface="Arial" panose="020B0604020202020204" pitchFamily="34" charset="0"/>
              <a:buChar char="•"/>
              <a:defRPr sz="1100" b="0">
                <a:solidFill>
                  <a:schemeClr val="tx1"/>
                </a:solidFill>
              </a:defRPr>
            </a:lvl1pPr>
            <a:lvl2pPr marL="342722" indent="0">
              <a:lnSpc>
                <a:spcPts val="1350"/>
              </a:lnSpc>
              <a:spcBef>
                <a:spcPts val="0"/>
              </a:spcBef>
              <a:buNone/>
              <a:defRPr sz="1100"/>
            </a:lvl2pPr>
            <a:lvl3pPr marL="685459" indent="0">
              <a:lnSpc>
                <a:spcPts val="1350"/>
              </a:lnSpc>
              <a:spcBef>
                <a:spcPts val="0"/>
              </a:spcBef>
              <a:buNone/>
              <a:defRPr sz="1100"/>
            </a:lvl3pPr>
            <a:lvl4pPr marL="1028184" indent="0">
              <a:lnSpc>
                <a:spcPts val="1350"/>
              </a:lnSpc>
              <a:spcBef>
                <a:spcPts val="0"/>
              </a:spcBef>
              <a:buNone/>
              <a:defRPr sz="1100"/>
            </a:lvl4pPr>
            <a:lvl5pPr marL="1370912" indent="0">
              <a:lnSpc>
                <a:spcPts val="1350"/>
              </a:lnSpc>
              <a:spcBef>
                <a:spcPts val="0"/>
              </a:spcBef>
              <a:buNone/>
              <a:defRPr sz="1100"/>
            </a:lvl5pPr>
          </a:lstStyle>
          <a:p>
            <a:pPr lvl="0"/>
            <a:r>
              <a:rPr lang="en-US"/>
              <a:t>This is your Secondary text. </a:t>
            </a:r>
          </a:p>
        </p:txBody>
      </p:sp>
      <p:sp>
        <p:nvSpPr>
          <p:cNvPr id="22" name="タイトル プレースホルダ 1">
            <a:extLst>
              <a:ext uri="{FF2B5EF4-FFF2-40B4-BE49-F238E27FC236}">
                <a16:creationId xmlns="" xmlns:a16="http://schemas.microsoft.com/office/drawing/2014/main" id="{1545CFCD-ABA6-1349-9917-1DDD2762CB59}"/>
              </a:ext>
            </a:extLst>
          </p:cNvPr>
          <p:cNvSpPr>
            <a:spLocks noGrp="1"/>
          </p:cNvSpPr>
          <p:nvPr>
            <p:ph type="title" hasCustomPrompt="1"/>
          </p:nvPr>
        </p:nvSpPr>
        <p:spPr>
          <a:xfrm>
            <a:off x="454559" y="121208"/>
            <a:ext cx="7455190" cy="51435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1" name="Rectangle 20">
            <a:extLst>
              <a:ext uri="{FF2B5EF4-FFF2-40B4-BE49-F238E27FC236}">
                <a16:creationId xmlns="" xmlns:a16="http://schemas.microsoft.com/office/drawing/2014/main" id="{97730F84-B57E-C441-B81C-A0677388FA64}"/>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67" tIns="34289" rIns="68567" bIns="34289" rtlCol="0" anchor="ctr"/>
          <a:lstStyle/>
          <a:p>
            <a:pPr algn="ctr" defTabSz="685647"/>
            <a:endParaRPr kumimoji="1" lang="x-none" sz="1400">
              <a:solidFill>
                <a:srgbClr val="E1242A"/>
              </a:solidFill>
            </a:endParaRPr>
          </a:p>
        </p:txBody>
      </p:sp>
      <p:sp>
        <p:nvSpPr>
          <p:cNvPr id="25" name="スライド番号プレースホルダ 5">
            <a:extLst>
              <a:ext uri="{FF2B5EF4-FFF2-40B4-BE49-F238E27FC236}">
                <a16:creationId xmlns="" xmlns:a16="http://schemas.microsoft.com/office/drawing/2014/main" id="{78815F79-70B9-A343-88C1-1B41F15106A1}"/>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3905"/>
            <a:fld id="{E9B57936-92EF-4126-AE48-1D9D36D15E98}" type="slidenum">
              <a:rPr lang="ja-JP" altLang="en-US" smtClean="0">
                <a:solidFill>
                  <a:srgbClr val="34373F"/>
                </a:solidFill>
              </a:rPr>
              <a:pPr defTabSz="913905"/>
              <a:t>‹Nº›</a:t>
            </a:fld>
            <a:endParaRPr lang="ja-JP" altLang="en-US">
              <a:solidFill>
                <a:srgbClr val="34373F"/>
              </a:solidFill>
            </a:endParaRPr>
          </a:p>
        </p:txBody>
      </p:sp>
      <p:sp>
        <p:nvSpPr>
          <p:cNvPr id="17" name="Text Placeholder 2">
            <a:extLst>
              <a:ext uri="{FF2B5EF4-FFF2-40B4-BE49-F238E27FC236}">
                <a16:creationId xmlns="" xmlns:a16="http://schemas.microsoft.com/office/drawing/2014/main" id="{EF3CD883-F623-E54C-A27A-38B7EB957052}"/>
              </a:ext>
            </a:extLst>
          </p:cNvPr>
          <p:cNvSpPr>
            <a:spLocks noGrp="1"/>
          </p:cNvSpPr>
          <p:nvPr>
            <p:ph type="body" sz="quarter" idx="20" hasCustomPrompt="1"/>
          </p:nvPr>
        </p:nvSpPr>
        <p:spPr>
          <a:xfrm>
            <a:off x="233363" y="1118532"/>
            <a:ext cx="2813974" cy="1098718"/>
          </a:xfrm>
        </p:spPr>
        <p:txBody>
          <a:bodyPr tIns="0" rIns="0" bIns="0" numCol="1" spcCol="94482">
            <a:noAutofit/>
          </a:bodyPr>
          <a:lstStyle>
            <a:lvl1pPr marL="0" indent="0">
              <a:lnSpc>
                <a:spcPct val="100000"/>
              </a:lnSpc>
              <a:spcBef>
                <a:spcPts val="0"/>
              </a:spcBef>
              <a:buNone/>
              <a:defRPr sz="1200" b="1"/>
            </a:lvl1pPr>
            <a:lvl2pPr marL="342722" indent="0">
              <a:buNone/>
              <a:defRPr sz="1400" b="1"/>
            </a:lvl2pPr>
            <a:lvl3pPr marL="685459" indent="0">
              <a:buNone/>
              <a:defRPr sz="1400" b="1"/>
            </a:lvl3pPr>
            <a:lvl4pPr marL="1028184" indent="0">
              <a:buNone/>
              <a:defRPr sz="1400" b="1"/>
            </a:lvl4pPr>
            <a:lvl5pPr marL="1370912" indent="0">
              <a:buNone/>
              <a:defRPr sz="1400" b="1"/>
            </a:lvl5pPr>
          </a:lstStyle>
          <a:p>
            <a:pPr lvl="0"/>
            <a:r>
              <a:rPr lang="en-US"/>
              <a:t>This is your Primary Text.</a:t>
            </a:r>
            <a:endParaRPr lang="x-none"/>
          </a:p>
        </p:txBody>
      </p:sp>
      <p:sp>
        <p:nvSpPr>
          <p:cNvPr id="18" name="Text Placeholder 6">
            <a:extLst>
              <a:ext uri="{FF2B5EF4-FFF2-40B4-BE49-F238E27FC236}">
                <a16:creationId xmlns="" xmlns:a16="http://schemas.microsoft.com/office/drawing/2014/main" id="{B2D601E3-CC68-7845-AAF4-3AD141198B4E}"/>
              </a:ext>
            </a:extLst>
          </p:cNvPr>
          <p:cNvSpPr>
            <a:spLocks noGrp="1"/>
          </p:cNvSpPr>
          <p:nvPr>
            <p:ph type="body" sz="quarter" idx="21" hasCustomPrompt="1"/>
          </p:nvPr>
        </p:nvSpPr>
        <p:spPr>
          <a:xfrm>
            <a:off x="233363" y="820327"/>
            <a:ext cx="2813974" cy="204590"/>
          </a:xfrm>
        </p:spPr>
        <p:txBody>
          <a:bodyPr tIns="0" rIns="0" bIns="0" numCol="1">
            <a:noAutofit/>
          </a:bodyPr>
          <a:lstStyle>
            <a:lvl1pPr marL="0" indent="0">
              <a:lnSpc>
                <a:spcPct val="100000"/>
              </a:lnSpc>
              <a:spcBef>
                <a:spcPts val="0"/>
              </a:spcBef>
              <a:spcAft>
                <a:spcPts val="450"/>
              </a:spcAft>
              <a:buNone/>
              <a:defRPr sz="1500" b="1">
                <a:solidFill>
                  <a:schemeClr val="accent1"/>
                </a:solidFill>
              </a:defRPr>
            </a:lvl1pPr>
            <a:lvl2pPr marL="342722" indent="0">
              <a:lnSpc>
                <a:spcPts val="1350"/>
              </a:lnSpc>
              <a:spcBef>
                <a:spcPts val="0"/>
              </a:spcBef>
              <a:buNone/>
              <a:defRPr sz="1100"/>
            </a:lvl2pPr>
            <a:lvl3pPr marL="685459" indent="0">
              <a:lnSpc>
                <a:spcPts val="1350"/>
              </a:lnSpc>
              <a:spcBef>
                <a:spcPts val="0"/>
              </a:spcBef>
              <a:buNone/>
              <a:defRPr sz="1100"/>
            </a:lvl3pPr>
            <a:lvl4pPr marL="1028184" indent="0">
              <a:lnSpc>
                <a:spcPts val="1350"/>
              </a:lnSpc>
              <a:spcBef>
                <a:spcPts val="0"/>
              </a:spcBef>
              <a:buNone/>
              <a:defRPr sz="1100"/>
            </a:lvl4pPr>
            <a:lvl5pPr marL="1370912" indent="0">
              <a:lnSpc>
                <a:spcPts val="1350"/>
              </a:lnSpc>
              <a:spcBef>
                <a:spcPts val="0"/>
              </a:spcBef>
              <a:buNone/>
              <a:defRPr sz="1100"/>
            </a:lvl5pPr>
          </a:lstStyle>
          <a:p>
            <a:pPr lvl="0"/>
            <a:r>
              <a:rPr lang="en-US"/>
              <a:t>This is your Primary Title</a:t>
            </a:r>
          </a:p>
        </p:txBody>
      </p:sp>
      <p:pic>
        <p:nvPicPr>
          <p:cNvPr id="14" name="Picture 13">
            <a:extLst>
              <a:ext uri="{FF2B5EF4-FFF2-40B4-BE49-F238E27FC236}">
                <a16:creationId xmlns="" xmlns:a16="http://schemas.microsoft.com/office/drawing/2014/main" id="{0D62AF91-6C53-4FF5-8D55-F4D46E6F043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937746" y="4604928"/>
            <a:ext cx="1008126" cy="603504"/>
          </a:xfrm>
          <a:prstGeom prst="rect">
            <a:avLst/>
          </a:prstGeom>
        </p:spPr>
      </p:pic>
    </p:spTree>
    <p:extLst>
      <p:ext uri="{BB962C8B-B14F-4D97-AF65-F5344CB8AC3E}">
        <p14:creationId xmlns:p14="http://schemas.microsoft.com/office/powerpoint/2010/main" val="1745432046"/>
      </p:ext>
    </p:extLst>
  </p:cSld>
  <p:clrMapOvr>
    <a:masterClrMapping/>
  </p:clrMapOvr>
  <p:transition spd="slow">
    <p:push dir="u"/>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Advanced 1/2 Image (Full Bleed)">
    <p:spTree>
      <p:nvGrpSpPr>
        <p:cNvPr id="1" name=""/>
        <p:cNvGrpSpPr/>
        <p:nvPr/>
      </p:nvGrpSpPr>
      <p:grpSpPr>
        <a:xfrm>
          <a:off x="0" y="0"/>
          <a:ext cx="0" cy="0"/>
          <a:chOff x="0" y="0"/>
          <a:chExt cx="0" cy="0"/>
        </a:xfrm>
      </p:grpSpPr>
      <p:sp>
        <p:nvSpPr>
          <p:cNvPr id="13" name="Picture Placeholder 9">
            <a:extLst>
              <a:ext uri="{FF2B5EF4-FFF2-40B4-BE49-F238E27FC236}">
                <a16:creationId xmlns="" xmlns:a16="http://schemas.microsoft.com/office/drawing/2014/main" id="{DA0F537B-2380-C640-8119-936AD7786464}"/>
              </a:ext>
            </a:extLst>
          </p:cNvPr>
          <p:cNvSpPr>
            <a:spLocks noGrp="1"/>
          </p:cNvSpPr>
          <p:nvPr>
            <p:ph type="pic" sz="quarter" idx="18" hasCustomPrompt="1"/>
          </p:nvPr>
        </p:nvSpPr>
        <p:spPr>
          <a:xfrm>
            <a:off x="4639091" y="-4119"/>
            <a:ext cx="4518288" cy="5147621"/>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4384"/>
              <a:gd name="connsiteY0" fmla="*/ 0 h 6857810"/>
              <a:gd name="connsiteX1" fmla="*/ 6015601 w 6024384"/>
              <a:gd name="connsiteY1" fmla="*/ 1730351 h 6857810"/>
              <a:gd name="connsiteX2" fmla="*/ 6024384 w 6024384"/>
              <a:gd name="connsiteY2" fmla="*/ 6857810 h 6857810"/>
              <a:gd name="connsiteX3" fmla="*/ 583404 w 6024384"/>
              <a:gd name="connsiteY3" fmla="*/ 6847589 h 6857810"/>
              <a:gd name="connsiteX4" fmla="*/ 3682 w 6024384"/>
              <a:gd name="connsiteY4" fmla="*/ 6267867 h 6857810"/>
              <a:gd name="connsiteX5" fmla="*/ 0 w 6024384"/>
              <a:gd name="connsiteY5" fmla="*/ 0 h 6857810"/>
              <a:gd name="connsiteX0" fmla="*/ 0 w 6024384"/>
              <a:gd name="connsiteY0" fmla="*/ 5684 h 6863494"/>
              <a:gd name="connsiteX1" fmla="*/ 6002349 w 6024384"/>
              <a:gd name="connsiteY1" fmla="*/ 0 h 6863494"/>
              <a:gd name="connsiteX2" fmla="*/ 6024384 w 6024384"/>
              <a:gd name="connsiteY2" fmla="*/ 6863494 h 6863494"/>
              <a:gd name="connsiteX3" fmla="*/ 583404 w 6024384"/>
              <a:gd name="connsiteY3" fmla="*/ 6853273 h 6863494"/>
              <a:gd name="connsiteX4" fmla="*/ 3682 w 6024384"/>
              <a:gd name="connsiteY4" fmla="*/ 6273551 h 6863494"/>
              <a:gd name="connsiteX5" fmla="*/ 0 w 6024384"/>
              <a:gd name="connsiteY5" fmla="*/ 5684 h 6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24384" h="6863494">
                <a:moveTo>
                  <a:pt x="0" y="5684"/>
                </a:moveTo>
                <a:lnTo>
                  <a:pt x="6002349" y="0"/>
                </a:lnTo>
                <a:cubicBezTo>
                  <a:pt x="6003254" y="2146807"/>
                  <a:pt x="6023479" y="4716687"/>
                  <a:pt x="6024384" y="6863494"/>
                </a:cubicBezTo>
                <a:lnTo>
                  <a:pt x="583404" y="6853273"/>
                </a:lnTo>
                <a:cubicBezTo>
                  <a:pt x="263232" y="6853273"/>
                  <a:pt x="3682" y="6593723"/>
                  <a:pt x="3682" y="6273551"/>
                </a:cubicBezTo>
                <a:cubicBezTo>
                  <a:pt x="-1963" y="4751114"/>
                  <a:pt x="5645" y="1528121"/>
                  <a:pt x="0" y="5684"/>
                </a:cubicBezTo>
                <a:close/>
              </a:path>
            </a:pathLst>
          </a:custGeom>
          <a:noFill/>
        </p:spPr>
        <p:txBody>
          <a:bodyPr>
            <a:normAutofit/>
          </a:bodyPr>
          <a:lstStyle>
            <a:lvl1pPr marL="0" indent="0">
              <a:buNone/>
              <a:defRPr sz="1100">
                <a:solidFill>
                  <a:schemeClr val="tx1"/>
                </a:solidFill>
              </a:defRPr>
            </a:lvl1pPr>
          </a:lstStyle>
          <a:p>
            <a:r>
              <a:rPr lang="x-none"/>
              <a:t>Insert Photo</a:t>
            </a:r>
          </a:p>
        </p:txBody>
      </p:sp>
      <p:sp>
        <p:nvSpPr>
          <p:cNvPr id="7" name="Text Placeholder 6">
            <a:extLst>
              <a:ext uri="{FF2B5EF4-FFF2-40B4-BE49-F238E27FC236}">
                <a16:creationId xmlns="" xmlns:a16="http://schemas.microsoft.com/office/drawing/2014/main" id="{65925D82-457F-D84D-B8DF-D8ADFD7E71DF}"/>
              </a:ext>
            </a:extLst>
          </p:cNvPr>
          <p:cNvSpPr>
            <a:spLocks noGrp="1"/>
          </p:cNvSpPr>
          <p:nvPr>
            <p:ph type="body" sz="quarter" idx="14" hasCustomPrompt="1"/>
          </p:nvPr>
        </p:nvSpPr>
        <p:spPr>
          <a:xfrm>
            <a:off x="233362" y="2383723"/>
            <a:ext cx="4281488" cy="204590"/>
          </a:xfrm>
          <a:prstGeom prst="rect">
            <a:avLst/>
          </a:prstGeom>
        </p:spPr>
        <p:txBody>
          <a:bodyPr tIns="0" rIns="0" bIns="0" numCol="1">
            <a:noAutofit/>
          </a:bodyPr>
          <a:lstStyle>
            <a:lvl1pPr marL="0" indent="0">
              <a:lnSpc>
                <a:spcPct val="100000"/>
              </a:lnSpc>
              <a:spcBef>
                <a:spcPts val="0"/>
              </a:spcBef>
              <a:spcAft>
                <a:spcPts val="450"/>
              </a:spcAft>
              <a:buNone/>
              <a:defRPr sz="1400" b="1">
                <a:solidFill>
                  <a:schemeClr val="accent1"/>
                </a:solidFill>
              </a:defRPr>
            </a:lvl1pPr>
            <a:lvl2pPr marL="342722" indent="0">
              <a:lnSpc>
                <a:spcPts val="1350"/>
              </a:lnSpc>
              <a:spcBef>
                <a:spcPts val="0"/>
              </a:spcBef>
              <a:buNone/>
              <a:defRPr sz="1100"/>
            </a:lvl2pPr>
            <a:lvl3pPr marL="685459" indent="0">
              <a:lnSpc>
                <a:spcPts val="1350"/>
              </a:lnSpc>
              <a:spcBef>
                <a:spcPts val="0"/>
              </a:spcBef>
              <a:buNone/>
              <a:defRPr sz="1100"/>
            </a:lvl3pPr>
            <a:lvl4pPr marL="1028184" indent="0">
              <a:lnSpc>
                <a:spcPts val="1350"/>
              </a:lnSpc>
              <a:spcBef>
                <a:spcPts val="0"/>
              </a:spcBef>
              <a:buNone/>
              <a:defRPr sz="1100"/>
            </a:lvl4pPr>
            <a:lvl5pPr marL="1370912" indent="0">
              <a:lnSpc>
                <a:spcPts val="1350"/>
              </a:lnSpc>
              <a:spcBef>
                <a:spcPts val="0"/>
              </a:spcBef>
              <a:buNone/>
              <a:defRPr sz="1100"/>
            </a:lvl5pPr>
          </a:lstStyle>
          <a:p>
            <a:pPr lvl="0"/>
            <a:r>
              <a:rPr lang="en-US"/>
              <a:t>This is your Secondary Title</a:t>
            </a:r>
          </a:p>
        </p:txBody>
      </p:sp>
      <p:sp>
        <p:nvSpPr>
          <p:cNvPr id="12" name="Text Placeholder 6">
            <a:extLst>
              <a:ext uri="{FF2B5EF4-FFF2-40B4-BE49-F238E27FC236}">
                <a16:creationId xmlns="" xmlns:a16="http://schemas.microsoft.com/office/drawing/2014/main" id="{FD2406EE-A554-5348-AE6D-4D8B343E6201}"/>
              </a:ext>
            </a:extLst>
          </p:cNvPr>
          <p:cNvSpPr>
            <a:spLocks noGrp="1"/>
          </p:cNvSpPr>
          <p:nvPr>
            <p:ph type="body" sz="quarter" idx="15" hasCustomPrompt="1"/>
          </p:nvPr>
        </p:nvSpPr>
        <p:spPr>
          <a:xfrm>
            <a:off x="233362" y="2681930"/>
            <a:ext cx="4281488" cy="2144715"/>
          </a:xfrm>
          <a:prstGeom prst="rect">
            <a:avLst/>
          </a:prstGeom>
        </p:spPr>
        <p:txBody>
          <a:bodyPr tIns="0" rIns="0" bIns="0" numCol="1">
            <a:noAutofit/>
          </a:bodyPr>
          <a:lstStyle>
            <a:lvl1pPr marL="128561" indent="-128561">
              <a:lnSpc>
                <a:spcPct val="100000"/>
              </a:lnSpc>
              <a:spcBef>
                <a:spcPts val="0"/>
              </a:spcBef>
              <a:spcAft>
                <a:spcPts val="450"/>
              </a:spcAft>
              <a:buFont typeface="Arial" panose="020B0604020202020204" pitchFamily="34" charset="0"/>
              <a:buChar char="•"/>
              <a:defRPr sz="1100" b="0">
                <a:solidFill>
                  <a:schemeClr val="tx1"/>
                </a:solidFill>
              </a:defRPr>
            </a:lvl1pPr>
            <a:lvl2pPr marL="342722" indent="0">
              <a:lnSpc>
                <a:spcPts val="1350"/>
              </a:lnSpc>
              <a:spcBef>
                <a:spcPts val="0"/>
              </a:spcBef>
              <a:buNone/>
              <a:defRPr sz="1100"/>
            </a:lvl2pPr>
            <a:lvl3pPr marL="685459" indent="0">
              <a:lnSpc>
                <a:spcPts val="1350"/>
              </a:lnSpc>
              <a:spcBef>
                <a:spcPts val="0"/>
              </a:spcBef>
              <a:buNone/>
              <a:defRPr sz="1100"/>
            </a:lvl3pPr>
            <a:lvl4pPr marL="1028184" indent="0">
              <a:lnSpc>
                <a:spcPts val="1350"/>
              </a:lnSpc>
              <a:spcBef>
                <a:spcPts val="0"/>
              </a:spcBef>
              <a:buNone/>
              <a:defRPr sz="1100"/>
            </a:lvl4pPr>
            <a:lvl5pPr marL="1370912" indent="0">
              <a:lnSpc>
                <a:spcPts val="1350"/>
              </a:lnSpc>
              <a:spcBef>
                <a:spcPts val="0"/>
              </a:spcBef>
              <a:buNone/>
              <a:defRPr sz="1100"/>
            </a:lvl5pPr>
          </a:lstStyle>
          <a:p>
            <a:pPr lvl="0"/>
            <a:r>
              <a:rPr lang="en-US"/>
              <a:t>This is your Secondary text. </a:t>
            </a:r>
          </a:p>
        </p:txBody>
      </p:sp>
      <p:sp>
        <p:nvSpPr>
          <p:cNvPr id="17" name="タイトル プレースホルダ 1">
            <a:extLst>
              <a:ext uri="{FF2B5EF4-FFF2-40B4-BE49-F238E27FC236}">
                <a16:creationId xmlns="" xmlns:a16="http://schemas.microsoft.com/office/drawing/2014/main" id="{86D6FEA8-06E4-474A-8491-CD1DDAE7D0D7}"/>
              </a:ext>
            </a:extLst>
          </p:cNvPr>
          <p:cNvSpPr>
            <a:spLocks noGrp="1"/>
          </p:cNvSpPr>
          <p:nvPr>
            <p:ph type="title" hasCustomPrompt="1"/>
          </p:nvPr>
        </p:nvSpPr>
        <p:spPr>
          <a:xfrm>
            <a:off x="454559" y="121208"/>
            <a:ext cx="4060292" cy="51435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 xmlns:a16="http://schemas.microsoft.com/office/drawing/2014/main" id="{CEDBCF76-3461-2245-8BB1-FA50AE27F6CA}"/>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67" tIns="34289" rIns="68567" bIns="34289" rtlCol="0" anchor="ctr"/>
          <a:lstStyle/>
          <a:p>
            <a:pPr algn="ctr" defTabSz="685647"/>
            <a:endParaRPr kumimoji="1" lang="x-none" sz="1400">
              <a:solidFill>
                <a:srgbClr val="E1242A"/>
              </a:solidFill>
            </a:endParaRPr>
          </a:p>
        </p:txBody>
      </p:sp>
      <p:sp>
        <p:nvSpPr>
          <p:cNvPr id="22" name="スライド番号プレースホルダ 5">
            <a:extLst>
              <a:ext uri="{FF2B5EF4-FFF2-40B4-BE49-F238E27FC236}">
                <a16:creationId xmlns="" xmlns:a16="http://schemas.microsoft.com/office/drawing/2014/main" id="{FB98B4FE-9AC1-D142-89B5-4D3791685BC1}"/>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3905"/>
            <a:fld id="{E9B57936-92EF-4126-AE48-1D9D36D15E98}" type="slidenum">
              <a:rPr lang="ja-JP" altLang="en-US" smtClean="0">
                <a:solidFill>
                  <a:srgbClr val="34373F"/>
                </a:solidFill>
              </a:rPr>
              <a:pPr defTabSz="913905"/>
              <a:t>‹Nº›</a:t>
            </a:fld>
            <a:endParaRPr lang="ja-JP" altLang="en-US">
              <a:solidFill>
                <a:srgbClr val="34373F"/>
              </a:solidFill>
            </a:endParaRPr>
          </a:p>
        </p:txBody>
      </p:sp>
      <p:sp>
        <p:nvSpPr>
          <p:cNvPr id="19" name="Text Placeholder 2">
            <a:extLst>
              <a:ext uri="{FF2B5EF4-FFF2-40B4-BE49-F238E27FC236}">
                <a16:creationId xmlns="" xmlns:a16="http://schemas.microsoft.com/office/drawing/2014/main" id="{D16C870C-B0F9-5A43-81FD-66BD75CC33C7}"/>
              </a:ext>
            </a:extLst>
          </p:cNvPr>
          <p:cNvSpPr>
            <a:spLocks noGrp="1"/>
          </p:cNvSpPr>
          <p:nvPr>
            <p:ph type="body" sz="quarter" idx="20" hasCustomPrompt="1"/>
          </p:nvPr>
        </p:nvSpPr>
        <p:spPr>
          <a:xfrm>
            <a:off x="233367" y="1118532"/>
            <a:ext cx="4278665" cy="1098718"/>
          </a:xfrm>
        </p:spPr>
        <p:txBody>
          <a:bodyPr tIns="0" rIns="0" bIns="0" numCol="1" spcCol="94482">
            <a:noAutofit/>
          </a:bodyPr>
          <a:lstStyle>
            <a:lvl1pPr marL="0" indent="0">
              <a:lnSpc>
                <a:spcPct val="100000"/>
              </a:lnSpc>
              <a:spcBef>
                <a:spcPts val="0"/>
              </a:spcBef>
              <a:buNone/>
              <a:defRPr sz="1200" b="1"/>
            </a:lvl1pPr>
            <a:lvl2pPr marL="342722" indent="0">
              <a:buNone/>
              <a:defRPr sz="1400" b="1"/>
            </a:lvl2pPr>
            <a:lvl3pPr marL="685459" indent="0">
              <a:buNone/>
              <a:defRPr sz="1400" b="1"/>
            </a:lvl3pPr>
            <a:lvl4pPr marL="1028184" indent="0">
              <a:buNone/>
              <a:defRPr sz="1400" b="1"/>
            </a:lvl4pPr>
            <a:lvl5pPr marL="1370912" indent="0">
              <a:buNone/>
              <a:defRPr sz="1400" b="1"/>
            </a:lvl5pPr>
          </a:lstStyle>
          <a:p>
            <a:pPr lvl="0"/>
            <a:r>
              <a:rPr lang="en-US"/>
              <a:t>This is your Primary Text.</a:t>
            </a:r>
            <a:endParaRPr lang="x-none"/>
          </a:p>
        </p:txBody>
      </p:sp>
      <p:sp>
        <p:nvSpPr>
          <p:cNvPr id="20" name="Text Placeholder 6">
            <a:extLst>
              <a:ext uri="{FF2B5EF4-FFF2-40B4-BE49-F238E27FC236}">
                <a16:creationId xmlns="" xmlns:a16="http://schemas.microsoft.com/office/drawing/2014/main" id="{C64E591A-1A88-9244-AC81-5B42BFE347C0}"/>
              </a:ext>
            </a:extLst>
          </p:cNvPr>
          <p:cNvSpPr>
            <a:spLocks noGrp="1"/>
          </p:cNvSpPr>
          <p:nvPr>
            <p:ph type="body" sz="quarter" idx="21" hasCustomPrompt="1"/>
          </p:nvPr>
        </p:nvSpPr>
        <p:spPr>
          <a:xfrm>
            <a:off x="233367" y="820327"/>
            <a:ext cx="4278665" cy="204590"/>
          </a:xfrm>
        </p:spPr>
        <p:txBody>
          <a:bodyPr tIns="0" rIns="0" bIns="0" numCol="1">
            <a:noAutofit/>
          </a:bodyPr>
          <a:lstStyle>
            <a:lvl1pPr marL="0" indent="0">
              <a:lnSpc>
                <a:spcPct val="100000"/>
              </a:lnSpc>
              <a:spcBef>
                <a:spcPts val="0"/>
              </a:spcBef>
              <a:spcAft>
                <a:spcPts val="450"/>
              </a:spcAft>
              <a:buNone/>
              <a:defRPr sz="1500" b="1">
                <a:solidFill>
                  <a:schemeClr val="accent1"/>
                </a:solidFill>
              </a:defRPr>
            </a:lvl1pPr>
            <a:lvl2pPr marL="342722" indent="0">
              <a:lnSpc>
                <a:spcPts val="1350"/>
              </a:lnSpc>
              <a:spcBef>
                <a:spcPts val="0"/>
              </a:spcBef>
              <a:buNone/>
              <a:defRPr sz="1100"/>
            </a:lvl2pPr>
            <a:lvl3pPr marL="685459" indent="0">
              <a:lnSpc>
                <a:spcPts val="1350"/>
              </a:lnSpc>
              <a:spcBef>
                <a:spcPts val="0"/>
              </a:spcBef>
              <a:buNone/>
              <a:defRPr sz="1100"/>
            </a:lvl3pPr>
            <a:lvl4pPr marL="1028184" indent="0">
              <a:lnSpc>
                <a:spcPts val="1350"/>
              </a:lnSpc>
              <a:spcBef>
                <a:spcPts val="0"/>
              </a:spcBef>
              <a:buNone/>
              <a:defRPr sz="1100"/>
            </a:lvl4pPr>
            <a:lvl5pPr marL="1370912" indent="0">
              <a:lnSpc>
                <a:spcPts val="1350"/>
              </a:lnSpc>
              <a:spcBef>
                <a:spcPts val="0"/>
              </a:spcBef>
              <a:buNone/>
              <a:defRPr sz="1100"/>
            </a:lvl5pPr>
          </a:lstStyle>
          <a:p>
            <a:pPr lvl="0"/>
            <a:r>
              <a:rPr lang="en-US"/>
              <a:t>This is your Primary Title</a:t>
            </a:r>
          </a:p>
        </p:txBody>
      </p:sp>
      <p:pic>
        <p:nvPicPr>
          <p:cNvPr id="11" name="Picture 12" descr="Takeda_Logo_Pos_RGB.emf">
            <a:extLst>
              <a:ext uri="{FF2B5EF4-FFF2-40B4-BE49-F238E27FC236}">
                <a16:creationId xmlns="" xmlns:a16="http://schemas.microsoft.com/office/drawing/2014/main" id="{2AEDAE79-781E-40D8-BF62-BFA4C5C405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7975658" y="233604"/>
            <a:ext cx="772806" cy="259904"/>
          </a:xfrm>
          <a:prstGeom prst="rect">
            <a:avLst/>
          </a:prstGeom>
          <a:noFill/>
          <a:ln w="9525">
            <a:noFill/>
            <a:miter lim="800000"/>
            <a:headEnd/>
            <a:tailEnd/>
          </a:ln>
        </p:spPr>
      </p:pic>
      <p:pic>
        <p:nvPicPr>
          <p:cNvPr id="14" name="Picture 13">
            <a:extLst>
              <a:ext uri="{FF2B5EF4-FFF2-40B4-BE49-F238E27FC236}">
                <a16:creationId xmlns="" xmlns:a16="http://schemas.microsoft.com/office/drawing/2014/main" id="{20D157AC-FF47-45BB-A8D8-96FE114B6BA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937746" y="4604928"/>
            <a:ext cx="1008126" cy="603504"/>
          </a:xfrm>
          <a:prstGeom prst="rect">
            <a:avLst/>
          </a:prstGeom>
        </p:spPr>
      </p:pic>
    </p:spTree>
    <p:extLst>
      <p:ext uri="{BB962C8B-B14F-4D97-AF65-F5344CB8AC3E}">
        <p14:creationId xmlns:p14="http://schemas.microsoft.com/office/powerpoint/2010/main" val="1803052373"/>
      </p:ext>
    </p:extLst>
  </p:cSld>
  <p:clrMapOvr>
    <a:masterClrMapping/>
  </p:clrMapOvr>
  <p:transition spd="slow">
    <p:push dir="u"/>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Advanced 1/3 Image">
    <p:spTree>
      <p:nvGrpSpPr>
        <p:cNvPr id="1" name=""/>
        <p:cNvGrpSpPr/>
        <p:nvPr/>
      </p:nvGrpSpPr>
      <p:grpSpPr>
        <a:xfrm>
          <a:off x="0" y="0"/>
          <a:ext cx="0" cy="0"/>
          <a:chOff x="0" y="0"/>
          <a:chExt cx="0" cy="0"/>
        </a:xfrm>
      </p:grpSpPr>
      <p:sp>
        <p:nvSpPr>
          <p:cNvPr id="7" name="Text Placeholder 6">
            <a:extLst>
              <a:ext uri="{FF2B5EF4-FFF2-40B4-BE49-F238E27FC236}">
                <a16:creationId xmlns="" xmlns:a16="http://schemas.microsoft.com/office/drawing/2014/main" id="{65925D82-457F-D84D-B8DF-D8ADFD7E71DF}"/>
              </a:ext>
            </a:extLst>
          </p:cNvPr>
          <p:cNvSpPr>
            <a:spLocks noGrp="1"/>
          </p:cNvSpPr>
          <p:nvPr>
            <p:ph type="body" sz="quarter" idx="14" hasCustomPrompt="1"/>
          </p:nvPr>
        </p:nvSpPr>
        <p:spPr>
          <a:xfrm>
            <a:off x="233362" y="2383723"/>
            <a:ext cx="5745032" cy="204590"/>
          </a:xfrm>
          <a:prstGeom prst="rect">
            <a:avLst/>
          </a:prstGeom>
        </p:spPr>
        <p:txBody>
          <a:bodyPr tIns="0" rIns="0" bIns="0" numCol="1">
            <a:noAutofit/>
          </a:bodyPr>
          <a:lstStyle>
            <a:lvl1pPr marL="0" indent="0">
              <a:lnSpc>
                <a:spcPct val="100000"/>
              </a:lnSpc>
              <a:spcBef>
                <a:spcPts val="0"/>
              </a:spcBef>
              <a:spcAft>
                <a:spcPts val="450"/>
              </a:spcAft>
              <a:buNone/>
              <a:defRPr sz="1400" b="1">
                <a:solidFill>
                  <a:schemeClr val="accent1"/>
                </a:solidFill>
              </a:defRPr>
            </a:lvl1pPr>
            <a:lvl2pPr marL="342722" indent="0">
              <a:lnSpc>
                <a:spcPts val="1350"/>
              </a:lnSpc>
              <a:spcBef>
                <a:spcPts val="0"/>
              </a:spcBef>
              <a:buNone/>
              <a:defRPr sz="1100"/>
            </a:lvl2pPr>
            <a:lvl3pPr marL="685459" indent="0">
              <a:lnSpc>
                <a:spcPts val="1350"/>
              </a:lnSpc>
              <a:spcBef>
                <a:spcPts val="0"/>
              </a:spcBef>
              <a:buNone/>
              <a:defRPr sz="1100"/>
            </a:lvl3pPr>
            <a:lvl4pPr marL="1028184" indent="0">
              <a:lnSpc>
                <a:spcPts val="1350"/>
              </a:lnSpc>
              <a:spcBef>
                <a:spcPts val="0"/>
              </a:spcBef>
              <a:buNone/>
              <a:defRPr sz="1100"/>
            </a:lvl4pPr>
            <a:lvl5pPr marL="1370912" indent="0">
              <a:lnSpc>
                <a:spcPts val="1350"/>
              </a:lnSpc>
              <a:spcBef>
                <a:spcPts val="0"/>
              </a:spcBef>
              <a:buNone/>
              <a:defRPr sz="1100"/>
            </a:lvl5pPr>
          </a:lstStyle>
          <a:p>
            <a:pPr lvl="0"/>
            <a:r>
              <a:rPr lang="en-US"/>
              <a:t>This is your Secondary Title</a:t>
            </a:r>
          </a:p>
        </p:txBody>
      </p:sp>
      <p:sp>
        <p:nvSpPr>
          <p:cNvPr id="12" name="Text Placeholder 6">
            <a:extLst>
              <a:ext uri="{FF2B5EF4-FFF2-40B4-BE49-F238E27FC236}">
                <a16:creationId xmlns="" xmlns:a16="http://schemas.microsoft.com/office/drawing/2014/main" id="{FD2406EE-A554-5348-AE6D-4D8B343E6201}"/>
              </a:ext>
            </a:extLst>
          </p:cNvPr>
          <p:cNvSpPr>
            <a:spLocks noGrp="1"/>
          </p:cNvSpPr>
          <p:nvPr>
            <p:ph type="body" sz="quarter" idx="15" hasCustomPrompt="1"/>
          </p:nvPr>
        </p:nvSpPr>
        <p:spPr>
          <a:xfrm>
            <a:off x="233364" y="2681928"/>
            <a:ext cx="5747855" cy="2144716"/>
          </a:xfrm>
          <a:prstGeom prst="rect">
            <a:avLst/>
          </a:prstGeom>
        </p:spPr>
        <p:txBody>
          <a:bodyPr tIns="0" rIns="0" bIns="0" numCol="2" spcCol="94482">
            <a:noAutofit/>
          </a:bodyPr>
          <a:lstStyle>
            <a:lvl1pPr marL="128561" indent="-128561">
              <a:lnSpc>
                <a:spcPct val="100000"/>
              </a:lnSpc>
              <a:spcBef>
                <a:spcPts val="0"/>
              </a:spcBef>
              <a:spcAft>
                <a:spcPts val="450"/>
              </a:spcAft>
              <a:buFont typeface="Arial" panose="020B0604020202020204" pitchFamily="34" charset="0"/>
              <a:buChar char="•"/>
              <a:defRPr sz="1100" b="0">
                <a:solidFill>
                  <a:schemeClr val="tx1"/>
                </a:solidFill>
              </a:defRPr>
            </a:lvl1pPr>
            <a:lvl2pPr marL="342722" indent="0">
              <a:lnSpc>
                <a:spcPts val="1350"/>
              </a:lnSpc>
              <a:spcBef>
                <a:spcPts val="0"/>
              </a:spcBef>
              <a:buNone/>
              <a:defRPr sz="1100"/>
            </a:lvl2pPr>
            <a:lvl3pPr marL="685459" indent="0">
              <a:lnSpc>
                <a:spcPts val="1350"/>
              </a:lnSpc>
              <a:spcBef>
                <a:spcPts val="0"/>
              </a:spcBef>
              <a:buNone/>
              <a:defRPr sz="1100"/>
            </a:lvl3pPr>
            <a:lvl4pPr marL="1028184" indent="0">
              <a:lnSpc>
                <a:spcPts val="1350"/>
              </a:lnSpc>
              <a:spcBef>
                <a:spcPts val="0"/>
              </a:spcBef>
              <a:buNone/>
              <a:defRPr sz="1100"/>
            </a:lvl4pPr>
            <a:lvl5pPr marL="1370912" indent="0">
              <a:lnSpc>
                <a:spcPts val="1350"/>
              </a:lnSpc>
              <a:spcBef>
                <a:spcPts val="0"/>
              </a:spcBef>
              <a:buNone/>
              <a:defRPr sz="1100"/>
            </a:lvl5pPr>
          </a:lstStyle>
          <a:p>
            <a:pPr lvl="0"/>
            <a:r>
              <a:rPr lang="en-US"/>
              <a:t>This is your Secondary text.</a:t>
            </a:r>
          </a:p>
        </p:txBody>
      </p:sp>
      <p:sp>
        <p:nvSpPr>
          <p:cNvPr id="11" name="Picture Placeholder 9">
            <a:extLst>
              <a:ext uri="{FF2B5EF4-FFF2-40B4-BE49-F238E27FC236}">
                <a16:creationId xmlns="" xmlns:a16="http://schemas.microsoft.com/office/drawing/2014/main" id="{B54C5EE8-C42D-B549-B4D4-C0F00D68A42B}"/>
              </a:ext>
            </a:extLst>
          </p:cNvPr>
          <p:cNvSpPr>
            <a:spLocks noGrp="1"/>
          </p:cNvSpPr>
          <p:nvPr>
            <p:ph type="pic" sz="quarter" idx="18" hasCustomPrompt="1"/>
          </p:nvPr>
        </p:nvSpPr>
        <p:spPr>
          <a:xfrm>
            <a:off x="6102722" y="820325"/>
            <a:ext cx="3052125" cy="3998652"/>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9500" h="5131753">
                <a:moveTo>
                  <a:pt x="0" y="6946"/>
                </a:moveTo>
                <a:lnTo>
                  <a:pt x="4069425" y="0"/>
                </a:lnTo>
                <a:cubicBezTo>
                  <a:pt x="4070330" y="2146807"/>
                  <a:pt x="4062788" y="2966138"/>
                  <a:pt x="4063693" y="5112945"/>
                </a:cubicBezTo>
                <a:lnTo>
                  <a:pt x="596656" y="5131753"/>
                </a:lnTo>
                <a:cubicBezTo>
                  <a:pt x="276484" y="5131753"/>
                  <a:pt x="16934" y="4872203"/>
                  <a:pt x="16934" y="4552031"/>
                </a:cubicBezTo>
                <a:cubicBezTo>
                  <a:pt x="11289" y="3029594"/>
                  <a:pt x="5645" y="1529383"/>
                  <a:pt x="0" y="6946"/>
                </a:cubicBezTo>
                <a:close/>
              </a:path>
            </a:pathLst>
          </a:custGeom>
          <a:noFill/>
        </p:spPr>
        <p:txBody>
          <a:bodyPr>
            <a:normAutofit/>
          </a:bodyPr>
          <a:lstStyle>
            <a:lvl1pPr marL="0" indent="0">
              <a:buNone/>
              <a:defRPr sz="1100">
                <a:solidFill>
                  <a:schemeClr val="tx1"/>
                </a:solidFill>
              </a:defRPr>
            </a:lvl1pPr>
          </a:lstStyle>
          <a:p>
            <a:r>
              <a:rPr lang="x-none"/>
              <a:t>Insert Photo</a:t>
            </a:r>
          </a:p>
        </p:txBody>
      </p:sp>
      <p:sp>
        <p:nvSpPr>
          <p:cNvPr id="17" name="タイトル プレースホルダ 1">
            <a:extLst>
              <a:ext uri="{FF2B5EF4-FFF2-40B4-BE49-F238E27FC236}">
                <a16:creationId xmlns="" xmlns:a16="http://schemas.microsoft.com/office/drawing/2014/main" id="{CCEDFD04-9A53-9241-851E-1D01DC555ACC}"/>
              </a:ext>
            </a:extLst>
          </p:cNvPr>
          <p:cNvSpPr>
            <a:spLocks noGrp="1"/>
          </p:cNvSpPr>
          <p:nvPr>
            <p:ph type="title" hasCustomPrompt="1"/>
          </p:nvPr>
        </p:nvSpPr>
        <p:spPr>
          <a:xfrm>
            <a:off x="454559" y="121208"/>
            <a:ext cx="7455190" cy="51435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3" name="Rectangle 22">
            <a:extLst>
              <a:ext uri="{FF2B5EF4-FFF2-40B4-BE49-F238E27FC236}">
                <a16:creationId xmlns="" xmlns:a16="http://schemas.microsoft.com/office/drawing/2014/main" id="{365B3EBD-E4F5-8E40-B07A-C04F3B1E7F2C}"/>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67" tIns="34289" rIns="68567" bIns="34289" rtlCol="0" anchor="ctr"/>
          <a:lstStyle/>
          <a:p>
            <a:pPr algn="ctr" defTabSz="685647"/>
            <a:endParaRPr kumimoji="1" lang="x-none" sz="1400">
              <a:solidFill>
                <a:srgbClr val="E1242A"/>
              </a:solidFill>
            </a:endParaRPr>
          </a:p>
        </p:txBody>
      </p:sp>
      <p:sp>
        <p:nvSpPr>
          <p:cNvPr id="26" name="スライド番号プレースホルダ 5">
            <a:extLst>
              <a:ext uri="{FF2B5EF4-FFF2-40B4-BE49-F238E27FC236}">
                <a16:creationId xmlns="" xmlns:a16="http://schemas.microsoft.com/office/drawing/2014/main" id="{3D5D14EF-A351-224D-8142-E1BEE44BBC99}"/>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3905"/>
            <a:fld id="{E9B57936-92EF-4126-AE48-1D9D36D15E98}" type="slidenum">
              <a:rPr lang="ja-JP" altLang="en-US" smtClean="0">
                <a:solidFill>
                  <a:srgbClr val="34373F"/>
                </a:solidFill>
              </a:rPr>
              <a:pPr defTabSz="913905"/>
              <a:t>‹Nº›</a:t>
            </a:fld>
            <a:endParaRPr lang="ja-JP" altLang="en-US">
              <a:solidFill>
                <a:srgbClr val="34373F"/>
              </a:solidFill>
            </a:endParaRPr>
          </a:p>
        </p:txBody>
      </p:sp>
      <p:sp>
        <p:nvSpPr>
          <p:cNvPr id="15" name="Text Placeholder 2">
            <a:extLst>
              <a:ext uri="{FF2B5EF4-FFF2-40B4-BE49-F238E27FC236}">
                <a16:creationId xmlns="" xmlns:a16="http://schemas.microsoft.com/office/drawing/2014/main" id="{D82FCE78-36AB-904B-98A8-CE3FFB1555E3}"/>
              </a:ext>
            </a:extLst>
          </p:cNvPr>
          <p:cNvSpPr>
            <a:spLocks noGrp="1"/>
          </p:cNvSpPr>
          <p:nvPr>
            <p:ph type="body" sz="quarter" idx="20" hasCustomPrompt="1"/>
          </p:nvPr>
        </p:nvSpPr>
        <p:spPr>
          <a:xfrm>
            <a:off x="233366" y="1118532"/>
            <a:ext cx="5745031" cy="1098718"/>
          </a:xfrm>
        </p:spPr>
        <p:txBody>
          <a:bodyPr tIns="0" rIns="0" bIns="0" numCol="1" spcCol="94482">
            <a:noAutofit/>
          </a:bodyPr>
          <a:lstStyle>
            <a:lvl1pPr marL="0" indent="0">
              <a:lnSpc>
                <a:spcPct val="100000"/>
              </a:lnSpc>
              <a:spcBef>
                <a:spcPts val="0"/>
              </a:spcBef>
              <a:buNone/>
              <a:defRPr sz="1200" b="1"/>
            </a:lvl1pPr>
            <a:lvl2pPr marL="342722" indent="0">
              <a:buNone/>
              <a:defRPr sz="1400" b="1"/>
            </a:lvl2pPr>
            <a:lvl3pPr marL="685459" indent="0">
              <a:buNone/>
              <a:defRPr sz="1400" b="1"/>
            </a:lvl3pPr>
            <a:lvl4pPr marL="1028184" indent="0">
              <a:buNone/>
              <a:defRPr sz="1400" b="1"/>
            </a:lvl4pPr>
            <a:lvl5pPr marL="1370912" indent="0">
              <a:buNone/>
              <a:defRPr sz="1400" b="1"/>
            </a:lvl5pPr>
          </a:lstStyle>
          <a:p>
            <a:pPr lvl="0"/>
            <a:r>
              <a:rPr lang="en-US"/>
              <a:t>This is your Primary Text.</a:t>
            </a:r>
            <a:endParaRPr lang="x-none"/>
          </a:p>
        </p:txBody>
      </p:sp>
      <p:sp>
        <p:nvSpPr>
          <p:cNvPr id="18" name="Text Placeholder 6">
            <a:extLst>
              <a:ext uri="{FF2B5EF4-FFF2-40B4-BE49-F238E27FC236}">
                <a16:creationId xmlns="" xmlns:a16="http://schemas.microsoft.com/office/drawing/2014/main" id="{72ECF95F-F25E-8248-A0F3-BB1749A1B406}"/>
              </a:ext>
            </a:extLst>
          </p:cNvPr>
          <p:cNvSpPr>
            <a:spLocks noGrp="1"/>
          </p:cNvSpPr>
          <p:nvPr>
            <p:ph type="body" sz="quarter" idx="21" hasCustomPrompt="1"/>
          </p:nvPr>
        </p:nvSpPr>
        <p:spPr>
          <a:xfrm>
            <a:off x="233366" y="820327"/>
            <a:ext cx="5745031" cy="204590"/>
          </a:xfrm>
        </p:spPr>
        <p:txBody>
          <a:bodyPr tIns="0" rIns="0" bIns="0" numCol="1">
            <a:noAutofit/>
          </a:bodyPr>
          <a:lstStyle>
            <a:lvl1pPr marL="0" indent="0">
              <a:lnSpc>
                <a:spcPct val="100000"/>
              </a:lnSpc>
              <a:spcBef>
                <a:spcPts val="0"/>
              </a:spcBef>
              <a:spcAft>
                <a:spcPts val="450"/>
              </a:spcAft>
              <a:buNone/>
              <a:defRPr sz="1500" b="1">
                <a:solidFill>
                  <a:schemeClr val="accent1"/>
                </a:solidFill>
              </a:defRPr>
            </a:lvl1pPr>
            <a:lvl2pPr marL="342722" indent="0">
              <a:lnSpc>
                <a:spcPts val="1350"/>
              </a:lnSpc>
              <a:spcBef>
                <a:spcPts val="0"/>
              </a:spcBef>
              <a:buNone/>
              <a:defRPr sz="1100"/>
            </a:lvl2pPr>
            <a:lvl3pPr marL="685459" indent="0">
              <a:lnSpc>
                <a:spcPts val="1350"/>
              </a:lnSpc>
              <a:spcBef>
                <a:spcPts val="0"/>
              </a:spcBef>
              <a:buNone/>
              <a:defRPr sz="1100"/>
            </a:lvl3pPr>
            <a:lvl4pPr marL="1028184" indent="0">
              <a:lnSpc>
                <a:spcPts val="1350"/>
              </a:lnSpc>
              <a:spcBef>
                <a:spcPts val="0"/>
              </a:spcBef>
              <a:buNone/>
              <a:defRPr sz="1100"/>
            </a:lvl4pPr>
            <a:lvl5pPr marL="1370912" indent="0">
              <a:lnSpc>
                <a:spcPts val="1350"/>
              </a:lnSpc>
              <a:spcBef>
                <a:spcPts val="0"/>
              </a:spcBef>
              <a:buNone/>
              <a:defRPr sz="1100"/>
            </a:lvl5pPr>
          </a:lstStyle>
          <a:p>
            <a:pPr lvl="0"/>
            <a:r>
              <a:rPr lang="en-US"/>
              <a:t>This is your Primary Title</a:t>
            </a:r>
          </a:p>
        </p:txBody>
      </p:sp>
      <p:pic>
        <p:nvPicPr>
          <p:cNvPr id="14" name="Picture 13">
            <a:extLst>
              <a:ext uri="{FF2B5EF4-FFF2-40B4-BE49-F238E27FC236}">
                <a16:creationId xmlns="" xmlns:a16="http://schemas.microsoft.com/office/drawing/2014/main" id="{392A580F-7BDF-4F7B-A7AA-B0EC15CCC80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937746" y="4604928"/>
            <a:ext cx="1008126" cy="603504"/>
          </a:xfrm>
          <a:prstGeom prst="rect">
            <a:avLst/>
          </a:prstGeom>
        </p:spPr>
      </p:pic>
    </p:spTree>
    <p:extLst>
      <p:ext uri="{BB962C8B-B14F-4D97-AF65-F5344CB8AC3E}">
        <p14:creationId xmlns:p14="http://schemas.microsoft.com/office/powerpoint/2010/main" val="3313033346"/>
      </p:ext>
    </p:extLst>
  </p:cSld>
  <p:clrMapOvr>
    <a:masterClrMapping/>
  </p:clrMapOvr>
  <p:transition spd="slow">
    <p:push dir="u"/>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Advanced 1/3 Image (Full Bleed)">
    <p:spTree>
      <p:nvGrpSpPr>
        <p:cNvPr id="1" name=""/>
        <p:cNvGrpSpPr/>
        <p:nvPr/>
      </p:nvGrpSpPr>
      <p:grpSpPr>
        <a:xfrm>
          <a:off x="0" y="0"/>
          <a:ext cx="0" cy="0"/>
          <a:chOff x="0" y="0"/>
          <a:chExt cx="0" cy="0"/>
        </a:xfrm>
      </p:grpSpPr>
      <p:sp>
        <p:nvSpPr>
          <p:cNvPr id="7" name="Text Placeholder 6">
            <a:extLst>
              <a:ext uri="{FF2B5EF4-FFF2-40B4-BE49-F238E27FC236}">
                <a16:creationId xmlns="" xmlns:a16="http://schemas.microsoft.com/office/drawing/2014/main" id="{65925D82-457F-D84D-B8DF-D8ADFD7E71DF}"/>
              </a:ext>
            </a:extLst>
          </p:cNvPr>
          <p:cNvSpPr>
            <a:spLocks noGrp="1"/>
          </p:cNvSpPr>
          <p:nvPr>
            <p:ph type="body" sz="quarter" idx="14" hasCustomPrompt="1"/>
          </p:nvPr>
        </p:nvSpPr>
        <p:spPr>
          <a:xfrm>
            <a:off x="233362" y="2383723"/>
            <a:ext cx="4281488" cy="204590"/>
          </a:xfrm>
          <a:prstGeom prst="rect">
            <a:avLst/>
          </a:prstGeom>
        </p:spPr>
        <p:txBody>
          <a:bodyPr tIns="0" rIns="0" bIns="0" numCol="1">
            <a:noAutofit/>
          </a:bodyPr>
          <a:lstStyle>
            <a:lvl1pPr marL="0" indent="0">
              <a:lnSpc>
                <a:spcPct val="100000"/>
              </a:lnSpc>
              <a:spcBef>
                <a:spcPts val="0"/>
              </a:spcBef>
              <a:spcAft>
                <a:spcPts val="450"/>
              </a:spcAft>
              <a:buNone/>
              <a:defRPr sz="1400" b="1">
                <a:solidFill>
                  <a:schemeClr val="accent1"/>
                </a:solidFill>
              </a:defRPr>
            </a:lvl1pPr>
            <a:lvl2pPr marL="342722" indent="0">
              <a:lnSpc>
                <a:spcPts val="1350"/>
              </a:lnSpc>
              <a:spcBef>
                <a:spcPts val="0"/>
              </a:spcBef>
              <a:buNone/>
              <a:defRPr sz="1100"/>
            </a:lvl2pPr>
            <a:lvl3pPr marL="685459" indent="0">
              <a:lnSpc>
                <a:spcPts val="1350"/>
              </a:lnSpc>
              <a:spcBef>
                <a:spcPts val="0"/>
              </a:spcBef>
              <a:buNone/>
              <a:defRPr sz="1100"/>
            </a:lvl3pPr>
            <a:lvl4pPr marL="1028184" indent="0">
              <a:lnSpc>
                <a:spcPts val="1350"/>
              </a:lnSpc>
              <a:spcBef>
                <a:spcPts val="0"/>
              </a:spcBef>
              <a:buNone/>
              <a:defRPr sz="1100"/>
            </a:lvl4pPr>
            <a:lvl5pPr marL="1370912" indent="0">
              <a:lnSpc>
                <a:spcPts val="1350"/>
              </a:lnSpc>
              <a:spcBef>
                <a:spcPts val="0"/>
              </a:spcBef>
              <a:buNone/>
              <a:defRPr sz="1100"/>
            </a:lvl5pPr>
          </a:lstStyle>
          <a:p>
            <a:pPr lvl="0"/>
            <a:r>
              <a:rPr lang="en-US"/>
              <a:t>This is your Secondary Title</a:t>
            </a:r>
          </a:p>
        </p:txBody>
      </p:sp>
      <p:sp>
        <p:nvSpPr>
          <p:cNvPr id="12" name="Text Placeholder 6">
            <a:extLst>
              <a:ext uri="{FF2B5EF4-FFF2-40B4-BE49-F238E27FC236}">
                <a16:creationId xmlns="" xmlns:a16="http://schemas.microsoft.com/office/drawing/2014/main" id="{FD2406EE-A554-5348-AE6D-4D8B343E6201}"/>
              </a:ext>
            </a:extLst>
          </p:cNvPr>
          <p:cNvSpPr>
            <a:spLocks noGrp="1"/>
          </p:cNvSpPr>
          <p:nvPr>
            <p:ph type="body" sz="quarter" idx="15" hasCustomPrompt="1"/>
          </p:nvPr>
        </p:nvSpPr>
        <p:spPr>
          <a:xfrm>
            <a:off x="233364" y="2681928"/>
            <a:ext cx="5747855" cy="2144716"/>
          </a:xfrm>
          <a:prstGeom prst="rect">
            <a:avLst/>
          </a:prstGeom>
        </p:spPr>
        <p:txBody>
          <a:bodyPr tIns="0" rIns="0" bIns="0" numCol="2" spcCol="94482">
            <a:noAutofit/>
          </a:bodyPr>
          <a:lstStyle>
            <a:lvl1pPr marL="128561" indent="-128561">
              <a:lnSpc>
                <a:spcPct val="100000"/>
              </a:lnSpc>
              <a:spcBef>
                <a:spcPts val="0"/>
              </a:spcBef>
              <a:spcAft>
                <a:spcPts val="450"/>
              </a:spcAft>
              <a:buFont typeface="Arial" panose="020B0604020202020204" pitchFamily="34" charset="0"/>
              <a:buChar char="•"/>
              <a:defRPr sz="1100" b="0">
                <a:solidFill>
                  <a:schemeClr val="tx1"/>
                </a:solidFill>
              </a:defRPr>
            </a:lvl1pPr>
            <a:lvl2pPr marL="342722" indent="0">
              <a:lnSpc>
                <a:spcPts val="1350"/>
              </a:lnSpc>
              <a:spcBef>
                <a:spcPts val="0"/>
              </a:spcBef>
              <a:buNone/>
              <a:defRPr sz="1100"/>
            </a:lvl2pPr>
            <a:lvl3pPr marL="685459" indent="0">
              <a:lnSpc>
                <a:spcPts val="1350"/>
              </a:lnSpc>
              <a:spcBef>
                <a:spcPts val="0"/>
              </a:spcBef>
              <a:buNone/>
              <a:defRPr sz="1100"/>
            </a:lvl3pPr>
            <a:lvl4pPr marL="1028184" indent="0">
              <a:lnSpc>
                <a:spcPts val="1350"/>
              </a:lnSpc>
              <a:spcBef>
                <a:spcPts val="0"/>
              </a:spcBef>
              <a:buNone/>
              <a:defRPr sz="1100"/>
            </a:lvl4pPr>
            <a:lvl5pPr marL="1370912" indent="0">
              <a:lnSpc>
                <a:spcPts val="1350"/>
              </a:lnSpc>
              <a:spcBef>
                <a:spcPts val="0"/>
              </a:spcBef>
              <a:buNone/>
              <a:defRPr sz="1100"/>
            </a:lvl5pPr>
          </a:lstStyle>
          <a:p>
            <a:pPr lvl="0"/>
            <a:r>
              <a:rPr lang="en-US"/>
              <a:t>This is your Secondary text.</a:t>
            </a:r>
          </a:p>
        </p:txBody>
      </p:sp>
      <p:sp>
        <p:nvSpPr>
          <p:cNvPr id="11" name="Picture Placeholder 9">
            <a:extLst>
              <a:ext uri="{FF2B5EF4-FFF2-40B4-BE49-F238E27FC236}">
                <a16:creationId xmlns="" xmlns:a16="http://schemas.microsoft.com/office/drawing/2014/main" id="{B54C5EE8-C42D-B549-B4D4-C0F00D68A42B}"/>
              </a:ext>
            </a:extLst>
          </p:cNvPr>
          <p:cNvSpPr>
            <a:spLocks noGrp="1"/>
          </p:cNvSpPr>
          <p:nvPr>
            <p:ph type="pic" sz="quarter" idx="18" hasCustomPrompt="1"/>
          </p:nvPr>
        </p:nvSpPr>
        <p:spPr>
          <a:xfrm>
            <a:off x="6092782" y="-1034"/>
            <a:ext cx="3057710" cy="5145632"/>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 name="connsiteX0" fmla="*/ 0 w 4082753"/>
              <a:gd name="connsiteY0" fmla="*/ 2 h 6874096"/>
              <a:gd name="connsiteX1" fmla="*/ 4082678 w 4082753"/>
              <a:gd name="connsiteY1" fmla="*/ 1742343 h 6874096"/>
              <a:gd name="connsiteX2" fmla="*/ 4076946 w 4082753"/>
              <a:gd name="connsiteY2" fmla="*/ 6855288 h 6874096"/>
              <a:gd name="connsiteX3" fmla="*/ 609909 w 4082753"/>
              <a:gd name="connsiteY3" fmla="*/ 6874096 h 6874096"/>
              <a:gd name="connsiteX4" fmla="*/ 30187 w 4082753"/>
              <a:gd name="connsiteY4" fmla="*/ 6294374 h 6874096"/>
              <a:gd name="connsiteX5" fmla="*/ 0 w 4082753"/>
              <a:gd name="connsiteY5" fmla="*/ 2 h 6874096"/>
              <a:gd name="connsiteX0" fmla="*/ 0 w 4095958"/>
              <a:gd name="connsiteY0" fmla="*/ 6946 h 6881040"/>
              <a:gd name="connsiteX1" fmla="*/ 4095930 w 4095958"/>
              <a:gd name="connsiteY1" fmla="*/ 0 h 6881040"/>
              <a:gd name="connsiteX2" fmla="*/ 4076946 w 4095958"/>
              <a:gd name="connsiteY2" fmla="*/ 6862232 h 6881040"/>
              <a:gd name="connsiteX3" fmla="*/ 609909 w 4095958"/>
              <a:gd name="connsiteY3" fmla="*/ 6881040 h 6881040"/>
              <a:gd name="connsiteX4" fmla="*/ 30187 w 4095958"/>
              <a:gd name="connsiteY4" fmla="*/ 6301318 h 6881040"/>
              <a:gd name="connsiteX5" fmla="*/ 0 w 4095958"/>
              <a:gd name="connsiteY5" fmla="*/ 6946 h 6881040"/>
              <a:gd name="connsiteX0" fmla="*/ 0 w 4076946"/>
              <a:gd name="connsiteY0" fmla="*/ 0 h 6874094"/>
              <a:gd name="connsiteX1" fmla="*/ 3870643 w 4076946"/>
              <a:gd name="connsiteY1" fmla="*/ 191837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0 h 6874094"/>
              <a:gd name="connsiteX1" fmla="*/ 4069426 w 4076946"/>
              <a:gd name="connsiteY1" fmla="*/ 19559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99710 h 6854535"/>
              <a:gd name="connsiteX1" fmla="*/ 4069426 w 4076946"/>
              <a:gd name="connsiteY1" fmla="*/ 0 h 6854535"/>
              <a:gd name="connsiteX2" fmla="*/ 4076946 w 4076946"/>
              <a:gd name="connsiteY2" fmla="*/ 6835727 h 6854535"/>
              <a:gd name="connsiteX3" fmla="*/ 609909 w 4076946"/>
              <a:gd name="connsiteY3" fmla="*/ 6854535 h 6854535"/>
              <a:gd name="connsiteX4" fmla="*/ 30187 w 4076946"/>
              <a:gd name="connsiteY4" fmla="*/ 6274813 h 6854535"/>
              <a:gd name="connsiteX5" fmla="*/ 0 w 4076946"/>
              <a:gd name="connsiteY5" fmla="*/ 99710 h 6854535"/>
              <a:gd name="connsiteX0" fmla="*/ 0 w 4076946"/>
              <a:gd name="connsiteY0" fmla="*/ 0 h 6860842"/>
              <a:gd name="connsiteX1" fmla="*/ 4069426 w 4076946"/>
              <a:gd name="connsiteY1" fmla="*/ 6307 h 6860842"/>
              <a:gd name="connsiteX2" fmla="*/ 4076946 w 4076946"/>
              <a:gd name="connsiteY2" fmla="*/ 6842034 h 6860842"/>
              <a:gd name="connsiteX3" fmla="*/ 609909 w 4076946"/>
              <a:gd name="connsiteY3" fmla="*/ 6860842 h 6860842"/>
              <a:gd name="connsiteX4" fmla="*/ 30187 w 4076946"/>
              <a:gd name="connsiteY4" fmla="*/ 6281120 h 6860842"/>
              <a:gd name="connsiteX5" fmla="*/ 0 w 4076946"/>
              <a:gd name="connsiteY5" fmla="*/ 0 h 686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76946" h="6860842">
                <a:moveTo>
                  <a:pt x="0" y="0"/>
                </a:moveTo>
                <a:lnTo>
                  <a:pt x="4069426" y="6307"/>
                </a:lnTo>
                <a:cubicBezTo>
                  <a:pt x="4070331" y="2153114"/>
                  <a:pt x="4076041" y="4695227"/>
                  <a:pt x="4076946" y="6842034"/>
                </a:cubicBezTo>
                <a:lnTo>
                  <a:pt x="609909" y="6860842"/>
                </a:lnTo>
                <a:cubicBezTo>
                  <a:pt x="289737" y="6860842"/>
                  <a:pt x="30187" y="6601292"/>
                  <a:pt x="30187" y="6281120"/>
                </a:cubicBezTo>
                <a:cubicBezTo>
                  <a:pt x="24542" y="4758683"/>
                  <a:pt x="5645" y="1522437"/>
                  <a:pt x="0" y="0"/>
                </a:cubicBezTo>
                <a:close/>
              </a:path>
            </a:pathLst>
          </a:custGeom>
          <a:noFill/>
        </p:spPr>
        <p:txBody>
          <a:bodyPr>
            <a:normAutofit/>
          </a:bodyPr>
          <a:lstStyle>
            <a:lvl1pPr marL="0" indent="0">
              <a:buNone/>
              <a:defRPr sz="1100">
                <a:solidFill>
                  <a:schemeClr val="tx1"/>
                </a:solidFill>
              </a:defRPr>
            </a:lvl1pPr>
          </a:lstStyle>
          <a:p>
            <a:r>
              <a:rPr lang="x-none"/>
              <a:t>Insert Photo</a:t>
            </a:r>
          </a:p>
        </p:txBody>
      </p:sp>
      <p:sp>
        <p:nvSpPr>
          <p:cNvPr id="17" name="タイトル プレースホルダ 1">
            <a:extLst>
              <a:ext uri="{FF2B5EF4-FFF2-40B4-BE49-F238E27FC236}">
                <a16:creationId xmlns="" xmlns:a16="http://schemas.microsoft.com/office/drawing/2014/main" id="{6FB24DD6-99CB-CE43-A787-C9F60DC95F8F}"/>
              </a:ext>
            </a:extLst>
          </p:cNvPr>
          <p:cNvSpPr>
            <a:spLocks noGrp="1"/>
          </p:cNvSpPr>
          <p:nvPr>
            <p:ph type="title" hasCustomPrompt="1"/>
          </p:nvPr>
        </p:nvSpPr>
        <p:spPr>
          <a:xfrm>
            <a:off x="454563" y="121208"/>
            <a:ext cx="5526659" cy="51435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 xmlns:a16="http://schemas.microsoft.com/office/drawing/2014/main" id="{77130E5B-E573-584B-8C83-F8409492B14B}"/>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67" tIns="34289" rIns="68567" bIns="34289" rtlCol="0" anchor="ctr"/>
          <a:lstStyle/>
          <a:p>
            <a:pPr algn="ctr" defTabSz="685647"/>
            <a:endParaRPr kumimoji="1" lang="x-none" sz="1400">
              <a:solidFill>
                <a:srgbClr val="E1242A"/>
              </a:solidFill>
            </a:endParaRPr>
          </a:p>
        </p:txBody>
      </p:sp>
      <p:sp>
        <p:nvSpPr>
          <p:cNvPr id="21" name="スライド番号プレースホルダ 5">
            <a:extLst>
              <a:ext uri="{FF2B5EF4-FFF2-40B4-BE49-F238E27FC236}">
                <a16:creationId xmlns="" xmlns:a16="http://schemas.microsoft.com/office/drawing/2014/main" id="{C55CC856-2ADD-F44F-96B6-03734457CCF1}"/>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3905"/>
            <a:fld id="{E9B57936-92EF-4126-AE48-1D9D36D15E98}" type="slidenum">
              <a:rPr lang="ja-JP" altLang="en-US" smtClean="0">
                <a:solidFill>
                  <a:srgbClr val="34373F"/>
                </a:solidFill>
              </a:rPr>
              <a:pPr defTabSz="913905"/>
              <a:t>‹Nº›</a:t>
            </a:fld>
            <a:endParaRPr lang="ja-JP" altLang="en-US">
              <a:solidFill>
                <a:srgbClr val="34373F"/>
              </a:solidFill>
            </a:endParaRPr>
          </a:p>
        </p:txBody>
      </p:sp>
      <p:sp>
        <p:nvSpPr>
          <p:cNvPr id="19" name="Text Placeholder 2">
            <a:extLst>
              <a:ext uri="{FF2B5EF4-FFF2-40B4-BE49-F238E27FC236}">
                <a16:creationId xmlns="" xmlns:a16="http://schemas.microsoft.com/office/drawing/2014/main" id="{73A8AA34-7C7D-A24F-AF24-5158DD2AB0ED}"/>
              </a:ext>
            </a:extLst>
          </p:cNvPr>
          <p:cNvSpPr>
            <a:spLocks noGrp="1"/>
          </p:cNvSpPr>
          <p:nvPr>
            <p:ph type="body" sz="quarter" idx="20" hasCustomPrompt="1"/>
          </p:nvPr>
        </p:nvSpPr>
        <p:spPr>
          <a:xfrm>
            <a:off x="233365" y="1118532"/>
            <a:ext cx="5745032" cy="1098718"/>
          </a:xfrm>
        </p:spPr>
        <p:txBody>
          <a:bodyPr tIns="0" rIns="0" bIns="0" numCol="1" spcCol="94482">
            <a:noAutofit/>
          </a:bodyPr>
          <a:lstStyle>
            <a:lvl1pPr marL="0" indent="0">
              <a:lnSpc>
                <a:spcPct val="100000"/>
              </a:lnSpc>
              <a:spcBef>
                <a:spcPts val="0"/>
              </a:spcBef>
              <a:buNone/>
              <a:defRPr sz="1200" b="1"/>
            </a:lvl1pPr>
            <a:lvl2pPr marL="342722" indent="0">
              <a:buNone/>
              <a:defRPr sz="1400" b="1"/>
            </a:lvl2pPr>
            <a:lvl3pPr marL="685459" indent="0">
              <a:buNone/>
              <a:defRPr sz="1400" b="1"/>
            </a:lvl3pPr>
            <a:lvl4pPr marL="1028184" indent="0">
              <a:buNone/>
              <a:defRPr sz="1400" b="1"/>
            </a:lvl4pPr>
            <a:lvl5pPr marL="1370912" indent="0">
              <a:buNone/>
              <a:defRPr sz="1400" b="1"/>
            </a:lvl5pPr>
          </a:lstStyle>
          <a:p>
            <a:pPr lvl="0"/>
            <a:r>
              <a:rPr lang="en-US"/>
              <a:t>This is your Primary Text.</a:t>
            </a:r>
            <a:endParaRPr lang="x-none"/>
          </a:p>
        </p:txBody>
      </p:sp>
      <p:sp>
        <p:nvSpPr>
          <p:cNvPr id="20" name="Text Placeholder 6">
            <a:extLst>
              <a:ext uri="{FF2B5EF4-FFF2-40B4-BE49-F238E27FC236}">
                <a16:creationId xmlns="" xmlns:a16="http://schemas.microsoft.com/office/drawing/2014/main" id="{8F4B55CE-CF3E-7E44-A66A-599621CA5C5F}"/>
              </a:ext>
            </a:extLst>
          </p:cNvPr>
          <p:cNvSpPr>
            <a:spLocks noGrp="1"/>
          </p:cNvSpPr>
          <p:nvPr>
            <p:ph type="body" sz="quarter" idx="21" hasCustomPrompt="1"/>
          </p:nvPr>
        </p:nvSpPr>
        <p:spPr>
          <a:xfrm>
            <a:off x="233362" y="820327"/>
            <a:ext cx="5745032" cy="204590"/>
          </a:xfrm>
        </p:spPr>
        <p:txBody>
          <a:bodyPr tIns="0" rIns="0" bIns="0" numCol="1">
            <a:noAutofit/>
          </a:bodyPr>
          <a:lstStyle>
            <a:lvl1pPr marL="0" indent="0">
              <a:lnSpc>
                <a:spcPct val="100000"/>
              </a:lnSpc>
              <a:spcBef>
                <a:spcPts val="0"/>
              </a:spcBef>
              <a:spcAft>
                <a:spcPts val="450"/>
              </a:spcAft>
              <a:buNone/>
              <a:defRPr sz="1500" b="1">
                <a:solidFill>
                  <a:schemeClr val="accent1"/>
                </a:solidFill>
              </a:defRPr>
            </a:lvl1pPr>
            <a:lvl2pPr marL="342722" indent="0">
              <a:lnSpc>
                <a:spcPts val="1350"/>
              </a:lnSpc>
              <a:spcBef>
                <a:spcPts val="0"/>
              </a:spcBef>
              <a:buNone/>
              <a:defRPr sz="1100"/>
            </a:lvl2pPr>
            <a:lvl3pPr marL="685459" indent="0">
              <a:lnSpc>
                <a:spcPts val="1350"/>
              </a:lnSpc>
              <a:spcBef>
                <a:spcPts val="0"/>
              </a:spcBef>
              <a:buNone/>
              <a:defRPr sz="1100"/>
            </a:lvl3pPr>
            <a:lvl4pPr marL="1028184" indent="0">
              <a:lnSpc>
                <a:spcPts val="1350"/>
              </a:lnSpc>
              <a:spcBef>
                <a:spcPts val="0"/>
              </a:spcBef>
              <a:buNone/>
              <a:defRPr sz="1100"/>
            </a:lvl4pPr>
            <a:lvl5pPr marL="1370912" indent="0">
              <a:lnSpc>
                <a:spcPts val="1350"/>
              </a:lnSpc>
              <a:spcBef>
                <a:spcPts val="0"/>
              </a:spcBef>
              <a:buNone/>
              <a:defRPr sz="1100"/>
            </a:lvl5pPr>
          </a:lstStyle>
          <a:p>
            <a:pPr lvl="0"/>
            <a:r>
              <a:rPr lang="en-US"/>
              <a:t>This is your Primary Title</a:t>
            </a:r>
          </a:p>
        </p:txBody>
      </p:sp>
      <p:pic>
        <p:nvPicPr>
          <p:cNvPr id="13" name="Picture 12">
            <a:extLst>
              <a:ext uri="{FF2B5EF4-FFF2-40B4-BE49-F238E27FC236}">
                <a16:creationId xmlns="" xmlns:a16="http://schemas.microsoft.com/office/drawing/2014/main" id="{AE5DB0EF-7D54-49B2-9D9A-CFF2342CB11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937746" y="4604928"/>
            <a:ext cx="1008126" cy="603504"/>
          </a:xfrm>
          <a:prstGeom prst="rect">
            <a:avLst/>
          </a:prstGeom>
        </p:spPr>
      </p:pic>
    </p:spTree>
    <p:extLst>
      <p:ext uri="{BB962C8B-B14F-4D97-AF65-F5344CB8AC3E}">
        <p14:creationId xmlns:p14="http://schemas.microsoft.com/office/powerpoint/2010/main" val="1214862445"/>
      </p:ext>
    </p:extLst>
  </p:cSld>
  <p:clrMapOvr>
    <a:masterClrMapping/>
  </p:clrMapOvr>
  <p:transition spd="slow">
    <p:push dir="u"/>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fecha"/>
          <p:cNvSpPr>
            <a:spLocks noGrp="1"/>
          </p:cNvSpPr>
          <p:nvPr>
            <p:ph type="dt" sz="half" idx="10"/>
          </p:nvPr>
        </p:nvSpPr>
        <p:spPr>
          <a:xfrm>
            <a:off x="457201" y="4767357"/>
            <a:ext cx="2133600" cy="273844"/>
          </a:xfrm>
          <a:prstGeom prst="rect">
            <a:avLst/>
          </a:prstGeom>
        </p:spPr>
        <p:txBody>
          <a:bodyPr lIns="89953" tIns="44976" rIns="89953" bIns="44976"/>
          <a:lstStyle>
            <a:lvl1pPr>
              <a:defRPr b="1"/>
            </a:lvl1pPr>
          </a:lstStyle>
          <a:p>
            <a:pPr defTabSz="897136">
              <a:defRPr/>
            </a:pPr>
            <a:fld id="{A4C140CF-BE19-4166-B767-3CA6ECEC4D44}" type="datetimeFigureOut">
              <a:rPr lang="es-ES">
                <a:solidFill>
                  <a:prstClr val="black"/>
                </a:solidFill>
              </a:rPr>
              <a:pPr defTabSz="897136">
                <a:defRPr/>
              </a:pPr>
              <a:t>07/08/2024</a:t>
            </a:fld>
            <a:endParaRPr lang="es-ES">
              <a:solidFill>
                <a:prstClr val="black"/>
              </a:solidFill>
            </a:endParaRPr>
          </a:p>
        </p:txBody>
      </p:sp>
      <p:sp>
        <p:nvSpPr>
          <p:cNvPr id="5" name="4 Marcador de pie de página"/>
          <p:cNvSpPr>
            <a:spLocks noGrp="1"/>
          </p:cNvSpPr>
          <p:nvPr>
            <p:ph type="ftr" sz="quarter" idx="11"/>
          </p:nvPr>
        </p:nvSpPr>
        <p:spPr/>
        <p:txBody>
          <a:bodyPr/>
          <a:lstStyle>
            <a:lvl1pPr>
              <a:defRPr b="1"/>
            </a:lvl1pPr>
          </a:lstStyle>
          <a:p>
            <a:pPr>
              <a:defRPr/>
            </a:pPr>
            <a:endParaRPr lang="es-ES"/>
          </a:p>
        </p:txBody>
      </p:sp>
      <p:sp>
        <p:nvSpPr>
          <p:cNvPr id="6" name="5 Marcador de número de diapositiva"/>
          <p:cNvSpPr>
            <a:spLocks noGrp="1"/>
          </p:cNvSpPr>
          <p:nvPr>
            <p:ph type="sldNum" sz="quarter" idx="12"/>
          </p:nvPr>
        </p:nvSpPr>
        <p:spPr/>
        <p:txBody>
          <a:bodyPr/>
          <a:lstStyle>
            <a:lvl1pPr>
              <a:defRPr b="1"/>
            </a:lvl1pPr>
          </a:lstStyle>
          <a:p>
            <a:pPr>
              <a:defRPr/>
            </a:pPr>
            <a:fld id="{9B738D0D-596A-4385-A6B9-D0B651B5D5F0}" type="slidenum">
              <a:rPr lang="es-ES"/>
              <a:pPr>
                <a:defRPr/>
              </a:pPr>
              <a:t>‹Nº›</a:t>
            </a:fld>
            <a:endParaRPr lang="es-ES"/>
          </a:p>
        </p:txBody>
      </p:sp>
    </p:spTree>
    <p:extLst>
      <p:ext uri="{BB962C8B-B14F-4D97-AF65-F5344CB8AC3E}">
        <p14:creationId xmlns:p14="http://schemas.microsoft.com/office/powerpoint/2010/main" val="387446209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Advanced Image 4-Column">
    <p:spTree>
      <p:nvGrpSpPr>
        <p:cNvPr id="1" name=""/>
        <p:cNvGrpSpPr/>
        <p:nvPr/>
      </p:nvGrpSpPr>
      <p:grpSpPr>
        <a:xfrm>
          <a:off x="0" y="0"/>
          <a:ext cx="0" cy="0"/>
          <a:chOff x="0" y="0"/>
          <a:chExt cx="0" cy="0"/>
        </a:xfrm>
      </p:grpSpPr>
      <p:sp>
        <p:nvSpPr>
          <p:cNvPr id="22" name="Picture Placeholder 9">
            <a:extLst>
              <a:ext uri="{FF2B5EF4-FFF2-40B4-BE49-F238E27FC236}">
                <a16:creationId xmlns="" xmlns:a16="http://schemas.microsoft.com/office/drawing/2014/main" id="{21DF8897-54F9-C24F-8261-0C5418827A6D}"/>
              </a:ext>
            </a:extLst>
          </p:cNvPr>
          <p:cNvSpPr>
            <a:spLocks noGrp="1"/>
          </p:cNvSpPr>
          <p:nvPr>
            <p:ph type="pic" sz="quarter" idx="10" hasCustomPrompt="1"/>
          </p:nvPr>
        </p:nvSpPr>
        <p:spPr>
          <a:xfrm>
            <a:off x="6833062" y="2307224"/>
            <a:ext cx="2079031" cy="2354227"/>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marR="0" indent="0" algn="l" defTabSz="68546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1100">
                <a:solidFill>
                  <a:schemeClr val="tx1"/>
                </a:solidFill>
              </a:defRPr>
            </a:lvl1pPr>
          </a:lstStyle>
          <a:p>
            <a:pPr marL="0" marR="0" lvl="0" indent="0" algn="l" defTabSz="68546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x-none"/>
              <a:t>Insert Picture/Text Block</a:t>
            </a:r>
          </a:p>
          <a:p>
            <a:endParaRPr lang="x-none"/>
          </a:p>
        </p:txBody>
      </p:sp>
      <p:sp>
        <p:nvSpPr>
          <p:cNvPr id="23" name="Picture Placeholder 9">
            <a:extLst>
              <a:ext uri="{FF2B5EF4-FFF2-40B4-BE49-F238E27FC236}">
                <a16:creationId xmlns="" xmlns:a16="http://schemas.microsoft.com/office/drawing/2014/main" id="{8D6B3691-FCAC-8A46-AA30-DEB2A719C7B2}"/>
              </a:ext>
            </a:extLst>
          </p:cNvPr>
          <p:cNvSpPr>
            <a:spLocks noGrp="1"/>
          </p:cNvSpPr>
          <p:nvPr>
            <p:ph type="pic" sz="quarter" idx="18" hasCustomPrompt="1"/>
          </p:nvPr>
        </p:nvSpPr>
        <p:spPr>
          <a:xfrm>
            <a:off x="233539" y="2307224"/>
            <a:ext cx="2079031" cy="2354227"/>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100">
                <a:solidFill>
                  <a:schemeClr val="tx1"/>
                </a:solidFill>
              </a:defRPr>
            </a:lvl1pPr>
          </a:lstStyle>
          <a:p>
            <a:r>
              <a:rPr lang="x-none"/>
              <a:t>Insert Picture/Text Block</a:t>
            </a:r>
          </a:p>
        </p:txBody>
      </p:sp>
      <p:sp>
        <p:nvSpPr>
          <p:cNvPr id="24" name="Picture Placeholder 9">
            <a:extLst>
              <a:ext uri="{FF2B5EF4-FFF2-40B4-BE49-F238E27FC236}">
                <a16:creationId xmlns="" xmlns:a16="http://schemas.microsoft.com/office/drawing/2014/main" id="{AA8F528A-C9DE-0B46-881A-43E0F9B6F677}"/>
              </a:ext>
            </a:extLst>
          </p:cNvPr>
          <p:cNvSpPr>
            <a:spLocks noGrp="1"/>
          </p:cNvSpPr>
          <p:nvPr>
            <p:ph type="pic" sz="quarter" idx="19" hasCustomPrompt="1"/>
          </p:nvPr>
        </p:nvSpPr>
        <p:spPr>
          <a:xfrm>
            <a:off x="2433371" y="2307224"/>
            <a:ext cx="2079031" cy="2354227"/>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100">
                <a:solidFill>
                  <a:schemeClr val="tx1"/>
                </a:solidFill>
              </a:defRPr>
            </a:lvl1pPr>
          </a:lstStyle>
          <a:p>
            <a:r>
              <a:rPr lang="x-none"/>
              <a:t>Insert Picture/Text Block</a:t>
            </a:r>
          </a:p>
        </p:txBody>
      </p:sp>
      <p:sp>
        <p:nvSpPr>
          <p:cNvPr id="25" name="Picture Placeholder 9">
            <a:extLst>
              <a:ext uri="{FF2B5EF4-FFF2-40B4-BE49-F238E27FC236}">
                <a16:creationId xmlns="" xmlns:a16="http://schemas.microsoft.com/office/drawing/2014/main" id="{E01CF285-75D7-154A-ACF2-9393FB0B38D0}"/>
              </a:ext>
            </a:extLst>
          </p:cNvPr>
          <p:cNvSpPr>
            <a:spLocks noGrp="1"/>
          </p:cNvSpPr>
          <p:nvPr>
            <p:ph type="pic" sz="quarter" idx="20" hasCustomPrompt="1"/>
          </p:nvPr>
        </p:nvSpPr>
        <p:spPr>
          <a:xfrm>
            <a:off x="4633220" y="2307224"/>
            <a:ext cx="2079031" cy="2354227"/>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100">
                <a:solidFill>
                  <a:schemeClr val="tx1"/>
                </a:solidFill>
              </a:defRPr>
            </a:lvl1pPr>
          </a:lstStyle>
          <a:p>
            <a:r>
              <a:rPr lang="en-US"/>
              <a:t>Insert Picture/Text Block</a:t>
            </a:r>
          </a:p>
          <a:p>
            <a:endParaRPr lang="en-US"/>
          </a:p>
          <a:p>
            <a:endParaRPr lang="x-none"/>
          </a:p>
        </p:txBody>
      </p:sp>
      <p:sp>
        <p:nvSpPr>
          <p:cNvPr id="18" name="タイトル プレースホルダ 1">
            <a:extLst>
              <a:ext uri="{FF2B5EF4-FFF2-40B4-BE49-F238E27FC236}">
                <a16:creationId xmlns="" xmlns:a16="http://schemas.microsoft.com/office/drawing/2014/main" id="{4FBB8310-69E6-7C4E-A4B1-C022B6FEE2CE}"/>
              </a:ext>
            </a:extLst>
          </p:cNvPr>
          <p:cNvSpPr>
            <a:spLocks noGrp="1"/>
          </p:cNvSpPr>
          <p:nvPr>
            <p:ph type="title" hasCustomPrompt="1"/>
          </p:nvPr>
        </p:nvSpPr>
        <p:spPr>
          <a:xfrm>
            <a:off x="454559" y="121208"/>
            <a:ext cx="7455190" cy="51435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1" name="Rectangle 20">
            <a:extLst>
              <a:ext uri="{FF2B5EF4-FFF2-40B4-BE49-F238E27FC236}">
                <a16:creationId xmlns="" xmlns:a16="http://schemas.microsoft.com/office/drawing/2014/main" id="{0FEF9AE6-D84E-9F43-9506-6676EC51B210}"/>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67" tIns="34289" rIns="68567" bIns="34289" rtlCol="0" anchor="ctr"/>
          <a:lstStyle/>
          <a:p>
            <a:pPr algn="ctr" defTabSz="685647"/>
            <a:endParaRPr kumimoji="1" lang="x-none" sz="1400">
              <a:solidFill>
                <a:srgbClr val="E1242A"/>
              </a:solidFill>
            </a:endParaRPr>
          </a:p>
        </p:txBody>
      </p:sp>
      <p:sp>
        <p:nvSpPr>
          <p:cNvPr id="28" name="スライド番号プレースホルダ 5">
            <a:extLst>
              <a:ext uri="{FF2B5EF4-FFF2-40B4-BE49-F238E27FC236}">
                <a16:creationId xmlns="" xmlns:a16="http://schemas.microsoft.com/office/drawing/2014/main" id="{F964ADE6-9B0D-EC45-959C-FEEA5CDDFBA9}"/>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3905"/>
            <a:fld id="{E9B57936-92EF-4126-AE48-1D9D36D15E98}" type="slidenum">
              <a:rPr lang="ja-JP" altLang="en-US" smtClean="0">
                <a:solidFill>
                  <a:srgbClr val="34373F"/>
                </a:solidFill>
              </a:rPr>
              <a:pPr defTabSz="913905"/>
              <a:t>‹Nº›</a:t>
            </a:fld>
            <a:endParaRPr lang="ja-JP" altLang="en-US">
              <a:solidFill>
                <a:srgbClr val="34373F"/>
              </a:solidFill>
            </a:endParaRPr>
          </a:p>
        </p:txBody>
      </p:sp>
      <p:sp>
        <p:nvSpPr>
          <p:cNvPr id="19" name="Text Placeholder 2">
            <a:extLst>
              <a:ext uri="{FF2B5EF4-FFF2-40B4-BE49-F238E27FC236}">
                <a16:creationId xmlns="" xmlns:a16="http://schemas.microsoft.com/office/drawing/2014/main" id="{099C450B-0755-7D4A-9672-E700D6F2E50A}"/>
              </a:ext>
            </a:extLst>
          </p:cNvPr>
          <p:cNvSpPr>
            <a:spLocks noGrp="1"/>
          </p:cNvSpPr>
          <p:nvPr>
            <p:ph type="body" sz="quarter" idx="21" hasCustomPrompt="1"/>
          </p:nvPr>
        </p:nvSpPr>
        <p:spPr>
          <a:xfrm>
            <a:off x="233365" y="1118532"/>
            <a:ext cx="8677274" cy="1098718"/>
          </a:xfrm>
        </p:spPr>
        <p:txBody>
          <a:bodyPr tIns="0" rIns="0" bIns="0" numCol="1" spcCol="94482">
            <a:noAutofit/>
          </a:bodyPr>
          <a:lstStyle>
            <a:lvl1pPr marL="0" indent="0">
              <a:lnSpc>
                <a:spcPct val="100000"/>
              </a:lnSpc>
              <a:spcBef>
                <a:spcPts val="0"/>
              </a:spcBef>
              <a:buNone/>
              <a:defRPr sz="1200" b="1"/>
            </a:lvl1pPr>
            <a:lvl2pPr marL="342722" indent="0">
              <a:buNone/>
              <a:defRPr sz="1400" b="1"/>
            </a:lvl2pPr>
            <a:lvl3pPr marL="685459" indent="0">
              <a:buNone/>
              <a:defRPr sz="1400" b="1"/>
            </a:lvl3pPr>
            <a:lvl4pPr marL="1028184" indent="0">
              <a:buNone/>
              <a:defRPr sz="1400" b="1"/>
            </a:lvl4pPr>
            <a:lvl5pPr marL="1370912" indent="0">
              <a:buNone/>
              <a:defRPr sz="1400" b="1"/>
            </a:lvl5pPr>
          </a:lstStyle>
          <a:p>
            <a:pPr lvl="0"/>
            <a:r>
              <a:rPr lang="en-US"/>
              <a:t>This is your Primary Text.</a:t>
            </a:r>
            <a:endParaRPr lang="x-none"/>
          </a:p>
        </p:txBody>
      </p:sp>
      <p:sp>
        <p:nvSpPr>
          <p:cNvPr id="20" name="Text Placeholder 6">
            <a:extLst>
              <a:ext uri="{FF2B5EF4-FFF2-40B4-BE49-F238E27FC236}">
                <a16:creationId xmlns="" xmlns:a16="http://schemas.microsoft.com/office/drawing/2014/main" id="{705B1BEB-AC9F-9643-A446-ABE1DDB96144}"/>
              </a:ext>
            </a:extLst>
          </p:cNvPr>
          <p:cNvSpPr>
            <a:spLocks noGrp="1"/>
          </p:cNvSpPr>
          <p:nvPr>
            <p:ph type="body" sz="quarter" idx="22" hasCustomPrompt="1"/>
          </p:nvPr>
        </p:nvSpPr>
        <p:spPr>
          <a:xfrm>
            <a:off x="233362" y="820327"/>
            <a:ext cx="8677274" cy="204590"/>
          </a:xfrm>
        </p:spPr>
        <p:txBody>
          <a:bodyPr tIns="0" rIns="0" bIns="0" numCol="1">
            <a:noAutofit/>
          </a:bodyPr>
          <a:lstStyle>
            <a:lvl1pPr marL="0" indent="0">
              <a:lnSpc>
                <a:spcPct val="100000"/>
              </a:lnSpc>
              <a:spcBef>
                <a:spcPts val="0"/>
              </a:spcBef>
              <a:spcAft>
                <a:spcPts val="450"/>
              </a:spcAft>
              <a:buNone/>
              <a:defRPr sz="1500" b="1">
                <a:solidFill>
                  <a:schemeClr val="accent1"/>
                </a:solidFill>
              </a:defRPr>
            </a:lvl1pPr>
            <a:lvl2pPr marL="342722" indent="0">
              <a:lnSpc>
                <a:spcPts val="1350"/>
              </a:lnSpc>
              <a:spcBef>
                <a:spcPts val="0"/>
              </a:spcBef>
              <a:buNone/>
              <a:defRPr sz="1100"/>
            </a:lvl2pPr>
            <a:lvl3pPr marL="685459" indent="0">
              <a:lnSpc>
                <a:spcPts val="1350"/>
              </a:lnSpc>
              <a:spcBef>
                <a:spcPts val="0"/>
              </a:spcBef>
              <a:buNone/>
              <a:defRPr sz="1100"/>
            </a:lvl3pPr>
            <a:lvl4pPr marL="1028184" indent="0">
              <a:lnSpc>
                <a:spcPts val="1350"/>
              </a:lnSpc>
              <a:spcBef>
                <a:spcPts val="0"/>
              </a:spcBef>
              <a:buNone/>
              <a:defRPr sz="1100"/>
            </a:lvl4pPr>
            <a:lvl5pPr marL="1370912" indent="0">
              <a:lnSpc>
                <a:spcPts val="1350"/>
              </a:lnSpc>
              <a:spcBef>
                <a:spcPts val="0"/>
              </a:spcBef>
              <a:buNone/>
              <a:defRPr sz="1100"/>
            </a:lvl5pPr>
          </a:lstStyle>
          <a:p>
            <a:pPr lvl="0"/>
            <a:r>
              <a:rPr lang="en-US"/>
              <a:t>This is your Primary Title</a:t>
            </a:r>
          </a:p>
        </p:txBody>
      </p:sp>
      <p:pic>
        <p:nvPicPr>
          <p:cNvPr id="14" name="Picture 13">
            <a:extLst>
              <a:ext uri="{FF2B5EF4-FFF2-40B4-BE49-F238E27FC236}">
                <a16:creationId xmlns="" xmlns:a16="http://schemas.microsoft.com/office/drawing/2014/main" id="{239D7E7F-4ADE-4E14-9D9B-793AF72B5AA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937746" y="4604928"/>
            <a:ext cx="1008126" cy="603504"/>
          </a:xfrm>
          <a:prstGeom prst="rect">
            <a:avLst/>
          </a:prstGeom>
        </p:spPr>
      </p:pic>
    </p:spTree>
    <p:extLst>
      <p:ext uri="{BB962C8B-B14F-4D97-AF65-F5344CB8AC3E}">
        <p14:creationId xmlns:p14="http://schemas.microsoft.com/office/powerpoint/2010/main" val="585644324"/>
      </p:ext>
    </p:extLst>
  </p:cSld>
  <p:clrMapOvr>
    <a:masterClrMapping/>
  </p:clrMapOvr>
  <p:transition spd="slow">
    <p:push dir="u"/>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Advanced Chart Full Width">
    <p:spTree>
      <p:nvGrpSpPr>
        <p:cNvPr id="1" name=""/>
        <p:cNvGrpSpPr/>
        <p:nvPr/>
      </p:nvGrpSpPr>
      <p:grpSpPr>
        <a:xfrm>
          <a:off x="0" y="0"/>
          <a:ext cx="0" cy="0"/>
          <a:chOff x="0" y="0"/>
          <a:chExt cx="0" cy="0"/>
        </a:xfrm>
      </p:grpSpPr>
      <p:sp>
        <p:nvSpPr>
          <p:cNvPr id="8" name="Chart Placeholder 7">
            <a:extLst>
              <a:ext uri="{FF2B5EF4-FFF2-40B4-BE49-F238E27FC236}">
                <a16:creationId xmlns="" xmlns:a16="http://schemas.microsoft.com/office/drawing/2014/main" id="{A6D4E593-FDCC-D14E-9C5E-5F309E415C26}"/>
              </a:ext>
            </a:extLst>
          </p:cNvPr>
          <p:cNvSpPr>
            <a:spLocks noGrp="1"/>
          </p:cNvSpPr>
          <p:nvPr>
            <p:ph type="chart" sz="quarter" idx="21" hasCustomPrompt="1"/>
          </p:nvPr>
        </p:nvSpPr>
        <p:spPr>
          <a:xfrm>
            <a:off x="231917" y="2307216"/>
            <a:ext cx="8678721" cy="2505292"/>
          </a:xfrm>
          <a:prstGeom prst="rect">
            <a:avLst/>
          </a:prstGeom>
        </p:spPr>
        <p:txBody>
          <a:bodyPr>
            <a:normAutofit/>
          </a:bodyPr>
          <a:lstStyle>
            <a:lvl1pPr marL="0" indent="0">
              <a:buNone/>
              <a:defRPr sz="1100"/>
            </a:lvl1pPr>
          </a:lstStyle>
          <a:p>
            <a:r>
              <a:rPr lang="x-none"/>
              <a:t>Insert Chart</a:t>
            </a:r>
          </a:p>
        </p:txBody>
      </p:sp>
      <p:sp>
        <p:nvSpPr>
          <p:cNvPr id="12" name="タイトル プレースホルダ 1">
            <a:extLst>
              <a:ext uri="{FF2B5EF4-FFF2-40B4-BE49-F238E27FC236}">
                <a16:creationId xmlns="" xmlns:a16="http://schemas.microsoft.com/office/drawing/2014/main" id="{75E45CD2-2EBD-AE47-837E-9F752C565F73}"/>
              </a:ext>
            </a:extLst>
          </p:cNvPr>
          <p:cNvSpPr>
            <a:spLocks noGrp="1"/>
          </p:cNvSpPr>
          <p:nvPr>
            <p:ph type="title" hasCustomPrompt="1"/>
          </p:nvPr>
        </p:nvSpPr>
        <p:spPr>
          <a:xfrm>
            <a:off x="454559" y="121208"/>
            <a:ext cx="7455190" cy="51435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Rectangle 19">
            <a:extLst>
              <a:ext uri="{FF2B5EF4-FFF2-40B4-BE49-F238E27FC236}">
                <a16:creationId xmlns="" xmlns:a16="http://schemas.microsoft.com/office/drawing/2014/main" id="{4436966D-3DF0-4D41-9D26-4860D147F807}"/>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67" tIns="34289" rIns="68567" bIns="34289" rtlCol="0" anchor="ctr"/>
          <a:lstStyle/>
          <a:p>
            <a:pPr algn="ctr" defTabSz="685647"/>
            <a:endParaRPr kumimoji="1" lang="x-none" sz="1400">
              <a:solidFill>
                <a:srgbClr val="E1242A"/>
              </a:solidFill>
            </a:endParaRPr>
          </a:p>
        </p:txBody>
      </p:sp>
      <p:sp>
        <p:nvSpPr>
          <p:cNvPr id="23" name="スライド番号プレースホルダ 5">
            <a:extLst>
              <a:ext uri="{FF2B5EF4-FFF2-40B4-BE49-F238E27FC236}">
                <a16:creationId xmlns="" xmlns:a16="http://schemas.microsoft.com/office/drawing/2014/main" id="{600920FB-2D44-F645-865D-89FFECB09573}"/>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3905"/>
            <a:fld id="{E9B57936-92EF-4126-AE48-1D9D36D15E98}" type="slidenum">
              <a:rPr lang="ja-JP" altLang="en-US" smtClean="0">
                <a:solidFill>
                  <a:srgbClr val="34373F"/>
                </a:solidFill>
              </a:rPr>
              <a:pPr defTabSz="913905"/>
              <a:t>‹Nº›</a:t>
            </a:fld>
            <a:endParaRPr lang="ja-JP" altLang="en-US">
              <a:solidFill>
                <a:srgbClr val="34373F"/>
              </a:solidFill>
            </a:endParaRPr>
          </a:p>
        </p:txBody>
      </p:sp>
      <p:sp>
        <p:nvSpPr>
          <p:cNvPr id="14" name="Text Placeholder 2">
            <a:extLst>
              <a:ext uri="{FF2B5EF4-FFF2-40B4-BE49-F238E27FC236}">
                <a16:creationId xmlns="" xmlns:a16="http://schemas.microsoft.com/office/drawing/2014/main" id="{628A960D-6A45-6744-9BDB-7070B443CC64}"/>
              </a:ext>
            </a:extLst>
          </p:cNvPr>
          <p:cNvSpPr>
            <a:spLocks noGrp="1"/>
          </p:cNvSpPr>
          <p:nvPr>
            <p:ph type="body" sz="quarter" idx="20" hasCustomPrompt="1"/>
          </p:nvPr>
        </p:nvSpPr>
        <p:spPr>
          <a:xfrm>
            <a:off x="233365" y="1118532"/>
            <a:ext cx="8677274" cy="1098718"/>
          </a:xfrm>
        </p:spPr>
        <p:txBody>
          <a:bodyPr tIns="0" rIns="0" bIns="0" numCol="1" spcCol="94482">
            <a:noAutofit/>
          </a:bodyPr>
          <a:lstStyle>
            <a:lvl1pPr marL="0" indent="0">
              <a:lnSpc>
                <a:spcPct val="100000"/>
              </a:lnSpc>
              <a:spcBef>
                <a:spcPts val="0"/>
              </a:spcBef>
              <a:buNone/>
              <a:defRPr sz="1200" b="1"/>
            </a:lvl1pPr>
            <a:lvl2pPr marL="342722" indent="0">
              <a:buNone/>
              <a:defRPr sz="1400" b="1"/>
            </a:lvl2pPr>
            <a:lvl3pPr marL="685459" indent="0">
              <a:buNone/>
              <a:defRPr sz="1400" b="1"/>
            </a:lvl3pPr>
            <a:lvl4pPr marL="1028184" indent="0">
              <a:buNone/>
              <a:defRPr sz="1400" b="1"/>
            </a:lvl4pPr>
            <a:lvl5pPr marL="1370912" indent="0">
              <a:buNone/>
              <a:defRPr sz="1400" b="1"/>
            </a:lvl5pPr>
          </a:lstStyle>
          <a:p>
            <a:pPr lvl="0"/>
            <a:r>
              <a:rPr lang="en-US"/>
              <a:t>This is your Primary Text.</a:t>
            </a:r>
            <a:endParaRPr lang="x-none"/>
          </a:p>
        </p:txBody>
      </p:sp>
      <p:sp>
        <p:nvSpPr>
          <p:cNvPr id="15" name="Text Placeholder 6">
            <a:extLst>
              <a:ext uri="{FF2B5EF4-FFF2-40B4-BE49-F238E27FC236}">
                <a16:creationId xmlns="" xmlns:a16="http://schemas.microsoft.com/office/drawing/2014/main" id="{21493179-5EA4-604B-A9DF-BDA818F0166A}"/>
              </a:ext>
            </a:extLst>
          </p:cNvPr>
          <p:cNvSpPr>
            <a:spLocks noGrp="1"/>
          </p:cNvSpPr>
          <p:nvPr>
            <p:ph type="body" sz="quarter" idx="22" hasCustomPrompt="1"/>
          </p:nvPr>
        </p:nvSpPr>
        <p:spPr>
          <a:xfrm>
            <a:off x="233362" y="820327"/>
            <a:ext cx="8677274" cy="204590"/>
          </a:xfrm>
        </p:spPr>
        <p:txBody>
          <a:bodyPr tIns="0" rIns="0" bIns="0" numCol="1">
            <a:noAutofit/>
          </a:bodyPr>
          <a:lstStyle>
            <a:lvl1pPr marL="0" indent="0">
              <a:lnSpc>
                <a:spcPct val="100000"/>
              </a:lnSpc>
              <a:spcBef>
                <a:spcPts val="0"/>
              </a:spcBef>
              <a:spcAft>
                <a:spcPts val="450"/>
              </a:spcAft>
              <a:buNone/>
              <a:defRPr sz="1500" b="1">
                <a:solidFill>
                  <a:schemeClr val="accent1"/>
                </a:solidFill>
              </a:defRPr>
            </a:lvl1pPr>
            <a:lvl2pPr marL="342722" indent="0">
              <a:lnSpc>
                <a:spcPts val="1350"/>
              </a:lnSpc>
              <a:spcBef>
                <a:spcPts val="0"/>
              </a:spcBef>
              <a:buNone/>
              <a:defRPr sz="1100"/>
            </a:lvl2pPr>
            <a:lvl3pPr marL="685459" indent="0">
              <a:lnSpc>
                <a:spcPts val="1350"/>
              </a:lnSpc>
              <a:spcBef>
                <a:spcPts val="0"/>
              </a:spcBef>
              <a:buNone/>
              <a:defRPr sz="1100"/>
            </a:lvl3pPr>
            <a:lvl4pPr marL="1028184" indent="0">
              <a:lnSpc>
                <a:spcPts val="1350"/>
              </a:lnSpc>
              <a:spcBef>
                <a:spcPts val="0"/>
              </a:spcBef>
              <a:buNone/>
              <a:defRPr sz="1100"/>
            </a:lvl4pPr>
            <a:lvl5pPr marL="1370912" indent="0">
              <a:lnSpc>
                <a:spcPts val="1350"/>
              </a:lnSpc>
              <a:spcBef>
                <a:spcPts val="0"/>
              </a:spcBef>
              <a:buNone/>
              <a:defRPr sz="1100"/>
            </a:lvl5pPr>
          </a:lstStyle>
          <a:p>
            <a:pPr lvl="0"/>
            <a:r>
              <a:rPr lang="en-US"/>
              <a:t>This is your Primary Title</a:t>
            </a:r>
          </a:p>
        </p:txBody>
      </p:sp>
      <p:pic>
        <p:nvPicPr>
          <p:cNvPr id="11" name="Picture 10">
            <a:extLst>
              <a:ext uri="{FF2B5EF4-FFF2-40B4-BE49-F238E27FC236}">
                <a16:creationId xmlns="" xmlns:a16="http://schemas.microsoft.com/office/drawing/2014/main" id="{12641CC5-46FE-4A1D-9A80-6E852A9D4AE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937746" y="4604928"/>
            <a:ext cx="1008126" cy="603504"/>
          </a:xfrm>
          <a:prstGeom prst="rect">
            <a:avLst/>
          </a:prstGeom>
        </p:spPr>
      </p:pic>
    </p:spTree>
    <p:extLst>
      <p:ext uri="{BB962C8B-B14F-4D97-AF65-F5344CB8AC3E}">
        <p14:creationId xmlns:p14="http://schemas.microsoft.com/office/powerpoint/2010/main" val="1457831988"/>
      </p:ext>
    </p:extLst>
  </p:cSld>
  <p:clrMapOvr>
    <a:masterClrMapping/>
  </p:clrMapOvr>
  <p:transition spd="slow">
    <p:push dir="u"/>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Advanced Chart 2/3">
    <p:spTree>
      <p:nvGrpSpPr>
        <p:cNvPr id="1" name=""/>
        <p:cNvGrpSpPr/>
        <p:nvPr/>
      </p:nvGrpSpPr>
      <p:grpSpPr>
        <a:xfrm>
          <a:off x="0" y="0"/>
          <a:ext cx="0" cy="0"/>
          <a:chOff x="0" y="0"/>
          <a:chExt cx="0" cy="0"/>
        </a:xfrm>
      </p:grpSpPr>
      <p:sp>
        <p:nvSpPr>
          <p:cNvPr id="8" name="Chart Placeholder 7">
            <a:extLst>
              <a:ext uri="{FF2B5EF4-FFF2-40B4-BE49-F238E27FC236}">
                <a16:creationId xmlns="" xmlns:a16="http://schemas.microsoft.com/office/drawing/2014/main" id="{A6D4E593-FDCC-D14E-9C5E-5F309E415C26}"/>
              </a:ext>
            </a:extLst>
          </p:cNvPr>
          <p:cNvSpPr>
            <a:spLocks noGrp="1"/>
          </p:cNvSpPr>
          <p:nvPr>
            <p:ph type="chart" sz="quarter" idx="21" hasCustomPrompt="1"/>
          </p:nvPr>
        </p:nvSpPr>
        <p:spPr>
          <a:xfrm>
            <a:off x="3170428" y="820325"/>
            <a:ext cx="5740219" cy="3992181"/>
          </a:xfrm>
          <a:prstGeom prst="rect">
            <a:avLst/>
          </a:prstGeom>
        </p:spPr>
        <p:txBody>
          <a:bodyPr>
            <a:normAutofit/>
          </a:bodyPr>
          <a:lstStyle>
            <a:lvl1pPr marL="0" indent="0">
              <a:buNone/>
              <a:defRPr sz="1100"/>
            </a:lvl1pPr>
          </a:lstStyle>
          <a:p>
            <a:r>
              <a:rPr lang="x-none"/>
              <a:t>Insert Chart</a:t>
            </a:r>
          </a:p>
        </p:txBody>
      </p:sp>
      <p:sp>
        <p:nvSpPr>
          <p:cNvPr id="9" name="Text Placeholder 6">
            <a:extLst>
              <a:ext uri="{FF2B5EF4-FFF2-40B4-BE49-F238E27FC236}">
                <a16:creationId xmlns="" xmlns:a16="http://schemas.microsoft.com/office/drawing/2014/main" id="{EF65D74B-37DA-0D46-8B56-9B362C84E6B9}"/>
              </a:ext>
            </a:extLst>
          </p:cNvPr>
          <p:cNvSpPr>
            <a:spLocks noGrp="1"/>
          </p:cNvSpPr>
          <p:nvPr>
            <p:ph type="body" sz="quarter" idx="14" hasCustomPrompt="1"/>
          </p:nvPr>
        </p:nvSpPr>
        <p:spPr>
          <a:xfrm>
            <a:off x="233367" y="2383723"/>
            <a:ext cx="2813975" cy="204590"/>
          </a:xfrm>
          <a:prstGeom prst="rect">
            <a:avLst/>
          </a:prstGeom>
        </p:spPr>
        <p:txBody>
          <a:bodyPr tIns="0" rIns="0" bIns="0" numCol="1">
            <a:noAutofit/>
          </a:bodyPr>
          <a:lstStyle>
            <a:lvl1pPr marL="0" indent="0">
              <a:lnSpc>
                <a:spcPct val="100000"/>
              </a:lnSpc>
              <a:spcBef>
                <a:spcPts val="0"/>
              </a:spcBef>
              <a:spcAft>
                <a:spcPts val="450"/>
              </a:spcAft>
              <a:buNone/>
              <a:defRPr sz="1400" b="1">
                <a:solidFill>
                  <a:schemeClr val="accent1"/>
                </a:solidFill>
              </a:defRPr>
            </a:lvl1pPr>
            <a:lvl2pPr marL="342722" indent="0">
              <a:lnSpc>
                <a:spcPts val="1350"/>
              </a:lnSpc>
              <a:spcBef>
                <a:spcPts val="0"/>
              </a:spcBef>
              <a:buNone/>
              <a:defRPr sz="1100"/>
            </a:lvl2pPr>
            <a:lvl3pPr marL="685459" indent="0">
              <a:lnSpc>
                <a:spcPts val="1350"/>
              </a:lnSpc>
              <a:spcBef>
                <a:spcPts val="0"/>
              </a:spcBef>
              <a:buNone/>
              <a:defRPr sz="1100"/>
            </a:lvl3pPr>
            <a:lvl4pPr marL="1028184" indent="0">
              <a:lnSpc>
                <a:spcPts val="1350"/>
              </a:lnSpc>
              <a:spcBef>
                <a:spcPts val="0"/>
              </a:spcBef>
              <a:buNone/>
              <a:defRPr sz="1100"/>
            </a:lvl4pPr>
            <a:lvl5pPr marL="1370912" indent="0">
              <a:lnSpc>
                <a:spcPts val="1350"/>
              </a:lnSpc>
              <a:spcBef>
                <a:spcPts val="0"/>
              </a:spcBef>
              <a:buNone/>
              <a:defRPr sz="1100"/>
            </a:lvl5pPr>
          </a:lstStyle>
          <a:p>
            <a:pPr lvl="0"/>
            <a:r>
              <a:rPr lang="en-US"/>
              <a:t>This is your Secondary Title</a:t>
            </a:r>
          </a:p>
        </p:txBody>
      </p:sp>
      <p:sp>
        <p:nvSpPr>
          <p:cNvPr id="10" name="Text Placeholder 6">
            <a:extLst>
              <a:ext uri="{FF2B5EF4-FFF2-40B4-BE49-F238E27FC236}">
                <a16:creationId xmlns="" xmlns:a16="http://schemas.microsoft.com/office/drawing/2014/main" id="{BF5F6A26-5AAA-884F-A319-DE9881530AA7}"/>
              </a:ext>
            </a:extLst>
          </p:cNvPr>
          <p:cNvSpPr>
            <a:spLocks noGrp="1"/>
          </p:cNvSpPr>
          <p:nvPr>
            <p:ph type="body" sz="quarter" idx="15" hasCustomPrompt="1"/>
          </p:nvPr>
        </p:nvSpPr>
        <p:spPr>
          <a:xfrm>
            <a:off x="233367" y="2681929"/>
            <a:ext cx="2813975" cy="2130578"/>
          </a:xfrm>
          <a:prstGeom prst="rect">
            <a:avLst/>
          </a:prstGeom>
        </p:spPr>
        <p:txBody>
          <a:bodyPr tIns="0" rIns="0" bIns="0" numCol="1">
            <a:noAutofit/>
          </a:bodyPr>
          <a:lstStyle>
            <a:lvl1pPr marL="128561" indent="-128561">
              <a:lnSpc>
                <a:spcPct val="100000"/>
              </a:lnSpc>
              <a:spcBef>
                <a:spcPts val="0"/>
              </a:spcBef>
              <a:spcAft>
                <a:spcPts val="450"/>
              </a:spcAft>
              <a:buFont typeface="Arial" panose="020B0604020202020204" pitchFamily="34" charset="0"/>
              <a:buChar char="•"/>
              <a:defRPr sz="1100" b="0">
                <a:solidFill>
                  <a:schemeClr val="tx1"/>
                </a:solidFill>
              </a:defRPr>
            </a:lvl1pPr>
            <a:lvl2pPr marL="342722" indent="0">
              <a:lnSpc>
                <a:spcPts val="1350"/>
              </a:lnSpc>
              <a:spcBef>
                <a:spcPts val="0"/>
              </a:spcBef>
              <a:buNone/>
              <a:defRPr sz="1100"/>
            </a:lvl2pPr>
            <a:lvl3pPr marL="685459" indent="0">
              <a:lnSpc>
                <a:spcPts val="1350"/>
              </a:lnSpc>
              <a:spcBef>
                <a:spcPts val="0"/>
              </a:spcBef>
              <a:buNone/>
              <a:defRPr sz="1100"/>
            </a:lvl3pPr>
            <a:lvl4pPr marL="1028184" indent="0">
              <a:lnSpc>
                <a:spcPts val="1350"/>
              </a:lnSpc>
              <a:spcBef>
                <a:spcPts val="0"/>
              </a:spcBef>
              <a:buNone/>
              <a:defRPr sz="1100"/>
            </a:lvl4pPr>
            <a:lvl5pPr marL="1370912" indent="0">
              <a:lnSpc>
                <a:spcPts val="1350"/>
              </a:lnSpc>
              <a:spcBef>
                <a:spcPts val="0"/>
              </a:spcBef>
              <a:buNone/>
              <a:defRPr sz="1100"/>
            </a:lvl5pPr>
          </a:lstStyle>
          <a:p>
            <a:pPr lvl="0"/>
            <a:r>
              <a:rPr lang="en-US"/>
              <a:t>This is your Secondary text.</a:t>
            </a:r>
          </a:p>
        </p:txBody>
      </p:sp>
      <p:sp>
        <p:nvSpPr>
          <p:cNvPr id="13" name="タイトル プレースホルダ 1">
            <a:extLst>
              <a:ext uri="{FF2B5EF4-FFF2-40B4-BE49-F238E27FC236}">
                <a16:creationId xmlns="" xmlns:a16="http://schemas.microsoft.com/office/drawing/2014/main" id="{2256F400-EDA8-7F44-BF13-278518497C9E}"/>
              </a:ext>
            </a:extLst>
          </p:cNvPr>
          <p:cNvSpPr>
            <a:spLocks noGrp="1"/>
          </p:cNvSpPr>
          <p:nvPr>
            <p:ph type="title" hasCustomPrompt="1"/>
          </p:nvPr>
        </p:nvSpPr>
        <p:spPr>
          <a:xfrm>
            <a:off x="454559" y="121208"/>
            <a:ext cx="7455190" cy="51435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1" name="Rectangle 20">
            <a:extLst>
              <a:ext uri="{FF2B5EF4-FFF2-40B4-BE49-F238E27FC236}">
                <a16:creationId xmlns="" xmlns:a16="http://schemas.microsoft.com/office/drawing/2014/main" id="{EAC2B0AC-7801-6C42-BA03-0669DC118159}"/>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67" tIns="34289" rIns="68567" bIns="34289" rtlCol="0" anchor="ctr"/>
          <a:lstStyle/>
          <a:p>
            <a:pPr algn="ctr" defTabSz="685647"/>
            <a:endParaRPr kumimoji="1" lang="x-none" sz="1400">
              <a:solidFill>
                <a:srgbClr val="E1242A"/>
              </a:solidFill>
            </a:endParaRPr>
          </a:p>
        </p:txBody>
      </p:sp>
      <p:sp>
        <p:nvSpPr>
          <p:cNvPr id="24" name="スライド番号プレースホルダ 5">
            <a:extLst>
              <a:ext uri="{FF2B5EF4-FFF2-40B4-BE49-F238E27FC236}">
                <a16:creationId xmlns="" xmlns:a16="http://schemas.microsoft.com/office/drawing/2014/main" id="{71FCF96E-3BB8-0745-B029-6B6BE4291274}"/>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3905"/>
            <a:fld id="{E9B57936-92EF-4126-AE48-1D9D36D15E98}" type="slidenum">
              <a:rPr lang="ja-JP" altLang="en-US" smtClean="0">
                <a:solidFill>
                  <a:srgbClr val="34373F"/>
                </a:solidFill>
              </a:rPr>
              <a:pPr defTabSz="913905"/>
              <a:t>‹Nº›</a:t>
            </a:fld>
            <a:endParaRPr lang="ja-JP" altLang="en-US">
              <a:solidFill>
                <a:srgbClr val="34373F"/>
              </a:solidFill>
            </a:endParaRPr>
          </a:p>
        </p:txBody>
      </p:sp>
      <p:sp>
        <p:nvSpPr>
          <p:cNvPr id="17" name="Text Placeholder 2">
            <a:extLst>
              <a:ext uri="{FF2B5EF4-FFF2-40B4-BE49-F238E27FC236}">
                <a16:creationId xmlns="" xmlns:a16="http://schemas.microsoft.com/office/drawing/2014/main" id="{45375A5A-6A84-7145-B49C-982F84619406}"/>
              </a:ext>
            </a:extLst>
          </p:cNvPr>
          <p:cNvSpPr>
            <a:spLocks noGrp="1"/>
          </p:cNvSpPr>
          <p:nvPr>
            <p:ph type="body" sz="quarter" idx="20" hasCustomPrompt="1"/>
          </p:nvPr>
        </p:nvSpPr>
        <p:spPr>
          <a:xfrm>
            <a:off x="233363" y="1118532"/>
            <a:ext cx="2813974" cy="1098718"/>
          </a:xfrm>
        </p:spPr>
        <p:txBody>
          <a:bodyPr tIns="0" rIns="0" bIns="0" numCol="1" spcCol="94482">
            <a:noAutofit/>
          </a:bodyPr>
          <a:lstStyle>
            <a:lvl1pPr marL="0" indent="0">
              <a:lnSpc>
                <a:spcPct val="100000"/>
              </a:lnSpc>
              <a:spcBef>
                <a:spcPts val="0"/>
              </a:spcBef>
              <a:buNone/>
              <a:defRPr sz="1200" b="1"/>
            </a:lvl1pPr>
            <a:lvl2pPr marL="342722" indent="0">
              <a:buNone/>
              <a:defRPr sz="1400" b="1"/>
            </a:lvl2pPr>
            <a:lvl3pPr marL="685459" indent="0">
              <a:buNone/>
              <a:defRPr sz="1400" b="1"/>
            </a:lvl3pPr>
            <a:lvl4pPr marL="1028184" indent="0">
              <a:buNone/>
              <a:defRPr sz="1400" b="1"/>
            </a:lvl4pPr>
            <a:lvl5pPr marL="1370912" indent="0">
              <a:buNone/>
              <a:defRPr sz="1400" b="1"/>
            </a:lvl5pPr>
          </a:lstStyle>
          <a:p>
            <a:pPr lvl="0"/>
            <a:r>
              <a:rPr lang="en-US"/>
              <a:t>This is your Primary Text.</a:t>
            </a:r>
            <a:endParaRPr lang="x-none"/>
          </a:p>
        </p:txBody>
      </p:sp>
      <p:sp>
        <p:nvSpPr>
          <p:cNvPr id="18" name="Text Placeholder 6">
            <a:extLst>
              <a:ext uri="{FF2B5EF4-FFF2-40B4-BE49-F238E27FC236}">
                <a16:creationId xmlns="" xmlns:a16="http://schemas.microsoft.com/office/drawing/2014/main" id="{5F7E9041-544E-3547-AC30-65F55E91E1ED}"/>
              </a:ext>
            </a:extLst>
          </p:cNvPr>
          <p:cNvSpPr>
            <a:spLocks noGrp="1"/>
          </p:cNvSpPr>
          <p:nvPr>
            <p:ph type="body" sz="quarter" idx="22" hasCustomPrompt="1"/>
          </p:nvPr>
        </p:nvSpPr>
        <p:spPr>
          <a:xfrm>
            <a:off x="233363" y="820327"/>
            <a:ext cx="2813974" cy="204590"/>
          </a:xfrm>
        </p:spPr>
        <p:txBody>
          <a:bodyPr tIns="0" rIns="0" bIns="0" numCol="1">
            <a:noAutofit/>
          </a:bodyPr>
          <a:lstStyle>
            <a:lvl1pPr marL="0" indent="0">
              <a:lnSpc>
                <a:spcPct val="100000"/>
              </a:lnSpc>
              <a:spcBef>
                <a:spcPts val="0"/>
              </a:spcBef>
              <a:spcAft>
                <a:spcPts val="450"/>
              </a:spcAft>
              <a:buNone/>
              <a:defRPr sz="1500" b="1">
                <a:solidFill>
                  <a:schemeClr val="accent1"/>
                </a:solidFill>
              </a:defRPr>
            </a:lvl1pPr>
            <a:lvl2pPr marL="342722" indent="0">
              <a:lnSpc>
                <a:spcPts val="1350"/>
              </a:lnSpc>
              <a:spcBef>
                <a:spcPts val="0"/>
              </a:spcBef>
              <a:buNone/>
              <a:defRPr sz="1100"/>
            </a:lvl2pPr>
            <a:lvl3pPr marL="685459" indent="0">
              <a:lnSpc>
                <a:spcPts val="1350"/>
              </a:lnSpc>
              <a:spcBef>
                <a:spcPts val="0"/>
              </a:spcBef>
              <a:buNone/>
              <a:defRPr sz="1100"/>
            </a:lvl3pPr>
            <a:lvl4pPr marL="1028184" indent="0">
              <a:lnSpc>
                <a:spcPts val="1350"/>
              </a:lnSpc>
              <a:spcBef>
                <a:spcPts val="0"/>
              </a:spcBef>
              <a:buNone/>
              <a:defRPr sz="1100"/>
            </a:lvl4pPr>
            <a:lvl5pPr marL="1370912" indent="0">
              <a:lnSpc>
                <a:spcPts val="1350"/>
              </a:lnSpc>
              <a:spcBef>
                <a:spcPts val="0"/>
              </a:spcBef>
              <a:buNone/>
              <a:defRPr sz="1100"/>
            </a:lvl5pPr>
          </a:lstStyle>
          <a:p>
            <a:pPr lvl="0"/>
            <a:r>
              <a:rPr lang="en-US"/>
              <a:t>This is your Primary Title</a:t>
            </a:r>
          </a:p>
        </p:txBody>
      </p:sp>
      <p:pic>
        <p:nvPicPr>
          <p:cNvPr id="16" name="Picture 15">
            <a:extLst>
              <a:ext uri="{FF2B5EF4-FFF2-40B4-BE49-F238E27FC236}">
                <a16:creationId xmlns="" xmlns:a16="http://schemas.microsoft.com/office/drawing/2014/main" id="{7BAF6437-3A9E-4E38-BABC-437E76E2CFA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937746" y="4604928"/>
            <a:ext cx="1008126" cy="603504"/>
          </a:xfrm>
          <a:prstGeom prst="rect">
            <a:avLst/>
          </a:prstGeom>
        </p:spPr>
      </p:pic>
    </p:spTree>
    <p:extLst>
      <p:ext uri="{BB962C8B-B14F-4D97-AF65-F5344CB8AC3E}">
        <p14:creationId xmlns:p14="http://schemas.microsoft.com/office/powerpoint/2010/main" val="1177656308"/>
      </p:ext>
    </p:extLst>
  </p:cSld>
  <p:clrMapOvr>
    <a:masterClrMapping/>
  </p:clrMapOvr>
  <p:transition spd="slow">
    <p:push dir="u"/>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Advanced Chart 2 Column">
    <p:spTree>
      <p:nvGrpSpPr>
        <p:cNvPr id="1" name=""/>
        <p:cNvGrpSpPr/>
        <p:nvPr/>
      </p:nvGrpSpPr>
      <p:grpSpPr>
        <a:xfrm>
          <a:off x="0" y="0"/>
          <a:ext cx="0" cy="0"/>
          <a:chOff x="0" y="0"/>
          <a:chExt cx="0" cy="0"/>
        </a:xfrm>
      </p:grpSpPr>
      <p:sp>
        <p:nvSpPr>
          <p:cNvPr id="8" name="Chart Placeholder 7">
            <a:extLst>
              <a:ext uri="{FF2B5EF4-FFF2-40B4-BE49-F238E27FC236}">
                <a16:creationId xmlns="" xmlns:a16="http://schemas.microsoft.com/office/drawing/2014/main" id="{A6D4E593-FDCC-D14E-9C5E-5F309E415C26}"/>
              </a:ext>
            </a:extLst>
          </p:cNvPr>
          <p:cNvSpPr>
            <a:spLocks noGrp="1"/>
          </p:cNvSpPr>
          <p:nvPr>
            <p:ph type="chart" sz="quarter" idx="21" hasCustomPrompt="1"/>
          </p:nvPr>
        </p:nvSpPr>
        <p:spPr>
          <a:xfrm>
            <a:off x="231917" y="2307216"/>
            <a:ext cx="4281488" cy="2505292"/>
          </a:xfrm>
          <a:prstGeom prst="rect">
            <a:avLst/>
          </a:prstGeom>
        </p:spPr>
        <p:txBody>
          <a:bodyPr>
            <a:normAutofit/>
          </a:bodyPr>
          <a:lstStyle>
            <a:lvl1pPr marL="0" indent="0">
              <a:buNone/>
              <a:defRPr sz="1100"/>
            </a:lvl1pPr>
          </a:lstStyle>
          <a:p>
            <a:r>
              <a:rPr lang="x-none"/>
              <a:t>Insert Chart</a:t>
            </a:r>
          </a:p>
        </p:txBody>
      </p:sp>
      <p:sp>
        <p:nvSpPr>
          <p:cNvPr id="9" name="Chart Placeholder 7">
            <a:extLst>
              <a:ext uri="{FF2B5EF4-FFF2-40B4-BE49-F238E27FC236}">
                <a16:creationId xmlns="" xmlns:a16="http://schemas.microsoft.com/office/drawing/2014/main" id="{F1FC7466-185A-8B44-ABF0-5410C1127700}"/>
              </a:ext>
            </a:extLst>
          </p:cNvPr>
          <p:cNvSpPr>
            <a:spLocks noGrp="1"/>
          </p:cNvSpPr>
          <p:nvPr>
            <p:ph type="chart" sz="quarter" idx="22" hasCustomPrompt="1"/>
          </p:nvPr>
        </p:nvSpPr>
        <p:spPr>
          <a:xfrm>
            <a:off x="4654627" y="2307216"/>
            <a:ext cx="4281488" cy="2505292"/>
          </a:xfrm>
          <a:prstGeom prst="rect">
            <a:avLst/>
          </a:prstGeom>
        </p:spPr>
        <p:txBody>
          <a:bodyPr>
            <a:normAutofit/>
          </a:bodyPr>
          <a:lstStyle>
            <a:lvl1pPr marL="0" indent="0">
              <a:buNone/>
              <a:defRPr sz="1100"/>
            </a:lvl1pPr>
          </a:lstStyle>
          <a:p>
            <a:r>
              <a:rPr lang="x-none"/>
              <a:t>Insert Chart</a:t>
            </a:r>
          </a:p>
        </p:txBody>
      </p:sp>
      <p:sp>
        <p:nvSpPr>
          <p:cNvPr id="12" name="タイトル プレースホルダ 1">
            <a:extLst>
              <a:ext uri="{FF2B5EF4-FFF2-40B4-BE49-F238E27FC236}">
                <a16:creationId xmlns="" xmlns:a16="http://schemas.microsoft.com/office/drawing/2014/main" id="{906CE02B-33D8-B048-A73D-781A3402C2B1}"/>
              </a:ext>
            </a:extLst>
          </p:cNvPr>
          <p:cNvSpPr>
            <a:spLocks noGrp="1"/>
          </p:cNvSpPr>
          <p:nvPr>
            <p:ph type="title" hasCustomPrompt="1"/>
          </p:nvPr>
        </p:nvSpPr>
        <p:spPr>
          <a:xfrm>
            <a:off x="454559" y="121208"/>
            <a:ext cx="7455190" cy="51435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Rectangle 16">
            <a:extLst>
              <a:ext uri="{FF2B5EF4-FFF2-40B4-BE49-F238E27FC236}">
                <a16:creationId xmlns="" xmlns:a16="http://schemas.microsoft.com/office/drawing/2014/main" id="{B679FB0B-7616-F04F-9B4C-586869A82E96}"/>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67" tIns="34289" rIns="68567" bIns="34289" rtlCol="0" anchor="ctr"/>
          <a:lstStyle/>
          <a:p>
            <a:pPr algn="ctr" defTabSz="685647"/>
            <a:endParaRPr kumimoji="1" lang="x-none" sz="1400">
              <a:solidFill>
                <a:srgbClr val="E1242A"/>
              </a:solidFill>
            </a:endParaRPr>
          </a:p>
        </p:txBody>
      </p:sp>
      <p:sp>
        <p:nvSpPr>
          <p:cNvPr id="22" name="スライド番号プレースホルダ 5">
            <a:extLst>
              <a:ext uri="{FF2B5EF4-FFF2-40B4-BE49-F238E27FC236}">
                <a16:creationId xmlns="" xmlns:a16="http://schemas.microsoft.com/office/drawing/2014/main" id="{8AFBB1AB-19B7-1347-93F8-D14235DD2317}"/>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3905"/>
            <a:fld id="{E9B57936-92EF-4126-AE48-1D9D36D15E98}" type="slidenum">
              <a:rPr lang="ja-JP" altLang="en-US" smtClean="0">
                <a:solidFill>
                  <a:srgbClr val="34373F"/>
                </a:solidFill>
              </a:rPr>
              <a:pPr defTabSz="913905"/>
              <a:t>‹Nº›</a:t>
            </a:fld>
            <a:endParaRPr lang="ja-JP" altLang="en-US">
              <a:solidFill>
                <a:srgbClr val="34373F"/>
              </a:solidFill>
            </a:endParaRPr>
          </a:p>
        </p:txBody>
      </p:sp>
      <p:sp>
        <p:nvSpPr>
          <p:cNvPr id="15" name="Text Placeholder 2">
            <a:extLst>
              <a:ext uri="{FF2B5EF4-FFF2-40B4-BE49-F238E27FC236}">
                <a16:creationId xmlns="" xmlns:a16="http://schemas.microsoft.com/office/drawing/2014/main" id="{F6F06E4B-A978-4E46-AE6C-67B54F7E34D5}"/>
              </a:ext>
            </a:extLst>
          </p:cNvPr>
          <p:cNvSpPr>
            <a:spLocks noGrp="1"/>
          </p:cNvSpPr>
          <p:nvPr>
            <p:ph type="body" sz="quarter" idx="20" hasCustomPrompt="1"/>
          </p:nvPr>
        </p:nvSpPr>
        <p:spPr>
          <a:xfrm>
            <a:off x="233364" y="1118532"/>
            <a:ext cx="8702752" cy="1098718"/>
          </a:xfrm>
        </p:spPr>
        <p:txBody>
          <a:bodyPr tIns="0" rIns="0" bIns="0" numCol="2" spcCol="94482">
            <a:noAutofit/>
          </a:bodyPr>
          <a:lstStyle>
            <a:lvl1pPr marL="0" indent="0">
              <a:lnSpc>
                <a:spcPct val="100000"/>
              </a:lnSpc>
              <a:spcBef>
                <a:spcPts val="0"/>
              </a:spcBef>
              <a:buNone/>
              <a:defRPr sz="1200" b="1"/>
            </a:lvl1pPr>
            <a:lvl2pPr marL="342722" indent="0">
              <a:buNone/>
              <a:defRPr sz="1400" b="1"/>
            </a:lvl2pPr>
            <a:lvl3pPr marL="685459" indent="0">
              <a:buNone/>
              <a:defRPr sz="1400" b="1"/>
            </a:lvl3pPr>
            <a:lvl4pPr marL="1028184" indent="0">
              <a:buNone/>
              <a:defRPr sz="1400" b="1"/>
            </a:lvl4pPr>
            <a:lvl5pPr marL="1370912" indent="0">
              <a:buNone/>
              <a:defRPr sz="1400" b="1"/>
            </a:lvl5pPr>
          </a:lstStyle>
          <a:p>
            <a:pPr lvl="0"/>
            <a:r>
              <a:rPr lang="en-US"/>
              <a:t>This is your Primary Text.</a:t>
            </a:r>
            <a:endParaRPr lang="x-none"/>
          </a:p>
        </p:txBody>
      </p:sp>
      <p:sp>
        <p:nvSpPr>
          <p:cNvPr id="18" name="Text Placeholder 6">
            <a:extLst>
              <a:ext uri="{FF2B5EF4-FFF2-40B4-BE49-F238E27FC236}">
                <a16:creationId xmlns="" xmlns:a16="http://schemas.microsoft.com/office/drawing/2014/main" id="{3FF373A1-4E48-6C48-A075-153436CF76DC}"/>
              </a:ext>
            </a:extLst>
          </p:cNvPr>
          <p:cNvSpPr>
            <a:spLocks noGrp="1"/>
          </p:cNvSpPr>
          <p:nvPr>
            <p:ph type="body" sz="quarter" idx="23" hasCustomPrompt="1"/>
          </p:nvPr>
        </p:nvSpPr>
        <p:spPr>
          <a:xfrm>
            <a:off x="233364" y="820327"/>
            <a:ext cx="8702752" cy="204590"/>
          </a:xfrm>
        </p:spPr>
        <p:txBody>
          <a:bodyPr tIns="0" rIns="0" bIns="0" numCol="1">
            <a:noAutofit/>
          </a:bodyPr>
          <a:lstStyle>
            <a:lvl1pPr marL="0" indent="0">
              <a:lnSpc>
                <a:spcPct val="100000"/>
              </a:lnSpc>
              <a:spcBef>
                <a:spcPts val="0"/>
              </a:spcBef>
              <a:spcAft>
                <a:spcPts val="450"/>
              </a:spcAft>
              <a:buNone/>
              <a:defRPr sz="1500" b="1">
                <a:solidFill>
                  <a:schemeClr val="accent1"/>
                </a:solidFill>
              </a:defRPr>
            </a:lvl1pPr>
            <a:lvl2pPr marL="342722" indent="0">
              <a:lnSpc>
                <a:spcPts val="1350"/>
              </a:lnSpc>
              <a:spcBef>
                <a:spcPts val="0"/>
              </a:spcBef>
              <a:buNone/>
              <a:defRPr sz="1100"/>
            </a:lvl2pPr>
            <a:lvl3pPr marL="685459" indent="0">
              <a:lnSpc>
                <a:spcPts val="1350"/>
              </a:lnSpc>
              <a:spcBef>
                <a:spcPts val="0"/>
              </a:spcBef>
              <a:buNone/>
              <a:defRPr sz="1100"/>
            </a:lvl3pPr>
            <a:lvl4pPr marL="1028184" indent="0">
              <a:lnSpc>
                <a:spcPts val="1350"/>
              </a:lnSpc>
              <a:spcBef>
                <a:spcPts val="0"/>
              </a:spcBef>
              <a:buNone/>
              <a:defRPr sz="1100"/>
            </a:lvl4pPr>
            <a:lvl5pPr marL="1370912" indent="0">
              <a:lnSpc>
                <a:spcPts val="1350"/>
              </a:lnSpc>
              <a:spcBef>
                <a:spcPts val="0"/>
              </a:spcBef>
              <a:buNone/>
              <a:defRPr sz="1100"/>
            </a:lvl5pPr>
          </a:lstStyle>
          <a:p>
            <a:pPr lvl="0"/>
            <a:r>
              <a:rPr lang="en-US"/>
              <a:t>This is your Primary Title</a:t>
            </a:r>
          </a:p>
        </p:txBody>
      </p:sp>
      <p:pic>
        <p:nvPicPr>
          <p:cNvPr id="16" name="Picture 15">
            <a:extLst>
              <a:ext uri="{FF2B5EF4-FFF2-40B4-BE49-F238E27FC236}">
                <a16:creationId xmlns="" xmlns:a16="http://schemas.microsoft.com/office/drawing/2014/main" id="{533DA345-F930-44E6-8EEE-EC99ADB762A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937746" y="4604928"/>
            <a:ext cx="1008126" cy="603504"/>
          </a:xfrm>
          <a:prstGeom prst="rect">
            <a:avLst/>
          </a:prstGeom>
        </p:spPr>
      </p:pic>
    </p:spTree>
    <p:extLst>
      <p:ext uri="{BB962C8B-B14F-4D97-AF65-F5344CB8AC3E}">
        <p14:creationId xmlns:p14="http://schemas.microsoft.com/office/powerpoint/2010/main" val="1009816936"/>
      </p:ext>
    </p:extLst>
  </p:cSld>
  <p:clrMapOvr>
    <a:masterClrMapping/>
  </p:clrMapOvr>
  <p:transition spd="slow">
    <p:push dir="u"/>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Advanced Chart 3 Column">
    <p:spTree>
      <p:nvGrpSpPr>
        <p:cNvPr id="1" name=""/>
        <p:cNvGrpSpPr/>
        <p:nvPr/>
      </p:nvGrpSpPr>
      <p:grpSpPr>
        <a:xfrm>
          <a:off x="0" y="0"/>
          <a:ext cx="0" cy="0"/>
          <a:chOff x="0" y="0"/>
          <a:chExt cx="0" cy="0"/>
        </a:xfrm>
      </p:grpSpPr>
      <p:sp>
        <p:nvSpPr>
          <p:cNvPr id="8" name="Chart Placeholder 7">
            <a:extLst>
              <a:ext uri="{FF2B5EF4-FFF2-40B4-BE49-F238E27FC236}">
                <a16:creationId xmlns="" xmlns:a16="http://schemas.microsoft.com/office/drawing/2014/main" id="{A6D4E593-FDCC-D14E-9C5E-5F309E415C26}"/>
              </a:ext>
            </a:extLst>
          </p:cNvPr>
          <p:cNvSpPr>
            <a:spLocks noGrp="1"/>
          </p:cNvSpPr>
          <p:nvPr>
            <p:ph type="chart" sz="quarter" idx="21" hasCustomPrompt="1"/>
          </p:nvPr>
        </p:nvSpPr>
        <p:spPr>
          <a:xfrm>
            <a:off x="231919" y="2307216"/>
            <a:ext cx="2818358" cy="2505292"/>
          </a:xfrm>
          <a:prstGeom prst="rect">
            <a:avLst/>
          </a:prstGeom>
        </p:spPr>
        <p:txBody>
          <a:bodyPr>
            <a:normAutofit/>
          </a:bodyPr>
          <a:lstStyle>
            <a:lvl1pPr marL="0" indent="0">
              <a:buNone/>
              <a:defRPr sz="1100"/>
            </a:lvl1pPr>
          </a:lstStyle>
          <a:p>
            <a:r>
              <a:rPr lang="x-none"/>
              <a:t>Insert Chart</a:t>
            </a:r>
          </a:p>
        </p:txBody>
      </p:sp>
      <p:sp>
        <p:nvSpPr>
          <p:cNvPr id="10" name="Chart Placeholder 7">
            <a:extLst>
              <a:ext uri="{FF2B5EF4-FFF2-40B4-BE49-F238E27FC236}">
                <a16:creationId xmlns="" xmlns:a16="http://schemas.microsoft.com/office/drawing/2014/main" id="{8D9BD23C-1777-C442-B4B0-BADF450483EA}"/>
              </a:ext>
            </a:extLst>
          </p:cNvPr>
          <p:cNvSpPr>
            <a:spLocks noGrp="1"/>
          </p:cNvSpPr>
          <p:nvPr>
            <p:ph type="chart" sz="quarter" idx="22" hasCustomPrompt="1"/>
          </p:nvPr>
        </p:nvSpPr>
        <p:spPr>
          <a:xfrm>
            <a:off x="3162823" y="2307216"/>
            <a:ext cx="2818358" cy="2505292"/>
          </a:xfrm>
          <a:prstGeom prst="rect">
            <a:avLst/>
          </a:prstGeom>
        </p:spPr>
        <p:txBody>
          <a:bodyPr>
            <a:normAutofit/>
          </a:bodyPr>
          <a:lstStyle>
            <a:lvl1pPr marL="0" indent="0">
              <a:buNone/>
              <a:defRPr sz="1100"/>
            </a:lvl1pPr>
          </a:lstStyle>
          <a:p>
            <a:r>
              <a:rPr lang="x-none"/>
              <a:t>Insert Chart</a:t>
            </a:r>
          </a:p>
        </p:txBody>
      </p:sp>
      <p:sp>
        <p:nvSpPr>
          <p:cNvPr id="11" name="Chart Placeholder 7">
            <a:extLst>
              <a:ext uri="{FF2B5EF4-FFF2-40B4-BE49-F238E27FC236}">
                <a16:creationId xmlns="" xmlns:a16="http://schemas.microsoft.com/office/drawing/2014/main" id="{2D7D413C-2FF1-204A-83C6-B7426603B7C2}"/>
              </a:ext>
            </a:extLst>
          </p:cNvPr>
          <p:cNvSpPr>
            <a:spLocks noGrp="1"/>
          </p:cNvSpPr>
          <p:nvPr>
            <p:ph type="chart" sz="quarter" idx="23" hasCustomPrompt="1"/>
          </p:nvPr>
        </p:nvSpPr>
        <p:spPr>
          <a:xfrm>
            <a:off x="6092281" y="2307216"/>
            <a:ext cx="2818358" cy="2505292"/>
          </a:xfrm>
          <a:prstGeom prst="rect">
            <a:avLst/>
          </a:prstGeom>
        </p:spPr>
        <p:txBody>
          <a:bodyPr>
            <a:normAutofit/>
          </a:bodyPr>
          <a:lstStyle>
            <a:lvl1pPr marL="0" indent="0">
              <a:buNone/>
              <a:defRPr sz="1100"/>
            </a:lvl1pPr>
          </a:lstStyle>
          <a:p>
            <a:r>
              <a:rPr lang="x-none"/>
              <a:t>Insert Chart</a:t>
            </a:r>
          </a:p>
        </p:txBody>
      </p:sp>
      <p:sp>
        <p:nvSpPr>
          <p:cNvPr id="17" name="タイトル プレースホルダ 1">
            <a:extLst>
              <a:ext uri="{FF2B5EF4-FFF2-40B4-BE49-F238E27FC236}">
                <a16:creationId xmlns="" xmlns:a16="http://schemas.microsoft.com/office/drawing/2014/main" id="{2FFB1535-D35E-D242-B225-DDF1C53BB8D4}"/>
              </a:ext>
            </a:extLst>
          </p:cNvPr>
          <p:cNvSpPr>
            <a:spLocks noGrp="1"/>
          </p:cNvSpPr>
          <p:nvPr>
            <p:ph type="title" hasCustomPrompt="1"/>
          </p:nvPr>
        </p:nvSpPr>
        <p:spPr>
          <a:xfrm>
            <a:off x="454559" y="121208"/>
            <a:ext cx="7455190" cy="51435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2" name="Rectangle 21">
            <a:extLst>
              <a:ext uri="{FF2B5EF4-FFF2-40B4-BE49-F238E27FC236}">
                <a16:creationId xmlns="" xmlns:a16="http://schemas.microsoft.com/office/drawing/2014/main" id="{DEFC8CB7-67E9-8A46-B53F-F34ACE18BE87}"/>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67" tIns="34289" rIns="68567" bIns="34289" rtlCol="0" anchor="ctr"/>
          <a:lstStyle/>
          <a:p>
            <a:pPr algn="ctr" defTabSz="685647"/>
            <a:endParaRPr kumimoji="1" lang="x-none" sz="1400">
              <a:solidFill>
                <a:srgbClr val="E1242A"/>
              </a:solidFill>
            </a:endParaRPr>
          </a:p>
        </p:txBody>
      </p:sp>
      <p:sp>
        <p:nvSpPr>
          <p:cNvPr id="25" name="スライド番号プレースホルダ 5">
            <a:extLst>
              <a:ext uri="{FF2B5EF4-FFF2-40B4-BE49-F238E27FC236}">
                <a16:creationId xmlns="" xmlns:a16="http://schemas.microsoft.com/office/drawing/2014/main" id="{5EB1023E-4E73-AD49-83B0-D7B458250C6F}"/>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3905"/>
            <a:fld id="{E9B57936-92EF-4126-AE48-1D9D36D15E98}" type="slidenum">
              <a:rPr lang="ja-JP" altLang="en-US" smtClean="0">
                <a:solidFill>
                  <a:srgbClr val="34373F"/>
                </a:solidFill>
              </a:rPr>
              <a:pPr defTabSz="913905"/>
              <a:t>‹Nº›</a:t>
            </a:fld>
            <a:endParaRPr lang="ja-JP" altLang="en-US">
              <a:solidFill>
                <a:srgbClr val="34373F"/>
              </a:solidFill>
            </a:endParaRPr>
          </a:p>
        </p:txBody>
      </p:sp>
      <p:sp>
        <p:nvSpPr>
          <p:cNvPr id="15" name="Text Placeholder 2">
            <a:extLst>
              <a:ext uri="{FF2B5EF4-FFF2-40B4-BE49-F238E27FC236}">
                <a16:creationId xmlns="" xmlns:a16="http://schemas.microsoft.com/office/drawing/2014/main" id="{AD1171B1-AEC6-164D-8FE0-E0B9353A55BF}"/>
              </a:ext>
            </a:extLst>
          </p:cNvPr>
          <p:cNvSpPr>
            <a:spLocks noGrp="1"/>
          </p:cNvSpPr>
          <p:nvPr>
            <p:ph type="body" sz="quarter" idx="20" hasCustomPrompt="1"/>
          </p:nvPr>
        </p:nvSpPr>
        <p:spPr>
          <a:xfrm>
            <a:off x="233365" y="1118532"/>
            <a:ext cx="8677274" cy="1098718"/>
          </a:xfrm>
        </p:spPr>
        <p:txBody>
          <a:bodyPr tIns="0" rIns="0" bIns="0" numCol="2" spcCol="94482">
            <a:noAutofit/>
          </a:bodyPr>
          <a:lstStyle>
            <a:lvl1pPr marL="0" indent="0">
              <a:lnSpc>
                <a:spcPct val="100000"/>
              </a:lnSpc>
              <a:spcBef>
                <a:spcPts val="0"/>
              </a:spcBef>
              <a:buNone/>
              <a:defRPr sz="1200" b="1"/>
            </a:lvl1pPr>
            <a:lvl2pPr marL="342722" indent="0">
              <a:buNone/>
              <a:defRPr sz="1400" b="1"/>
            </a:lvl2pPr>
            <a:lvl3pPr marL="685459" indent="0">
              <a:buNone/>
              <a:defRPr sz="1400" b="1"/>
            </a:lvl3pPr>
            <a:lvl4pPr marL="1028184" indent="0">
              <a:buNone/>
              <a:defRPr sz="1400" b="1"/>
            </a:lvl4pPr>
            <a:lvl5pPr marL="1370912" indent="0">
              <a:buNone/>
              <a:defRPr sz="1400" b="1"/>
            </a:lvl5pPr>
          </a:lstStyle>
          <a:p>
            <a:pPr lvl="0"/>
            <a:r>
              <a:rPr lang="en-US"/>
              <a:t>This is your Primary Text.</a:t>
            </a:r>
            <a:endParaRPr lang="x-none"/>
          </a:p>
        </p:txBody>
      </p:sp>
      <p:sp>
        <p:nvSpPr>
          <p:cNvPr id="18" name="Text Placeholder 6">
            <a:extLst>
              <a:ext uri="{FF2B5EF4-FFF2-40B4-BE49-F238E27FC236}">
                <a16:creationId xmlns="" xmlns:a16="http://schemas.microsoft.com/office/drawing/2014/main" id="{66C4AA1F-8B09-5544-9C70-388A6E2940C9}"/>
              </a:ext>
            </a:extLst>
          </p:cNvPr>
          <p:cNvSpPr>
            <a:spLocks noGrp="1"/>
          </p:cNvSpPr>
          <p:nvPr>
            <p:ph type="body" sz="quarter" idx="24" hasCustomPrompt="1"/>
          </p:nvPr>
        </p:nvSpPr>
        <p:spPr>
          <a:xfrm>
            <a:off x="233362" y="820327"/>
            <a:ext cx="8677274" cy="204590"/>
          </a:xfrm>
        </p:spPr>
        <p:txBody>
          <a:bodyPr tIns="0" rIns="0" bIns="0" numCol="1">
            <a:noAutofit/>
          </a:bodyPr>
          <a:lstStyle>
            <a:lvl1pPr marL="0" indent="0">
              <a:lnSpc>
                <a:spcPct val="100000"/>
              </a:lnSpc>
              <a:spcBef>
                <a:spcPts val="0"/>
              </a:spcBef>
              <a:spcAft>
                <a:spcPts val="450"/>
              </a:spcAft>
              <a:buNone/>
              <a:defRPr sz="1500" b="1">
                <a:solidFill>
                  <a:schemeClr val="accent1"/>
                </a:solidFill>
              </a:defRPr>
            </a:lvl1pPr>
            <a:lvl2pPr marL="342722" indent="0">
              <a:lnSpc>
                <a:spcPts val="1350"/>
              </a:lnSpc>
              <a:spcBef>
                <a:spcPts val="0"/>
              </a:spcBef>
              <a:buNone/>
              <a:defRPr sz="1100"/>
            </a:lvl2pPr>
            <a:lvl3pPr marL="685459" indent="0">
              <a:lnSpc>
                <a:spcPts val="1350"/>
              </a:lnSpc>
              <a:spcBef>
                <a:spcPts val="0"/>
              </a:spcBef>
              <a:buNone/>
              <a:defRPr sz="1100"/>
            </a:lvl3pPr>
            <a:lvl4pPr marL="1028184" indent="0">
              <a:lnSpc>
                <a:spcPts val="1350"/>
              </a:lnSpc>
              <a:spcBef>
                <a:spcPts val="0"/>
              </a:spcBef>
              <a:buNone/>
              <a:defRPr sz="1100"/>
            </a:lvl4pPr>
            <a:lvl5pPr marL="1370912" indent="0">
              <a:lnSpc>
                <a:spcPts val="1350"/>
              </a:lnSpc>
              <a:spcBef>
                <a:spcPts val="0"/>
              </a:spcBef>
              <a:buNone/>
              <a:defRPr sz="1100"/>
            </a:lvl5pPr>
          </a:lstStyle>
          <a:p>
            <a:pPr lvl="0"/>
            <a:r>
              <a:rPr lang="en-US"/>
              <a:t>This is your Primary Title</a:t>
            </a:r>
          </a:p>
        </p:txBody>
      </p:sp>
      <p:pic>
        <p:nvPicPr>
          <p:cNvPr id="13" name="Picture 12">
            <a:extLst>
              <a:ext uri="{FF2B5EF4-FFF2-40B4-BE49-F238E27FC236}">
                <a16:creationId xmlns="" xmlns:a16="http://schemas.microsoft.com/office/drawing/2014/main" id="{F88637D5-74D8-4FFB-B42E-EE9AEA101E5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937746" y="4604928"/>
            <a:ext cx="1008126" cy="603504"/>
          </a:xfrm>
          <a:prstGeom prst="rect">
            <a:avLst/>
          </a:prstGeom>
        </p:spPr>
      </p:pic>
    </p:spTree>
    <p:extLst>
      <p:ext uri="{BB962C8B-B14F-4D97-AF65-F5344CB8AC3E}">
        <p14:creationId xmlns:p14="http://schemas.microsoft.com/office/powerpoint/2010/main" val="2559348164"/>
      </p:ext>
    </p:extLst>
  </p:cSld>
  <p:clrMapOvr>
    <a:masterClrMapping/>
  </p:clrMapOvr>
  <p:transition spd="slow">
    <p:push dir="u"/>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pic>
        <p:nvPicPr>
          <p:cNvPr id="2" name="Picture 1">
            <a:extLst>
              <a:ext uri="{FF2B5EF4-FFF2-40B4-BE49-F238E27FC236}">
                <a16:creationId xmlns="" xmlns:a16="http://schemas.microsoft.com/office/drawing/2014/main" id="{32CE7BA5-FD5C-4666-A8CE-02393E02A69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937746" y="4604928"/>
            <a:ext cx="1008126" cy="603504"/>
          </a:xfrm>
          <a:prstGeom prst="rect">
            <a:avLst/>
          </a:prstGeom>
        </p:spPr>
      </p:pic>
      <p:pic>
        <p:nvPicPr>
          <p:cNvPr id="3" name="Picture 12" descr="Takeda_Logo_Pos_RGB.emf">
            <a:extLst>
              <a:ext uri="{FF2B5EF4-FFF2-40B4-BE49-F238E27FC236}">
                <a16:creationId xmlns="" xmlns:a16="http://schemas.microsoft.com/office/drawing/2014/main" id="{53895617-BA3B-4E03-93F9-EA578BD2C2F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7975658" y="233604"/>
            <a:ext cx="772806" cy="259904"/>
          </a:xfrm>
          <a:prstGeom prst="rect">
            <a:avLst/>
          </a:prstGeom>
          <a:noFill/>
          <a:ln w="9525">
            <a:noFill/>
            <a:miter lim="800000"/>
            <a:headEnd/>
            <a:tailEnd/>
          </a:ln>
        </p:spPr>
      </p:pic>
      <p:sp>
        <p:nvSpPr>
          <p:cNvPr id="4" name="Slide Number Placeholder 4">
            <a:extLst>
              <a:ext uri="{FF2B5EF4-FFF2-40B4-BE49-F238E27FC236}">
                <a16:creationId xmlns="" xmlns:a16="http://schemas.microsoft.com/office/drawing/2014/main" id="{3E4D535C-D57E-4C96-989E-CBA98EF9716B}"/>
              </a:ext>
            </a:extLst>
          </p:cNvPr>
          <p:cNvSpPr>
            <a:spLocks noGrp="1"/>
          </p:cNvSpPr>
          <p:nvPr>
            <p:ph type="sldNum" sz="quarter" idx="16"/>
          </p:nvPr>
        </p:nvSpPr>
        <p:spPr>
          <a:xfrm>
            <a:off x="233363" y="4867276"/>
            <a:ext cx="442392" cy="172074"/>
          </a:xfrm>
        </p:spPr>
        <p:txBody>
          <a:bodyPr/>
          <a:lstStyle/>
          <a:p>
            <a:fld id="{E9B57936-92EF-4126-AE48-1D9D36D15E98}" type="slidenum">
              <a:rPr lang="ja-JP" altLang="en-US" smtClean="0">
                <a:solidFill>
                  <a:srgbClr val="34373F"/>
                </a:solidFill>
              </a:rPr>
              <a:pPr/>
              <a:t>‹Nº›</a:t>
            </a:fld>
            <a:endParaRPr lang="ja-JP" altLang="en-US">
              <a:solidFill>
                <a:srgbClr val="34373F"/>
              </a:solidFill>
            </a:endParaRPr>
          </a:p>
        </p:txBody>
      </p:sp>
    </p:spTree>
    <p:extLst>
      <p:ext uri="{BB962C8B-B14F-4D97-AF65-F5344CB8AC3E}">
        <p14:creationId xmlns:p14="http://schemas.microsoft.com/office/powerpoint/2010/main" val="4024511166"/>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675D4F24-3AD1-7943-A1A9-EB84047B5123}"/>
              </a:ext>
            </a:extLst>
          </p:cNvPr>
          <p:cNvSpPr>
            <a:spLocks noGrp="1"/>
          </p:cNvSpPr>
          <p:nvPr>
            <p:ph type="body" sz="quarter" idx="13" hasCustomPrompt="1"/>
          </p:nvPr>
        </p:nvSpPr>
        <p:spPr>
          <a:xfrm>
            <a:off x="395289" y="926921"/>
            <a:ext cx="8343899" cy="3480567"/>
          </a:xfrm>
        </p:spPr>
        <p:txBody>
          <a:bodyPr/>
          <a:lstStyle>
            <a:lvl1pPr>
              <a:buClr>
                <a:srgbClr val="4C4948"/>
              </a:buClr>
              <a:defRPr>
                <a:solidFill>
                  <a:schemeClr val="tx2"/>
                </a:solidFill>
              </a:defRPr>
            </a:lvl1pPr>
            <a:lvl2pPr>
              <a:buClr>
                <a:srgbClr val="4C4948"/>
              </a:buClr>
              <a:defRPr>
                <a:solidFill>
                  <a:schemeClr val="tx2"/>
                </a:solidFill>
              </a:defRPr>
            </a:lvl2pPr>
            <a:lvl3pPr>
              <a:buClr>
                <a:srgbClr val="4C4948"/>
              </a:buClr>
              <a:defRPr>
                <a:solidFill>
                  <a:schemeClr val="tx2"/>
                </a:solidFill>
              </a:defRPr>
            </a:lvl3pPr>
            <a:lvl4pPr>
              <a:buClr>
                <a:srgbClr val="4C4948"/>
              </a:buClr>
              <a:defRPr>
                <a:solidFill>
                  <a:schemeClr val="tx2"/>
                </a:solidFill>
              </a:defRPr>
            </a:lvl4pPr>
            <a:lvl5pPr>
              <a:buClr>
                <a:srgbClr val="4C4948"/>
              </a:buClr>
              <a:defRPr>
                <a:solidFill>
                  <a:schemeClr val="tx2"/>
                </a:solidFill>
              </a:defRPr>
            </a:lvl5pPr>
          </a:lstStyle>
          <a:p>
            <a:pPr lvl="0"/>
            <a:r>
              <a:rPr lang="en-US"/>
              <a:t>Add your text her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 xmlns:a16="http://schemas.microsoft.com/office/drawing/2014/main" id="{FC71F690-8ECF-4851-9B1B-65F80621D3C2}"/>
              </a:ext>
            </a:extLst>
          </p:cNvPr>
          <p:cNvSpPr>
            <a:spLocks noGrp="1"/>
          </p:cNvSpPr>
          <p:nvPr>
            <p:ph type="body" sz="quarter" idx="14" hasCustomPrompt="1"/>
          </p:nvPr>
        </p:nvSpPr>
        <p:spPr>
          <a:xfrm>
            <a:off x="395289" y="4431350"/>
            <a:ext cx="7529513" cy="340727"/>
          </a:xfrm>
        </p:spPr>
        <p:txBody>
          <a:bodyPr bIns="0" anchor="b" anchorCtr="0">
            <a:noAutofit/>
          </a:bodyPr>
          <a:lstStyle>
            <a:lvl1pPr marL="0" indent="0">
              <a:spcBef>
                <a:spcPts val="0"/>
              </a:spcBef>
              <a:buFontTx/>
              <a:buNone/>
              <a:defRPr sz="700"/>
            </a:lvl1pPr>
          </a:lstStyle>
          <a:p>
            <a:r>
              <a:rPr lang="en-US"/>
              <a:t>Footnotes.</a:t>
            </a:r>
          </a:p>
          <a:p>
            <a:r>
              <a:rPr lang="en-US"/>
              <a:t>Abbreviations.</a:t>
            </a:r>
          </a:p>
          <a:p>
            <a:r>
              <a:rPr lang="en-US"/>
              <a:t>References.</a:t>
            </a:r>
          </a:p>
        </p:txBody>
      </p:sp>
      <p:sp>
        <p:nvSpPr>
          <p:cNvPr id="5" name="Slide Number Placeholder 4">
            <a:extLst>
              <a:ext uri="{FF2B5EF4-FFF2-40B4-BE49-F238E27FC236}">
                <a16:creationId xmlns="" xmlns:a16="http://schemas.microsoft.com/office/drawing/2014/main" id="{D866840B-298E-4CFC-A58E-46D1C350B59F}"/>
              </a:ext>
            </a:extLst>
          </p:cNvPr>
          <p:cNvSpPr>
            <a:spLocks noGrp="1"/>
          </p:cNvSpPr>
          <p:nvPr>
            <p:ph type="sldNum" sz="quarter" idx="16"/>
          </p:nvPr>
        </p:nvSpPr>
        <p:spPr/>
        <p:txBody>
          <a:bodyPr/>
          <a:lstStyle/>
          <a:p>
            <a:fld id="{E9B57936-92EF-4126-AE48-1D9D36D15E98}" type="slidenum">
              <a:rPr lang="ja-JP" altLang="en-US" smtClean="0">
                <a:solidFill>
                  <a:srgbClr val="34373F"/>
                </a:solidFill>
              </a:rPr>
              <a:pPr/>
              <a:t>‹Nº›</a:t>
            </a:fld>
            <a:endParaRPr lang="ja-JP" altLang="en-US">
              <a:solidFill>
                <a:srgbClr val="34373F"/>
              </a:solidFill>
            </a:endParaRPr>
          </a:p>
        </p:txBody>
      </p:sp>
      <p:sp>
        <p:nvSpPr>
          <p:cNvPr id="8" name="Title 7">
            <a:extLst>
              <a:ext uri="{FF2B5EF4-FFF2-40B4-BE49-F238E27FC236}">
                <a16:creationId xmlns="" xmlns:a16="http://schemas.microsoft.com/office/drawing/2014/main" id="{8F0341E0-7C1E-44B6-B63F-9834CF4F1267}"/>
              </a:ext>
            </a:extLst>
          </p:cNvPr>
          <p:cNvSpPr>
            <a:spLocks noGrp="1"/>
          </p:cNvSpPr>
          <p:nvPr>
            <p:ph type="title"/>
          </p:nvPr>
        </p:nvSpPr>
        <p:spPr>
          <a:xfrm>
            <a:off x="395289" y="99585"/>
            <a:ext cx="7357234" cy="527957"/>
          </a:xfrm>
        </p:spPr>
        <p:txBody>
          <a:bodyPr/>
          <a:lstStyle/>
          <a:p>
            <a:r>
              <a:rPr lang="en-US"/>
              <a:t>Click to edit Master title style</a:t>
            </a:r>
          </a:p>
        </p:txBody>
      </p:sp>
      <p:pic>
        <p:nvPicPr>
          <p:cNvPr id="7" name="Picture 12" descr="Takeda_Logo_Pos_RGB.emf">
            <a:extLst>
              <a:ext uri="{FF2B5EF4-FFF2-40B4-BE49-F238E27FC236}">
                <a16:creationId xmlns="" xmlns:a16="http://schemas.microsoft.com/office/drawing/2014/main" id="{71CB0F59-E205-4BF1-B7AB-DF308F0AD44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7975658" y="233604"/>
            <a:ext cx="772806" cy="259904"/>
          </a:xfrm>
          <a:prstGeom prst="rect">
            <a:avLst/>
          </a:prstGeom>
          <a:noFill/>
          <a:ln w="9525">
            <a:noFill/>
            <a:miter lim="800000"/>
            <a:headEnd/>
            <a:tailEnd/>
          </a:ln>
        </p:spPr>
      </p:pic>
      <p:pic>
        <p:nvPicPr>
          <p:cNvPr id="9" name="Picture 8">
            <a:extLst>
              <a:ext uri="{FF2B5EF4-FFF2-40B4-BE49-F238E27FC236}">
                <a16:creationId xmlns="" xmlns:a16="http://schemas.microsoft.com/office/drawing/2014/main" id="{3E1ED739-38B9-4D19-AB30-119DF50D195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937746" y="4604928"/>
            <a:ext cx="1008126" cy="603504"/>
          </a:xfrm>
          <a:prstGeom prst="rect">
            <a:avLst/>
          </a:prstGeom>
        </p:spPr>
      </p:pic>
    </p:spTree>
    <p:extLst>
      <p:ext uri="{BB962C8B-B14F-4D97-AF65-F5344CB8AC3E}">
        <p14:creationId xmlns:p14="http://schemas.microsoft.com/office/powerpoint/2010/main" val="226907450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95288" y="931509"/>
            <a:ext cx="8520112" cy="3530963"/>
          </a:xfrm>
        </p:spPr>
        <p:txBody>
          <a:bodyPr/>
          <a:lstStyle>
            <a:lvl1pPr marL="242946" indent="-242946">
              <a:lnSpc>
                <a:spcPct val="121000"/>
              </a:lnSpc>
              <a:spcBef>
                <a:spcPts val="0"/>
              </a:spcBef>
              <a:buClr>
                <a:schemeClr val="accent1"/>
              </a:buClr>
              <a:buFont typeface="+mj-lt"/>
              <a:buAutoNum type="arabicPeriod"/>
              <a:defRPr b="0"/>
            </a:lvl1pPr>
            <a:lvl2pPr>
              <a:defRPr b="0"/>
            </a:lvl2pPr>
            <a:lvl3pPr>
              <a:defRPr b="0"/>
            </a:lvl3pPr>
            <a:lvl4pPr>
              <a:defRPr b="0"/>
            </a:lvl4pPr>
            <a:lvl5pPr>
              <a:defRPr b="0"/>
            </a:lvl5pPr>
          </a:lstStyle>
          <a:p>
            <a:pPr lvl="0"/>
            <a:r>
              <a:rPr lang="en-US"/>
              <a:t>Click to edit Master text styles</a:t>
            </a:r>
          </a:p>
        </p:txBody>
      </p:sp>
      <p:sp>
        <p:nvSpPr>
          <p:cNvPr id="3" name="Titel 2"/>
          <p:cNvSpPr>
            <a:spLocks noGrp="1"/>
          </p:cNvSpPr>
          <p:nvPr>
            <p:ph type="title"/>
          </p:nvPr>
        </p:nvSpPr>
        <p:spPr/>
        <p:txBody>
          <a:bodyPr/>
          <a:lstStyle/>
          <a:p>
            <a:r>
              <a:rPr lang="en-US"/>
              <a:t>Click to edit Master title style</a:t>
            </a:r>
          </a:p>
        </p:txBody>
      </p:sp>
      <p:sp>
        <p:nvSpPr>
          <p:cNvPr id="4" name="Footer Placeholder 25">
            <a:extLst>
              <a:ext uri="{FF2B5EF4-FFF2-40B4-BE49-F238E27FC236}">
                <a16:creationId xmlns="" xmlns:a16="http://schemas.microsoft.com/office/drawing/2014/main" id="{DF1BB8BE-DEC1-463C-93A7-0624FA6EE808}"/>
              </a:ext>
            </a:extLst>
          </p:cNvPr>
          <p:cNvSpPr>
            <a:spLocks noGrp="1"/>
          </p:cNvSpPr>
          <p:nvPr>
            <p:ph type="ftr" sz="quarter" idx="11"/>
          </p:nvPr>
        </p:nvSpPr>
        <p:spPr/>
        <p:txBody>
          <a:bodyPr wrap="square" lIns="68567" tIns="34289" rIns="68567" bIns="34289" numCol="1" anchorCtr="0" compatLnSpc="1">
            <a:prstTxWarp prst="textNoShape">
              <a:avLst/>
            </a:prstTxWarp>
          </a:bodyPr>
          <a:lstStyle>
            <a:lvl1pPr fontAlgn="base">
              <a:spcBef>
                <a:spcPct val="0"/>
              </a:spcBef>
              <a:spcAft>
                <a:spcPct val="0"/>
              </a:spcAft>
              <a:defRPr>
                <a:solidFill>
                  <a:srgbClr val="898989"/>
                </a:solidFill>
                <a:ea typeface="Arial Unicode MS" pitchFamily="34" charset="-128"/>
              </a:defRPr>
            </a:lvl1pPr>
          </a:lstStyle>
          <a:p>
            <a:pPr defTabSz="685647">
              <a:defRPr/>
            </a:pPr>
            <a:r>
              <a:rPr lang="es-AR" sz="1400" smtClean="0"/>
              <a:t>Reunión Grupo de Trabajo Dengue - 19 de abril de 2023 - No distribuir, confidencial</a:t>
            </a:r>
            <a:endParaRPr lang="en-GB" sz="1400"/>
          </a:p>
        </p:txBody>
      </p:sp>
      <p:sp>
        <p:nvSpPr>
          <p:cNvPr id="6" name="Slide Number Placeholder 26">
            <a:extLst>
              <a:ext uri="{FF2B5EF4-FFF2-40B4-BE49-F238E27FC236}">
                <a16:creationId xmlns="" xmlns:a16="http://schemas.microsoft.com/office/drawing/2014/main" id="{67A4F0DA-4C07-4A64-8265-179D106EA7D4}"/>
              </a:ext>
            </a:extLst>
          </p:cNvPr>
          <p:cNvSpPr>
            <a:spLocks noGrp="1"/>
          </p:cNvSpPr>
          <p:nvPr>
            <p:ph type="sldNum" sz="quarter" idx="12"/>
          </p:nvPr>
        </p:nvSpPr>
        <p:spPr/>
        <p:txBody>
          <a:bodyPr/>
          <a:lstStyle>
            <a:lvl1pPr>
              <a:defRPr/>
            </a:lvl1pPr>
          </a:lstStyle>
          <a:p>
            <a:fld id="{4FC6919A-B199-488A-84BD-31A2CAF758A2}" type="slidenum">
              <a:rPr lang="en-GB" altLang="en-US">
                <a:solidFill>
                  <a:srgbClr val="34373F"/>
                </a:solidFill>
              </a:rPr>
              <a:pPr/>
              <a:t>‹Nº›</a:t>
            </a:fld>
            <a:endParaRPr lang="en-GB" altLang="en-US">
              <a:solidFill>
                <a:srgbClr val="34373F"/>
              </a:solidFill>
            </a:endParaRPr>
          </a:p>
        </p:txBody>
      </p:sp>
    </p:spTree>
    <p:extLst>
      <p:ext uri="{BB962C8B-B14F-4D97-AF65-F5344CB8AC3E}">
        <p14:creationId xmlns:p14="http://schemas.microsoft.com/office/powerpoint/2010/main" val="1161592237"/>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Content Placeholder 2"/>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Date Placeholder 3"/>
          <p:cNvSpPr>
            <a:spLocks noGrp="1"/>
          </p:cNvSpPr>
          <p:nvPr>
            <p:ph type="dt" sz="half" idx="10"/>
          </p:nvPr>
        </p:nvSpPr>
        <p:spPr/>
        <p:txBody>
          <a:bodyPr lIns="68567" tIns="34289" rIns="68567" bIns="34289"/>
          <a:lstStyle/>
          <a:p>
            <a:pPr defTabSz="685647"/>
            <a:endParaRPr lang="es-MX" sz="1400">
              <a:solidFill>
                <a:srgbClr val="34373F"/>
              </a:solidFill>
            </a:endParaRPr>
          </a:p>
        </p:txBody>
      </p:sp>
      <p:sp>
        <p:nvSpPr>
          <p:cNvPr id="5" name="Footer Placeholder 4"/>
          <p:cNvSpPr>
            <a:spLocks noGrp="1"/>
          </p:cNvSpPr>
          <p:nvPr>
            <p:ph type="ftr" sz="quarter" idx="11"/>
          </p:nvPr>
        </p:nvSpPr>
        <p:spPr/>
        <p:txBody>
          <a:bodyPr lIns="68567" tIns="34289" rIns="68567" bIns="34289"/>
          <a:lstStyle/>
          <a:p>
            <a:pPr defTabSz="685647"/>
            <a:r>
              <a:rPr lang="es-AR" sz="1400" smtClean="0">
                <a:solidFill>
                  <a:srgbClr val="34373F"/>
                </a:solidFill>
              </a:rPr>
              <a:t>Reunión Grupo de Trabajo Dengue - 19 de abril de 2023 - No distribuir, confidencial</a:t>
            </a:r>
            <a:endParaRPr lang="es-MX" sz="1400">
              <a:solidFill>
                <a:srgbClr val="34373F"/>
              </a:solidFill>
            </a:endParaRPr>
          </a:p>
        </p:txBody>
      </p:sp>
      <p:sp>
        <p:nvSpPr>
          <p:cNvPr id="6" name="Slide Number Placeholder 5"/>
          <p:cNvSpPr>
            <a:spLocks noGrp="1"/>
          </p:cNvSpPr>
          <p:nvPr>
            <p:ph type="sldNum" sz="quarter" idx="12"/>
          </p:nvPr>
        </p:nvSpPr>
        <p:spPr/>
        <p:txBody>
          <a:bodyPr/>
          <a:lstStyle/>
          <a:p>
            <a:fld id="{9ECC39A2-64FC-4ACE-9FE9-FA7540CB3153}" type="slidenum">
              <a:rPr lang="es-MX" smtClean="0">
                <a:solidFill>
                  <a:srgbClr val="34373F"/>
                </a:solidFill>
              </a:rPr>
              <a:pPr/>
              <a:t>‹Nº›</a:t>
            </a:fld>
            <a:endParaRPr lang="es-MX">
              <a:solidFill>
                <a:srgbClr val="34373F"/>
              </a:solidFill>
            </a:endParaRPr>
          </a:p>
        </p:txBody>
      </p:sp>
    </p:spTree>
    <p:extLst>
      <p:ext uri="{BB962C8B-B14F-4D97-AF65-F5344CB8AC3E}">
        <p14:creationId xmlns:p14="http://schemas.microsoft.com/office/powerpoint/2010/main" val="214919259"/>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sp>
        <p:nvSpPr>
          <p:cNvPr id="19" name="Rectangle 6">
            <a:extLst>
              <a:ext uri="{FF2B5EF4-FFF2-40B4-BE49-F238E27FC236}">
                <a16:creationId xmlns="" xmlns:a16="http://schemas.microsoft.com/office/drawing/2014/main" id="{18D4B9FA-39D5-DC46-AEE9-0F3C6ECD9555}"/>
              </a:ext>
            </a:extLst>
          </p:cNvPr>
          <p:cNvSpPr/>
          <p:nvPr userDrawn="1"/>
        </p:nvSpPr>
        <p:spPr>
          <a:xfrm>
            <a:off x="0" y="519522"/>
            <a:ext cx="107504" cy="40704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67" tIns="34289" rIns="68567" bIns="34289" anchor="ctr"/>
          <a:lstStyle/>
          <a:p>
            <a:pPr algn="ctr" defTabSz="685647"/>
            <a:endParaRPr lang="en-US" altLang="en-US" sz="1400">
              <a:solidFill>
                <a:srgbClr val="FFFFFF"/>
              </a:solidFill>
            </a:endParaRPr>
          </a:p>
        </p:txBody>
      </p:sp>
      <p:sp>
        <p:nvSpPr>
          <p:cNvPr id="21" name="Title 1">
            <a:extLst>
              <a:ext uri="{FF2B5EF4-FFF2-40B4-BE49-F238E27FC236}">
                <a16:creationId xmlns="" xmlns:a16="http://schemas.microsoft.com/office/drawing/2014/main" id="{BBB8651D-A822-B447-BA6F-5B2ACD54EA33}"/>
              </a:ext>
            </a:extLst>
          </p:cNvPr>
          <p:cNvSpPr>
            <a:spLocks noGrp="1"/>
          </p:cNvSpPr>
          <p:nvPr>
            <p:ph type="ctrTitle" hasCustomPrompt="1"/>
          </p:nvPr>
        </p:nvSpPr>
        <p:spPr>
          <a:xfrm>
            <a:off x="733671" y="1417374"/>
            <a:ext cx="5845440" cy="2308757"/>
          </a:xfrm>
        </p:spPr>
        <p:txBody>
          <a:bodyPr wrap="square" tIns="0" rIns="0" bIns="0" anchor="ctr" anchorCtr="0">
            <a:noAutofit/>
          </a:bodyPr>
          <a:lstStyle>
            <a:lvl1pPr>
              <a:lnSpc>
                <a:spcPts val="2835"/>
              </a:lnSpc>
              <a:defRPr sz="2100" b="0" i="0" baseline="0">
                <a:solidFill>
                  <a:schemeClr val="tx2"/>
                </a:solidFill>
                <a:latin typeface="Calibri" pitchFamily="34" charset="0"/>
                <a:ea typeface="メイリオ" pitchFamily="50" charset="-128"/>
                <a:cs typeface="Calibri" pitchFamily="34" charset="0"/>
              </a:defRPr>
            </a:lvl1pPr>
          </a:lstStyle>
          <a:p>
            <a:r>
              <a:rPr lang="en-US" altLang="ja-JP"/>
              <a:t>Click to enter Presentation Title</a:t>
            </a:r>
            <a:endParaRPr lang="en-GB"/>
          </a:p>
        </p:txBody>
      </p:sp>
      <p:pic>
        <p:nvPicPr>
          <p:cNvPr id="22" name="Picture 12" descr="Takeda_Logo_Pos_RGB.emf">
            <a:extLst>
              <a:ext uri="{FF2B5EF4-FFF2-40B4-BE49-F238E27FC236}">
                <a16:creationId xmlns="" xmlns:a16="http://schemas.microsoft.com/office/drawing/2014/main" id="{C149A174-44EE-8840-8DF2-A61115CADF3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733672" y="519522"/>
            <a:ext cx="876500" cy="294776"/>
          </a:xfrm>
          <a:prstGeom prst="rect">
            <a:avLst/>
          </a:prstGeom>
          <a:noFill/>
          <a:ln w="9525">
            <a:noFill/>
            <a:miter lim="800000"/>
            <a:headEnd/>
            <a:tailEnd/>
          </a:ln>
        </p:spPr>
      </p:pic>
      <p:sp>
        <p:nvSpPr>
          <p:cNvPr id="13" name="Text Placeholder 8">
            <a:extLst>
              <a:ext uri="{FF2B5EF4-FFF2-40B4-BE49-F238E27FC236}">
                <a16:creationId xmlns="" xmlns:a16="http://schemas.microsoft.com/office/drawing/2014/main" id="{B2B05F68-B197-814D-B205-23942323983F}"/>
              </a:ext>
            </a:extLst>
          </p:cNvPr>
          <p:cNvSpPr>
            <a:spLocks noGrp="1"/>
          </p:cNvSpPr>
          <p:nvPr>
            <p:ph type="body" sz="quarter" idx="13" hasCustomPrompt="1"/>
          </p:nvPr>
        </p:nvSpPr>
        <p:spPr>
          <a:xfrm>
            <a:off x="733425" y="3748420"/>
            <a:ext cx="5856300" cy="199800"/>
          </a:xfrm>
        </p:spPr>
        <p:txBody>
          <a:bodyPr>
            <a:noAutofit/>
          </a:bodyPr>
          <a:lstStyle>
            <a:lvl1pPr marL="0" indent="0">
              <a:buNone/>
              <a:defRPr sz="1200">
                <a:solidFill>
                  <a:schemeClr val="tx2"/>
                </a:solidFill>
              </a:defRPr>
            </a:lvl1pPr>
          </a:lstStyle>
          <a:p>
            <a:r>
              <a:rPr lang="en-US"/>
              <a:t>Date</a:t>
            </a:r>
          </a:p>
        </p:txBody>
      </p:sp>
      <p:sp>
        <p:nvSpPr>
          <p:cNvPr id="14" name="Text Placeholder 17">
            <a:extLst>
              <a:ext uri="{FF2B5EF4-FFF2-40B4-BE49-F238E27FC236}">
                <a16:creationId xmlns="" xmlns:a16="http://schemas.microsoft.com/office/drawing/2014/main" id="{35BA5041-95B8-DA43-9B0D-A51F8EB9AE8C}"/>
              </a:ext>
            </a:extLst>
          </p:cNvPr>
          <p:cNvSpPr>
            <a:spLocks noGrp="1"/>
          </p:cNvSpPr>
          <p:nvPr>
            <p:ph type="body" sz="quarter" idx="11" hasCustomPrompt="1"/>
          </p:nvPr>
        </p:nvSpPr>
        <p:spPr>
          <a:xfrm>
            <a:off x="733547" y="4192697"/>
            <a:ext cx="5855724" cy="199800"/>
          </a:xfrm>
        </p:spPr>
        <p:txBody>
          <a:bodyPr>
            <a:noAutofit/>
          </a:bodyPr>
          <a:lstStyle>
            <a:lvl1pPr marL="0" indent="0">
              <a:buNone/>
              <a:defRPr sz="1200">
                <a:solidFill>
                  <a:schemeClr val="tx2"/>
                </a:solidFill>
              </a:defRPr>
            </a:lvl1pPr>
          </a:lstStyle>
          <a:p>
            <a:r>
              <a:rPr lang="en-US"/>
              <a:t>Department</a:t>
            </a:r>
          </a:p>
        </p:txBody>
      </p:sp>
      <p:sp>
        <p:nvSpPr>
          <p:cNvPr id="16" name="Text Placeholder 19">
            <a:extLst>
              <a:ext uri="{FF2B5EF4-FFF2-40B4-BE49-F238E27FC236}">
                <a16:creationId xmlns="" xmlns:a16="http://schemas.microsoft.com/office/drawing/2014/main" id="{8170F29E-72F0-9043-B0D6-F30E440CFB8B}"/>
              </a:ext>
            </a:extLst>
          </p:cNvPr>
          <p:cNvSpPr>
            <a:spLocks noGrp="1"/>
          </p:cNvSpPr>
          <p:nvPr>
            <p:ph type="body" sz="quarter" idx="14" hasCustomPrompt="1"/>
          </p:nvPr>
        </p:nvSpPr>
        <p:spPr>
          <a:xfrm>
            <a:off x="733547" y="3970559"/>
            <a:ext cx="5855724" cy="199800"/>
          </a:xfrm>
        </p:spPr>
        <p:txBody>
          <a:bodyPr>
            <a:noAutofit/>
          </a:bodyPr>
          <a:lstStyle>
            <a:lvl1pPr marL="0" indent="0">
              <a:buNone/>
              <a:defRPr sz="1200">
                <a:solidFill>
                  <a:schemeClr val="tx2"/>
                </a:solidFill>
              </a:defRPr>
            </a:lvl1pPr>
          </a:lstStyle>
          <a:p>
            <a:r>
              <a:rPr lang="en-US"/>
              <a:t>Name, Job Title</a:t>
            </a:r>
          </a:p>
        </p:txBody>
      </p:sp>
      <p:pic>
        <p:nvPicPr>
          <p:cNvPr id="11" name="Picture 10">
            <a:extLst>
              <a:ext uri="{FF2B5EF4-FFF2-40B4-BE49-F238E27FC236}">
                <a16:creationId xmlns="" xmlns:a16="http://schemas.microsoft.com/office/drawing/2014/main" id="{E68C4E39-7A2C-C54A-89E6-D83490115C6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604706" y="340156"/>
            <a:ext cx="1134142" cy="678942"/>
          </a:xfrm>
          <a:prstGeom prst="rect">
            <a:avLst/>
          </a:prstGeom>
        </p:spPr>
      </p:pic>
      <p:sp>
        <p:nvSpPr>
          <p:cNvPr id="3" name="Text Placeholder 2">
            <a:extLst>
              <a:ext uri="{FF2B5EF4-FFF2-40B4-BE49-F238E27FC236}">
                <a16:creationId xmlns="" xmlns:a16="http://schemas.microsoft.com/office/drawing/2014/main" id="{D09022C1-C69C-4071-9785-A9344EEC9E86}"/>
              </a:ext>
            </a:extLst>
          </p:cNvPr>
          <p:cNvSpPr>
            <a:spLocks noGrp="1"/>
          </p:cNvSpPr>
          <p:nvPr>
            <p:ph type="body" sz="quarter" idx="19" hasCustomPrompt="1"/>
          </p:nvPr>
        </p:nvSpPr>
        <p:spPr>
          <a:xfrm>
            <a:off x="733425" y="4414837"/>
            <a:ext cx="5856300" cy="199800"/>
          </a:xfrm>
        </p:spPr>
        <p:txBody>
          <a:bodyPr>
            <a:noAutofit/>
          </a:bodyPr>
          <a:lstStyle>
            <a:lvl1pPr marL="0" indent="0">
              <a:buNone/>
              <a:defRPr sz="1200"/>
            </a:lvl1pPr>
            <a:lvl2pPr marL="342821" indent="0">
              <a:buNone/>
              <a:defRPr sz="1200"/>
            </a:lvl2pPr>
            <a:lvl3pPr marL="685647" indent="0">
              <a:buNone/>
              <a:defRPr sz="1200"/>
            </a:lvl3pPr>
            <a:lvl4pPr marL="1028471" indent="0">
              <a:buNone/>
              <a:defRPr sz="1200"/>
            </a:lvl4pPr>
            <a:lvl5pPr marL="1371294" indent="0">
              <a:buNone/>
              <a:defRPr sz="1200"/>
            </a:lvl5pPr>
          </a:lstStyle>
          <a:p>
            <a:pPr lvl="0"/>
            <a:r>
              <a:rPr lang="en-US"/>
              <a:t>Company Name</a:t>
            </a:r>
          </a:p>
        </p:txBody>
      </p:sp>
      <p:sp>
        <p:nvSpPr>
          <p:cNvPr id="4" name="Slide Number Placeholder 3">
            <a:extLst>
              <a:ext uri="{FF2B5EF4-FFF2-40B4-BE49-F238E27FC236}">
                <a16:creationId xmlns="" xmlns:a16="http://schemas.microsoft.com/office/drawing/2014/main" id="{B18B2ED7-FF41-4B61-BF13-6DE2674A496D}"/>
              </a:ext>
            </a:extLst>
          </p:cNvPr>
          <p:cNvSpPr>
            <a:spLocks noGrp="1"/>
          </p:cNvSpPr>
          <p:nvPr>
            <p:ph type="sldNum" sz="quarter" idx="21"/>
          </p:nvPr>
        </p:nvSpPr>
        <p:spPr/>
        <p:txBody>
          <a:bodyPr/>
          <a:lstStyle/>
          <a:p>
            <a:fld id="{E9B57936-92EF-4126-AE48-1D9D36D15E98}" type="slidenum">
              <a:rPr lang="ja-JP" altLang="en-US" smtClean="0">
                <a:solidFill>
                  <a:srgbClr val="34373F"/>
                </a:solidFill>
              </a:rPr>
              <a:pPr/>
              <a:t>‹Nº›</a:t>
            </a:fld>
            <a:endParaRPr lang="ja-JP" altLang="en-US">
              <a:solidFill>
                <a:srgbClr val="34373F"/>
              </a:solidFill>
            </a:endParaRPr>
          </a:p>
        </p:txBody>
      </p:sp>
      <p:sp>
        <p:nvSpPr>
          <p:cNvPr id="12" name="TextBox 11">
            <a:extLst>
              <a:ext uri="{FF2B5EF4-FFF2-40B4-BE49-F238E27FC236}">
                <a16:creationId xmlns="" xmlns:a16="http://schemas.microsoft.com/office/drawing/2014/main" id="{6A4FE4DF-DDB3-4F1E-ADA0-89FDB290CBCC}"/>
              </a:ext>
            </a:extLst>
          </p:cNvPr>
          <p:cNvSpPr txBox="1"/>
          <p:nvPr userDrawn="1"/>
        </p:nvSpPr>
        <p:spPr>
          <a:xfrm>
            <a:off x="395289" y="4748422"/>
            <a:ext cx="7532933" cy="292688"/>
          </a:xfrm>
          <a:prstGeom prst="rect">
            <a:avLst/>
          </a:prstGeom>
          <a:noFill/>
        </p:spPr>
        <p:txBody>
          <a:bodyPr wrap="square" lIns="68567" tIns="34289" rIns="68567" bIns="34289" rtlCol="0" anchor="ctr">
            <a:noAutofit/>
          </a:bodyPr>
          <a:lstStyle/>
          <a:p>
            <a:pPr defTabSz="685647"/>
            <a:r>
              <a:rPr kumimoji="1" lang="en-GB" sz="800">
                <a:solidFill>
                  <a:srgbClr val="34373F"/>
                </a:solidFill>
                <a:cs typeface="Calibri" panose="020F0502020204030204" pitchFamily="34" charset="0"/>
              </a:rPr>
              <a:t>TAK-003 TIDES 54-month data advisory board| VV-MEDMAT-80368 |  Approval date: January 2023  |  Confidential – please do not distribute</a:t>
            </a:r>
          </a:p>
        </p:txBody>
      </p:sp>
    </p:spTree>
    <p:extLst>
      <p:ext uri="{BB962C8B-B14F-4D97-AF65-F5344CB8AC3E}">
        <p14:creationId xmlns:p14="http://schemas.microsoft.com/office/powerpoint/2010/main" val="112411305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313" y="3306144"/>
            <a:ext cx="7772400" cy="1021556"/>
          </a:xfrm>
        </p:spPr>
        <p:txBody>
          <a:bodyPr anchor="t"/>
          <a:lstStyle>
            <a:lvl1pPr algn="l">
              <a:defRPr sz="4000" b="1" cap="all"/>
            </a:lvl1pPr>
          </a:lstStyle>
          <a:p>
            <a:r>
              <a:rPr lang="es-ES"/>
              <a:t>Haga clic para modificar el estilo de título del patrón</a:t>
            </a:r>
          </a:p>
        </p:txBody>
      </p:sp>
      <p:sp>
        <p:nvSpPr>
          <p:cNvPr id="3" name="2 Marcador de texto"/>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48575" indent="0">
              <a:buNone/>
              <a:defRPr sz="1800">
                <a:solidFill>
                  <a:schemeClr val="tx1">
                    <a:tint val="75000"/>
                  </a:schemeClr>
                </a:solidFill>
              </a:defRPr>
            </a:lvl2pPr>
            <a:lvl3pPr marL="897136" indent="0">
              <a:buNone/>
              <a:defRPr sz="1600">
                <a:solidFill>
                  <a:schemeClr val="tx1">
                    <a:tint val="75000"/>
                  </a:schemeClr>
                </a:solidFill>
              </a:defRPr>
            </a:lvl3pPr>
            <a:lvl4pPr marL="1345700" indent="0">
              <a:buNone/>
              <a:defRPr sz="1400">
                <a:solidFill>
                  <a:schemeClr val="tx1">
                    <a:tint val="75000"/>
                  </a:schemeClr>
                </a:solidFill>
              </a:defRPr>
            </a:lvl4pPr>
            <a:lvl5pPr marL="1794279" indent="0">
              <a:buNone/>
              <a:defRPr sz="1400">
                <a:solidFill>
                  <a:schemeClr val="tx1">
                    <a:tint val="75000"/>
                  </a:schemeClr>
                </a:solidFill>
              </a:defRPr>
            </a:lvl5pPr>
            <a:lvl6pPr marL="2242845" indent="0">
              <a:buNone/>
              <a:defRPr sz="1400">
                <a:solidFill>
                  <a:schemeClr val="tx1">
                    <a:tint val="75000"/>
                  </a:schemeClr>
                </a:solidFill>
              </a:defRPr>
            </a:lvl6pPr>
            <a:lvl7pPr marL="2691413" indent="0">
              <a:buNone/>
              <a:defRPr sz="1400">
                <a:solidFill>
                  <a:schemeClr val="tx1">
                    <a:tint val="75000"/>
                  </a:schemeClr>
                </a:solidFill>
              </a:defRPr>
            </a:lvl7pPr>
            <a:lvl8pPr marL="3139987" indent="0">
              <a:buNone/>
              <a:defRPr sz="1400">
                <a:solidFill>
                  <a:schemeClr val="tx1">
                    <a:tint val="75000"/>
                  </a:schemeClr>
                </a:solidFill>
              </a:defRPr>
            </a:lvl8pPr>
            <a:lvl9pPr marL="3588554" indent="0">
              <a:buNone/>
              <a:defRPr sz="1400">
                <a:solidFill>
                  <a:schemeClr val="tx1">
                    <a:tint val="75000"/>
                  </a:schemeClr>
                </a:solidFill>
              </a:defRPr>
            </a:lvl9pPr>
          </a:lstStyle>
          <a:p>
            <a:pPr lvl="0"/>
            <a:r>
              <a:rPr lang="es-ES"/>
              <a:t>Haga clic para modificar el estilo de texto del patrón</a:t>
            </a:r>
          </a:p>
        </p:txBody>
      </p:sp>
      <p:sp>
        <p:nvSpPr>
          <p:cNvPr id="4" name="3 Marcador de fecha"/>
          <p:cNvSpPr>
            <a:spLocks noGrp="1"/>
          </p:cNvSpPr>
          <p:nvPr>
            <p:ph type="dt" sz="half" idx="10"/>
          </p:nvPr>
        </p:nvSpPr>
        <p:spPr>
          <a:xfrm>
            <a:off x="457201" y="4767357"/>
            <a:ext cx="2133600" cy="273844"/>
          </a:xfrm>
          <a:prstGeom prst="rect">
            <a:avLst/>
          </a:prstGeom>
        </p:spPr>
        <p:txBody>
          <a:bodyPr lIns="89953" tIns="44976" rIns="89953" bIns="44976"/>
          <a:lstStyle>
            <a:lvl1pPr>
              <a:defRPr b="1"/>
            </a:lvl1pPr>
          </a:lstStyle>
          <a:p>
            <a:pPr defTabSz="897136">
              <a:defRPr/>
            </a:pPr>
            <a:fld id="{DF54B060-2DF8-4A11-9233-D097A254D122}" type="datetimeFigureOut">
              <a:rPr lang="es-ES">
                <a:solidFill>
                  <a:prstClr val="black"/>
                </a:solidFill>
              </a:rPr>
              <a:pPr defTabSz="897136">
                <a:defRPr/>
              </a:pPr>
              <a:t>07/08/2024</a:t>
            </a:fld>
            <a:endParaRPr lang="es-ES">
              <a:solidFill>
                <a:prstClr val="black"/>
              </a:solidFill>
            </a:endParaRPr>
          </a:p>
        </p:txBody>
      </p:sp>
      <p:sp>
        <p:nvSpPr>
          <p:cNvPr id="5" name="4 Marcador de pie de página"/>
          <p:cNvSpPr>
            <a:spLocks noGrp="1"/>
          </p:cNvSpPr>
          <p:nvPr>
            <p:ph type="ftr" sz="quarter" idx="11"/>
          </p:nvPr>
        </p:nvSpPr>
        <p:spPr/>
        <p:txBody>
          <a:bodyPr/>
          <a:lstStyle>
            <a:lvl1pPr>
              <a:defRPr b="1"/>
            </a:lvl1pPr>
          </a:lstStyle>
          <a:p>
            <a:pPr>
              <a:defRPr/>
            </a:pPr>
            <a:endParaRPr lang="es-ES"/>
          </a:p>
        </p:txBody>
      </p:sp>
      <p:sp>
        <p:nvSpPr>
          <p:cNvPr id="6" name="5 Marcador de número de diapositiva"/>
          <p:cNvSpPr>
            <a:spLocks noGrp="1"/>
          </p:cNvSpPr>
          <p:nvPr>
            <p:ph type="sldNum" sz="quarter" idx="12"/>
          </p:nvPr>
        </p:nvSpPr>
        <p:spPr/>
        <p:txBody>
          <a:bodyPr/>
          <a:lstStyle>
            <a:lvl1pPr>
              <a:defRPr b="1"/>
            </a:lvl1pPr>
          </a:lstStyle>
          <a:p>
            <a:pPr>
              <a:defRPr/>
            </a:pPr>
            <a:fld id="{59910935-33D2-42B5-B50E-16EDCE1940CA}" type="slidenum">
              <a:rPr lang="es-ES"/>
              <a:pPr>
                <a:defRPr/>
              </a:pPr>
              <a:t>‹Nº›</a:t>
            </a:fld>
            <a:endParaRPr lang="es-ES"/>
          </a:p>
        </p:txBody>
      </p:sp>
    </p:spTree>
    <p:extLst>
      <p:ext uri="{BB962C8B-B14F-4D97-AF65-F5344CB8AC3E}">
        <p14:creationId xmlns:p14="http://schemas.microsoft.com/office/powerpoint/2010/main" val="303807269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1_タイトルとコンテンツ">
    <p:spTree>
      <p:nvGrpSpPr>
        <p:cNvPr id="1" name=""/>
        <p:cNvGrpSpPr/>
        <p:nvPr/>
      </p:nvGrpSpPr>
      <p:grpSpPr>
        <a:xfrm>
          <a:off x="0" y="0"/>
          <a:ext cx="0" cy="0"/>
          <a:chOff x="0" y="0"/>
          <a:chExt cx="0" cy="0"/>
        </a:xfrm>
      </p:grpSpPr>
      <p:sp>
        <p:nvSpPr>
          <p:cNvPr id="3" name="コンテンツ プレースホルダ 2"/>
          <p:cNvSpPr>
            <a:spLocks noGrp="1"/>
          </p:cNvSpPr>
          <p:nvPr>
            <p:ph idx="1" hasCustomPrompt="1"/>
          </p:nvPr>
        </p:nvSpPr>
        <p:spPr/>
        <p:txBody>
          <a:bodyPr>
            <a:normAutofit/>
          </a:bodyPr>
          <a:lstStyle>
            <a:lvl1pPr marL="342821" marR="0" indent="-342821" algn="l" defTabSz="685647" rtl="0" eaLnBrk="1" fontAlgn="auto" latinLnBrk="0" hangingPunct="1">
              <a:lnSpc>
                <a:spcPct val="100000"/>
              </a:lnSpc>
              <a:spcBef>
                <a:spcPct val="20000"/>
              </a:spcBef>
              <a:spcAft>
                <a:spcPts val="0"/>
              </a:spcAft>
              <a:buClr>
                <a:srgbClr val="4C4948"/>
              </a:buClr>
              <a:buSzTx/>
              <a:buFont typeface="Arial" panose="020B0604020202020204" pitchFamily="34" charset="0"/>
              <a:buChar char="•"/>
              <a:tabLst/>
              <a:defRPr sz="2000" baseline="0">
                <a:solidFill>
                  <a:schemeClr val="accent2"/>
                </a:solidFill>
                <a:latin typeface="Calibri" pitchFamily="34" charset="0"/>
                <a:cs typeface="Calibri" pitchFamily="34" charset="0"/>
              </a:defRPr>
            </a:lvl1pPr>
            <a:lvl2pPr marL="557087" marR="0" indent="-214268" algn="l" defTabSz="685647" rtl="0" eaLnBrk="1" fontAlgn="auto" latinLnBrk="0" hangingPunct="1">
              <a:lnSpc>
                <a:spcPct val="100000"/>
              </a:lnSpc>
              <a:spcBef>
                <a:spcPct val="20000"/>
              </a:spcBef>
              <a:spcAft>
                <a:spcPts val="0"/>
              </a:spcAft>
              <a:buClr>
                <a:srgbClr val="4C4948"/>
              </a:buClr>
              <a:buSzTx/>
              <a:buFont typeface="Arial" pitchFamily="34" charset="0"/>
              <a:buChar char="–"/>
              <a:tabLst/>
              <a:defRPr sz="1400" baseline="0">
                <a:solidFill>
                  <a:srgbClr val="231815"/>
                </a:solidFill>
                <a:latin typeface="Calibri" pitchFamily="34" charset="0"/>
                <a:cs typeface="Calibri" pitchFamily="34" charset="0"/>
              </a:defRPr>
            </a:lvl2pPr>
            <a:lvl3pPr marL="857060" marR="0" indent="-171414" algn="l" defTabSz="685647" rtl="0" eaLnBrk="1" fontAlgn="auto" latinLnBrk="0" hangingPunct="1">
              <a:lnSpc>
                <a:spcPct val="100000"/>
              </a:lnSpc>
              <a:spcBef>
                <a:spcPct val="20000"/>
              </a:spcBef>
              <a:spcAft>
                <a:spcPts val="0"/>
              </a:spcAft>
              <a:buClr>
                <a:srgbClr val="4C4948"/>
              </a:buClr>
              <a:buSzTx/>
              <a:buFont typeface="Arial" pitchFamily="34" charset="0"/>
              <a:buChar char="•"/>
              <a:tabLst/>
              <a:defRPr sz="1200" baseline="0">
                <a:solidFill>
                  <a:srgbClr val="231815"/>
                </a:solidFill>
                <a:latin typeface="Calibri" pitchFamily="34" charset="0"/>
                <a:cs typeface="Calibri" pitchFamily="34" charset="0"/>
              </a:defRPr>
            </a:lvl3pPr>
            <a:lvl4pPr marL="1199880" marR="0" indent="-171414" algn="l" defTabSz="685647" rtl="0" eaLnBrk="1" fontAlgn="auto" latinLnBrk="0" hangingPunct="1">
              <a:lnSpc>
                <a:spcPct val="100000"/>
              </a:lnSpc>
              <a:spcBef>
                <a:spcPct val="20000"/>
              </a:spcBef>
              <a:spcAft>
                <a:spcPts val="0"/>
              </a:spcAft>
              <a:buClr>
                <a:srgbClr val="4C4948"/>
              </a:buClr>
              <a:buSzTx/>
              <a:buFont typeface="Arial" pitchFamily="34" charset="0"/>
              <a:buChar char="–"/>
              <a:tabLst/>
              <a:defRPr sz="1100" baseline="0">
                <a:solidFill>
                  <a:srgbClr val="231815"/>
                </a:solidFill>
                <a:latin typeface="Calibri" pitchFamily="34" charset="0"/>
                <a:cs typeface="Calibri" pitchFamily="34" charset="0"/>
              </a:defRPr>
            </a:lvl4pPr>
            <a:lvl5pPr marL="1542701" marR="0" indent="-171414" algn="l" defTabSz="685647" rtl="0" eaLnBrk="1" fontAlgn="auto" latinLnBrk="0" hangingPunct="1">
              <a:lnSpc>
                <a:spcPct val="100000"/>
              </a:lnSpc>
              <a:spcBef>
                <a:spcPct val="20000"/>
              </a:spcBef>
              <a:spcAft>
                <a:spcPts val="0"/>
              </a:spcAft>
              <a:buClr>
                <a:srgbClr val="4C4948"/>
              </a:buClr>
              <a:buSzTx/>
              <a:buFont typeface="Arial" pitchFamily="34" charset="0"/>
              <a:buChar char="»"/>
              <a:tabLst/>
              <a:defRPr sz="1100" baseline="0">
                <a:solidFill>
                  <a:srgbClr val="231815"/>
                </a:solidFill>
                <a:latin typeface="Calibri" pitchFamily="34" charset="0"/>
                <a:cs typeface="Calibri" pitchFamily="34" charset="0"/>
              </a:defRPr>
            </a:lvl5pPr>
          </a:lstStyle>
          <a:p>
            <a:pPr marL="342821" marR="0" lvl="0" indent="-342821" algn="l" defTabSz="685647" rtl="0" eaLnBrk="1" fontAlgn="auto" latinLnBrk="0" hangingPunct="1">
              <a:lnSpc>
                <a:spcPct val="100000"/>
              </a:lnSpc>
              <a:spcBef>
                <a:spcPct val="20000"/>
              </a:spcBef>
              <a:spcAft>
                <a:spcPts val="0"/>
              </a:spcAft>
              <a:buClr>
                <a:srgbClr val="4C4948"/>
              </a:buClr>
              <a:buSzTx/>
              <a:buFont typeface="Arial" panose="020B0604020202020204" pitchFamily="34" charset="0"/>
              <a:buChar char="•"/>
              <a:tabLst/>
              <a:defRPr/>
            </a:pPr>
            <a:r>
              <a:rPr kumimoji="1" lang="en-US" sz="2000" b="0" i="0" u="none" strike="noStrike" kern="1200" cap="none" spc="0" normalizeH="0" baseline="0" noProof="0">
                <a:ln>
                  <a:noFill/>
                </a:ln>
                <a:solidFill>
                  <a:srgbClr val="4C4948"/>
                </a:solidFill>
                <a:effectLst/>
                <a:uLnTx/>
                <a:uFillTx/>
                <a:latin typeface="Calibri" pitchFamily="34" charset="0"/>
                <a:ea typeface="メイリオ" pitchFamily="50" charset="-128"/>
                <a:cs typeface="Calibri" pitchFamily="34" charset="0"/>
              </a:rPr>
              <a:t>Add your content here</a:t>
            </a:r>
          </a:p>
          <a:p>
            <a:pPr marL="557087" marR="0" lvl="1" indent="-214268" algn="l" defTabSz="685647" rtl="0" eaLnBrk="1" fontAlgn="auto" latinLnBrk="0" hangingPunct="1">
              <a:lnSpc>
                <a:spcPct val="100000"/>
              </a:lnSpc>
              <a:spcBef>
                <a:spcPct val="20000"/>
              </a:spcBef>
              <a:spcAft>
                <a:spcPts val="0"/>
              </a:spcAft>
              <a:buClr>
                <a:srgbClr val="4C4948"/>
              </a:buClr>
              <a:buSzTx/>
              <a:buFont typeface="Arial" pitchFamily="34" charset="0"/>
              <a:buChar char="–"/>
              <a:tabLst/>
              <a:defRPr/>
            </a:pPr>
            <a:r>
              <a:rPr kumimoji="1" lang="en-US" sz="1800" b="0" i="0" u="none" strike="noStrike" kern="1200" cap="none" spc="0" normalizeH="0" baseline="0" noProof="0">
                <a:ln>
                  <a:noFill/>
                </a:ln>
                <a:solidFill>
                  <a:srgbClr val="4C4948"/>
                </a:solidFill>
                <a:effectLst/>
                <a:uLnTx/>
                <a:uFillTx/>
                <a:latin typeface="Calibri" pitchFamily="34" charset="0"/>
                <a:ea typeface="メイリオ" pitchFamily="50" charset="-128"/>
                <a:cs typeface="Calibri" pitchFamily="34" charset="0"/>
              </a:rPr>
              <a:t>Second level</a:t>
            </a:r>
          </a:p>
          <a:p>
            <a:pPr marL="857060" marR="0" lvl="2" indent="-171414" algn="l" defTabSz="685647" rtl="0" eaLnBrk="1" fontAlgn="auto" latinLnBrk="0" hangingPunct="1">
              <a:lnSpc>
                <a:spcPct val="100000"/>
              </a:lnSpc>
              <a:spcBef>
                <a:spcPct val="20000"/>
              </a:spcBef>
              <a:spcAft>
                <a:spcPts val="0"/>
              </a:spcAft>
              <a:buClr>
                <a:srgbClr val="4C4948"/>
              </a:buClr>
              <a:buSzTx/>
              <a:buFont typeface="Arial" pitchFamily="34" charset="0"/>
              <a:buChar char="•"/>
              <a:tabLst/>
              <a:defRPr/>
            </a:pPr>
            <a:r>
              <a:rPr kumimoji="1" lang="en-US" sz="1700" b="0" i="0" u="none" strike="noStrike" kern="1200" cap="none" spc="0" normalizeH="0" baseline="0" noProof="0">
                <a:ln>
                  <a:noFill/>
                </a:ln>
                <a:solidFill>
                  <a:srgbClr val="4C4948"/>
                </a:solidFill>
                <a:effectLst/>
                <a:uLnTx/>
                <a:uFillTx/>
                <a:latin typeface="Calibri" pitchFamily="34" charset="0"/>
                <a:ea typeface="メイリオ" pitchFamily="50" charset="-128"/>
                <a:cs typeface="Calibri" pitchFamily="34" charset="0"/>
              </a:rPr>
              <a:t>Third level</a:t>
            </a:r>
          </a:p>
          <a:p>
            <a:pPr marL="1199880" marR="0" lvl="3" indent="-171414" algn="l" defTabSz="685647" rtl="0" eaLnBrk="1" fontAlgn="auto" latinLnBrk="0" hangingPunct="1">
              <a:lnSpc>
                <a:spcPct val="100000"/>
              </a:lnSpc>
              <a:spcBef>
                <a:spcPct val="20000"/>
              </a:spcBef>
              <a:spcAft>
                <a:spcPts val="0"/>
              </a:spcAft>
              <a:buClr>
                <a:srgbClr val="4C4948"/>
              </a:buClr>
              <a:buSzTx/>
              <a:buFont typeface="Arial" pitchFamily="34" charset="0"/>
              <a:buChar char="–"/>
              <a:tabLst/>
              <a:defRPr/>
            </a:pPr>
            <a:r>
              <a:rPr kumimoji="1" lang="en-US" sz="1500" b="0" i="0" u="none" strike="noStrike" kern="1200" cap="none" spc="0" normalizeH="0" baseline="0" noProof="0">
                <a:ln>
                  <a:noFill/>
                </a:ln>
                <a:solidFill>
                  <a:srgbClr val="4C4948"/>
                </a:solidFill>
                <a:effectLst/>
                <a:uLnTx/>
                <a:uFillTx/>
                <a:latin typeface="Calibri" pitchFamily="34" charset="0"/>
                <a:ea typeface="メイリオ" pitchFamily="50" charset="-128"/>
                <a:cs typeface="Calibri" pitchFamily="34" charset="0"/>
              </a:rPr>
              <a:t>Fourth level</a:t>
            </a:r>
          </a:p>
          <a:p>
            <a:pPr marL="1542701" marR="0" lvl="4" indent="-171414" algn="l" defTabSz="685647" rtl="0" eaLnBrk="1" fontAlgn="auto" latinLnBrk="0" hangingPunct="1">
              <a:lnSpc>
                <a:spcPct val="100000"/>
              </a:lnSpc>
              <a:spcBef>
                <a:spcPct val="20000"/>
              </a:spcBef>
              <a:spcAft>
                <a:spcPts val="0"/>
              </a:spcAft>
              <a:buClr>
                <a:srgbClr val="4C4948"/>
              </a:buClr>
              <a:buSzTx/>
              <a:buFont typeface="Arial" pitchFamily="34" charset="0"/>
              <a:buChar char="»"/>
              <a:tabLst/>
              <a:defRPr/>
            </a:pPr>
            <a:r>
              <a:rPr kumimoji="1" lang="en-US" sz="1500" b="0" i="0" u="none" strike="noStrike" kern="1200" cap="none" spc="0" normalizeH="0" baseline="0" noProof="0">
                <a:ln>
                  <a:noFill/>
                </a:ln>
                <a:solidFill>
                  <a:srgbClr val="4C4948"/>
                </a:solidFill>
                <a:effectLst/>
                <a:uLnTx/>
                <a:uFillTx/>
                <a:latin typeface="Calibri" pitchFamily="34" charset="0"/>
                <a:ea typeface="メイリオ" pitchFamily="50" charset="-128"/>
                <a:cs typeface="Calibri" pitchFamily="34" charset="0"/>
              </a:rPr>
              <a:t>Fifth level</a:t>
            </a:r>
            <a:endParaRPr kumimoji="1" lang="ja-JP" altLang="en-US"/>
          </a:p>
        </p:txBody>
      </p:sp>
      <p:sp>
        <p:nvSpPr>
          <p:cNvPr id="7" name="Title 14">
            <a:extLst>
              <a:ext uri="{FF2B5EF4-FFF2-40B4-BE49-F238E27FC236}">
                <a16:creationId xmlns="" xmlns:a16="http://schemas.microsoft.com/office/drawing/2014/main" id="{ACC062CD-A904-0F41-8348-B090B7D80016}"/>
              </a:ext>
            </a:extLst>
          </p:cNvPr>
          <p:cNvSpPr>
            <a:spLocks noGrp="1"/>
          </p:cNvSpPr>
          <p:nvPr>
            <p:ph type="title" hasCustomPrompt="1"/>
          </p:nvPr>
        </p:nvSpPr>
        <p:spPr>
          <a:xfrm>
            <a:off x="395288" y="99585"/>
            <a:ext cx="7290144" cy="527957"/>
          </a:xfrm>
        </p:spPr>
        <p:txBody>
          <a:bodyPr/>
          <a:lstStyle>
            <a:lvl1pPr>
              <a:defRPr>
                <a:solidFill>
                  <a:schemeClr val="accent2"/>
                </a:solidFill>
                <a:latin typeface="Calibri" panose="020F0502020204030204" pitchFamily="34" charset="0"/>
                <a:cs typeface="Calibri" panose="020F0502020204030204" pitchFamily="34" charset="0"/>
              </a:defRPr>
            </a:lvl1pPr>
          </a:lstStyle>
          <a:p>
            <a:r>
              <a:rPr lang="en-US"/>
              <a:t>Add your title here</a:t>
            </a:r>
          </a:p>
        </p:txBody>
      </p:sp>
      <p:sp>
        <p:nvSpPr>
          <p:cNvPr id="10" name="Slide Number Placeholder 2">
            <a:extLst>
              <a:ext uri="{FF2B5EF4-FFF2-40B4-BE49-F238E27FC236}">
                <a16:creationId xmlns="" xmlns:a16="http://schemas.microsoft.com/office/drawing/2014/main" id="{E66FFE87-AC99-D545-8637-52F42D6E6547}"/>
              </a:ext>
            </a:extLst>
          </p:cNvPr>
          <p:cNvSpPr>
            <a:spLocks noGrp="1"/>
          </p:cNvSpPr>
          <p:nvPr>
            <p:ph type="sldNum" sz="quarter" idx="4"/>
          </p:nvPr>
        </p:nvSpPr>
        <p:spPr>
          <a:xfrm>
            <a:off x="3" y="4748430"/>
            <a:ext cx="486833" cy="292687"/>
          </a:xfrm>
          <a:prstGeom prst="rect">
            <a:avLst/>
          </a:prstGeom>
        </p:spPr>
        <p:txBody>
          <a:bodyPr rIns="0" anchor="ctr" anchorCtr="0"/>
          <a:lstStyle>
            <a:lvl1pPr algn="r">
              <a:defRPr sz="800" b="0" i="0">
                <a:solidFill>
                  <a:schemeClr val="accent3"/>
                </a:solidFill>
                <a:latin typeface="Calibri" panose="020F0502020204030204" pitchFamily="34" charset="0"/>
                <a:cs typeface="Calibri" panose="020F0502020204030204" pitchFamily="34" charset="0"/>
              </a:defRPr>
            </a:lvl1pPr>
          </a:lstStyle>
          <a:p>
            <a:fld id="{E9B57936-92EF-4126-AE48-1D9D36D15E98}" type="slidenum">
              <a:rPr lang="ja-JP" altLang="en-US" smtClean="0">
                <a:solidFill>
                  <a:srgbClr val="34373F"/>
                </a:solidFill>
              </a:rPr>
              <a:pPr/>
              <a:t>‹Nº›</a:t>
            </a:fld>
            <a:endParaRPr lang="ja-JP" altLang="en-US">
              <a:solidFill>
                <a:srgbClr val="34373F"/>
              </a:solidFill>
            </a:endParaRPr>
          </a:p>
        </p:txBody>
      </p:sp>
      <p:sp>
        <p:nvSpPr>
          <p:cNvPr id="6" name="Text Placeholder 3">
            <a:extLst>
              <a:ext uri="{FF2B5EF4-FFF2-40B4-BE49-F238E27FC236}">
                <a16:creationId xmlns="" xmlns:a16="http://schemas.microsoft.com/office/drawing/2014/main" id="{B08CFEF5-24AE-495E-BBF3-2FCF473E5A90}"/>
              </a:ext>
            </a:extLst>
          </p:cNvPr>
          <p:cNvSpPr>
            <a:spLocks noGrp="1"/>
          </p:cNvSpPr>
          <p:nvPr>
            <p:ph type="body" sz="quarter" idx="14" hasCustomPrompt="1"/>
          </p:nvPr>
        </p:nvSpPr>
        <p:spPr>
          <a:xfrm>
            <a:off x="404820" y="4407703"/>
            <a:ext cx="7529513" cy="340519"/>
          </a:xfrm>
        </p:spPr>
        <p:txBody>
          <a:bodyPr anchor="b" anchorCtr="0">
            <a:noAutofit/>
          </a:bodyPr>
          <a:lstStyle>
            <a:lvl1pPr marL="0" indent="0">
              <a:spcBef>
                <a:spcPts val="0"/>
              </a:spcBef>
              <a:buFontTx/>
              <a:buNone/>
              <a:defRPr sz="700"/>
            </a:lvl1pPr>
          </a:lstStyle>
          <a:p>
            <a:pPr lvl="0"/>
            <a:r>
              <a:rPr lang="en-US"/>
              <a:t>Abbreviations and references</a:t>
            </a:r>
          </a:p>
        </p:txBody>
      </p:sp>
    </p:spTree>
    <p:extLst>
      <p:ext uri="{BB962C8B-B14F-4D97-AF65-F5344CB8AC3E}">
        <p14:creationId xmlns:p14="http://schemas.microsoft.com/office/powerpoint/2010/main" val="345487866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Title w/ Subtitle &amp; Content (Light)">
    <p:spTree>
      <p:nvGrpSpPr>
        <p:cNvPr id="1" name=""/>
        <p:cNvGrpSpPr/>
        <p:nvPr/>
      </p:nvGrpSpPr>
      <p:grpSpPr>
        <a:xfrm>
          <a:off x="0" y="0"/>
          <a:ext cx="0" cy="0"/>
          <a:chOff x="0" y="0"/>
          <a:chExt cx="0" cy="0"/>
        </a:xfrm>
      </p:grpSpPr>
      <p:sp>
        <p:nvSpPr>
          <p:cNvPr id="9" name="Text Placeholder 8">
            <a:extLst>
              <a:ext uri="{FF2B5EF4-FFF2-40B4-BE49-F238E27FC236}">
                <a16:creationId xmlns="" xmlns:a16="http://schemas.microsoft.com/office/drawing/2014/main" id="{2FD7B719-88C3-D0B1-8744-1FE29A712A60}"/>
              </a:ext>
            </a:extLst>
          </p:cNvPr>
          <p:cNvSpPr>
            <a:spLocks noGrp="1"/>
          </p:cNvSpPr>
          <p:nvPr>
            <p:ph type="body" sz="quarter" idx="13" hasCustomPrompt="1"/>
          </p:nvPr>
        </p:nvSpPr>
        <p:spPr>
          <a:xfrm>
            <a:off x="387000" y="1461845"/>
            <a:ext cx="8370000" cy="3170878"/>
          </a:xfrm>
        </p:spPr>
        <p:txBody>
          <a:bodyPr/>
          <a:lstStyle>
            <a:lvl1pPr>
              <a:defRPr sz="2100"/>
            </a:lvl1pPr>
            <a:lvl2pPr>
              <a:defRPr sz="1800"/>
            </a:lvl2pPr>
            <a:lvl3pPr>
              <a:defRPr sz="1500"/>
            </a:lvl3pPr>
            <a:lvl4pPr>
              <a:defRPr sz="1400"/>
            </a:lvl4pPr>
            <a:lvl5pPr>
              <a:defRPr sz="1400"/>
            </a:lvl5pPr>
          </a:lstStyle>
          <a:p>
            <a:pPr lvl="0"/>
            <a:r>
              <a:rPr lang="en-US"/>
              <a:t>Enter text here</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 xmlns:a16="http://schemas.microsoft.com/office/drawing/2014/main" id="{2791E102-F015-C78A-47B6-E9A6357A4664}"/>
              </a:ext>
            </a:extLst>
          </p:cNvPr>
          <p:cNvSpPr>
            <a:spLocks noGrp="1"/>
          </p:cNvSpPr>
          <p:nvPr>
            <p:ph type="title" hasCustomPrompt="1"/>
          </p:nvPr>
        </p:nvSpPr>
        <p:spPr/>
        <p:txBody>
          <a:bodyPr/>
          <a:lstStyle>
            <a:lvl1pPr>
              <a:defRPr>
                <a:solidFill>
                  <a:schemeClr val="tx2"/>
                </a:solidFill>
              </a:defRPr>
            </a:lvl1pPr>
          </a:lstStyle>
          <a:p>
            <a:r>
              <a:rPr lang="en-US"/>
              <a:t>Enter title here</a:t>
            </a:r>
            <a:endParaRPr lang="en-GB"/>
          </a:p>
        </p:txBody>
      </p:sp>
      <p:sp>
        <p:nvSpPr>
          <p:cNvPr id="3" name="Footer Placeholder 2">
            <a:extLst>
              <a:ext uri="{FF2B5EF4-FFF2-40B4-BE49-F238E27FC236}">
                <a16:creationId xmlns="" xmlns:a16="http://schemas.microsoft.com/office/drawing/2014/main" id="{D7FB5E98-4ADD-3B20-06BA-EA0D13A6542A}"/>
              </a:ext>
            </a:extLst>
          </p:cNvPr>
          <p:cNvSpPr>
            <a:spLocks noGrp="1"/>
          </p:cNvSpPr>
          <p:nvPr>
            <p:ph type="ftr" sz="quarter" idx="10"/>
          </p:nvPr>
        </p:nvSpPr>
        <p:spPr/>
        <p:txBody>
          <a:bodyPr lIns="68567" tIns="34289" rIns="68567" bIns="34289"/>
          <a:lstStyle/>
          <a:p>
            <a:pPr defTabSz="685647"/>
            <a:r>
              <a:rPr lang="es-AR" sz="1400" smtClean="0">
                <a:solidFill>
                  <a:srgbClr val="34373F"/>
                </a:solidFill>
              </a:rPr>
              <a:t>Reunión Grupo de Trabajo Dengue - 19 de abril de 2023 - No distribuir, confidencial</a:t>
            </a:r>
            <a:endParaRPr lang="en-GB" sz="1400">
              <a:solidFill>
                <a:srgbClr val="34373F"/>
              </a:solidFill>
            </a:endParaRPr>
          </a:p>
        </p:txBody>
      </p:sp>
      <p:sp>
        <p:nvSpPr>
          <p:cNvPr id="4" name="Slide Number Placeholder 3">
            <a:extLst>
              <a:ext uri="{FF2B5EF4-FFF2-40B4-BE49-F238E27FC236}">
                <a16:creationId xmlns="" xmlns:a16="http://schemas.microsoft.com/office/drawing/2014/main" id="{A42EA920-1055-F026-0BE2-8DFAFD83F4F6}"/>
              </a:ext>
            </a:extLst>
          </p:cNvPr>
          <p:cNvSpPr>
            <a:spLocks noGrp="1"/>
          </p:cNvSpPr>
          <p:nvPr>
            <p:ph type="sldNum" sz="quarter" idx="11"/>
          </p:nvPr>
        </p:nvSpPr>
        <p:spPr/>
        <p:txBody>
          <a:bodyPr/>
          <a:lstStyle/>
          <a:p>
            <a:fld id="{6C2D6B06-1DB8-4E35-8DFF-019CD55AEF0F}" type="slidenum">
              <a:rPr lang="en-GB" smtClean="0">
                <a:solidFill>
                  <a:srgbClr val="34373F"/>
                </a:solidFill>
              </a:rPr>
              <a:pPr/>
              <a:t>‹Nº›</a:t>
            </a:fld>
            <a:endParaRPr lang="en-GB">
              <a:solidFill>
                <a:srgbClr val="34373F"/>
              </a:solidFill>
            </a:endParaRPr>
          </a:p>
        </p:txBody>
      </p:sp>
      <p:sp>
        <p:nvSpPr>
          <p:cNvPr id="6" name="Text Placeholder 5">
            <a:extLst>
              <a:ext uri="{FF2B5EF4-FFF2-40B4-BE49-F238E27FC236}">
                <a16:creationId xmlns="" xmlns:a16="http://schemas.microsoft.com/office/drawing/2014/main" id="{903D6C97-FC56-1B1D-0BD8-2DA68BBEC8AC}"/>
              </a:ext>
            </a:extLst>
          </p:cNvPr>
          <p:cNvSpPr>
            <a:spLocks noGrp="1"/>
          </p:cNvSpPr>
          <p:nvPr>
            <p:ph type="body" sz="quarter" idx="12" hasCustomPrompt="1"/>
          </p:nvPr>
        </p:nvSpPr>
        <p:spPr>
          <a:xfrm>
            <a:off x="387000" y="940844"/>
            <a:ext cx="8370000" cy="432000"/>
          </a:xfrm>
        </p:spPr>
        <p:txBody>
          <a:bodyPr/>
          <a:lstStyle>
            <a:lvl1pPr marL="0" indent="0">
              <a:buNone/>
              <a:defRPr sz="1800">
                <a:solidFill>
                  <a:schemeClr val="accent1">
                    <a:lumMod val="50000"/>
                  </a:schemeClr>
                </a:solidFill>
              </a:defRPr>
            </a:lvl1pPr>
          </a:lstStyle>
          <a:p>
            <a:pPr lvl="0"/>
            <a:r>
              <a:rPr lang="en-GB"/>
              <a:t>Enter subtitle here</a:t>
            </a:r>
          </a:p>
        </p:txBody>
      </p:sp>
    </p:spTree>
    <p:extLst>
      <p:ext uri="{BB962C8B-B14F-4D97-AF65-F5344CB8AC3E}">
        <p14:creationId xmlns:p14="http://schemas.microsoft.com/office/powerpoint/2010/main" val="326486650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6" name="Text Placeholder 3">
            <a:extLst>
              <a:ext uri="{FF2B5EF4-FFF2-40B4-BE49-F238E27FC236}">
                <a16:creationId xmlns="" xmlns:a16="http://schemas.microsoft.com/office/drawing/2014/main" id="{B08CFEF5-24AE-495E-BBF3-2FCF473E5A90}"/>
              </a:ext>
            </a:extLst>
          </p:cNvPr>
          <p:cNvSpPr>
            <a:spLocks noGrp="1"/>
          </p:cNvSpPr>
          <p:nvPr>
            <p:ph type="body" sz="quarter" idx="14" hasCustomPrompt="1"/>
          </p:nvPr>
        </p:nvSpPr>
        <p:spPr>
          <a:xfrm>
            <a:off x="395289" y="4431350"/>
            <a:ext cx="7529513" cy="340727"/>
          </a:xfrm>
        </p:spPr>
        <p:txBody>
          <a:bodyPr bIns="0" anchor="b" anchorCtr="0">
            <a:noAutofit/>
          </a:bodyPr>
          <a:lstStyle>
            <a:lvl1pPr marL="0" indent="0">
              <a:spcBef>
                <a:spcPts val="0"/>
              </a:spcBef>
              <a:buFontTx/>
              <a:buNone/>
              <a:defRPr sz="700"/>
            </a:lvl1pPr>
          </a:lstStyle>
          <a:p>
            <a:r>
              <a:rPr lang="en-US"/>
              <a:t>Footnotes.</a:t>
            </a:r>
          </a:p>
          <a:p>
            <a:r>
              <a:rPr lang="en-US"/>
              <a:t>Abbreviations.</a:t>
            </a:r>
          </a:p>
          <a:p>
            <a:r>
              <a:rPr lang="en-US"/>
              <a:t>References.</a:t>
            </a:r>
          </a:p>
        </p:txBody>
      </p:sp>
      <p:sp>
        <p:nvSpPr>
          <p:cNvPr id="5" name="Slide Number Placeholder 4">
            <a:extLst>
              <a:ext uri="{FF2B5EF4-FFF2-40B4-BE49-F238E27FC236}">
                <a16:creationId xmlns="" xmlns:a16="http://schemas.microsoft.com/office/drawing/2014/main" id="{D62C38EF-9E03-4702-A967-554F359F12DA}"/>
              </a:ext>
            </a:extLst>
          </p:cNvPr>
          <p:cNvSpPr>
            <a:spLocks noGrp="1"/>
          </p:cNvSpPr>
          <p:nvPr>
            <p:ph type="sldNum" sz="quarter" idx="16"/>
          </p:nvPr>
        </p:nvSpPr>
        <p:spPr/>
        <p:txBody>
          <a:bodyPr/>
          <a:lstStyle/>
          <a:p>
            <a:fld id="{E9B57936-92EF-4126-AE48-1D9D36D15E98}" type="slidenum">
              <a:rPr lang="ja-JP" altLang="en-US" smtClean="0">
                <a:solidFill>
                  <a:srgbClr val="34373F"/>
                </a:solidFill>
              </a:rPr>
              <a:pPr/>
              <a:t>‹Nº›</a:t>
            </a:fld>
            <a:endParaRPr lang="ja-JP" altLang="en-US">
              <a:solidFill>
                <a:srgbClr val="34373F"/>
              </a:solidFill>
            </a:endParaRPr>
          </a:p>
        </p:txBody>
      </p:sp>
      <p:sp>
        <p:nvSpPr>
          <p:cNvPr id="8" name="Title 7">
            <a:extLst>
              <a:ext uri="{FF2B5EF4-FFF2-40B4-BE49-F238E27FC236}">
                <a16:creationId xmlns="" xmlns:a16="http://schemas.microsoft.com/office/drawing/2014/main" id="{4C912CFE-FD99-4A0D-9068-9156FF22F571}"/>
              </a:ext>
            </a:extLst>
          </p:cNvPr>
          <p:cNvSpPr>
            <a:spLocks noGrp="1"/>
          </p:cNvSpPr>
          <p:nvPr>
            <p:ph type="title"/>
          </p:nvPr>
        </p:nvSpPr>
        <p:spPr>
          <a:xfrm>
            <a:off x="395289" y="99585"/>
            <a:ext cx="7357234" cy="527957"/>
          </a:xfrm>
        </p:spPr>
        <p:txBody>
          <a:bodyPr/>
          <a:lstStyle/>
          <a:p>
            <a:r>
              <a:rPr lang="en-US"/>
              <a:t>Click to edit Master title style</a:t>
            </a:r>
          </a:p>
        </p:txBody>
      </p:sp>
      <p:sp>
        <p:nvSpPr>
          <p:cNvPr id="14" name="Content Placeholder 13">
            <a:extLst>
              <a:ext uri="{FF2B5EF4-FFF2-40B4-BE49-F238E27FC236}">
                <a16:creationId xmlns="" xmlns:a16="http://schemas.microsoft.com/office/drawing/2014/main" id="{BD455CB7-5206-463D-BED2-EAD28551A070}"/>
              </a:ext>
            </a:extLst>
          </p:cNvPr>
          <p:cNvSpPr>
            <a:spLocks noGrp="1"/>
          </p:cNvSpPr>
          <p:nvPr>
            <p:ph sz="quarter" idx="17" hasCustomPrompt="1"/>
          </p:nvPr>
        </p:nvSpPr>
        <p:spPr>
          <a:xfrm>
            <a:off x="395289" y="926920"/>
            <a:ext cx="8343899" cy="3480566"/>
          </a:xfrm>
        </p:spPr>
        <p:txBody>
          <a:bodyPr/>
          <a:lstStyle/>
          <a:p>
            <a:pPr lvl="0"/>
            <a:r>
              <a:rPr lang="en-US"/>
              <a:t>Add your content here</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 xmlns:a16="http://schemas.microsoft.com/office/drawing/2014/main" id="{58FB5C6F-365C-4BC7-A55F-F64700AA7CD4}"/>
              </a:ext>
            </a:extLst>
          </p:cNvPr>
          <p:cNvSpPr>
            <a:spLocks noGrp="1"/>
          </p:cNvSpPr>
          <p:nvPr>
            <p:ph type="ftr" sz="quarter" idx="18"/>
          </p:nvPr>
        </p:nvSpPr>
        <p:spPr/>
        <p:txBody>
          <a:bodyPr lIns="68567" tIns="34289" rIns="68567" bIns="34289"/>
          <a:lstStyle/>
          <a:p>
            <a:pPr defTabSz="685647"/>
            <a:r>
              <a:rPr lang="es-AR" altLang="ja-JP" sz="1400" smtClean="0">
                <a:solidFill>
                  <a:srgbClr val="34373F"/>
                </a:solidFill>
              </a:rPr>
              <a:t>Reunión Grupo de Trabajo Dengue - 19 de abril de 2023 - No distribuir, confidencial</a:t>
            </a:r>
            <a:endParaRPr lang="ja-JP" altLang="en-US" sz="100">
              <a:solidFill>
                <a:srgbClr val="34373F"/>
              </a:solidFill>
            </a:endParaRPr>
          </a:p>
        </p:txBody>
      </p:sp>
    </p:spTree>
    <p:extLst>
      <p:ext uri="{BB962C8B-B14F-4D97-AF65-F5344CB8AC3E}">
        <p14:creationId xmlns:p14="http://schemas.microsoft.com/office/powerpoint/2010/main" val="545147802"/>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1_Standard 1-Column Text">
    <p:spTree>
      <p:nvGrpSpPr>
        <p:cNvPr id="1" name=""/>
        <p:cNvGrpSpPr/>
        <p:nvPr/>
      </p:nvGrpSpPr>
      <p:grpSpPr>
        <a:xfrm>
          <a:off x="0" y="0"/>
          <a:ext cx="0" cy="0"/>
          <a:chOff x="0" y="0"/>
          <a:chExt cx="0" cy="0"/>
        </a:xfrm>
      </p:grpSpPr>
      <p:sp>
        <p:nvSpPr>
          <p:cNvPr id="12" name="Text Placeholder 6">
            <a:extLst>
              <a:ext uri="{FF2B5EF4-FFF2-40B4-BE49-F238E27FC236}">
                <a16:creationId xmlns="" xmlns:a16="http://schemas.microsoft.com/office/drawing/2014/main" id="{FD2406EE-A554-5348-AE6D-4D8B343E6201}"/>
              </a:ext>
            </a:extLst>
          </p:cNvPr>
          <p:cNvSpPr>
            <a:spLocks noGrp="1"/>
          </p:cNvSpPr>
          <p:nvPr>
            <p:ph type="body" sz="quarter" idx="15" hasCustomPrompt="1"/>
          </p:nvPr>
        </p:nvSpPr>
        <p:spPr>
          <a:xfrm>
            <a:off x="233363" y="826793"/>
            <a:ext cx="8677275" cy="3996643"/>
          </a:xfrm>
          <a:prstGeom prst="rect">
            <a:avLst/>
          </a:prstGeom>
        </p:spPr>
        <p:txBody>
          <a:bodyPr tIns="0" rIns="0" bIns="0" numCol="1">
            <a:normAutofit/>
          </a:bodyPr>
          <a:lstStyle>
            <a:lvl1pPr marL="0" indent="0">
              <a:lnSpc>
                <a:spcPct val="100000"/>
              </a:lnSpc>
              <a:spcBef>
                <a:spcPts val="0"/>
              </a:spcBef>
              <a:spcAft>
                <a:spcPts val="450"/>
              </a:spcAft>
              <a:buFont typeface="Arial" panose="020B0604020202020204" pitchFamily="34" charset="0"/>
              <a:buNone/>
              <a:defRPr sz="1200" b="0">
                <a:solidFill>
                  <a:schemeClr val="tx1"/>
                </a:solidFill>
              </a:defRPr>
            </a:lvl1pPr>
            <a:lvl2pPr marL="342722" indent="0">
              <a:lnSpc>
                <a:spcPts val="1350"/>
              </a:lnSpc>
              <a:spcBef>
                <a:spcPts val="0"/>
              </a:spcBef>
              <a:buNone/>
              <a:defRPr sz="1100"/>
            </a:lvl2pPr>
            <a:lvl3pPr marL="685459" indent="0">
              <a:lnSpc>
                <a:spcPts val="1350"/>
              </a:lnSpc>
              <a:spcBef>
                <a:spcPts val="0"/>
              </a:spcBef>
              <a:buNone/>
              <a:defRPr sz="1100"/>
            </a:lvl3pPr>
            <a:lvl4pPr marL="1028184" indent="0">
              <a:lnSpc>
                <a:spcPts val="1350"/>
              </a:lnSpc>
              <a:spcBef>
                <a:spcPts val="0"/>
              </a:spcBef>
              <a:buNone/>
              <a:defRPr sz="1100"/>
            </a:lvl4pPr>
            <a:lvl5pPr marL="1370912" indent="0">
              <a:lnSpc>
                <a:spcPts val="1350"/>
              </a:lnSpc>
              <a:spcBef>
                <a:spcPts val="0"/>
              </a:spcBef>
              <a:buNone/>
              <a:defRPr sz="1100"/>
            </a:lvl5pPr>
          </a:lstStyle>
          <a:p>
            <a:pPr lvl="0"/>
            <a:r>
              <a:rPr lang="en-US"/>
              <a:t>This is a one-column layout. Click to add content</a:t>
            </a:r>
          </a:p>
        </p:txBody>
      </p:sp>
      <p:sp>
        <p:nvSpPr>
          <p:cNvPr id="19" name="Footer Placeholder 8">
            <a:extLst>
              <a:ext uri="{FF2B5EF4-FFF2-40B4-BE49-F238E27FC236}">
                <a16:creationId xmlns="" xmlns:a16="http://schemas.microsoft.com/office/drawing/2014/main" id="{CDA06C55-0643-C148-AAB1-C4BB26FD7B26}"/>
              </a:ext>
            </a:extLst>
          </p:cNvPr>
          <p:cNvSpPr>
            <a:spLocks noGrp="1"/>
          </p:cNvSpPr>
          <p:nvPr>
            <p:ph type="ftr" sz="quarter" idx="3"/>
          </p:nvPr>
        </p:nvSpPr>
        <p:spPr>
          <a:xfrm>
            <a:off x="5824538" y="4892251"/>
            <a:ext cx="3086100" cy="147098"/>
          </a:xfrm>
          <a:prstGeom prst="rect">
            <a:avLst/>
          </a:prstGeom>
        </p:spPr>
        <p:txBody>
          <a:bodyPr vert="horz" lIns="0" tIns="0" rIns="0" bIns="0" rtlCol="0" anchor="ctr"/>
          <a:lstStyle>
            <a:lvl1pPr algn="r">
              <a:defRPr sz="600" b="1" spc="75" baseline="0">
                <a:solidFill>
                  <a:schemeClr val="tx1"/>
                </a:solidFill>
              </a:defRPr>
            </a:lvl1pPr>
          </a:lstStyle>
          <a:p>
            <a:pPr defTabSz="685647"/>
            <a:r>
              <a:rPr lang="es-AR" smtClean="0">
                <a:solidFill>
                  <a:srgbClr val="34373F"/>
                </a:solidFill>
              </a:rPr>
              <a:t>Reunión Grupo de Trabajo Dengue - 19 de abril de 2023 - No distribuir, confidencial</a:t>
            </a:r>
            <a:endParaRPr lang="x-none">
              <a:solidFill>
                <a:srgbClr val="34373F"/>
              </a:solidFill>
            </a:endParaRPr>
          </a:p>
        </p:txBody>
      </p:sp>
      <p:pic>
        <p:nvPicPr>
          <p:cNvPr id="14" name="Picture 13" descr="Takeda">
            <a:extLst>
              <a:ext uri="{FF2B5EF4-FFF2-40B4-BE49-F238E27FC236}">
                <a16:creationId xmlns=""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09748" y="-1211"/>
            <a:ext cx="1272174" cy="705585"/>
          </a:xfrm>
          <a:prstGeom prst="rect">
            <a:avLst/>
          </a:prstGeom>
        </p:spPr>
      </p:pic>
      <p:sp>
        <p:nvSpPr>
          <p:cNvPr id="22" name="タイトル プレースホルダ 1">
            <a:extLst>
              <a:ext uri="{FF2B5EF4-FFF2-40B4-BE49-F238E27FC236}">
                <a16:creationId xmlns="" xmlns:a16="http://schemas.microsoft.com/office/drawing/2014/main" id="{86D2E5B8-9E2B-DB46-A55A-5F26569C4F99}"/>
              </a:ext>
            </a:extLst>
          </p:cNvPr>
          <p:cNvSpPr>
            <a:spLocks noGrp="1"/>
          </p:cNvSpPr>
          <p:nvPr>
            <p:ph type="title" hasCustomPrompt="1"/>
          </p:nvPr>
        </p:nvSpPr>
        <p:spPr>
          <a:xfrm>
            <a:off x="454559" y="121208"/>
            <a:ext cx="7455190" cy="51435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a:extLst>
              <a:ext uri="{FF2B5EF4-FFF2-40B4-BE49-F238E27FC236}">
                <a16:creationId xmlns="" xmlns:a16="http://schemas.microsoft.com/office/drawing/2014/main" id="{51A4825E-63A1-564F-BC3A-FBC167ECE5EB}"/>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3905"/>
            <a:fld id="{E9B57936-92EF-4126-AE48-1D9D36D15E98}" type="slidenum">
              <a:rPr lang="ja-JP" altLang="en-US" smtClean="0">
                <a:solidFill>
                  <a:srgbClr val="34373F"/>
                </a:solidFill>
              </a:rPr>
              <a:pPr defTabSz="913905"/>
              <a:t>‹Nº›</a:t>
            </a:fld>
            <a:endParaRPr lang="ja-JP" altLang="en-US">
              <a:solidFill>
                <a:srgbClr val="34373F"/>
              </a:solidFill>
            </a:endParaRPr>
          </a:p>
        </p:txBody>
      </p:sp>
      <p:sp>
        <p:nvSpPr>
          <p:cNvPr id="21" name="Rectangle 20">
            <a:extLst>
              <a:ext uri="{FF2B5EF4-FFF2-40B4-BE49-F238E27FC236}">
                <a16:creationId xmlns="" xmlns:a16="http://schemas.microsoft.com/office/drawing/2014/main" id="{FCF9CDB0-5730-E246-B31F-F5963CF8EFDC}"/>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67" tIns="34289" rIns="68567" bIns="34289" rtlCol="0" anchor="ctr"/>
          <a:lstStyle/>
          <a:p>
            <a:pPr algn="ctr" defTabSz="685647"/>
            <a:endParaRPr kumimoji="1" lang="x-none" sz="1400">
              <a:solidFill>
                <a:srgbClr val="E1242A"/>
              </a:solidFill>
            </a:endParaRPr>
          </a:p>
        </p:txBody>
      </p:sp>
      <p:sp>
        <p:nvSpPr>
          <p:cNvPr id="24" name="Text Placeholder 6">
            <a:extLst>
              <a:ext uri="{FF2B5EF4-FFF2-40B4-BE49-F238E27FC236}">
                <a16:creationId xmlns="" xmlns:a16="http://schemas.microsoft.com/office/drawing/2014/main" id="{44EB3013-FCB4-1B4E-A9F2-FD57CF727CCC}"/>
              </a:ext>
            </a:extLst>
          </p:cNvPr>
          <p:cNvSpPr>
            <a:spLocks noGrp="1"/>
          </p:cNvSpPr>
          <p:nvPr>
            <p:ph type="body" sz="quarter" idx="16" hasCustomPrompt="1"/>
          </p:nvPr>
        </p:nvSpPr>
        <p:spPr>
          <a:xfrm>
            <a:off x="454559" y="4892253"/>
            <a:ext cx="5226261" cy="154210"/>
          </a:xfrm>
          <a:prstGeom prst="rect">
            <a:avLst/>
          </a:prstGeom>
        </p:spPr>
        <p:txBody>
          <a:bodyPr wrap="none" tIns="0" rIns="0" bIns="53991" numCol="1" anchor="ctr">
            <a:noAutofit/>
          </a:bodyPr>
          <a:lstStyle>
            <a:lvl1pPr marL="0" indent="0">
              <a:lnSpc>
                <a:spcPts val="1200"/>
              </a:lnSpc>
              <a:spcBef>
                <a:spcPts val="0"/>
              </a:spcBef>
              <a:spcAft>
                <a:spcPts val="450"/>
              </a:spcAft>
              <a:buFont typeface="Arial" panose="020B0604020202020204" pitchFamily="34" charset="0"/>
              <a:buNone/>
              <a:defRPr sz="600" b="0">
                <a:solidFill>
                  <a:schemeClr val="accent3"/>
                </a:solidFill>
              </a:defRPr>
            </a:lvl1pPr>
            <a:lvl2pPr marL="342722" indent="0">
              <a:lnSpc>
                <a:spcPts val="1350"/>
              </a:lnSpc>
              <a:spcBef>
                <a:spcPts val="0"/>
              </a:spcBef>
              <a:buNone/>
              <a:defRPr sz="1100"/>
            </a:lvl2pPr>
            <a:lvl3pPr marL="685459" indent="0">
              <a:lnSpc>
                <a:spcPts val="1350"/>
              </a:lnSpc>
              <a:spcBef>
                <a:spcPts val="0"/>
              </a:spcBef>
              <a:buNone/>
              <a:defRPr sz="1100"/>
            </a:lvl3pPr>
            <a:lvl4pPr marL="1028184" indent="0">
              <a:lnSpc>
                <a:spcPts val="1350"/>
              </a:lnSpc>
              <a:spcBef>
                <a:spcPts val="0"/>
              </a:spcBef>
              <a:buNone/>
              <a:defRPr sz="1100"/>
            </a:lvl4pPr>
            <a:lvl5pPr marL="1370912" indent="0">
              <a:lnSpc>
                <a:spcPts val="1350"/>
              </a:lnSpc>
              <a:spcBef>
                <a:spcPts val="0"/>
              </a:spcBef>
              <a:buNone/>
              <a:defRPr sz="1100"/>
            </a:lvl5pPr>
          </a:lstStyle>
          <a:p>
            <a:pPr lvl="0"/>
            <a:r>
              <a:rPr lang="en-US"/>
              <a:t>Private and confidential. For internal use only.</a:t>
            </a:r>
          </a:p>
        </p:txBody>
      </p:sp>
    </p:spTree>
    <p:extLst>
      <p:ext uri="{BB962C8B-B14F-4D97-AF65-F5344CB8AC3E}">
        <p14:creationId xmlns:p14="http://schemas.microsoft.com/office/powerpoint/2010/main" val="1167996134"/>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Content Slide (Two Columns)">
    <p:bg>
      <p:bgPr>
        <a:solidFill>
          <a:schemeClr val="tx1"/>
        </a:solidFill>
        <a:effectLst/>
      </p:bgPr>
    </p:bg>
    <p:spTree>
      <p:nvGrpSpPr>
        <p:cNvPr id="1" name=""/>
        <p:cNvGrpSpPr/>
        <p:nvPr/>
      </p:nvGrpSpPr>
      <p:grpSpPr>
        <a:xfrm>
          <a:off x="0" y="0"/>
          <a:ext cx="0" cy="0"/>
          <a:chOff x="0" y="0"/>
          <a:chExt cx="0" cy="0"/>
        </a:xfrm>
      </p:grpSpPr>
      <p:sp>
        <p:nvSpPr>
          <p:cNvPr id="10" name="Rectangle: Rounded Corners 9">
            <a:extLst>
              <a:ext uri="{FF2B5EF4-FFF2-40B4-BE49-F238E27FC236}">
                <a16:creationId xmlns="" xmlns:a16="http://schemas.microsoft.com/office/drawing/2014/main" id="{7B7E4E0C-6316-408F-ACC1-46BE211C462F}"/>
              </a:ext>
            </a:extLst>
          </p:cNvPr>
          <p:cNvSpPr/>
          <p:nvPr userDrawn="1"/>
        </p:nvSpPr>
        <p:spPr>
          <a:xfrm>
            <a:off x="139824" y="153148"/>
            <a:ext cx="8855476" cy="4589095"/>
          </a:xfrm>
          <a:prstGeom prst="roundRect">
            <a:avLst>
              <a:gd name="adj" fmla="val 993"/>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67" tIns="34289" rIns="68567" bIns="34289" rtlCol="0" anchor="ctr"/>
          <a:lstStyle/>
          <a:p>
            <a:pPr algn="ctr" defTabSz="685647"/>
            <a:endParaRPr lang="en-GB" sz="1400">
              <a:solidFill>
                <a:srgbClr val="FFFFFF"/>
              </a:solidFill>
            </a:endParaRPr>
          </a:p>
        </p:txBody>
      </p:sp>
      <p:sp>
        <p:nvSpPr>
          <p:cNvPr id="11" name="Rectangle: Rounded Corners 10">
            <a:extLst>
              <a:ext uri="{FF2B5EF4-FFF2-40B4-BE49-F238E27FC236}">
                <a16:creationId xmlns="" xmlns:a16="http://schemas.microsoft.com/office/drawing/2014/main" id="{76311F75-200C-4E92-BDB1-43C6FBB22F56}"/>
              </a:ext>
            </a:extLst>
          </p:cNvPr>
          <p:cNvSpPr/>
          <p:nvPr userDrawn="1"/>
        </p:nvSpPr>
        <p:spPr>
          <a:xfrm>
            <a:off x="180812" y="848090"/>
            <a:ext cx="8773500" cy="3850371"/>
          </a:xfrm>
          <a:prstGeom prst="roundRect">
            <a:avLst>
              <a:gd name="adj" fmla="val 993"/>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67" tIns="34289" rIns="68567" bIns="34289" rtlCol="0" anchor="ctr"/>
          <a:lstStyle/>
          <a:p>
            <a:pPr algn="ctr" defTabSz="685647"/>
            <a:endParaRPr lang="en-GB" sz="1400">
              <a:solidFill>
                <a:srgbClr val="FFFFFF"/>
              </a:solidFill>
            </a:endParaRPr>
          </a:p>
        </p:txBody>
      </p:sp>
      <p:sp>
        <p:nvSpPr>
          <p:cNvPr id="2" name="Title 1">
            <a:extLst>
              <a:ext uri="{FF2B5EF4-FFF2-40B4-BE49-F238E27FC236}">
                <a16:creationId xmlns="" xmlns:a16="http://schemas.microsoft.com/office/drawing/2014/main" id="{F64495CF-F1B2-4DCF-A952-C6F3C605F612}"/>
              </a:ext>
            </a:extLst>
          </p:cNvPr>
          <p:cNvSpPr>
            <a:spLocks noGrp="1"/>
          </p:cNvSpPr>
          <p:nvPr>
            <p:ph type="title" hasCustomPrompt="1"/>
          </p:nvPr>
        </p:nvSpPr>
        <p:spPr>
          <a:xfrm>
            <a:off x="332190" y="153147"/>
            <a:ext cx="8479631" cy="694949"/>
          </a:xfrm>
        </p:spPr>
        <p:txBody>
          <a:bodyPr/>
          <a:lstStyle>
            <a:lvl1pPr>
              <a:defRPr>
                <a:solidFill>
                  <a:schemeClr val="bg1"/>
                </a:solidFill>
              </a:defRPr>
            </a:lvl1pPr>
          </a:lstStyle>
          <a:p>
            <a:r>
              <a:rPr lang="en-US"/>
              <a:t>Click to edit Master title style</a:t>
            </a:r>
            <a:br>
              <a:rPr lang="en-US"/>
            </a:br>
            <a:r>
              <a:rPr lang="en-US"/>
              <a:t>Title can occupy 2 lines</a:t>
            </a:r>
            <a:endParaRPr lang="en-GB"/>
          </a:p>
        </p:txBody>
      </p:sp>
      <p:sp>
        <p:nvSpPr>
          <p:cNvPr id="4" name="Text Placeholder 3">
            <a:extLst>
              <a:ext uri="{FF2B5EF4-FFF2-40B4-BE49-F238E27FC236}">
                <a16:creationId xmlns="" xmlns:a16="http://schemas.microsoft.com/office/drawing/2014/main" id="{DCF7A507-3713-424D-8F8F-1DFFDD0C3D19}"/>
              </a:ext>
            </a:extLst>
          </p:cNvPr>
          <p:cNvSpPr>
            <a:spLocks noGrp="1"/>
          </p:cNvSpPr>
          <p:nvPr>
            <p:ph type="body" sz="quarter" idx="10"/>
          </p:nvPr>
        </p:nvSpPr>
        <p:spPr>
          <a:xfrm>
            <a:off x="332186" y="1027429"/>
            <a:ext cx="4131469" cy="3313752"/>
          </a:xfrm>
        </p:spPr>
        <p:txBody>
          <a:bodyPr tIns="107973"/>
          <a:lstStyle>
            <a:lvl1pPr>
              <a:spcAft>
                <a:spcPts val="450"/>
              </a:spcAft>
              <a:defRPr/>
            </a:lvl1pPr>
            <a:lvl2pPr>
              <a:spcAft>
                <a:spcPts val="450"/>
              </a:spcAft>
              <a:defRPr/>
            </a:lvl2pPr>
            <a:lvl3pPr>
              <a:spcAft>
                <a:spcPts val="450"/>
              </a:spcAft>
              <a:defRPr/>
            </a:lvl3pPr>
          </a:lstStyle>
          <a:p>
            <a:pPr lvl="0"/>
            <a:r>
              <a:rPr lang="en-US"/>
              <a:t>Click to edit Master text styles</a:t>
            </a:r>
          </a:p>
          <a:p>
            <a:pPr lvl="1"/>
            <a:r>
              <a:rPr lang="en-US"/>
              <a:t>Second level</a:t>
            </a:r>
          </a:p>
          <a:p>
            <a:pPr lvl="2"/>
            <a:r>
              <a:rPr lang="en-US"/>
              <a:t>Third level</a:t>
            </a:r>
          </a:p>
        </p:txBody>
      </p:sp>
      <p:sp>
        <p:nvSpPr>
          <p:cNvPr id="13" name="Text Placeholder 12">
            <a:extLst>
              <a:ext uri="{FF2B5EF4-FFF2-40B4-BE49-F238E27FC236}">
                <a16:creationId xmlns="" xmlns:a16="http://schemas.microsoft.com/office/drawing/2014/main" id="{D85EC3DA-DC1D-4DC9-81F2-E3876DE41FEC}"/>
              </a:ext>
            </a:extLst>
          </p:cNvPr>
          <p:cNvSpPr>
            <a:spLocks noGrp="1"/>
          </p:cNvSpPr>
          <p:nvPr>
            <p:ph type="body" sz="quarter" idx="11" hasCustomPrompt="1"/>
          </p:nvPr>
        </p:nvSpPr>
        <p:spPr>
          <a:xfrm>
            <a:off x="180811" y="4761689"/>
            <a:ext cx="8275170" cy="311970"/>
          </a:xfrm>
        </p:spPr>
        <p:txBody>
          <a:bodyPr/>
          <a:lstStyle>
            <a:lvl1pPr marL="0" indent="0">
              <a:buNone/>
              <a:defRPr sz="500">
                <a:solidFill>
                  <a:schemeClr val="bg1"/>
                </a:solidFill>
              </a:defRPr>
            </a:lvl1pPr>
            <a:lvl2pPr marL="134973" indent="0">
              <a:buNone/>
              <a:defRPr sz="600">
                <a:solidFill>
                  <a:schemeClr val="bg1"/>
                </a:solidFill>
              </a:defRPr>
            </a:lvl2pPr>
            <a:lvl3pPr marL="269945" indent="0">
              <a:buNone/>
              <a:defRPr sz="600">
                <a:solidFill>
                  <a:schemeClr val="bg1"/>
                </a:solidFill>
              </a:defRPr>
            </a:lvl3pPr>
            <a:lvl4pPr marL="1028471" indent="0">
              <a:buNone/>
              <a:defRPr sz="600">
                <a:solidFill>
                  <a:schemeClr val="bg1"/>
                </a:solidFill>
              </a:defRPr>
            </a:lvl4pPr>
            <a:lvl5pPr marL="1371294" indent="0">
              <a:buNone/>
              <a:defRPr sz="600">
                <a:solidFill>
                  <a:schemeClr val="bg1"/>
                </a:solidFill>
              </a:defRPr>
            </a:lvl5pPr>
          </a:lstStyle>
          <a:p>
            <a:pPr lvl="0"/>
            <a:r>
              <a:rPr lang="en-US"/>
              <a:t>1. Lorem ipsum dolor sit </a:t>
            </a:r>
            <a:r>
              <a:rPr lang="en-US" err="1"/>
              <a:t>amet</a:t>
            </a:r>
            <a:r>
              <a:rPr lang="en-US"/>
              <a:t>, </a:t>
            </a:r>
            <a:r>
              <a:rPr lang="en-US" err="1"/>
              <a:t>consectetuer</a:t>
            </a:r>
            <a:r>
              <a:rPr lang="en-US"/>
              <a:t> </a:t>
            </a:r>
            <a:r>
              <a:rPr lang="en-US" err="1"/>
              <a:t>adipiscing</a:t>
            </a:r>
            <a:r>
              <a:rPr lang="en-US"/>
              <a:t> </a:t>
            </a:r>
            <a:r>
              <a:rPr lang="en-US" err="1"/>
              <a:t>elit</a:t>
            </a:r>
            <a:r>
              <a:rPr lang="en-US"/>
              <a:t>, sed diam </a:t>
            </a:r>
            <a:r>
              <a:rPr lang="en-US" err="1"/>
              <a:t>nonummy</a:t>
            </a:r>
            <a:r>
              <a:rPr lang="en-US"/>
              <a:t> </a:t>
            </a:r>
            <a:r>
              <a:rPr lang="en-US" err="1"/>
              <a:t>nibh</a:t>
            </a:r>
            <a:r>
              <a:rPr lang="en-US"/>
              <a:t> </a:t>
            </a:r>
            <a:r>
              <a:rPr lang="en-US" err="1"/>
              <a:t>euismod</a:t>
            </a:r>
            <a:r>
              <a:rPr lang="en-US"/>
              <a:t> </a:t>
            </a:r>
            <a:r>
              <a:rPr lang="en-US" err="1"/>
              <a:t>tincidunt</a:t>
            </a:r>
            <a:r>
              <a:rPr lang="en-US"/>
              <a:t> </a:t>
            </a:r>
            <a:r>
              <a:rPr lang="en-US" err="1"/>
              <a:t>ut</a:t>
            </a:r>
            <a:r>
              <a:rPr lang="en-US"/>
              <a:t> </a:t>
            </a:r>
            <a:r>
              <a:rPr lang="en-US" err="1"/>
              <a:t>laoreet</a:t>
            </a:r>
            <a:r>
              <a:rPr lang="en-US"/>
              <a:t> dolore magna </a:t>
            </a:r>
            <a:r>
              <a:rPr lang="en-US" err="1"/>
              <a:t>aliquam</a:t>
            </a:r>
            <a:r>
              <a:rPr lang="en-US"/>
              <a:t> </a:t>
            </a:r>
          </a:p>
          <a:p>
            <a:pPr lvl="0"/>
            <a:r>
              <a:rPr lang="en-US"/>
              <a:t>2. Ut </a:t>
            </a:r>
            <a:r>
              <a:rPr lang="en-US" err="1"/>
              <a:t>wisi</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a:t>
            </a:r>
            <a:r>
              <a:rPr lang="en-US" err="1"/>
              <a:t>exerci</a:t>
            </a:r>
            <a:r>
              <a:rPr lang="en-US"/>
              <a:t> </a:t>
            </a:r>
            <a:r>
              <a:rPr lang="en-US" err="1"/>
              <a:t>tation</a:t>
            </a:r>
            <a:r>
              <a:rPr lang="en-US"/>
              <a:t> </a:t>
            </a:r>
            <a:r>
              <a:rPr lang="en-US" err="1"/>
              <a:t>ullamcorper</a:t>
            </a:r>
            <a:r>
              <a:rPr lang="en-US"/>
              <a:t> </a:t>
            </a:r>
            <a:r>
              <a:rPr lang="en-US" err="1"/>
              <a:t>suscipit</a:t>
            </a:r>
            <a:r>
              <a:rPr lang="en-US"/>
              <a:t> </a:t>
            </a:r>
            <a:r>
              <a:rPr lang="en-US" err="1"/>
              <a:t>lobortis</a:t>
            </a:r>
            <a:r>
              <a:rPr lang="en-US"/>
              <a:t> </a:t>
            </a:r>
            <a:r>
              <a:rPr lang="en-US" err="1"/>
              <a:t>nisl</a:t>
            </a:r>
            <a:r>
              <a:rPr lang="en-US"/>
              <a:t>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endParaRPr lang="en-US"/>
          </a:p>
          <a:p>
            <a:pPr lvl="0"/>
            <a:r>
              <a:rPr lang="en-US"/>
              <a:t>3. Duis </a:t>
            </a:r>
            <a:r>
              <a:rPr lang="en-US" err="1"/>
              <a:t>autem</a:t>
            </a:r>
            <a:r>
              <a:rPr lang="en-US"/>
              <a:t> vel </a:t>
            </a:r>
            <a:r>
              <a:rPr lang="en-US" err="1"/>
              <a:t>eum</a:t>
            </a:r>
            <a:r>
              <a:rPr lang="en-US"/>
              <a:t> </a:t>
            </a:r>
            <a:r>
              <a:rPr lang="en-US" err="1"/>
              <a:t>iriure</a:t>
            </a:r>
            <a:r>
              <a:rPr lang="en-US"/>
              <a:t> dolor in </a:t>
            </a:r>
            <a:r>
              <a:rPr lang="en-US" err="1"/>
              <a:t>hendrerit</a:t>
            </a:r>
            <a:r>
              <a:rPr lang="en-US"/>
              <a:t> in </a:t>
            </a:r>
            <a:r>
              <a:rPr lang="en-US" err="1"/>
              <a:t>vulputate</a:t>
            </a:r>
            <a:r>
              <a:rPr lang="en-US"/>
              <a:t> </a:t>
            </a:r>
            <a:r>
              <a:rPr lang="en-US" err="1"/>
              <a:t>velit</a:t>
            </a:r>
            <a:r>
              <a:rPr lang="en-US"/>
              <a:t> </a:t>
            </a:r>
            <a:r>
              <a:rPr lang="en-US" err="1"/>
              <a:t>esse</a:t>
            </a:r>
            <a:r>
              <a:rPr lang="en-US"/>
              <a:t> </a:t>
            </a:r>
            <a:r>
              <a:rPr lang="en-US" err="1"/>
              <a:t>molestie</a:t>
            </a:r>
            <a:r>
              <a:rPr lang="en-US"/>
              <a:t> </a:t>
            </a:r>
            <a:r>
              <a:rPr lang="en-US" err="1"/>
              <a:t>consequat</a:t>
            </a:r>
            <a:r>
              <a:rPr lang="en-US"/>
              <a:t>, vel </a:t>
            </a:r>
            <a:r>
              <a:rPr lang="en-US" err="1"/>
              <a:t>illum</a:t>
            </a:r>
            <a:r>
              <a:rPr lang="en-US"/>
              <a:t> dolore </a:t>
            </a:r>
            <a:r>
              <a:rPr lang="en-US" err="1"/>
              <a:t>eu</a:t>
            </a:r>
            <a:r>
              <a:rPr lang="en-US"/>
              <a:t> </a:t>
            </a:r>
            <a:r>
              <a:rPr lang="en-US" err="1"/>
              <a:t>feugiat</a:t>
            </a:r>
            <a:r>
              <a:rPr lang="en-US"/>
              <a:t> </a:t>
            </a:r>
            <a:r>
              <a:rPr lang="en-US" err="1"/>
              <a:t>nulla</a:t>
            </a:r>
            <a:r>
              <a:rPr lang="en-US"/>
              <a:t> </a:t>
            </a:r>
            <a:r>
              <a:rPr lang="en-US" err="1"/>
              <a:t>facilisis</a:t>
            </a:r>
            <a:r>
              <a:rPr lang="en-US"/>
              <a:t> at </a:t>
            </a:r>
            <a:r>
              <a:rPr lang="en-US" err="1"/>
              <a:t>vero</a:t>
            </a:r>
            <a:r>
              <a:rPr lang="en-US"/>
              <a:t> eros et </a:t>
            </a:r>
            <a:r>
              <a:rPr lang="en-US" err="1"/>
              <a:t>accumsan</a:t>
            </a:r>
            <a:r>
              <a:rPr lang="en-US"/>
              <a:t> et </a:t>
            </a:r>
            <a:r>
              <a:rPr lang="en-US" err="1"/>
              <a:t>iusto</a:t>
            </a:r>
            <a:r>
              <a:rPr lang="en-US"/>
              <a:t> </a:t>
            </a:r>
            <a:r>
              <a:rPr lang="en-US" err="1"/>
              <a:t>odio</a:t>
            </a:r>
            <a:r>
              <a:rPr lang="en-US"/>
              <a:t> </a:t>
            </a:r>
            <a:r>
              <a:rPr lang="en-US" err="1"/>
              <a:t>dignissim</a:t>
            </a:r>
            <a:r>
              <a:rPr lang="en-US"/>
              <a:t> qui </a:t>
            </a:r>
            <a:r>
              <a:rPr lang="en-US" err="1"/>
              <a:t>blandit</a:t>
            </a:r>
            <a:r>
              <a:rPr lang="en-US"/>
              <a:t> </a:t>
            </a:r>
            <a:r>
              <a:rPr lang="en-US" err="1"/>
              <a:t>praesent</a:t>
            </a:r>
            <a:r>
              <a:rPr lang="en-US"/>
              <a:t> </a:t>
            </a:r>
            <a:r>
              <a:rPr lang="en-US" err="1"/>
              <a:t>luptatum</a:t>
            </a:r>
            <a:r>
              <a:rPr lang="en-US"/>
              <a:t> </a:t>
            </a:r>
            <a:r>
              <a:rPr lang="en-US" err="1"/>
              <a:t>zzril</a:t>
            </a:r>
            <a:r>
              <a:rPr lang="en-US"/>
              <a:t> </a:t>
            </a:r>
            <a:r>
              <a:rPr lang="en-US" err="1"/>
              <a:t>delenit</a:t>
            </a:r>
            <a:r>
              <a:rPr lang="en-US"/>
              <a:t> </a:t>
            </a:r>
            <a:r>
              <a:rPr lang="en-US" err="1"/>
              <a:t>augue</a:t>
            </a:r>
            <a:r>
              <a:rPr lang="en-US"/>
              <a:t> </a:t>
            </a:r>
            <a:r>
              <a:rPr lang="en-US" err="1"/>
              <a:t>duis</a:t>
            </a:r>
            <a:r>
              <a:rPr lang="en-US"/>
              <a:t> dolore </a:t>
            </a:r>
            <a:r>
              <a:rPr lang="en-US" err="1"/>
              <a:t>te</a:t>
            </a:r>
            <a:r>
              <a:rPr lang="en-US"/>
              <a:t> </a:t>
            </a:r>
            <a:r>
              <a:rPr lang="en-US" err="1"/>
              <a:t>feugait</a:t>
            </a:r>
            <a:r>
              <a:rPr lang="en-US"/>
              <a:t> </a:t>
            </a:r>
            <a:r>
              <a:rPr lang="en-US" err="1"/>
              <a:t>nulla</a:t>
            </a:r>
            <a:r>
              <a:rPr lang="en-US"/>
              <a:t> </a:t>
            </a:r>
            <a:r>
              <a:rPr lang="en-US" err="1"/>
              <a:t>facilisi</a:t>
            </a:r>
            <a:endParaRPr lang="en-US"/>
          </a:p>
          <a:p>
            <a:pPr lvl="0"/>
            <a:r>
              <a:rPr lang="en-US"/>
              <a:t>4. Lorem ipsum dolor sit </a:t>
            </a:r>
            <a:r>
              <a:rPr lang="en-US" err="1"/>
              <a:t>amet</a:t>
            </a:r>
            <a:r>
              <a:rPr lang="en-US"/>
              <a:t>, cons </a:t>
            </a:r>
            <a:r>
              <a:rPr lang="en-US" err="1"/>
              <a:t>ectetuer</a:t>
            </a:r>
            <a:r>
              <a:rPr lang="en-US"/>
              <a:t> </a:t>
            </a:r>
            <a:r>
              <a:rPr lang="en-US" err="1"/>
              <a:t>adipiscing</a:t>
            </a:r>
            <a:r>
              <a:rPr lang="en-US"/>
              <a:t> </a:t>
            </a:r>
            <a:r>
              <a:rPr lang="en-US" err="1"/>
              <a:t>elit</a:t>
            </a:r>
            <a:r>
              <a:rPr lang="en-US"/>
              <a:t>, sed diam </a:t>
            </a:r>
            <a:r>
              <a:rPr lang="en-US" err="1"/>
              <a:t>nonummy</a:t>
            </a:r>
            <a:r>
              <a:rPr lang="en-US"/>
              <a:t> </a:t>
            </a:r>
            <a:r>
              <a:rPr lang="en-US" err="1"/>
              <a:t>nibh</a:t>
            </a:r>
            <a:r>
              <a:rPr lang="en-US"/>
              <a:t> </a:t>
            </a:r>
            <a:r>
              <a:rPr lang="en-US" err="1"/>
              <a:t>euismod</a:t>
            </a:r>
            <a:r>
              <a:rPr lang="en-US"/>
              <a:t> </a:t>
            </a:r>
            <a:r>
              <a:rPr lang="en-US" err="1"/>
              <a:t>tincidunt</a:t>
            </a:r>
            <a:r>
              <a:rPr lang="en-US"/>
              <a:t> </a:t>
            </a:r>
            <a:r>
              <a:rPr lang="en-US" err="1"/>
              <a:t>ut</a:t>
            </a:r>
            <a:r>
              <a:rPr lang="en-US"/>
              <a:t> </a:t>
            </a:r>
            <a:r>
              <a:rPr lang="en-US" err="1"/>
              <a:t>laoreet</a:t>
            </a:r>
            <a:r>
              <a:rPr lang="en-US"/>
              <a:t> dolore magna</a:t>
            </a:r>
          </a:p>
          <a:p>
            <a:pPr lvl="0"/>
            <a:r>
              <a:rPr lang="en-US"/>
              <a:t>5. Ut </a:t>
            </a:r>
            <a:r>
              <a:rPr lang="en-US" err="1"/>
              <a:t>wisi</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a:t>
            </a:r>
            <a:r>
              <a:rPr lang="en-US" err="1"/>
              <a:t>exerci</a:t>
            </a:r>
            <a:r>
              <a:rPr lang="en-US"/>
              <a:t> </a:t>
            </a:r>
            <a:r>
              <a:rPr lang="en-US" err="1"/>
              <a:t>tation</a:t>
            </a:r>
            <a:r>
              <a:rPr lang="en-US"/>
              <a:t> </a:t>
            </a:r>
            <a:r>
              <a:rPr lang="en-US" err="1"/>
              <a:t>ullamcorper</a:t>
            </a:r>
            <a:r>
              <a:rPr lang="en-US"/>
              <a:t> </a:t>
            </a:r>
            <a:r>
              <a:rPr lang="en-US" err="1"/>
              <a:t>suscipit</a:t>
            </a:r>
            <a:r>
              <a:rPr lang="en-US"/>
              <a:t> </a:t>
            </a:r>
            <a:r>
              <a:rPr lang="en-US" err="1"/>
              <a:t>lobortis</a:t>
            </a:r>
            <a:r>
              <a:rPr lang="en-US"/>
              <a:t> </a:t>
            </a:r>
            <a:r>
              <a:rPr lang="en-US" err="1"/>
              <a:t>nisl</a:t>
            </a:r>
            <a:r>
              <a:rPr lang="en-US"/>
              <a:t>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endParaRPr lang="en-GB"/>
          </a:p>
        </p:txBody>
      </p:sp>
      <p:sp>
        <p:nvSpPr>
          <p:cNvPr id="14" name="Slide Number Placeholder 3">
            <a:extLst>
              <a:ext uri="{FF2B5EF4-FFF2-40B4-BE49-F238E27FC236}">
                <a16:creationId xmlns="" xmlns:a16="http://schemas.microsoft.com/office/drawing/2014/main" id="{27C692D6-5DE2-447A-80CB-636C151B40EA}"/>
              </a:ext>
            </a:extLst>
          </p:cNvPr>
          <p:cNvSpPr>
            <a:spLocks noGrp="1"/>
          </p:cNvSpPr>
          <p:nvPr>
            <p:ph type="sldNum" sz="quarter" idx="4"/>
          </p:nvPr>
        </p:nvSpPr>
        <p:spPr>
          <a:xfrm>
            <a:off x="8455983" y="4734179"/>
            <a:ext cx="439444" cy="320025"/>
          </a:xfrm>
          <a:prstGeom prst="rect">
            <a:avLst/>
          </a:prstGeom>
        </p:spPr>
        <p:txBody>
          <a:bodyPr vert="horz" lIns="0" tIns="0" rIns="0" bIns="0" rtlCol="0" anchor="ctr"/>
          <a:lstStyle>
            <a:lvl1pPr algn="r">
              <a:defRPr sz="900">
                <a:solidFill>
                  <a:schemeClr val="bg1"/>
                </a:solidFill>
              </a:defRPr>
            </a:lvl1pPr>
          </a:lstStyle>
          <a:p>
            <a:fld id="{B89BA8B7-8224-4A34-9634-0635D23444FA}" type="slidenum">
              <a:rPr lang="en-GB" smtClean="0">
                <a:solidFill>
                  <a:srgbClr val="FFFFFF"/>
                </a:solidFill>
              </a:rPr>
              <a:pPr/>
              <a:t>‹Nº›</a:t>
            </a:fld>
            <a:endParaRPr lang="en-GB">
              <a:solidFill>
                <a:srgbClr val="FFFFFF"/>
              </a:solidFill>
            </a:endParaRPr>
          </a:p>
        </p:txBody>
      </p:sp>
      <p:sp>
        <p:nvSpPr>
          <p:cNvPr id="15" name="Text Placeholder 3">
            <a:extLst>
              <a:ext uri="{FF2B5EF4-FFF2-40B4-BE49-F238E27FC236}">
                <a16:creationId xmlns="" xmlns:a16="http://schemas.microsoft.com/office/drawing/2014/main" id="{A62329A5-D4CA-4F79-AF4C-B91B9623A0DD}"/>
              </a:ext>
            </a:extLst>
          </p:cNvPr>
          <p:cNvSpPr>
            <a:spLocks noGrp="1"/>
          </p:cNvSpPr>
          <p:nvPr>
            <p:ph type="body" sz="quarter" idx="12"/>
          </p:nvPr>
        </p:nvSpPr>
        <p:spPr>
          <a:xfrm>
            <a:off x="4691072" y="1027429"/>
            <a:ext cx="4131469" cy="3313752"/>
          </a:xfrm>
        </p:spPr>
        <p:txBody>
          <a:bodyPr tIns="107973"/>
          <a:lstStyle>
            <a:lvl1pPr>
              <a:spcAft>
                <a:spcPts val="450"/>
              </a:spcAft>
              <a:defRPr/>
            </a:lvl1pPr>
            <a:lvl2pPr>
              <a:spcAft>
                <a:spcPts val="450"/>
              </a:spcAft>
              <a:defRPr/>
            </a:lvl2pPr>
            <a:lvl3pPr>
              <a:spcAft>
                <a:spcPts val="450"/>
              </a:spcAft>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77756164"/>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143000" y="841772"/>
            <a:ext cx="6858000" cy="1790700"/>
          </a:xfrm>
        </p:spPr>
        <p:txBody>
          <a:bodyPr anchor="b"/>
          <a:lstStyle>
            <a:lvl1pPr algn="ctr">
              <a:defRPr sz="4500"/>
            </a:lvl1pPr>
          </a:lstStyle>
          <a:p>
            <a:r>
              <a:rPr lang="es-ES" smtClean="0"/>
              <a:t>Haga clic para modificar el estilo de título del patrón</a:t>
            </a:r>
            <a:endParaRPr lang="en-US"/>
          </a:p>
        </p:txBody>
      </p:sp>
      <p:sp>
        <p:nvSpPr>
          <p:cNvPr id="3" name="Subtítulo 2"/>
          <p:cNvSpPr>
            <a:spLocks noGrp="1"/>
          </p:cNvSpPr>
          <p:nvPr>
            <p:ph type="subTitle" idx="1"/>
          </p:nvPr>
        </p:nvSpPr>
        <p:spPr>
          <a:xfrm>
            <a:off x="1143000" y="2701528"/>
            <a:ext cx="6858000" cy="1241822"/>
          </a:xfrm>
        </p:spPr>
        <p:txBody>
          <a:bodyPr/>
          <a:lstStyle>
            <a:lvl1pPr marL="0" indent="0" algn="ctr">
              <a:buNone/>
              <a:defRPr sz="1800"/>
            </a:lvl1pPr>
            <a:lvl2pPr marL="342857" indent="0" algn="ctr">
              <a:buNone/>
              <a:defRPr sz="1500"/>
            </a:lvl2pPr>
            <a:lvl3pPr marL="685715" indent="0" algn="ctr">
              <a:buNone/>
              <a:defRPr sz="1400"/>
            </a:lvl3pPr>
            <a:lvl4pPr marL="1028573" indent="0" algn="ctr">
              <a:buNone/>
              <a:defRPr sz="1200"/>
            </a:lvl4pPr>
            <a:lvl5pPr marL="1371430" indent="0" algn="ctr">
              <a:buNone/>
              <a:defRPr sz="1200"/>
            </a:lvl5pPr>
            <a:lvl6pPr marL="1714289" indent="0" algn="ctr">
              <a:buNone/>
              <a:defRPr sz="1200"/>
            </a:lvl6pPr>
            <a:lvl7pPr marL="2057144" indent="0" algn="ctr">
              <a:buNone/>
              <a:defRPr sz="1200"/>
            </a:lvl7pPr>
            <a:lvl8pPr marL="2400000" indent="0" algn="ctr">
              <a:buNone/>
              <a:defRPr sz="1200"/>
            </a:lvl8pPr>
            <a:lvl9pPr marL="2742857" indent="0" algn="ctr">
              <a:buNone/>
              <a:defRPr sz="1200"/>
            </a:lvl9pPr>
          </a:lstStyle>
          <a:p>
            <a:r>
              <a:rPr lang="es-ES" smtClean="0"/>
              <a:t>Haga clic para modificar el estilo de subtítulo del patrón</a:t>
            </a:r>
            <a:endParaRPr lang="en-US"/>
          </a:p>
        </p:txBody>
      </p:sp>
      <p:sp>
        <p:nvSpPr>
          <p:cNvPr id="4" name="Marcador de fecha 3"/>
          <p:cNvSpPr>
            <a:spLocks noGrp="1"/>
          </p:cNvSpPr>
          <p:nvPr>
            <p:ph type="dt" sz="half" idx="10"/>
          </p:nvPr>
        </p:nvSpPr>
        <p:spPr/>
        <p:txBody>
          <a:bodyPr/>
          <a:lstStyle/>
          <a:p>
            <a:fld id="{38B4D932-240E-4531-9F52-FABDFF4A113F}" type="datetimeFigureOut">
              <a:rPr lang="en-US" smtClean="0">
                <a:solidFill>
                  <a:prstClr val="black">
                    <a:tint val="75000"/>
                  </a:prstClr>
                </a:solidFill>
              </a:rPr>
              <a:pPr/>
              <a:t>8/7/2024</a:t>
            </a:fld>
            <a:endParaRPr lang="en-US">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n-US">
              <a:solidFill>
                <a:prstClr val="black">
                  <a:tint val="75000"/>
                </a:prstClr>
              </a:solidFill>
            </a:endParaRPr>
          </a:p>
        </p:txBody>
      </p:sp>
      <p:sp>
        <p:nvSpPr>
          <p:cNvPr id="6" name="Marcador de número de diapositiva 5"/>
          <p:cNvSpPr>
            <a:spLocks noGrp="1"/>
          </p:cNvSpPr>
          <p:nvPr>
            <p:ph type="sldNum" sz="quarter" idx="12"/>
          </p:nvPr>
        </p:nvSpPr>
        <p:spPr/>
        <p:txBody>
          <a:bodyPr/>
          <a:lstStyle/>
          <a:p>
            <a:fld id="{B22A62D8-18E0-437B-A77A-F5135579B757}" type="slidenum">
              <a:rPr lang="en-US" smtClean="0">
                <a:solidFill>
                  <a:prstClr val="black">
                    <a:tint val="75000"/>
                  </a:prstClr>
                </a:solidFill>
              </a:rPr>
              <a:pPr/>
              <a:t>‹Nº›</a:t>
            </a:fld>
            <a:endParaRPr lang="en-US">
              <a:solidFill>
                <a:prstClr val="black">
                  <a:tint val="75000"/>
                </a:prstClr>
              </a:solidFill>
            </a:endParaRPr>
          </a:p>
        </p:txBody>
      </p:sp>
    </p:spTree>
    <p:extLst>
      <p:ext uri="{BB962C8B-B14F-4D97-AF65-F5344CB8AC3E}">
        <p14:creationId xmlns:p14="http://schemas.microsoft.com/office/powerpoint/2010/main" val="3767693987"/>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smtClean="0"/>
              <a:t>Haga clic para modificar el estilo de título del patrón</a:t>
            </a:r>
            <a:endParaRPr lang="en-US"/>
          </a:p>
        </p:txBody>
      </p:sp>
      <p:sp>
        <p:nvSpPr>
          <p:cNvPr id="3" name="Marcador de contenido 2"/>
          <p:cNvSpPr>
            <a:spLocks noGrp="1"/>
          </p:cNvSpPr>
          <p:nvPr>
            <p:ph idx="1"/>
          </p:nvPr>
        </p:nvSpPr>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a:p>
        </p:txBody>
      </p:sp>
      <p:sp>
        <p:nvSpPr>
          <p:cNvPr id="4" name="Marcador de fecha 3"/>
          <p:cNvSpPr>
            <a:spLocks noGrp="1"/>
          </p:cNvSpPr>
          <p:nvPr>
            <p:ph type="dt" sz="half" idx="10"/>
          </p:nvPr>
        </p:nvSpPr>
        <p:spPr/>
        <p:txBody>
          <a:bodyPr/>
          <a:lstStyle/>
          <a:p>
            <a:fld id="{38B4D932-240E-4531-9F52-FABDFF4A113F}" type="datetimeFigureOut">
              <a:rPr lang="en-US" smtClean="0">
                <a:solidFill>
                  <a:prstClr val="black">
                    <a:tint val="75000"/>
                  </a:prstClr>
                </a:solidFill>
              </a:rPr>
              <a:pPr/>
              <a:t>8/7/2024</a:t>
            </a:fld>
            <a:endParaRPr lang="en-US">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n-US">
              <a:solidFill>
                <a:prstClr val="black">
                  <a:tint val="75000"/>
                </a:prstClr>
              </a:solidFill>
            </a:endParaRPr>
          </a:p>
        </p:txBody>
      </p:sp>
      <p:sp>
        <p:nvSpPr>
          <p:cNvPr id="6" name="Marcador de número de diapositiva 5"/>
          <p:cNvSpPr>
            <a:spLocks noGrp="1"/>
          </p:cNvSpPr>
          <p:nvPr>
            <p:ph type="sldNum" sz="quarter" idx="12"/>
          </p:nvPr>
        </p:nvSpPr>
        <p:spPr/>
        <p:txBody>
          <a:bodyPr/>
          <a:lstStyle/>
          <a:p>
            <a:fld id="{B22A62D8-18E0-437B-A77A-F5135579B757}" type="slidenum">
              <a:rPr lang="en-US" smtClean="0">
                <a:solidFill>
                  <a:prstClr val="black">
                    <a:tint val="75000"/>
                  </a:prstClr>
                </a:solidFill>
              </a:rPr>
              <a:pPr/>
              <a:t>‹Nº›</a:t>
            </a:fld>
            <a:endParaRPr lang="en-US">
              <a:solidFill>
                <a:prstClr val="black">
                  <a:tint val="75000"/>
                </a:prstClr>
              </a:solidFill>
            </a:endParaRPr>
          </a:p>
        </p:txBody>
      </p:sp>
    </p:spTree>
    <p:extLst>
      <p:ext uri="{BB962C8B-B14F-4D97-AF65-F5344CB8AC3E}">
        <p14:creationId xmlns:p14="http://schemas.microsoft.com/office/powerpoint/2010/main" val="160989498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p:cNvSpPr>
            <a:spLocks noGrp="1"/>
          </p:cNvSpPr>
          <p:nvPr>
            <p:ph type="title"/>
          </p:nvPr>
        </p:nvSpPr>
        <p:spPr>
          <a:xfrm>
            <a:off x="623887" y="1282307"/>
            <a:ext cx="7886700" cy="2139553"/>
          </a:xfrm>
        </p:spPr>
        <p:txBody>
          <a:bodyPr anchor="b"/>
          <a:lstStyle>
            <a:lvl1pPr>
              <a:defRPr sz="4500"/>
            </a:lvl1pPr>
          </a:lstStyle>
          <a:p>
            <a:r>
              <a:rPr lang="es-ES" smtClean="0"/>
              <a:t>Haga clic para modificar el estilo de título del patrón</a:t>
            </a:r>
            <a:endParaRPr lang="en-US"/>
          </a:p>
        </p:txBody>
      </p:sp>
      <p:sp>
        <p:nvSpPr>
          <p:cNvPr id="3" name="Marcador de texto 2"/>
          <p:cNvSpPr>
            <a:spLocks noGrp="1"/>
          </p:cNvSpPr>
          <p:nvPr>
            <p:ph type="body" idx="1"/>
          </p:nvPr>
        </p:nvSpPr>
        <p:spPr>
          <a:xfrm>
            <a:off x="623887" y="3442099"/>
            <a:ext cx="7886700" cy="1125140"/>
          </a:xfrm>
        </p:spPr>
        <p:txBody>
          <a:bodyPr/>
          <a:lstStyle>
            <a:lvl1pPr marL="0" indent="0">
              <a:buNone/>
              <a:defRPr sz="1800">
                <a:solidFill>
                  <a:schemeClr val="tx1">
                    <a:tint val="75000"/>
                  </a:schemeClr>
                </a:solidFill>
              </a:defRPr>
            </a:lvl1pPr>
            <a:lvl2pPr marL="342857" indent="0">
              <a:buNone/>
              <a:defRPr sz="1500">
                <a:solidFill>
                  <a:schemeClr val="tx1">
                    <a:tint val="75000"/>
                  </a:schemeClr>
                </a:solidFill>
              </a:defRPr>
            </a:lvl2pPr>
            <a:lvl3pPr marL="685715" indent="0">
              <a:buNone/>
              <a:defRPr sz="1400">
                <a:solidFill>
                  <a:schemeClr val="tx1">
                    <a:tint val="75000"/>
                  </a:schemeClr>
                </a:solidFill>
              </a:defRPr>
            </a:lvl3pPr>
            <a:lvl4pPr marL="1028573" indent="0">
              <a:buNone/>
              <a:defRPr sz="1200">
                <a:solidFill>
                  <a:schemeClr val="tx1">
                    <a:tint val="75000"/>
                  </a:schemeClr>
                </a:solidFill>
              </a:defRPr>
            </a:lvl4pPr>
            <a:lvl5pPr marL="1371430" indent="0">
              <a:buNone/>
              <a:defRPr sz="1200">
                <a:solidFill>
                  <a:schemeClr val="tx1">
                    <a:tint val="75000"/>
                  </a:schemeClr>
                </a:solidFill>
              </a:defRPr>
            </a:lvl5pPr>
            <a:lvl6pPr marL="1714289" indent="0">
              <a:buNone/>
              <a:defRPr sz="1200">
                <a:solidFill>
                  <a:schemeClr val="tx1">
                    <a:tint val="75000"/>
                  </a:schemeClr>
                </a:solidFill>
              </a:defRPr>
            </a:lvl6pPr>
            <a:lvl7pPr marL="2057144" indent="0">
              <a:buNone/>
              <a:defRPr sz="1200">
                <a:solidFill>
                  <a:schemeClr val="tx1">
                    <a:tint val="75000"/>
                  </a:schemeClr>
                </a:solidFill>
              </a:defRPr>
            </a:lvl7pPr>
            <a:lvl8pPr marL="2400000" indent="0">
              <a:buNone/>
              <a:defRPr sz="1200">
                <a:solidFill>
                  <a:schemeClr val="tx1">
                    <a:tint val="75000"/>
                  </a:schemeClr>
                </a:solidFill>
              </a:defRPr>
            </a:lvl8pPr>
            <a:lvl9pPr marL="2742857" indent="0">
              <a:buNone/>
              <a:defRPr sz="1200">
                <a:solidFill>
                  <a:schemeClr val="tx1">
                    <a:tint val="75000"/>
                  </a:schemeClr>
                </a:solidFill>
              </a:defRPr>
            </a:lvl9pPr>
          </a:lstStyle>
          <a:p>
            <a:pPr lvl="0"/>
            <a:r>
              <a:rPr lang="es-ES" smtClean="0"/>
              <a:t>Haga clic para modificar el estilo de texto del patrón</a:t>
            </a:r>
          </a:p>
        </p:txBody>
      </p:sp>
      <p:sp>
        <p:nvSpPr>
          <p:cNvPr id="4" name="Marcador de fecha 3"/>
          <p:cNvSpPr>
            <a:spLocks noGrp="1"/>
          </p:cNvSpPr>
          <p:nvPr>
            <p:ph type="dt" sz="half" idx="10"/>
          </p:nvPr>
        </p:nvSpPr>
        <p:spPr/>
        <p:txBody>
          <a:bodyPr/>
          <a:lstStyle/>
          <a:p>
            <a:fld id="{38B4D932-240E-4531-9F52-FABDFF4A113F}" type="datetimeFigureOut">
              <a:rPr lang="en-US" smtClean="0">
                <a:solidFill>
                  <a:prstClr val="black">
                    <a:tint val="75000"/>
                  </a:prstClr>
                </a:solidFill>
              </a:rPr>
              <a:pPr/>
              <a:t>8/7/2024</a:t>
            </a:fld>
            <a:endParaRPr lang="en-US">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n-US">
              <a:solidFill>
                <a:prstClr val="black">
                  <a:tint val="75000"/>
                </a:prstClr>
              </a:solidFill>
            </a:endParaRPr>
          </a:p>
        </p:txBody>
      </p:sp>
      <p:sp>
        <p:nvSpPr>
          <p:cNvPr id="6" name="Marcador de número de diapositiva 5"/>
          <p:cNvSpPr>
            <a:spLocks noGrp="1"/>
          </p:cNvSpPr>
          <p:nvPr>
            <p:ph type="sldNum" sz="quarter" idx="12"/>
          </p:nvPr>
        </p:nvSpPr>
        <p:spPr/>
        <p:txBody>
          <a:bodyPr/>
          <a:lstStyle/>
          <a:p>
            <a:fld id="{B22A62D8-18E0-437B-A77A-F5135579B757}" type="slidenum">
              <a:rPr lang="en-US" smtClean="0">
                <a:solidFill>
                  <a:prstClr val="black">
                    <a:tint val="75000"/>
                  </a:prstClr>
                </a:solidFill>
              </a:rPr>
              <a:pPr/>
              <a:t>‹Nº›</a:t>
            </a:fld>
            <a:endParaRPr lang="en-US">
              <a:solidFill>
                <a:prstClr val="black">
                  <a:tint val="75000"/>
                </a:prstClr>
              </a:solidFill>
            </a:endParaRPr>
          </a:p>
        </p:txBody>
      </p:sp>
    </p:spTree>
    <p:extLst>
      <p:ext uri="{BB962C8B-B14F-4D97-AF65-F5344CB8AC3E}">
        <p14:creationId xmlns:p14="http://schemas.microsoft.com/office/powerpoint/2010/main" val="3520568825"/>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smtClean="0"/>
              <a:t>Haga clic para modificar el estilo de título del patrón</a:t>
            </a:r>
            <a:endParaRPr lang="en-US"/>
          </a:p>
        </p:txBody>
      </p:sp>
      <p:sp>
        <p:nvSpPr>
          <p:cNvPr id="3" name="Marcador de contenido 2"/>
          <p:cNvSpPr>
            <a:spLocks noGrp="1"/>
          </p:cNvSpPr>
          <p:nvPr>
            <p:ph sz="half" idx="1"/>
          </p:nvPr>
        </p:nvSpPr>
        <p:spPr>
          <a:xfrm>
            <a:off x="628650" y="1369218"/>
            <a:ext cx="3886200" cy="3263504"/>
          </a:xfrm>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a:p>
        </p:txBody>
      </p:sp>
      <p:sp>
        <p:nvSpPr>
          <p:cNvPr id="4" name="Marcador de contenido 3"/>
          <p:cNvSpPr>
            <a:spLocks noGrp="1"/>
          </p:cNvSpPr>
          <p:nvPr>
            <p:ph sz="half" idx="2"/>
          </p:nvPr>
        </p:nvSpPr>
        <p:spPr>
          <a:xfrm>
            <a:off x="4629150" y="1369218"/>
            <a:ext cx="3886200" cy="3263504"/>
          </a:xfrm>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a:p>
        </p:txBody>
      </p:sp>
      <p:sp>
        <p:nvSpPr>
          <p:cNvPr id="5" name="Marcador de fecha 4"/>
          <p:cNvSpPr>
            <a:spLocks noGrp="1"/>
          </p:cNvSpPr>
          <p:nvPr>
            <p:ph type="dt" sz="half" idx="10"/>
          </p:nvPr>
        </p:nvSpPr>
        <p:spPr/>
        <p:txBody>
          <a:bodyPr/>
          <a:lstStyle/>
          <a:p>
            <a:fld id="{38B4D932-240E-4531-9F52-FABDFF4A113F}" type="datetimeFigureOut">
              <a:rPr lang="en-US" smtClean="0">
                <a:solidFill>
                  <a:prstClr val="black">
                    <a:tint val="75000"/>
                  </a:prstClr>
                </a:solidFill>
              </a:rPr>
              <a:pPr/>
              <a:t>8/7/2024</a:t>
            </a:fld>
            <a:endParaRPr lang="en-US">
              <a:solidFill>
                <a:prstClr val="black">
                  <a:tint val="75000"/>
                </a:prstClr>
              </a:solidFill>
            </a:endParaRPr>
          </a:p>
        </p:txBody>
      </p:sp>
      <p:sp>
        <p:nvSpPr>
          <p:cNvPr id="6" name="Marcador de pie de página 5"/>
          <p:cNvSpPr>
            <a:spLocks noGrp="1"/>
          </p:cNvSpPr>
          <p:nvPr>
            <p:ph type="ftr" sz="quarter" idx="11"/>
          </p:nvPr>
        </p:nvSpPr>
        <p:spPr/>
        <p:txBody>
          <a:bodyPr/>
          <a:lstStyle/>
          <a:p>
            <a:endParaRPr lang="en-US">
              <a:solidFill>
                <a:prstClr val="black">
                  <a:tint val="75000"/>
                </a:prstClr>
              </a:solidFill>
            </a:endParaRPr>
          </a:p>
        </p:txBody>
      </p:sp>
      <p:sp>
        <p:nvSpPr>
          <p:cNvPr id="7" name="Marcador de número de diapositiva 6"/>
          <p:cNvSpPr>
            <a:spLocks noGrp="1"/>
          </p:cNvSpPr>
          <p:nvPr>
            <p:ph type="sldNum" sz="quarter" idx="12"/>
          </p:nvPr>
        </p:nvSpPr>
        <p:spPr/>
        <p:txBody>
          <a:bodyPr/>
          <a:lstStyle/>
          <a:p>
            <a:fld id="{B22A62D8-18E0-437B-A77A-F5135579B757}" type="slidenum">
              <a:rPr lang="en-US" smtClean="0">
                <a:solidFill>
                  <a:prstClr val="black">
                    <a:tint val="75000"/>
                  </a:prstClr>
                </a:solidFill>
              </a:rPr>
              <a:pPr/>
              <a:t>‹Nº›</a:t>
            </a:fld>
            <a:endParaRPr lang="en-US">
              <a:solidFill>
                <a:prstClr val="black">
                  <a:tint val="75000"/>
                </a:prstClr>
              </a:solidFill>
            </a:endParaRPr>
          </a:p>
        </p:txBody>
      </p:sp>
    </p:spTree>
    <p:extLst>
      <p:ext uri="{BB962C8B-B14F-4D97-AF65-F5344CB8AC3E}">
        <p14:creationId xmlns:p14="http://schemas.microsoft.com/office/powerpoint/2010/main" val="414751727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p:cNvSpPr>
            <a:spLocks noGrp="1"/>
          </p:cNvSpPr>
          <p:nvPr>
            <p:ph type="title"/>
          </p:nvPr>
        </p:nvSpPr>
        <p:spPr>
          <a:xfrm>
            <a:off x="629841" y="273844"/>
            <a:ext cx="7886700" cy="994172"/>
          </a:xfrm>
        </p:spPr>
        <p:txBody>
          <a:bodyPr/>
          <a:lstStyle/>
          <a:p>
            <a:r>
              <a:rPr lang="es-ES" smtClean="0"/>
              <a:t>Haga clic para modificar el estilo de título del patrón</a:t>
            </a:r>
            <a:endParaRPr lang="en-US"/>
          </a:p>
        </p:txBody>
      </p:sp>
      <p:sp>
        <p:nvSpPr>
          <p:cNvPr id="3" name="Marcador de texto 2"/>
          <p:cNvSpPr>
            <a:spLocks noGrp="1"/>
          </p:cNvSpPr>
          <p:nvPr>
            <p:ph type="body" idx="1"/>
          </p:nvPr>
        </p:nvSpPr>
        <p:spPr>
          <a:xfrm>
            <a:off x="629842" y="1260872"/>
            <a:ext cx="3868340" cy="617934"/>
          </a:xfrm>
        </p:spPr>
        <p:txBody>
          <a:bodyPr anchor="b"/>
          <a:lstStyle>
            <a:lvl1pPr marL="0" indent="0">
              <a:buNone/>
              <a:defRPr sz="1800" b="1"/>
            </a:lvl1pPr>
            <a:lvl2pPr marL="342857" indent="0">
              <a:buNone/>
              <a:defRPr sz="1500" b="1"/>
            </a:lvl2pPr>
            <a:lvl3pPr marL="685715" indent="0">
              <a:buNone/>
              <a:defRPr sz="1400" b="1"/>
            </a:lvl3pPr>
            <a:lvl4pPr marL="1028573" indent="0">
              <a:buNone/>
              <a:defRPr sz="1200" b="1"/>
            </a:lvl4pPr>
            <a:lvl5pPr marL="1371430" indent="0">
              <a:buNone/>
              <a:defRPr sz="1200" b="1"/>
            </a:lvl5pPr>
            <a:lvl6pPr marL="1714289" indent="0">
              <a:buNone/>
              <a:defRPr sz="1200" b="1"/>
            </a:lvl6pPr>
            <a:lvl7pPr marL="2057144" indent="0">
              <a:buNone/>
              <a:defRPr sz="1200" b="1"/>
            </a:lvl7pPr>
            <a:lvl8pPr marL="2400000" indent="0">
              <a:buNone/>
              <a:defRPr sz="1200" b="1"/>
            </a:lvl8pPr>
            <a:lvl9pPr marL="2742857" indent="0">
              <a:buNone/>
              <a:defRPr sz="1200" b="1"/>
            </a:lvl9pPr>
          </a:lstStyle>
          <a:p>
            <a:pPr lvl="0"/>
            <a:r>
              <a:rPr lang="es-ES" smtClean="0"/>
              <a:t>Haga clic para modificar el estilo de texto del patrón</a:t>
            </a:r>
          </a:p>
        </p:txBody>
      </p:sp>
      <p:sp>
        <p:nvSpPr>
          <p:cNvPr id="4" name="Marcador de contenido 3"/>
          <p:cNvSpPr>
            <a:spLocks noGrp="1"/>
          </p:cNvSpPr>
          <p:nvPr>
            <p:ph sz="half" idx="2"/>
          </p:nvPr>
        </p:nvSpPr>
        <p:spPr>
          <a:xfrm>
            <a:off x="629842" y="1878806"/>
            <a:ext cx="3868340" cy="2763441"/>
          </a:xfrm>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a:p>
        </p:txBody>
      </p:sp>
      <p:sp>
        <p:nvSpPr>
          <p:cNvPr id="5" name="Marcador de texto 4"/>
          <p:cNvSpPr>
            <a:spLocks noGrp="1"/>
          </p:cNvSpPr>
          <p:nvPr>
            <p:ph type="body" sz="quarter" idx="3"/>
          </p:nvPr>
        </p:nvSpPr>
        <p:spPr>
          <a:xfrm>
            <a:off x="4629152" y="1260872"/>
            <a:ext cx="3887391" cy="617934"/>
          </a:xfrm>
        </p:spPr>
        <p:txBody>
          <a:bodyPr anchor="b"/>
          <a:lstStyle>
            <a:lvl1pPr marL="0" indent="0">
              <a:buNone/>
              <a:defRPr sz="1800" b="1"/>
            </a:lvl1pPr>
            <a:lvl2pPr marL="342857" indent="0">
              <a:buNone/>
              <a:defRPr sz="1500" b="1"/>
            </a:lvl2pPr>
            <a:lvl3pPr marL="685715" indent="0">
              <a:buNone/>
              <a:defRPr sz="1400" b="1"/>
            </a:lvl3pPr>
            <a:lvl4pPr marL="1028573" indent="0">
              <a:buNone/>
              <a:defRPr sz="1200" b="1"/>
            </a:lvl4pPr>
            <a:lvl5pPr marL="1371430" indent="0">
              <a:buNone/>
              <a:defRPr sz="1200" b="1"/>
            </a:lvl5pPr>
            <a:lvl6pPr marL="1714289" indent="0">
              <a:buNone/>
              <a:defRPr sz="1200" b="1"/>
            </a:lvl6pPr>
            <a:lvl7pPr marL="2057144" indent="0">
              <a:buNone/>
              <a:defRPr sz="1200" b="1"/>
            </a:lvl7pPr>
            <a:lvl8pPr marL="2400000" indent="0">
              <a:buNone/>
              <a:defRPr sz="1200" b="1"/>
            </a:lvl8pPr>
            <a:lvl9pPr marL="2742857" indent="0">
              <a:buNone/>
              <a:defRPr sz="1200" b="1"/>
            </a:lvl9pPr>
          </a:lstStyle>
          <a:p>
            <a:pPr lvl="0"/>
            <a:r>
              <a:rPr lang="es-ES" smtClean="0"/>
              <a:t>Haga clic para modificar el estilo de texto del patrón</a:t>
            </a:r>
          </a:p>
        </p:txBody>
      </p:sp>
      <p:sp>
        <p:nvSpPr>
          <p:cNvPr id="6" name="Marcador de contenido 5"/>
          <p:cNvSpPr>
            <a:spLocks noGrp="1"/>
          </p:cNvSpPr>
          <p:nvPr>
            <p:ph sz="quarter" idx="4"/>
          </p:nvPr>
        </p:nvSpPr>
        <p:spPr>
          <a:xfrm>
            <a:off x="4629152" y="1878806"/>
            <a:ext cx="3887391" cy="2763441"/>
          </a:xfrm>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a:p>
        </p:txBody>
      </p:sp>
      <p:sp>
        <p:nvSpPr>
          <p:cNvPr id="7" name="Marcador de fecha 6"/>
          <p:cNvSpPr>
            <a:spLocks noGrp="1"/>
          </p:cNvSpPr>
          <p:nvPr>
            <p:ph type="dt" sz="half" idx="10"/>
          </p:nvPr>
        </p:nvSpPr>
        <p:spPr/>
        <p:txBody>
          <a:bodyPr/>
          <a:lstStyle/>
          <a:p>
            <a:fld id="{38B4D932-240E-4531-9F52-FABDFF4A113F}" type="datetimeFigureOut">
              <a:rPr lang="en-US" smtClean="0">
                <a:solidFill>
                  <a:prstClr val="black">
                    <a:tint val="75000"/>
                  </a:prstClr>
                </a:solidFill>
              </a:rPr>
              <a:pPr/>
              <a:t>8/7/2024</a:t>
            </a:fld>
            <a:endParaRPr lang="en-US">
              <a:solidFill>
                <a:prstClr val="black">
                  <a:tint val="75000"/>
                </a:prstClr>
              </a:solidFill>
            </a:endParaRPr>
          </a:p>
        </p:txBody>
      </p:sp>
      <p:sp>
        <p:nvSpPr>
          <p:cNvPr id="8" name="Marcador de pie de página 7"/>
          <p:cNvSpPr>
            <a:spLocks noGrp="1"/>
          </p:cNvSpPr>
          <p:nvPr>
            <p:ph type="ftr" sz="quarter" idx="11"/>
          </p:nvPr>
        </p:nvSpPr>
        <p:spPr/>
        <p:txBody>
          <a:bodyPr/>
          <a:lstStyle/>
          <a:p>
            <a:endParaRPr lang="en-US">
              <a:solidFill>
                <a:prstClr val="black">
                  <a:tint val="75000"/>
                </a:prstClr>
              </a:solidFill>
            </a:endParaRPr>
          </a:p>
        </p:txBody>
      </p:sp>
      <p:sp>
        <p:nvSpPr>
          <p:cNvPr id="9" name="Marcador de número de diapositiva 8"/>
          <p:cNvSpPr>
            <a:spLocks noGrp="1"/>
          </p:cNvSpPr>
          <p:nvPr>
            <p:ph type="sldNum" sz="quarter" idx="12"/>
          </p:nvPr>
        </p:nvSpPr>
        <p:spPr/>
        <p:txBody>
          <a:bodyPr/>
          <a:lstStyle/>
          <a:p>
            <a:fld id="{B22A62D8-18E0-437B-A77A-F5135579B757}" type="slidenum">
              <a:rPr lang="en-US" smtClean="0">
                <a:solidFill>
                  <a:prstClr val="black">
                    <a:tint val="75000"/>
                  </a:prstClr>
                </a:solidFill>
              </a:rPr>
              <a:pPr/>
              <a:t>‹Nº›</a:t>
            </a:fld>
            <a:endParaRPr lang="en-US">
              <a:solidFill>
                <a:prstClr val="black">
                  <a:tint val="75000"/>
                </a:prstClr>
              </a:solidFill>
            </a:endParaRPr>
          </a:p>
        </p:txBody>
      </p:sp>
    </p:spTree>
    <p:extLst>
      <p:ext uri="{BB962C8B-B14F-4D97-AF65-F5344CB8AC3E}">
        <p14:creationId xmlns:p14="http://schemas.microsoft.com/office/powerpoint/2010/main" val="158948059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sz="half" idx="1"/>
          </p:nvPr>
        </p:nvSpPr>
        <p:spPr>
          <a:xfrm>
            <a:off x="457200" y="1200157"/>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contenido"/>
          <p:cNvSpPr>
            <a:spLocks noGrp="1"/>
          </p:cNvSpPr>
          <p:nvPr>
            <p:ph sz="half" idx="2"/>
          </p:nvPr>
        </p:nvSpPr>
        <p:spPr>
          <a:xfrm>
            <a:off x="4648200" y="1200157"/>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3 Marcador de fecha"/>
          <p:cNvSpPr>
            <a:spLocks noGrp="1"/>
          </p:cNvSpPr>
          <p:nvPr>
            <p:ph type="dt" sz="half" idx="10"/>
          </p:nvPr>
        </p:nvSpPr>
        <p:spPr>
          <a:xfrm>
            <a:off x="457201" y="4767357"/>
            <a:ext cx="2133600" cy="273844"/>
          </a:xfrm>
          <a:prstGeom prst="rect">
            <a:avLst/>
          </a:prstGeom>
        </p:spPr>
        <p:txBody>
          <a:bodyPr lIns="89953" tIns="44976" rIns="89953" bIns="44976"/>
          <a:lstStyle>
            <a:lvl1pPr>
              <a:defRPr b="1"/>
            </a:lvl1pPr>
          </a:lstStyle>
          <a:p>
            <a:pPr defTabSz="897136">
              <a:defRPr/>
            </a:pPr>
            <a:fld id="{DCF4F8C0-96DF-4D32-9EF0-E5D9E280A33E}" type="datetimeFigureOut">
              <a:rPr lang="es-ES">
                <a:solidFill>
                  <a:prstClr val="black"/>
                </a:solidFill>
              </a:rPr>
              <a:pPr defTabSz="897136">
                <a:defRPr/>
              </a:pPr>
              <a:t>07/08/2024</a:t>
            </a:fld>
            <a:endParaRPr lang="es-ES">
              <a:solidFill>
                <a:prstClr val="black"/>
              </a:solidFill>
            </a:endParaRPr>
          </a:p>
        </p:txBody>
      </p:sp>
      <p:sp>
        <p:nvSpPr>
          <p:cNvPr id="6" name="4 Marcador de pie de página"/>
          <p:cNvSpPr>
            <a:spLocks noGrp="1"/>
          </p:cNvSpPr>
          <p:nvPr>
            <p:ph type="ftr" sz="quarter" idx="11"/>
          </p:nvPr>
        </p:nvSpPr>
        <p:spPr/>
        <p:txBody>
          <a:bodyPr/>
          <a:lstStyle>
            <a:lvl1pPr>
              <a:defRPr b="1"/>
            </a:lvl1pPr>
          </a:lstStyle>
          <a:p>
            <a:pPr>
              <a:defRPr/>
            </a:pPr>
            <a:endParaRPr lang="es-ES"/>
          </a:p>
        </p:txBody>
      </p:sp>
      <p:sp>
        <p:nvSpPr>
          <p:cNvPr id="7" name="5 Marcador de número de diapositiva"/>
          <p:cNvSpPr>
            <a:spLocks noGrp="1"/>
          </p:cNvSpPr>
          <p:nvPr>
            <p:ph type="sldNum" sz="quarter" idx="12"/>
          </p:nvPr>
        </p:nvSpPr>
        <p:spPr/>
        <p:txBody>
          <a:bodyPr/>
          <a:lstStyle>
            <a:lvl1pPr>
              <a:defRPr b="1"/>
            </a:lvl1pPr>
          </a:lstStyle>
          <a:p>
            <a:pPr>
              <a:defRPr/>
            </a:pPr>
            <a:fld id="{7ED5A0C4-6D4F-4B40-A8F0-7358F27BF614}" type="slidenum">
              <a:rPr lang="es-ES"/>
              <a:pPr>
                <a:defRPr/>
              </a:pPr>
              <a:t>‹Nº›</a:t>
            </a:fld>
            <a:endParaRPr lang="es-ES"/>
          </a:p>
        </p:txBody>
      </p:sp>
    </p:spTree>
    <p:extLst>
      <p:ext uri="{BB962C8B-B14F-4D97-AF65-F5344CB8AC3E}">
        <p14:creationId xmlns:p14="http://schemas.microsoft.com/office/powerpoint/2010/main" val="223148826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smtClean="0"/>
              <a:t>Haga clic para modificar el estilo de título del patrón</a:t>
            </a:r>
            <a:endParaRPr lang="en-US"/>
          </a:p>
        </p:txBody>
      </p:sp>
      <p:sp>
        <p:nvSpPr>
          <p:cNvPr id="3" name="Marcador de fecha 2"/>
          <p:cNvSpPr>
            <a:spLocks noGrp="1"/>
          </p:cNvSpPr>
          <p:nvPr>
            <p:ph type="dt" sz="half" idx="10"/>
          </p:nvPr>
        </p:nvSpPr>
        <p:spPr/>
        <p:txBody>
          <a:bodyPr/>
          <a:lstStyle/>
          <a:p>
            <a:fld id="{38B4D932-240E-4531-9F52-FABDFF4A113F}" type="datetimeFigureOut">
              <a:rPr lang="en-US" smtClean="0">
                <a:solidFill>
                  <a:prstClr val="black">
                    <a:tint val="75000"/>
                  </a:prstClr>
                </a:solidFill>
              </a:rPr>
              <a:pPr/>
              <a:t>8/7/2024</a:t>
            </a:fld>
            <a:endParaRPr lang="en-US">
              <a:solidFill>
                <a:prstClr val="black">
                  <a:tint val="75000"/>
                </a:prstClr>
              </a:solidFill>
            </a:endParaRPr>
          </a:p>
        </p:txBody>
      </p:sp>
      <p:sp>
        <p:nvSpPr>
          <p:cNvPr id="4" name="Marcador de pie de página 3"/>
          <p:cNvSpPr>
            <a:spLocks noGrp="1"/>
          </p:cNvSpPr>
          <p:nvPr>
            <p:ph type="ftr" sz="quarter" idx="11"/>
          </p:nvPr>
        </p:nvSpPr>
        <p:spPr/>
        <p:txBody>
          <a:bodyPr/>
          <a:lstStyle/>
          <a:p>
            <a:endParaRPr lang="en-US">
              <a:solidFill>
                <a:prstClr val="black">
                  <a:tint val="75000"/>
                </a:prstClr>
              </a:solidFill>
            </a:endParaRPr>
          </a:p>
        </p:txBody>
      </p:sp>
      <p:sp>
        <p:nvSpPr>
          <p:cNvPr id="5" name="Marcador de número de diapositiva 4"/>
          <p:cNvSpPr>
            <a:spLocks noGrp="1"/>
          </p:cNvSpPr>
          <p:nvPr>
            <p:ph type="sldNum" sz="quarter" idx="12"/>
          </p:nvPr>
        </p:nvSpPr>
        <p:spPr/>
        <p:txBody>
          <a:bodyPr/>
          <a:lstStyle/>
          <a:p>
            <a:fld id="{B22A62D8-18E0-437B-A77A-F5135579B757}" type="slidenum">
              <a:rPr lang="en-US" smtClean="0">
                <a:solidFill>
                  <a:prstClr val="black">
                    <a:tint val="75000"/>
                  </a:prstClr>
                </a:solidFill>
              </a:rPr>
              <a:pPr/>
              <a:t>‹Nº›</a:t>
            </a:fld>
            <a:endParaRPr lang="en-US">
              <a:solidFill>
                <a:prstClr val="black">
                  <a:tint val="75000"/>
                </a:prstClr>
              </a:solidFill>
            </a:endParaRPr>
          </a:p>
        </p:txBody>
      </p:sp>
    </p:spTree>
    <p:extLst>
      <p:ext uri="{BB962C8B-B14F-4D97-AF65-F5344CB8AC3E}">
        <p14:creationId xmlns:p14="http://schemas.microsoft.com/office/powerpoint/2010/main" val="574447181"/>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p:cNvSpPr>
            <a:spLocks noGrp="1"/>
          </p:cNvSpPr>
          <p:nvPr>
            <p:ph type="dt" sz="half" idx="10"/>
          </p:nvPr>
        </p:nvSpPr>
        <p:spPr/>
        <p:txBody>
          <a:bodyPr/>
          <a:lstStyle/>
          <a:p>
            <a:fld id="{38B4D932-240E-4531-9F52-FABDFF4A113F}" type="datetimeFigureOut">
              <a:rPr lang="en-US" smtClean="0">
                <a:solidFill>
                  <a:prstClr val="black">
                    <a:tint val="75000"/>
                  </a:prstClr>
                </a:solidFill>
              </a:rPr>
              <a:pPr/>
              <a:t>8/7/2024</a:t>
            </a:fld>
            <a:endParaRPr lang="en-US">
              <a:solidFill>
                <a:prstClr val="black">
                  <a:tint val="75000"/>
                </a:prstClr>
              </a:solidFill>
            </a:endParaRPr>
          </a:p>
        </p:txBody>
      </p:sp>
      <p:sp>
        <p:nvSpPr>
          <p:cNvPr id="3" name="Marcador de pie de página 2"/>
          <p:cNvSpPr>
            <a:spLocks noGrp="1"/>
          </p:cNvSpPr>
          <p:nvPr>
            <p:ph type="ftr" sz="quarter" idx="11"/>
          </p:nvPr>
        </p:nvSpPr>
        <p:spPr/>
        <p:txBody>
          <a:bodyPr/>
          <a:lstStyle/>
          <a:p>
            <a:endParaRPr lang="en-US">
              <a:solidFill>
                <a:prstClr val="black">
                  <a:tint val="75000"/>
                </a:prstClr>
              </a:solidFill>
            </a:endParaRPr>
          </a:p>
        </p:txBody>
      </p:sp>
      <p:sp>
        <p:nvSpPr>
          <p:cNvPr id="4" name="Marcador de número de diapositiva 3"/>
          <p:cNvSpPr>
            <a:spLocks noGrp="1"/>
          </p:cNvSpPr>
          <p:nvPr>
            <p:ph type="sldNum" sz="quarter" idx="12"/>
          </p:nvPr>
        </p:nvSpPr>
        <p:spPr/>
        <p:txBody>
          <a:bodyPr/>
          <a:lstStyle/>
          <a:p>
            <a:fld id="{B22A62D8-18E0-437B-A77A-F5135579B757}" type="slidenum">
              <a:rPr lang="en-US" smtClean="0">
                <a:solidFill>
                  <a:prstClr val="black">
                    <a:tint val="75000"/>
                  </a:prstClr>
                </a:solidFill>
              </a:rPr>
              <a:pPr/>
              <a:t>‹Nº›</a:t>
            </a:fld>
            <a:endParaRPr lang="en-US">
              <a:solidFill>
                <a:prstClr val="black">
                  <a:tint val="75000"/>
                </a:prstClr>
              </a:solidFill>
            </a:endParaRPr>
          </a:p>
        </p:txBody>
      </p:sp>
    </p:spTree>
    <p:extLst>
      <p:ext uri="{BB962C8B-B14F-4D97-AF65-F5344CB8AC3E}">
        <p14:creationId xmlns:p14="http://schemas.microsoft.com/office/powerpoint/2010/main" val="395572818"/>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629841" y="342900"/>
            <a:ext cx="2949178" cy="1200150"/>
          </a:xfrm>
        </p:spPr>
        <p:txBody>
          <a:bodyPr anchor="b"/>
          <a:lstStyle>
            <a:lvl1pPr>
              <a:defRPr sz="2400"/>
            </a:lvl1pPr>
          </a:lstStyle>
          <a:p>
            <a:r>
              <a:rPr lang="es-ES" smtClean="0"/>
              <a:t>Haga clic para modificar el estilo de título del patrón</a:t>
            </a:r>
            <a:endParaRPr lang="en-US"/>
          </a:p>
        </p:txBody>
      </p:sp>
      <p:sp>
        <p:nvSpPr>
          <p:cNvPr id="3" name="Marcador de contenido 2"/>
          <p:cNvSpPr>
            <a:spLocks noGrp="1"/>
          </p:cNvSpPr>
          <p:nvPr>
            <p:ph idx="1"/>
          </p:nvPr>
        </p:nvSpPr>
        <p:spPr>
          <a:xfrm>
            <a:off x="3887391" y="740570"/>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a:p>
        </p:txBody>
      </p:sp>
      <p:sp>
        <p:nvSpPr>
          <p:cNvPr id="4" name="Marcador de texto 3"/>
          <p:cNvSpPr>
            <a:spLocks noGrp="1"/>
          </p:cNvSpPr>
          <p:nvPr>
            <p:ph type="body" sz="half" idx="2"/>
          </p:nvPr>
        </p:nvSpPr>
        <p:spPr>
          <a:xfrm>
            <a:off x="629841" y="1543051"/>
            <a:ext cx="2949178" cy="2858691"/>
          </a:xfrm>
        </p:spPr>
        <p:txBody>
          <a:bodyPr/>
          <a:lstStyle>
            <a:lvl1pPr marL="0" indent="0">
              <a:buNone/>
              <a:defRPr sz="1200"/>
            </a:lvl1pPr>
            <a:lvl2pPr marL="342857" indent="0">
              <a:buNone/>
              <a:defRPr sz="1100"/>
            </a:lvl2pPr>
            <a:lvl3pPr marL="685715" indent="0">
              <a:buNone/>
              <a:defRPr sz="900"/>
            </a:lvl3pPr>
            <a:lvl4pPr marL="1028573" indent="0">
              <a:buNone/>
              <a:defRPr sz="800"/>
            </a:lvl4pPr>
            <a:lvl5pPr marL="1371430" indent="0">
              <a:buNone/>
              <a:defRPr sz="800"/>
            </a:lvl5pPr>
            <a:lvl6pPr marL="1714289" indent="0">
              <a:buNone/>
              <a:defRPr sz="800"/>
            </a:lvl6pPr>
            <a:lvl7pPr marL="2057144" indent="0">
              <a:buNone/>
              <a:defRPr sz="800"/>
            </a:lvl7pPr>
            <a:lvl8pPr marL="2400000" indent="0">
              <a:buNone/>
              <a:defRPr sz="800"/>
            </a:lvl8pPr>
            <a:lvl9pPr marL="2742857" indent="0">
              <a:buNone/>
              <a:defRPr sz="800"/>
            </a:lvl9pPr>
          </a:lstStyle>
          <a:p>
            <a:pPr lvl="0"/>
            <a:r>
              <a:rPr lang="es-ES" smtClean="0"/>
              <a:t>Haga clic para modificar el estilo de texto del patrón</a:t>
            </a:r>
          </a:p>
        </p:txBody>
      </p:sp>
      <p:sp>
        <p:nvSpPr>
          <p:cNvPr id="5" name="Marcador de fecha 4"/>
          <p:cNvSpPr>
            <a:spLocks noGrp="1"/>
          </p:cNvSpPr>
          <p:nvPr>
            <p:ph type="dt" sz="half" idx="10"/>
          </p:nvPr>
        </p:nvSpPr>
        <p:spPr/>
        <p:txBody>
          <a:bodyPr/>
          <a:lstStyle/>
          <a:p>
            <a:fld id="{38B4D932-240E-4531-9F52-FABDFF4A113F}" type="datetimeFigureOut">
              <a:rPr lang="en-US" smtClean="0">
                <a:solidFill>
                  <a:prstClr val="black">
                    <a:tint val="75000"/>
                  </a:prstClr>
                </a:solidFill>
              </a:rPr>
              <a:pPr/>
              <a:t>8/7/2024</a:t>
            </a:fld>
            <a:endParaRPr lang="en-US">
              <a:solidFill>
                <a:prstClr val="black">
                  <a:tint val="75000"/>
                </a:prstClr>
              </a:solidFill>
            </a:endParaRPr>
          </a:p>
        </p:txBody>
      </p:sp>
      <p:sp>
        <p:nvSpPr>
          <p:cNvPr id="6" name="Marcador de pie de página 5"/>
          <p:cNvSpPr>
            <a:spLocks noGrp="1"/>
          </p:cNvSpPr>
          <p:nvPr>
            <p:ph type="ftr" sz="quarter" idx="11"/>
          </p:nvPr>
        </p:nvSpPr>
        <p:spPr/>
        <p:txBody>
          <a:bodyPr/>
          <a:lstStyle/>
          <a:p>
            <a:endParaRPr lang="en-US">
              <a:solidFill>
                <a:prstClr val="black">
                  <a:tint val="75000"/>
                </a:prstClr>
              </a:solidFill>
            </a:endParaRPr>
          </a:p>
        </p:txBody>
      </p:sp>
      <p:sp>
        <p:nvSpPr>
          <p:cNvPr id="7" name="Marcador de número de diapositiva 6"/>
          <p:cNvSpPr>
            <a:spLocks noGrp="1"/>
          </p:cNvSpPr>
          <p:nvPr>
            <p:ph type="sldNum" sz="quarter" idx="12"/>
          </p:nvPr>
        </p:nvSpPr>
        <p:spPr/>
        <p:txBody>
          <a:bodyPr/>
          <a:lstStyle/>
          <a:p>
            <a:fld id="{B22A62D8-18E0-437B-A77A-F5135579B757}" type="slidenum">
              <a:rPr lang="en-US" smtClean="0">
                <a:solidFill>
                  <a:prstClr val="black">
                    <a:tint val="75000"/>
                  </a:prstClr>
                </a:solidFill>
              </a:rPr>
              <a:pPr/>
              <a:t>‹Nº›</a:t>
            </a:fld>
            <a:endParaRPr lang="en-US">
              <a:solidFill>
                <a:prstClr val="black">
                  <a:tint val="75000"/>
                </a:prstClr>
              </a:solidFill>
            </a:endParaRPr>
          </a:p>
        </p:txBody>
      </p:sp>
    </p:spTree>
    <p:extLst>
      <p:ext uri="{BB962C8B-B14F-4D97-AF65-F5344CB8AC3E}">
        <p14:creationId xmlns:p14="http://schemas.microsoft.com/office/powerpoint/2010/main" val="1770596512"/>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629841" y="342900"/>
            <a:ext cx="2949178" cy="1200150"/>
          </a:xfrm>
        </p:spPr>
        <p:txBody>
          <a:bodyPr anchor="b"/>
          <a:lstStyle>
            <a:lvl1pPr>
              <a:defRPr sz="2400"/>
            </a:lvl1pPr>
          </a:lstStyle>
          <a:p>
            <a:r>
              <a:rPr lang="es-ES" smtClean="0"/>
              <a:t>Haga clic para modificar el estilo de título del patrón</a:t>
            </a:r>
            <a:endParaRPr lang="en-US"/>
          </a:p>
        </p:txBody>
      </p:sp>
      <p:sp>
        <p:nvSpPr>
          <p:cNvPr id="3" name="Marcador de posición de imagen 2"/>
          <p:cNvSpPr>
            <a:spLocks noGrp="1"/>
          </p:cNvSpPr>
          <p:nvPr>
            <p:ph type="pic" idx="1"/>
          </p:nvPr>
        </p:nvSpPr>
        <p:spPr>
          <a:xfrm>
            <a:off x="3887391" y="740570"/>
            <a:ext cx="4629150" cy="3655219"/>
          </a:xfrm>
        </p:spPr>
        <p:txBody>
          <a:bodyPr/>
          <a:lstStyle>
            <a:lvl1pPr marL="0" indent="0">
              <a:buNone/>
              <a:defRPr sz="2400"/>
            </a:lvl1pPr>
            <a:lvl2pPr marL="342857" indent="0">
              <a:buNone/>
              <a:defRPr sz="2100"/>
            </a:lvl2pPr>
            <a:lvl3pPr marL="685715" indent="0">
              <a:buNone/>
              <a:defRPr sz="1800"/>
            </a:lvl3pPr>
            <a:lvl4pPr marL="1028573" indent="0">
              <a:buNone/>
              <a:defRPr sz="1500"/>
            </a:lvl4pPr>
            <a:lvl5pPr marL="1371430" indent="0">
              <a:buNone/>
              <a:defRPr sz="1500"/>
            </a:lvl5pPr>
            <a:lvl6pPr marL="1714289" indent="0">
              <a:buNone/>
              <a:defRPr sz="1500"/>
            </a:lvl6pPr>
            <a:lvl7pPr marL="2057144" indent="0">
              <a:buNone/>
              <a:defRPr sz="1500"/>
            </a:lvl7pPr>
            <a:lvl8pPr marL="2400000" indent="0">
              <a:buNone/>
              <a:defRPr sz="1500"/>
            </a:lvl8pPr>
            <a:lvl9pPr marL="2742857" indent="0">
              <a:buNone/>
              <a:defRPr sz="1500"/>
            </a:lvl9pPr>
          </a:lstStyle>
          <a:p>
            <a:endParaRPr lang="en-US"/>
          </a:p>
        </p:txBody>
      </p:sp>
      <p:sp>
        <p:nvSpPr>
          <p:cNvPr id="4" name="Marcador de texto 3"/>
          <p:cNvSpPr>
            <a:spLocks noGrp="1"/>
          </p:cNvSpPr>
          <p:nvPr>
            <p:ph type="body" sz="half" idx="2"/>
          </p:nvPr>
        </p:nvSpPr>
        <p:spPr>
          <a:xfrm>
            <a:off x="629841" y="1543051"/>
            <a:ext cx="2949178" cy="2858691"/>
          </a:xfrm>
        </p:spPr>
        <p:txBody>
          <a:bodyPr/>
          <a:lstStyle>
            <a:lvl1pPr marL="0" indent="0">
              <a:buNone/>
              <a:defRPr sz="1200"/>
            </a:lvl1pPr>
            <a:lvl2pPr marL="342857" indent="0">
              <a:buNone/>
              <a:defRPr sz="1100"/>
            </a:lvl2pPr>
            <a:lvl3pPr marL="685715" indent="0">
              <a:buNone/>
              <a:defRPr sz="900"/>
            </a:lvl3pPr>
            <a:lvl4pPr marL="1028573" indent="0">
              <a:buNone/>
              <a:defRPr sz="800"/>
            </a:lvl4pPr>
            <a:lvl5pPr marL="1371430" indent="0">
              <a:buNone/>
              <a:defRPr sz="800"/>
            </a:lvl5pPr>
            <a:lvl6pPr marL="1714289" indent="0">
              <a:buNone/>
              <a:defRPr sz="800"/>
            </a:lvl6pPr>
            <a:lvl7pPr marL="2057144" indent="0">
              <a:buNone/>
              <a:defRPr sz="800"/>
            </a:lvl7pPr>
            <a:lvl8pPr marL="2400000" indent="0">
              <a:buNone/>
              <a:defRPr sz="800"/>
            </a:lvl8pPr>
            <a:lvl9pPr marL="2742857" indent="0">
              <a:buNone/>
              <a:defRPr sz="800"/>
            </a:lvl9pPr>
          </a:lstStyle>
          <a:p>
            <a:pPr lvl="0"/>
            <a:r>
              <a:rPr lang="es-ES" smtClean="0"/>
              <a:t>Haga clic para modificar el estilo de texto del patrón</a:t>
            </a:r>
          </a:p>
        </p:txBody>
      </p:sp>
      <p:sp>
        <p:nvSpPr>
          <p:cNvPr id="5" name="Marcador de fecha 4"/>
          <p:cNvSpPr>
            <a:spLocks noGrp="1"/>
          </p:cNvSpPr>
          <p:nvPr>
            <p:ph type="dt" sz="half" idx="10"/>
          </p:nvPr>
        </p:nvSpPr>
        <p:spPr/>
        <p:txBody>
          <a:bodyPr/>
          <a:lstStyle/>
          <a:p>
            <a:fld id="{38B4D932-240E-4531-9F52-FABDFF4A113F}" type="datetimeFigureOut">
              <a:rPr lang="en-US" smtClean="0">
                <a:solidFill>
                  <a:prstClr val="black">
                    <a:tint val="75000"/>
                  </a:prstClr>
                </a:solidFill>
              </a:rPr>
              <a:pPr/>
              <a:t>8/7/2024</a:t>
            </a:fld>
            <a:endParaRPr lang="en-US">
              <a:solidFill>
                <a:prstClr val="black">
                  <a:tint val="75000"/>
                </a:prstClr>
              </a:solidFill>
            </a:endParaRPr>
          </a:p>
        </p:txBody>
      </p:sp>
      <p:sp>
        <p:nvSpPr>
          <p:cNvPr id="6" name="Marcador de pie de página 5"/>
          <p:cNvSpPr>
            <a:spLocks noGrp="1"/>
          </p:cNvSpPr>
          <p:nvPr>
            <p:ph type="ftr" sz="quarter" idx="11"/>
          </p:nvPr>
        </p:nvSpPr>
        <p:spPr/>
        <p:txBody>
          <a:bodyPr/>
          <a:lstStyle/>
          <a:p>
            <a:endParaRPr lang="en-US">
              <a:solidFill>
                <a:prstClr val="black">
                  <a:tint val="75000"/>
                </a:prstClr>
              </a:solidFill>
            </a:endParaRPr>
          </a:p>
        </p:txBody>
      </p:sp>
      <p:sp>
        <p:nvSpPr>
          <p:cNvPr id="7" name="Marcador de número de diapositiva 6"/>
          <p:cNvSpPr>
            <a:spLocks noGrp="1"/>
          </p:cNvSpPr>
          <p:nvPr>
            <p:ph type="sldNum" sz="quarter" idx="12"/>
          </p:nvPr>
        </p:nvSpPr>
        <p:spPr/>
        <p:txBody>
          <a:bodyPr/>
          <a:lstStyle/>
          <a:p>
            <a:fld id="{B22A62D8-18E0-437B-A77A-F5135579B757}" type="slidenum">
              <a:rPr lang="en-US" smtClean="0">
                <a:solidFill>
                  <a:prstClr val="black">
                    <a:tint val="75000"/>
                  </a:prstClr>
                </a:solidFill>
              </a:rPr>
              <a:pPr/>
              <a:t>‹Nº›</a:t>
            </a:fld>
            <a:endParaRPr lang="en-US">
              <a:solidFill>
                <a:prstClr val="black">
                  <a:tint val="75000"/>
                </a:prstClr>
              </a:solidFill>
            </a:endParaRPr>
          </a:p>
        </p:txBody>
      </p:sp>
    </p:spTree>
    <p:extLst>
      <p:ext uri="{BB962C8B-B14F-4D97-AF65-F5344CB8AC3E}">
        <p14:creationId xmlns:p14="http://schemas.microsoft.com/office/powerpoint/2010/main" val="413652906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smtClean="0"/>
              <a:t>Haga clic para modificar el estilo de título del patrón</a:t>
            </a:r>
            <a:endParaRPr lang="en-US"/>
          </a:p>
        </p:txBody>
      </p:sp>
      <p:sp>
        <p:nvSpPr>
          <p:cNvPr id="3" name="Marcador de texto vertical 2"/>
          <p:cNvSpPr>
            <a:spLocks noGrp="1"/>
          </p:cNvSpPr>
          <p:nvPr>
            <p:ph type="body" orient="vert" idx="1"/>
          </p:nvPr>
        </p:nvSpPr>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a:p>
        </p:txBody>
      </p:sp>
      <p:sp>
        <p:nvSpPr>
          <p:cNvPr id="4" name="Marcador de fecha 3"/>
          <p:cNvSpPr>
            <a:spLocks noGrp="1"/>
          </p:cNvSpPr>
          <p:nvPr>
            <p:ph type="dt" sz="half" idx="10"/>
          </p:nvPr>
        </p:nvSpPr>
        <p:spPr/>
        <p:txBody>
          <a:bodyPr/>
          <a:lstStyle/>
          <a:p>
            <a:fld id="{38B4D932-240E-4531-9F52-FABDFF4A113F}" type="datetimeFigureOut">
              <a:rPr lang="en-US" smtClean="0">
                <a:solidFill>
                  <a:prstClr val="black">
                    <a:tint val="75000"/>
                  </a:prstClr>
                </a:solidFill>
              </a:rPr>
              <a:pPr/>
              <a:t>8/7/2024</a:t>
            </a:fld>
            <a:endParaRPr lang="en-US">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n-US">
              <a:solidFill>
                <a:prstClr val="black">
                  <a:tint val="75000"/>
                </a:prstClr>
              </a:solidFill>
            </a:endParaRPr>
          </a:p>
        </p:txBody>
      </p:sp>
      <p:sp>
        <p:nvSpPr>
          <p:cNvPr id="6" name="Marcador de número de diapositiva 5"/>
          <p:cNvSpPr>
            <a:spLocks noGrp="1"/>
          </p:cNvSpPr>
          <p:nvPr>
            <p:ph type="sldNum" sz="quarter" idx="12"/>
          </p:nvPr>
        </p:nvSpPr>
        <p:spPr/>
        <p:txBody>
          <a:bodyPr/>
          <a:lstStyle/>
          <a:p>
            <a:fld id="{B22A62D8-18E0-437B-A77A-F5135579B757}" type="slidenum">
              <a:rPr lang="en-US" smtClean="0">
                <a:solidFill>
                  <a:prstClr val="black">
                    <a:tint val="75000"/>
                  </a:prstClr>
                </a:solidFill>
              </a:rPr>
              <a:pPr/>
              <a:t>‹Nº›</a:t>
            </a:fld>
            <a:endParaRPr lang="en-US">
              <a:solidFill>
                <a:prstClr val="black">
                  <a:tint val="75000"/>
                </a:prstClr>
              </a:solidFill>
            </a:endParaRPr>
          </a:p>
        </p:txBody>
      </p:sp>
    </p:spTree>
    <p:extLst>
      <p:ext uri="{BB962C8B-B14F-4D97-AF65-F5344CB8AC3E}">
        <p14:creationId xmlns:p14="http://schemas.microsoft.com/office/powerpoint/2010/main" val="42332971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6543676" y="273843"/>
            <a:ext cx="1971675" cy="4358879"/>
          </a:xfrm>
        </p:spPr>
        <p:txBody>
          <a:bodyPr vert="eaVert"/>
          <a:lstStyle/>
          <a:p>
            <a:r>
              <a:rPr lang="es-ES" smtClean="0"/>
              <a:t>Haga clic para modificar el estilo de título del patrón</a:t>
            </a:r>
            <a:endParaRPr lang="en-US"/>
          </a:p>
        </p:txBody>
      </p:sp>
      <p:sp>
        <p:nvSpPr>
          <p:cNvPr id="3" name="Marcador de texto vertical 2"/>
          <p:cNvSpPr>
            <a:spLocks noGrp="1"/>
          </p:cNvSpPr>
          <p:nvPr>
            <p:ph type="body" orient="vert" idx="1"/>
          </p:nvPr>
        </p:nvSpPr>
        <p:spPr>
          <a:xfrm>
            <a:off x="628652" y="273843"/>
            <a:ext cx="5800725" cy="4358879"/>
          </a:xfr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a:p>
        </p:txBody>
      </p:sp>
      <p:sp>
        <p:nvSpPr>
          <p:cNvPr id="4" name="Marcador de fecha 3"/>
          <p:cNvSpPr>
            <a:spLocks noGrp="1"/>
          </p:cNvSpPr>
          <p:nvPr>
            <p:ph type="dt" sz="half" idx="10"/>
          </p:nvPr>
        </p:nvSpPr>
        <p:spPr/>
        <p:txBody>
          <a:bodyPr/>
          <a:lstStyle/>
          <a:p>
            <a:fld id="{38B4D932-240E-4531-9F52-FABDFF4A113F}" type="datetimeFigureOut">
              <a:rPr lang="en-US" smtClean="0">
                <a:solidFill>
                  <a:prstClr val="black">
                    <a:tint val="75000"/>
                  </a:prstClr>
                </a:solidFill>
              </a:rPr>
              <a:pPr/>
              <a:t>8/7/2024</a:t>
            </a:fld>
            <a:endParaRPr lang="en-US">
              <a:solidFill>
                <a:prstClr val="black">
                  <a:tint val="75000"/>
                </a:prstClr>
              </a:solidFill>
            </a:endParaRPr>
          </a:p>
        </p:txBody>
      </p:sp>
      <p:sp>
        <p:nvSpPr>
          <p:cNvPr id="5" name="Marcador de pie de página 4"/>
          <p:cNvSpPr>
            <a:spLocks noGrp="1"/>
          </p:cNvSpPr>
          <p:nvPr>
            <p:ph type="ftr" sz="quarter" idx="11"/>
          </p:nvPr>
        </p:nvSpPr>
        <p:spPr/>
        <p:txBody>
          <a:bodyPr/>
          <a:lstStyle/>
          <a:p>
            <a:endParaRPr lang="en-US">
              <a:solidFill>
                <a:prstClr val="black">
                  <a:tint val="75000"/>
                </a:prstClr>
              </a:solidFill>
            </a:endParaRPr>
          </a:p>
        </p:txBody>
      </p:sp>
      <p:sp>
        <p:nvSpPr>
          <p:cNvPr id="6" name="Marcador de número de diapositiva 5"/>
          <p:cNvSpPr>
            <a:spLocks noGrp="1"/>
          </p:cNvSpPr>
          <p:nvPr>
            <p:ph type="sldNum" sz="quarter" idx="12"/>
          </p:nvPr>
        </p:nvSpPr>
        <p:spPr/>
        <p:txBody>
          <a:bodyPr/>
          <a:lstStyle/>
          <a:p>
            <a:fld id="{B22A62D8-18E0-437B-A77A-F5135579B757}" type="slidenum">
              <a:rPr lang="en-US" smtClean="0">
                <a:solidFill>
                  <a:prstClr val="black">
                    <a:tint val="75000"/>
                  </a:prstClr>
                </a:solidFill>
              </a:rPr>
              <a:pPr/>
              <a:t>‹Nº›</a:t>
            </a:fld>
            <a:endParaRPr lang="en-US">
              <a:solidFill>
                <a:prstClr val="black">
                  <a:tint val="75000"/>
                </a:prstClr>
              </a:solidFill>
            </a:endParaRPr>
          </a:p>
        </p:txBody>
      </p:sp>
    </p:spTree>
    <p:extLst>
      <p:ext uri="{BB962C8B-B14F-4D97-AF65-F5344CB8AC3E}">
        <p14:creationId xmlns:p14="http://schemas.microsoft.com/office/powerpoint/2010/main" val="3578033154"/>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type="title" preserve="1">
  <p:cSld name="Diapositiva de título">
    <p:spTree>
      <p:nvGrpSpPr>
        <p:cNvPr id="1" name=""/>
        <p:cNvGrpSpPr/>
        <p:nvPr/>
      </p:nvGrpSpPr>
      <p:grpSpPr>
        <a:xfrm>
          <a:off x="0" y="0"/>
          <a:ext cx="0" cy="0"/>
          <a:chOff x="0" y="0"/>
          <a:chExt cx="0" cy="0"/>
        </a:xfrm>
      </p:grpSpPr>
      <p:sp>
        <p:nvSpPr>
          <p:cNvPr id="23" name="22 Rectángulo"/>
          <p:cNvSpPr/>
          <p:nvPr/>
        </p:nvSpPr>
        <p:spPr>
          <a:xfrm flipV="1">
            <a:off x="5410223" y="2857551"/>
            <a:ext cx="3733819" cy="68315"/>
          </a:xfrm>
          <a:prstGeom prst="rect">
            <a:avLst/>
          </a:prstGeom>
          <a:solidFill>
            <a:schemeClr val="accent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18" tIns="45659" rIns="91318" bIns="45659" anchor="ctr"/>
          <a:lstStyle/>
          <a:p>
            <a:pPr algn="ctr" defTabSz="913028"/>
            <a:endParaRPr lang="en-US">
              <a:solidFill>
                <a:prstClr val="white"/>
              </a:solidFill>
            </a:endParaRPr>
          </a:p>
        </p:txBody>
      </p:sp>
      <p:sp>
        <p:nvSpPr>
          <p:cNvPr id="24" name="23 Rectángulo"/>
          <p:cNvSpPr/>
          <p:nvPr/>
        </p:nvSpPr>
        <p:spPr>
          <a:xfrm flipV="1">
            <a:off x="5410265" y="2922758"/>
            <a:ext cx="3733801" cy="144018"/>
          </a:xfrm>
          <a:prstGeom prst="rect">
            <a:avLst/>
          </a:prstGeom>
          <a:solidFill>
            <a:schemeClr val="accent2">
              <a:alpha val="5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18" tIns="45659" rIns="91318" bIns="45659" anchor="ctr"/>
          <a:lstStyle/>
          <a:p>
            <a:pPr algn="ctr" defTabSz="913028"/>
            <a:endParaRPr lang="en-US">
              <a:solidFill>
                <a:prstClr val="white"/>
              </a:solidFill>
            </a:endParaRPr>
          </a:p>
        </p:txBody>
      </p:sp>
      <p:sp>
        <p:nvSpPr>
          <p:cNvPr id="25" name="24 Rectángulo"/>
          <p:cNvSpPr/>
          <p:nvPr/>
        </p:nvSpPr>
        <p:spPr>
          <a:xfrm flipV="1">
            <a:off x="5410265" y="3086375"/>
            <a:ext cx="3733801" cy="6858"/>
          </a:xfrm>
          <a:prstGeom prst="rect">
            <a:avLst/>
          </a:prstGeom>
          <a:solidFill>
            <a:schemeClr val="accent2">
              <a:alpha val="65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18" tIns="45659" rIns="91318" bIns="45659" anchor="ctr"/>
          <a:lstStyle/>
          <a:p>
            <a:pPr algn="ctr" defTabSz="913028"/>
            <a:endParaRPr lang="en-US">
              <a:solidFill>
                <a:prstClr val="white"/>
              </a:solidFill>
            </a:endParaRPr>
          </a:p>
        </p:txBody>
      </p:sp>
      <p:sp>
        <p:nvSpPr>
          <p:cNvPr id="26" name="25 Rectángulo"/>
          <p:cNvSpPr/>
          <p:nvPr/>
        </p:nvSpPr>
        <p:spPr>
          <a:xfrm flipV="1">
            <a:off x="5410200" y="3123302"/>
            <a:ext cx="1965960" cy="13716"/>
          </a:xfrm>
          <a:prstGeom prst="rect">
            <a:avLst/>
          </a:prstGeom>
          <a:solidFill>
            <a:schemeClr val="accent2">
              <a:alpha val="6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18" tIns="45659" rIns="91318" bIns="45659" anchor="ctr"/>
          <a:lstStyle/>
          <a:p>
            <a:pPr algn="ctr" defTabSz="913028"/>
            <a:endParaRPr lang="en-US">
              <a:solidFill>
                <a:prstClr val="white"/>
              </a:solidFill>
            </a:endParaRPr>
          </a:p>
        </p:txBody>
      </p:sp>
      <p:sp>
        <p:nvSpPr>
          <p:cNvPr id="27" name="26 Rectángulo"/>
          <p:cNvSpPr/>
          <p:nvPr/>
        </p:nvSpPr>
        <p:spPr>
          <a:xfrm flipV="1">
            <a:off x="5410200" y="3149679"/>
            <a:ext cx="1965960" cy="6858"/>
          </a:xfrm>
          <a:prstGeom prst="rect">
            <a:avLst/>
          </a:prstGeom>
          <a:solidFill>
            <a:schemeClr val="accent2">
              <a:alpha val="65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18" tIns="45659" rIns="91318" bIns="45659" anchor="ctr"/>
          <a:lstStyle/>
          <a:p>
            <a:pPr algn="ctr" defTabSz="913028"/>
            <a:endParaRPr lang="en-US">
              <a:solidFill>
                <a:prstClr val="white"/>
              </a:solidFill>
            </a:endParaRPr>
          </a:p>
        </p:txBody>
      </p:sp>
      <p:sp useBgFill="1">
        <p:nvSpPr>
          <p:cNvPr id="30" name="29 Rectángulo redondeado"/>
          <p:cNvSpPr/>
          <p:nvPr/>
        </p:nvSpPr>
        <p:spPr bwMode="white">
          <a:xfrm>
            <a:off x="5410200" y="2971800"/>
            <a:ext cx="3063240" cy="20574"/>
          </a:xfrm>
          <a:prstGeom prst="roundRect">
            <a:avLst>
              <a:gd name="adj" fmla="val 16667"/>
            </a:avLst>
          </a:prstGeom>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18" tIns="45659" rIns="91318" bIns="45659" anchor="ctr"/>
          <a:lstStyle/>
          <a:p>
            <a:pPr algn="ctr" defTabSz="913028"/>
            <a:endParaRPr lang="en-US">
              <a:solidFill>
                <a:prstClr val="white"/>
              </a:solidFill>
            </a:endParaRPr>
          </a:p>
        </p:txBody>
      </p:sp>
      <p:sp useBgFill="1">
        <p:nvSpPr>
          <p:cNvPr id="31" name="30 Rectángulo redondeado"/>
          <p:cNvSpPr/>
          <p:nvPr/>
        </p:nvSpPr>
        <p:spPr bwMode="white">
          <a:xfrm>
            <a:off x="7376507" y="3045737"/>
            <a:ext cx="1600200" cy="27432"/>
          </a:xfrm>
          <a:prstGeom prst="roundRect">
            <a:avLst>
              <a:gd name="adj" fmla="val 16667"/>
            </a:avLst>
          </a:prstGeom>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18" tIns="45659" rIns="91318" bIns="45659" anchor="ctr"/>
          <a:lstStyle/>
          <a:p>
            <a:pPr algn="ctr" defTabSz="913028"/>
            <a:endParaRPr lang="en-US">
              <a:solidFill>
                <a:prstClr val="white"/>
              </a:solidFill>
            </a:endParaRPr>
          </a:p>
        </p:txBody>
      </p:sp>
      <p:sp>
        <p:nvSpPr>
          <p:cNvPr id="7" name="6 Rectángulo"/>
          <p:cNvSpPr/>
          <p:nvPr/>
        </p:nvSpPr>
        <p:spPr>
          <a:xfrm>
            <a:off x="1" y="2737246"/>
            <a:ext cx="9144000" cy="183128"/>
          </a:xfrm>
          <a:prstGeom prst="rect">
            <a:avLst/>
          </a:prstGeom>
          <a:solidFill>
            <a:schemeClr val="accent2">
              <a:alpha val="5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18" tIns="45659" rIns="91318" bIns="45659" anchor="ctr"/>
          <a:lstStyle/>
          <a:p>
            <a:pPr algn="ctr" defTabSz="913028"/>
            <a:endParaRPr lang="en-US">
              <a:solidFill>
                <a:prstClr val="white"/>
              </a:solidFill>
            </a:endParaRPr>
          </a:p>
        </p:txBody>
      </p:sp>
      <p:sp>
        <p:nvSpPr>
          <p:cNvPr id="10" name="9 Rectángulo"/>
          <p:cNvSpPr/>
          <p:nvPr/>
        </p:nvSpPr>
        <p:spPr>
          <a:xfrm>
            <a:off x="29" y="2756646"/>
            <a:ext cx="9144001" cy="105508"/>
          </a:xfrm>
          <a:prstGeom prst="rect">
            <a:avLst/>
          </a:prstGeom>
          <a:solidFill>
            <a:schemeClr val="accent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18" tIns="45659" rIns="91318" bIns="45659" anchor="ctr"/>
          <a:lstStyle/>
          <a:p>
            <a:pPr algn="ctr" defTabSz="913028"/>
            <a:endParaRPr lang="en-US">
              <a:solidFill>
                <a:prstClr val="white"/>
              </a:solidFill>
            </a:endParaRPr>
          </a:p>
        </p:txBody>
      </p:sp>
      <p:sp>
        <p:nvSpPr>
          <p:cNvPr id="11" name="10 Rectángulo"/>
          <p:cNvSpPr/>
          <p:nvPr/>
        </p:nvSpPr>
        <p:spPr>
          <a:xfrm flipV="1">
            <a:off x="6414051" y="2732318"/>
            <a:ext cx="2729950" cy="186324"/>
          </a:xfrm>
          <a:prstGeom prst="rect">
            <a:avLst/>
          </a:prstGeom>
          <a:solidFill>
            <a:schemeClr val="accent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18" tIns="45659" rIns="91318" bIns="45659" anchor="ctr"/>
          <a:lstStyle/>
          <a:p>
            <a:pPr algn="ctr" defTabSz="913028"/>
            <a:endParaRPr lang="en-US">
              <a:solidFill>
                <a:prstClr val="white"/>
              </a:solidFill>
            </a:endParaRPr>
          </a:p>
        </p:txBody>
      </p:sp>
      <p:sp>
        <p:nvSpPr>
          <p:cNvPr id="19" name="18 Rectángulo"/>
          <p:cNvSpPr/>
          <p:nvPr/>
        </p:nvSpPr>
        <p:spPr>
          <a:xfrm>
            <a:off x="0" y="1"/>
            <a:ext cx="9144000" cy="2776275"/>
          </a:xfrm>
          <a:prstGeom prst="rect">
            <a:avLst/>
          </a:prstGeom>
          <a:solidFill>
            <a:schemeClr val="tx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18" tIns="45659" rIns="91318" bIns="45659" anchor="ctr"/>
          <a:lstStyle/>
          <a:p>
            <a:pPr algn="ctr" defTabSz="913028"/>
            <a:endParaRPr lang="en-US">
              <a:solidFill>
                <a:prstClr val="white"/>
              </a:solidFill>
            </a:endParaRPr>
          </a:p>
        </p:txBody>
      </p:sp>
      <p:sp>
        <p:nvSpPr>
          <p:cNvPr id="8" name="7 Título"/>
          <p:cNvSpPr>
            <a:spLocks noGrp="1"/>
          </p:cNvSpPr>
          <p:nvPr>
            <p:ph type="ctrTitle"/>
          </p:nvPr>
        </p:nvSpPr>
        <p:spPr>
          <a:xfrm>
            <a:off x="457200" y="1801558"/>
            <a:ext cx="8458200" cy="1102519"/>
          </a:xfrm>
        </p:spPr>
        <p:txBody>
          <a:bodyPr anchor="b"/>
          <a:lstStyle>
            <a:lvl1pPr>
              <a:defRPr sz="4400">
                <a:solidFill>
                  <a:schemeClr val="bg1"/>
                </a:solidFill>
              </a:defRPr>
            </a:lvl1pPr>
          </a:lstStyle>
          <a:p>
            <a:r>
              <a:rPr kumimoji="0" lang="es-ES" smtClean="0"/>
              <a:t>Haga clic para modificar el estilo de título del patrón</a:t>
            </a:r>
            <a:endParaRPr kumimoji="0" lang="en-US"/>
          </a:p>
        </p:txBody>
      </p:sp>
      <p:sp>
        <p:nvSpPr>
          <p:cNvPr id="9" name="8 Subtítulo"/>
          <p:cNvSpPr>
            <a:spLocks noGrp="1"/>
          </p:cNvSpPr>
          <p:nvPr>
            <p:ph type="subTitle" idx="1"/>
          </p:nvPr>
        </p:nvSpPr>
        <p:spPr>
          <a:xfrm>
            <a:off x="457200" y="2924953"/>
            <a:ext cx="4953000" cy="1314450"/>
          </a:xfrm>
        </p:spPr>
        <p:txBody>
          <a:bodyPr/>
          <a:lstStyle>
            <a:lvl1pPr marL="63917" indent="0" algn="l">
              <a:buNone/>
              <a:defRPr sz="2400">
                <a:solidFill>
                  <a:schemeClr val="tx2"/>
                </a:solidFill>
              </a:defRPr>
            </a:lvl1pPr>
            <a:lvl2pPr marL="456470" indent="0" algn="ctr">
              <a:buNone/>
            </a:lvl2pPr>
            <a:lvl3pPr marL="913028" indent="0" algn="ctr">
              <a:buNone/>
            </a:lvl3pPr>
            <a:lvl4pPr marL="1369526" indent="0" algn="ctr">
              <a:buNone/>
            </a:lvl4pPr>
            <a:lvl5pPr marL="1826054" indent="0" algn="ctr">
              <a:buNone/>
            </a:lvl5pPr>
            <a:lvl6pPr marL="2282523" indent="0" algn="ctr">
              <a:buNone/>
            </a:lvl6pPr>
            <a:lvl7pPr marL="2738993" indent="0" algn="ctr">
              <a:buNone/>
            </a:lvl7pPr>
            <a:lvl8pPr marL="3195520" indent="0" algn="ctr">
              <a:buNone/>
            </a:lvl8pPr>
            <a:lvl9pPr marL="3652035" indent="0" algn="ctr">
              <a:buNone/>
            </a:lvl9pPr>
          </a:lstStyle>
          <a:p>
            <a:r>
              <a:rPr kumimoji="0" lang="es-ES" smtClean="0"/>
              <a:t>Haga clic para modificar el estilo de subtítulo del patrón</a:t>
            </a:r>
            <a:endParaRPr kumimoji="0" lang="en-US"/>
          </a:p>
        </p:txBody>
      </p:sp>
      <p:sp>
        <p:nvSpPr>
          <p:cNvPr id="28" name="27 Marcador de fecha"/>
          <p:cNvSpPr>
            <a:spLocks noGrp="1"/>
          </p:cNvSpPr>
          <p:nvPr>
            <p:ph type="dt" sz="half" idx="10"/>
          </p:nvPr>
        </p:nvSpPr>
        <p:spPr>
          <a:xfrm>
            <a:off x="6705600" y="3154680"/>
            <a:ext cx="960120" cy="342900"/>
          </a:xfrm>
        </p:spPr>
        <p:txBody>
          <a:bodyPr/>
          <a:lstStyle/>
          <a:p>
            <a:fld id="{32099F8F-6F72-4552-9675-E6A73B760289}" type="datetimeFigureOut">
              <a:rPr lang="es-AR" smtClean="0">
                <a:solidFill>
                  <a:srgbClr val="438086"/>
                </a:solidFill>
              </a:rPr>
              <a:pPr/>
              <a:t>7/8/2024</a:t>
            </a:fld>
            <a:endParaRPr lang="es-AR">
              <a:solidFill>
                <a:srgbClr val="438086"/>
              </a:solidFill>
            </a:endParaRPr>
          </a:p>
        </p:txBody>
      </p:sp>
      <p:sp>
        <p:nvSpPr>
          <p:cNvPr id="17" name="16 Marcador de pie de página"/>
          <p:cNvSpPr>
            <a:spLocks noGrp="1"/>
          </p:cNvSpPr>
          <p:nvPr>
            <p:ph type="ftr" sz="quarter" idx="11"/>
          </p:nvPr>
        </p:nvSpPr>
        <p:spPr>
          <a:xfrm>
            <a:off x="5410200" y="3153966"/>
            <a:ext cx="1295400" cy="342900"/>
          </a:xfrm>
        </p:spPr>
        <p:txBody>
          <a:bodyPr/>
          <a:lstStyle/>
          <a:p>
            <a:endParaRPr lang="es-AR">
              <a:solidFill>
                <a:srgbClr val="438086"/>
              </a:solidFill>
            </a:endParaRPr>
          </a:p>
        </p:txBody>
      </p:sp>
      <p:sp>
        <p:nvSpPr>
          <p:cNvPr id="29" name="28 Marcador de número de diapositiva"/>
          <p:cNvSpPr>
            <a:spLocks noGrp="1"/>
          </p:cNvSpPr>
          <p:nvPr>
            <p:ph type="sldNum" sz="quarter" idx="12"/>
          </p:nvPr>
        </p:nvSpPr>
        <p:spPr>
          <a:xfrm>
            <a:off x="8320089" y="852"/>
            <a:ext cx="747712" cy="274320"/>
          </a:xfrm>
        </p:spPr>
        <p:txBody>
          <a:bodyPr/>
          <a:lstStyle>
            <a:lvl1pPr algn="r">
              <a:defRPr sz="1800">
                <a:solidFill>
                  <a:schemeClr val="bg1"/>
                </a:solidFill>
              </a:defRPr>
            </a:lvl1pPr>
          </a:lstStyle>
          <a:p>
            <a:fld id="{2F20CBE2-B0F0-4F11-A5D6-860EBEE691F4}" type="slidenum">
              <a:rPr lang="es-AR" smtClean="0">
                <a:solidFill>
                  <a:prstClr val="white"/>
                </a:solidFill>
              </a:rPr>
              <a:pPr/>
              <a:t>‹Nº›</a:t>
            </a:fld>
            <a:endParaRPr lang="es-AR">
              <a:solidFill>
                <a:prstClr val="white"/>
              </a:solidFill>
            </a:endParaRPr>
          </a:p>
        </p:txBody>
      </p:sp>
    </p:spTree>
    <p:extLst>
      <p:ext uri="{BB962C8B-B14F-4D97-AF65-F5344CB8AC3E}">
        <p14:creationId xmlns:p14="http://schemas.microsoft.com/office/powerpoint/2010/main" val="167024019"/>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kumimoji="0" lang="es-ES" smtClean="0"/>
              <a:t>Haga clic para modificar el estilo de título del patrón</a:t>
            </a:r>
            <a:endParaRPr kumimoji="0" lang="en-US"/>
          </a:p>
        </p:txBody>
      </p:sp>
      <p:sp>
        <p:nvSpPr>
          <p:cNvPr id="3" name="2 Marcador de contenido"/>
          <p:cNvSpPr>
            <a:spLocks noGrp="1"/>
          </p:cNvSpPr>
          <p:nvPr>
            <p:ph idx="1"/>
          </p:nvPr>
        </p:nvSpPr>
        <p:spPr/>
        <p:txBody>
          <a:bodyPr/>
          <a:lstStyle/>
          <a:p>
            <a:pPr lvl="0" eaLnBrk="1" latinLnBrk="0" hangingPunct="1"/>
            <a:r>
              <a:rPr lang="es-ES" smtClean="0"/>
              <a:t>Haga clic para modificar el estilo de texto del patrón</a:t>
            </a:r>
          </a:p>
          <a:p>
            <a:pPr lvl="1" eaLnBrk="1" latinLnBrk="0" hangingPunct="1"/>
            <a:r>
              <a:rPr lang="es-ES" smtClean="0"/>
              <a:t>Segundo nivel</a:t>
            </a:r>
          </a:p>
          <a:p>
            <a:pPr lvl="2" eaLnBrk="1" latinLnBrk="0" hangingPunct="1"/>
            <a:r>
              <a:rPr lang="es-ES" smtClean="0"/>
              <a:t>Tercer nivel</a:t>
            </a:r>
          </a:p>
          <a:p>
            <a:pPr lvl="3" eaLnBrk="1" latinLnBrk="0" hangingPunct="1"/>
            <a:r>
              <a:rPr lang="es-ES" smtClean="0"/>
              <a:t>Cuarto nivel</a:t>
            </a:r>
          </a:p>
          <a:p>
            <a:pPr lvl="4" eaLnBrk="1" latinLnBrk="0" hangingPunct="1"/>
            <a:r>
              <a:rPr lang="es-ES" smtClean="0"/>
              <a:t>Quinto nivel</a:t>
            </a:r>
            <a:endParaRPr kumimoji="0" lang="en-US"/>
          </a:p>
        </p:txBody>
      </p:sp>
      <p:sp>
        <p:nvSpPr>
          <p:cNvPr id="4" name="3 Marcador de fecha"/>
          <p:cNvSpPr>
            <a:spLocks noGrp="1"/>
          </p:cNvSpPr>
          <p:nvPr>
            <p:ph type="dt" sz="half" idx="10"/>
          </p:nvPr>
        </p:nvSpPr>
        <p:spPr/>
        <p:txBody>
          <a:bodyPr/>
          <a:lstStyle/>
          <a:p>
            <a:fld id="{32099F8F-6F72-4552-9675-E6A73B760289}" type="datetimeFigureOut">
              <a:rPr lang="es-AR" smtClean="0">
                <a:solidFill>
                  <a:srgbClr val="438086"/>
                </a:solidFill>
              </a:rPr>
              <a:pPr/>
              <a:t>7/8/2024</a:t>
            </a:fld>
            <a:endParaRPr lang="es-AR">
              <a:solidFill>
                <a:srgbClr val="438086"/>
              </a:solidFill>
            </a:endParaRPr>
          </a:p>
        </p:txBody>
      </p:sp>
      <p:sp>
        <p:nvSpPr>
          <p:cNvPr id="5" name="4 Marcador de pie de página"/>
          <p:cNvSpPr>
            <a:spLocks noGrp="1"/>
          </p:cNvSpPr>
          <p:nvPr>
            <p:ph type="ftr" sz="quarter" idx="11"/>
          </p:nvPr>
        </p:nvSpPr>
        <p:spPr/>
        <p:txBody>
          <a:bodyPr/>
          <a:lstStyle/>
          <a:p>
            <a:endParaRPr lang="es-AR">
              <a:solidFill>
                <a:srgbClr val="438086"/>
              </a:solidFill>
            </a:endParaRPr>
          </a:p>
        </p:txBody>
      </p:sp>
      <p:sp>
        <p:nvSpPr>
          <p:cNvPr id="6" name="5 Marcador de número de diapositiva"/>
          <p:cNvSpPr>
            <a:spLocks noGrp="1"/>
          </p:cNvSpPr>
          <p:nvPr>
            <p:ph type="sldNum" sz="quarter" idx="12"/>
          </p:nvPr>
        </p:nvSpPr>
        <p:spPr/>
        <p:txBody>
          <a:bodyPr/>
          <a:lstStyle/>
          <a:p>
            <a:fld id="{2F20CBE2-B0F0-4F11-A5D6-860EBEE691F4}" type="slidenum">
              <a:rPr lang="es-AR" smtClean="0"/>
              <a:pPr/>
              <a:t>‹Nº›</a:t>
            </a:fld>
            <a:endParaRPr lang="es-AR"/>
          </a:p>
        </p:txBody>
      </p:sp>
    </p:spTree>
    <p:extLst>
      <p:ext uri="{BB962C8B-B14F-4D97-AF65-F5344CB8AC3E}">
        <p14:creationId xmlns:p14="http://schemas.microsoft.com/office/powerpoint/2010/main" val="162250676"/>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313" y="1485901"/>
            <a:ext cx="7772400" cy="1021556"/>
          </a:xfrm>
        </p:spPr>
        <p:txBody>
          <a:bodyPr anchor="b">
            <a:noAutofit/>
          </a:bodyPr>
          <a:lstStyle>
            <a:lvl1pPr algn="l">
              <a:buNone/>
              <a:defRPr sz="4300" b="1" cap="none" baseline="0">
                <a:ln w="12700">
                  <a:solidFill>
                    <a:schemeClr val="accent2">
                      <a:shade val="90000"/>
                      <a:satMod val="150000"/>
                    </a:schemeClr>
                  </a:solidFill>
                </a:ln>
                <a:solidFill>
                  <a:srgbClr val="FFFFFF"/>
                </a:solidFill>
                <a:effectLst>
                  <a:outerShdw blurRad="38100" dist="38100" dir="5400000" algn="tl" rotWithShape="0">
                    <a:srgbClr val="000000">
                      <a:alpha val="25000"/>
                    </a:srgbClr>
                  </a:outerShdw>
                </a:effectLst>
              </a:defRPr>
            </a:lvl1pPr>
          </a:lstStyle>
          <a:p>
            <a:r>
              <a:rPr kumimoji="0" lang="es-ES" smtClean="0"/>
              <a:t>Haga clic para modificar el estilo de título del patrón</a:t>
            </a:r>
            <a:endParaRPr kumimoji="0" lang="en-US"/>
          </a:p>
        </p:txBody>
      </p:sp>
      <p:sp>
        <p:nvSpPr>
          <p:cNvPr id="3" name="2 Marcador de texto"/>
          <p:cNvSpPr>
            <a:spLocks noGrp="1"/>
          </p:cNvSpPr>
          <p:nvPr>
            <p:ph type="body" idx="1"/>
          </p:nvPr>
        </p:nvSpPr>
        <p:spPr>
          <a:xfrm>
            <a:off x="722313" y="2525316"/>
            <a:ext cx="7772400" cy="1132284"/>
          </a:xfrm>
        </p:spPr>
        <p:txBody>
          <a:bodyPr anchor="t"/>
          <a:lstStyle>
            <a:lvl1pPr marL="45659" indent="0">
              <a:buNone/>
              <a:defRPr sz="2100" b="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s-ES" smtClean="0"/>
              <a:t>Haga clic para modificar el estilo de texto del patrón</a:t>
            </a:r>
          </a:p>
        </p:txBody>
      </p:sp>
      <p:sp>
        <p:nvSpPr>
          <p:cNvPr id="4" name="3 Marcador de fecha"/>
          <p:cNvSpPr>
            <a:spLocks noGrp="1"/>
          </p:cNvSpPr>
          <p:nvPr>
            <p:ph type="dt" sz="half" idx="10"/>
          </p:nvPr>
        </p:nvSpPr>
        <p:spPr/>
        <p:txBody>
          <a:bodyPr/>
          <a:lstStyle/>
          <a:p>
            <a:fld id="{32099F8F-6F72-4552-9675-E6A73B760289}" type="datetimeFigureOut">
              <a:rPr lang="es-AR" smtClean="0">
                <a:solidFill>
                  <a:srgbClr val="438086"/>
                </a:solidFill>
              </a:rPr>
              <a:pPr/>
              <a:t>7/8/2024</a:t>
            </a:fld>
            <a:endParaRPr lang="es-AR">
              <a:solidFill>
                <a:srgbClr val="438086"/>
              </a:solidFill>
            </a:endParaRPr>
          </a:p>
        </p:txBody>
      </p:sp>
      <p:sp>
        <p:nvSpPr>
          <p:cNvPr id="5" name="4 Marcador de pie de página"/>
          <p:cNvSpPr>
            <a:spLocks noGrp="1"/>
          </p:cNvSpPr>
          <p:nvPr>
            <p:ph type="ftr" sz="quarter" idx="11"/>
          </p:nvPr>
        </p:nvSpPr>
        <p:spPr/>
        <p:txBody>
          <a:bodyPr/>
          <a:lstStyle/>
          <a:p>
            <a:endParaRPr lang="es-AR">
              <a:solidFill>
                <a:srgbClr val="438086"/>
              </a:solidFill>
            </a:endParaRPr>
          </a:p>
        </p:txBody>
      </p:sp>
      <p:sp>
        <p:nvSpPr>
          <p:cNvPr id="6" name="5 Marcador de número de diapositiva"/>
          <p:cNvSpPr>
            <a:spLocks noGrp="1"/>
          </p:cNvSpPr>
          <p:nvPr>
            <p:ph type="sldNum" sz="quarter" idx="12"/>
          </p:nvPr>
        </p:nvSpPr>
        <p:spPr/>
        <p:txBody>
          <a:bodyPr/>
          <a:lstStyle/>
          <a:p>
            <a:fld id="{2F20CBE2-B0F0-4F11-A5D6-860EBEE691F4}" type="slidenum">
              <a:rPr lang="es-AR" smtClean="0"/>
              <a:pPr/>
              <a:t>‹Nº›</a:t>
            </a:fld>
            <a:endParaRPr lang="es-AR"/>
          </a:p>
        </p:txBody>
      </p:sp>
    </p:spTree>
    <p:extLst>
      <p:ext uri="{BB962C8B-B14F-4D97-AF65-F5344CB8AC3E}">
        <p14:creationId xmlns:p14="http://schemas.microsoft.com/office/powerpoint/2010/main" val="2162885243"/>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kumimoji="0" lang="es-ES" smtClean="0"/>
              <a:t>Haga clic para modificar el estilo de título del patrón</a:t>
            </a:r>
            <a:endParaRPr kumimoji="0" lang="en-US"/>
          </a:p>
        </p:txBody>
      </p:sp>
      <p:sp>
        <p:nvSpPr>
          <p:cNvPr id="3" name="2 Marcador de contenido"/>
          <p:cNvSpPr>
            <a:spLocks noGrp="1"/>
          </p:cNvSpPr>
          <p:nvPr>
            <p:ph sz="half" idx="1"/>
          </p:nvPr>
        </p:nvSpPr>
        <p:spPr>
          <a:xfrm>
            <a:off x="457200" y="1687069"/>
            <a:ext cx="4038600" cy="3394472"/>
          </a:xfrm>
        </p:spPr>
        <p:txBody>
          <a:bodyPr/>
          <a:lstStyle>
            <a:lvl1pPr>
              <a:defRPr sz="2000"/>
            </a:lvl1pPr>
            <a:lvl2pPr>
              <a:defRPr sz="1900"/>
            </a:lvl2pPr>
            <a:lvl3pPr>
              <a:defRPr sz="1800"/>
            </a:lvl3pPr>
            <a:lvl4pPr>
              <a:defRPr sz="1800"/>
            </a:lvl4pPr>
            <a:lvl5pPr>
              <a:defRPr sz="1800"/>
            </a:lvl5pPr>
          </a:lstStyle>
          <a:p>
            <a:pPr lvl="0" eaLnBrk="1" latinLnBrk="0" hangingPunct="1"/>
            <a:r>
              <a:rPr lang="es-ES" smtClean="0"/>
              <a:t>Haga clic para modificar el estilo de texto del patrón</a:t>
            </a:r>
          </a:p>
          <a:p>
            <a:pPr lvl="1" eaLnBrk="1" latinLnBrk="0" hangingPunct="1"/>
            <a:r>
              <a:rPr lang="es-ES" smtClean="0"/>
              <a:t>Segundo nivel</a:t>
            </a:r>
          </a:p>
          <a:p>
            <a:pPr lvl="2" eaLnBrk="1" latinLnBrk="0" hangingPunct="1"/>
            <a:r>
              <a:rPr lang="es-ES" smtClean="0"/>
              <a:t>Tercer nivel</a:t>
            </a:r>
          </a:p>
          <a:p>
            <a:pPr lvl="3" eaLnBrk="1" latinLnBrk="0" hangingPunct="1"/>
            <a:r>
              <a:rPr lang="es-ES" smtClean="0"/>
              <a:t>Cuarto nivel</a:t>
            </a:r>
          </a:p>
          <a:p>
            <a:pPr lvl="4" eaLnBrk="1" latinLnBrk="0" hangingPunct="1"/>
            <a:r>
              <a:rPr lang="es-ES" smtClean="0"/>
              <a:t>Quinto nivel</a:t>
            </a:r>
            <a:endParaRPr kumimoji="0" lang="en-US"/>
          </a:p>
        </p:txBody>
      </p:sp>
      <p:sp>
        <p:nvSpPr>
          <p:cNvPr id="4" name="3 Marcador de contenido"/>
          <p:cNvSpPr>
            <a:spLocks noGrp="1"/>
          </p:cNvSpPr>
          <p:nvPr>
            <p:ph sz="half" idx="2"/>
          </p:nvPr>
        </p:nvSpPr>
        <p:spPr>
          <a:xfrm>
            <a:off x="4648200" y="1687069"/>
            <a:ext cx="4038600" cy="3394472"/>
          </a:xfrm>
        </p:spPr>
        <p:txBody>
          <a:bodyPr/>
          <a:lstStyle>
            <a:lvl1pPr>
              <a:defRPr sz="2000"/>
            </a:lvl1pPr>
            <a:lvl2pPr>
              <a:defRPr sz="1900"/>
            </a:lvl2pPr>
            <a:lvl3pPr>
              <a:defRPr sz="1800"/>
            </a:lvl3pPr>
            <a:lvl4pPr>
              <a:defRPr sz="1800"/>
            </a:lvl4pPr>
            <a:lvl5pPr>
              <a:defRPr sz="1800"/>
            </a:lvl5pPr>
          </a:lstStyle>
          <a:p>
            <a:pPr lvl="0" eaLnBrk="1" latinLnBrk="0" hangingPunct="1"/>
            <a:r>
              <a:rPr lang="es-ES" smtClean="0"/>
              <a:t>Haga clic para modificar el estilo de texto del patrón</a:t>
            </a:r>
          </a:p>
          <a:p>
            <a:pPr lvl="1" eaLnBrk="1" latinLnBrk="0" hangingPunct="1"/>
            <a:r>
              <a:rPr lang="es-ES" smtClean="0"/>
              <a:t>Segundo nivel</a:t>
            </a:r>
          </a:p>
          <a:p>
            <a:pPr lvl="2" eaLnBrk="1" latinLnBrk="0" hangingPunct="1"/>
            <a:r>
              <a:rPr lang="es-ES" smtClean="0"/>
              <a:t>Tercer nivel</a:t>
            </a:r>
          </a:p>
          <a:p>
            <a:pPr lvl="3" eaLnBrk="1" latinLnBrk="0" hangingPunct="1"/>
            <a:r>
              <a:rPr lang="es-ES" smtClean="0"/>
              <a:t>Cuarto nivel</a:t>
            </a:r>
          </a:p>
          <a:p>
            <a:pPr lvl="4" eaLnBrk="1" latinLnBrk="0" hangingPunct="1"/>
            <a:r>
              <a:rPr lang="es-ES" smtClean="0"/>
              <a:t>Quinto nivel</a:t>
            </a:r>
            <a:endParaRPr kumimoji="0" lang="en-US"/>
          </a:p>
        </p:txBody>
      </p:sp>
      <p:sp>
        <p:nvSpPr>
          <p:cNvPr id="5" name="4 Marcador de fecha"/>
          <p:cNvSpPr>
            <a:spLocks noGrp="1"/>
          </p:cNvSpPr>
          <p:nvPr>
            <p:ph type="dt" sz="half" idx="10"/>
          </p:nvPr>
        </p:nvSpPr>
        <p:spPr/>
        <p:txBody>
          <a:bodyPr/>
          <a:lstStyle/>
          <a:p>
            <a:fld id="{32099F8F-6F72-4552-9675-E6A73B760289}" type="datetimeFigureOut">
              <a:rPr lang="es-AR" smtClean="0">
                <a:solidFill>
                  <a:srgbClr val="438086"/>
                </a:solidFill>
              </a:rPr>
              <a:pPr/>
              <a:t>7/8/2024</a:t>
            </a:fld>
            <a:endParaRPr lang="es-AR">
              <a:solidFill>
                <a:srgbClr val="438086"/>
              </a:solidFill>
            </a:endParaRPr>
          </a:p>
        </p:txBody>
      </p:sp>
      <p:sp>
        <p:nvSpPr>
          <p:cNvPr id="6" name="5 Marcador de pie de página"/>
          <p:cNvSpPr>
            <a:spLocks noGrp="1"/>
          </p:cNvSpPr>
          <p:nvPr>
            <p:ph type="ftr" sz="quarter" idx="11"/>
          </p:nvPr>
        </p:nvSpPr>
        <p:spPr/>
        <p:txBody>
          <a:bodyPr/>
          <a:lstStyle/>
          <a:p>
            <a:endParaRPr lang="es-AR">
              <a:solidFill>
                <a:srgbClr val="438086"/>
              </a:solidFill>
            </a:endParaRPr>
          </a:p>
        </p:txBody>
      </p:sp>
      <p:sp>
        <p:nvSpPr>
          <p:cNvPr id="7" name="6 Marcador de número de diapositiva"/>
          <p:cNvSpPr>
            <a:spLocks noGrp="1"/>
          </p:cNvSpPr>
          <p:nvPr>
            <p:ph type="sldNum" sz="quarter" idx="12"/>
          </p:nvPr>
        </p:nvSpPr>
        <p:spPr/>
        <p:txBody>
          <a:bodyPr/>
          <a:lstStyle/>
          <a:p>
            <a:fld id="{2F20CBE2-B0F0-4F11-A5D6-860EBEE691F4}" type="slidenum">
              <a:rPr lang="es-AR" smtClean="0"/>
              <a:pPr/>
              <a:t>‹Nº›</a:t>
            </a:fld>
            <a:endParaRPr lang="es-AR"/>
          </a:p>
        </p:txBody>
      </p:sp>
    </p:spTree>
    <p:extLst>
      <p:ext uri="{BB962C8B-B14F-4D97-AF65-F5344CB8AC3E}">
        <p14:creationId xmlns:p14="http://schemas.microsoft.com/office/powerpoint/2010/main" val="21194330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lvl1pPr>
              <a:defRPr/>
            </a:lvl1pPr>
          </a:lstStyle>
          <a:p>
            <a:r>
              <a:rPr lang="es-ES"/>
              <a:t>Haga clic para modificar el estilo de título del patrón</a:t>
            </a:r>
          </a:p>
        </p:txBody>
      </p:sp>
      <p:sp>
        <p:nvSpPr>
          <p:cNvPr id="3" name="2 Marcador de texto"/>
          <p:cNvSpPr>
            <a:spLocks noGrp="1"/>
          </p:cNvSpPr>
          <p:nvPr>
            <p:ph type="body" idx="1"/>
          </p:nvPr>
        </p:nvSpPr>
        <p:spPr>
          <a:xfrm>
            <a:off x="457200" y="1151335"/>
            <a:ext cx="4040188" cy="479822"/>
          </a:xfrm>
        </p:spPr>
        <p:txBody>
          <a:bodyPr anchor="b"/>
          <a:lstStyle>
            <a:lvl1pPr marL="0" indent="0">
              <a:buNone/>
              <a:defRPr sz="2400" b="1"/>
            </a:lvl1pPr>
            <a:lvl2pPr marL="448575" indent="0">
              <a:buNone/>
              <a:defRPr sz="2000" b="1"/>
            </a:lvl2pPr>
            <a:lvl3pPr marL="897136" indent="0">
              <a:buNone/>
              <a:defRPr sz="1800" b="1"/>
            </a:lvl3pPr>
            <a:lvl4pPr marL="1345700" indent="0">
              <a:buNone/>
              <a:defRPr sz="1600" b="1"/>
            </a:lvl4pPr>
            <a:lvl5pPr marL="1794279" indent="0">
              <a:buNone/>
              <a:defRPr sz="1600" b="1"/>
            </a:lvl5pPr>
            <a:lvl6pPr marL="2242845" indent="0">
              <a:buNone/>
              <a:defRPr sz="1600" b="1"/>
            </a:lvl6pPr>
            <a:lvl7pPr marL="2691413" indent="0">
              <a:buNone/>
              <a:defRPr sz="1600" b="1"/>
            </a:lvl7pPr>
            <a:lvl8pPr marL="3139987" indent="0">
              <a:buNone/>
              <a:defRPr sz="1600" b="1"/>
            </a:lvl8pPr>
            <a:lvl9pPr marL="3588554" indent="0">
              <a:buNone/>
              <a:defRPr sz="1600" b="1"/>
            </a:lvl9pPr>
          </a:lstStyle>
          <a:p>
            <a:pPr lvl="0"/>
            <a:r>
              <a:rPr lang="es-ES"/>
              <a:t>Haga clic para modificar el estilo de texto del patrón</a:t>
            </a:r>
          </a:p>
        </p:txBody>
      </p:sp>
      <p:sp>
        <p:nvSpPr>
          <p:cNvPr id="4" name="3 Marcador de contenido"/>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4 Marcador de texto"/>
          <p:cNvSpPr>
            <a:spLocks noGrp="1"/>
          </p:cNvSpPr>
          <p:nvPr>
            <p:ph type="body" sz="quarter" idx="3"/>
          </p:nvPr>
        </p:nvSpPr>
        <p:spPr>
          <a:xfrm>
            <a:off x="4645269" y="1151335"/>
            <a:ext cx="4041775" cy="479822"/>
          </a:xfrm>
        </p:spPr>
        <p:txBody>
          <a:bodyPr anchor="b"/>
          <a:lstStyle>
            <a:lvl1pPr marL="0" indent="0">
              <a:buNone/>
              <a:defRPr sz="2400" b="1"/>
            </a:lvl1pPr>
            <a:lvl2pPr marL="448575" indent="0">
              <a:buNone/>
              <a:defRPr sz="2000" b="1"/>
            </a:lvl2pPr>
            <a:lvl3pPr marL="897136" indent="0">
              <a:buNone/>
              <a:defRPr sz="1800" b="1"/>
            </a:lvl3pPr>
            <a:lvl4pPr marL="1345700" indent="0">
              <a:buNone/>
              <a:defRPr sz="1600" b="1"/>
            </a:lvl4pPr>
            <a:lvl5pPr marL="1794279" indent="0">
              <a:buNone/>
              <a:defRPr sz="1600" b="1"/>
            </a:lvl5pPr>
            <a:lvl6pPr marL="2242845" indent="0">
              <a:buNone/>
              <a:defRPr sz="1600" b="1"/>
            </a:lvl6pPr>
            <a:lvl7pPr marL="2691413" indent="0">
              <a:buNone/>
              <a:defRPr sz="1600" b="1"/>
            </a:lvl7pPr>
            <a:lvl8pPr marL="3139987" indent="0">
              <a:buNone/>
              <a:defRPr sz="1600" b="1"/>
            </a:lvl8pPr>
            <a:lvl9pPr marL="3588554" indent="0">
              <a:buNone/>
              <a:defRPr sz="1600" b="1"/>
            </a:lvl9pPr>
          </a:lstStyle>
          <a:p>
            <a:pPr lvl="0"/>
            <a:r>
              <a:rPr lang="es-ES"/>
              <a:t>Haga clic para modificar el estilo de texto del patrón</a:t>
            </a:r>
          </a:p>
        </p:txBody>
      </p:sp>
      <p:sp>
        <p:nvSpPr>
          <p:cNvPr id="6" name="5 Marcador de contenido"/>
          <p:cNvSpPr>
            <a:spLocks noGrp="1"/>
          </p:cNvSpPr>
          <p:nvPr>
            <p:ph sz="quarter" idx="4"/>
          </p:nvPr>
        </p:nvSpPr>
        <p:spPr>
          <a:xfrm>
            <a:off x="4645269"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7" name="3 Marcador de fecha"/>
          <p:cNvSpPr>
            <a:spLocks noGrp="1"/>
          </p:cNvSpPr>
          <p:nvPr>
            <p:ph type="dt" sz="half" idx="10"/>
          </p:nvPr>
        </p:nvSpPr>
        <p:spPr>
          <a:xfrm>
            <a:off x="457201" y="4767357"/>
            <a:ext cx="2133600" cy="273844"/>
          </a:xfrm>
          <a:prstGeom prst="rect">
            <a:avLst/>
          </a:prstGeom>
        </p:spPr>
        <p:txBody>
          <a:bodyPr lIns="89953" tIns="44976" rIns="89953" bIns="44976"/>
          <a:lstStyle>
            <a:lvl1pPr>
              <a:defRPr b="1"/>
            </a:lvl1pPr>
          </a:lstStyle>
          <a:p>
            <a:pPr defTabSz="897136">
              <a:defRPr/>
            </a:pPr>
            <a:fld id="{6955C616-7917-489D-8DE3-16436D157E1F}" type="datetimeFigureOut">
              <a:rPr lang="es-ES">
                <a:solidFill>
                  <a:prstClr val="black"/>
                </a:solidFill>
              </a:rPr>
              <a:pPr defTabSz="897136">
                <a:defRPr/>
              </a:pPr>
              <a:t>07/08/2024</a:t>
            </a:fld>
            <a:endParaRPr lang="es-ES">
              <a:solidFill>
                <a:prstClr val="black"/>
              </a:solidFill>
            </a:endParaRPr>
          </a:p>
        </p:txBody>
      </p:sp>
      <p:sp>
        <p:nvSpPr>
          <p:cNvPr id="8" name="4 Marcador de pie de página"/>
          <p:cNvSpPr>
            <a:spLocks noGrp="1"/>
          </p:cNvSpPr>
          <p:nvPr>
            <p:ph type="ftr" sz="quarter" idx="11"/>
          </p:nvPr>
        </p:nvSpPr>
        <p:spPr/>
        <p:txBody>
          <a:bodyPr/>
          <a:lstStyle>
            <a:lvl1pPr>
              <a:defRPr b="1"/>
            </a:lvl1pPr>
          </a:lstStyle>
          <a:p>
            <a:pPr>
              <a:defRPr/>
            </a:pPr>
            <a:endParaRPr lang="es-ES"/>
          </a:p>
        </p:txBody>
      </p:sp>
      <p:sp>
        <p:nvSpPr>
          <p:cNvPr id="9" name="5 Marcador de número de diapositiva"/>
          <p:cNvSpPr>
            <a:spLocks noGrp="1"/>
          </p:cNvSpPr>
          <p:nvPr>
            <p:ph type="sldNum" sz="quarter" idx="12"/>
          </p:nvPr>
        </p:nvSpPr>
        <p:spPr/>
        <p:txBody>
          <a:bodyPr/>
          <a:lstStyle>
            <a:lvl1pPr>
              <a:defRPr b="1"/>
            </a:lvl1pPr>
          </a:lstStyle>
          <a:p>
            <a:pPr>
              <a:defRPr/>
            </a:pPr>
            <a:fld id="{1A38C932-5B66-4D36-A630-B1C832CD1416}" type="slidenum">
              <a:rPr lang="es-ES"/>
              <a:pPr>
                <a:defRPr/>
              </a:pPr>
              <a:t>‹Nº›</a:t>
            </a:fld>
            <a:endParaRPr lang="es-ES"/>
          </a:p>
        </p:txBody>
      </p:sp>
    </p:spTree>
    <p:extLst>
      <p:ext uri="{BB962C8B-B14F-4D97-AF65-F5344CB8AC3E}">
        <p14:creationId xmlns:p14="http://schemas.microsoft.com/office/powerpoint/2010/main" val="3799501151"/>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a:xfrm>
            <a:off x="381000" y="857250"/>
            <a:ext cx="8382000" cy="802386"/>
          </a:xfrm>
        </p:spPr>
        <p:txBody>
          <a:bodyPr anchor="ctr"/>
          <a:lstStyle>
            <a:lvl1pPr>
              <a:defRPr sz="4000" b="0" i="0" cap="none" baseline="0"/>
            </a:lvl1pPr>
          </a:lstStyle>
          <a:p>
            <a:r>
              <a:rPr kumimoji="0" lang="es-ES" smtClean="0"/>
              <a:t>Haga clic para modificar el estilo de título del patrón</a:t>
            </a:r>
            <a:endParaRPr kumimoji="0" lang="en-US"/>
          </a:p>
        </p:txBody>
      </p:sp>
      <p:sp>
        <p:nvSpPr>
          <p:cNvPr id="3" name="2 Marcador de texto"/>
          <p:cNvSpPr>
            <a:spLocks noGrp="1"/>
          </p:cNvSpPr>
          <p:nvPr>
            <p:ph type="body" idx="1"/>
          </p:nvPr>
        </p:nvSpPr>
        <p:spPr>
          <a:xfrm>
            <a:off x="381000" y="1683728"/>
            <a:ext cx="4041648" cy="342900"/>
          </a:xfrm>
          <a:solidFill>
            <a:schemeClr val="accent2">
              <a:satMod val="150000"/>
              <a:alpha val="25000"/>
            </a:schemeClr>
          </a:solidFill>
          <a:ln w="12700">
            <a:solidFill>
              <a:schemeClr val="accent2"/>
            </a:solidFill>
          </a:ln>
        </p:spPr>
        <p:txBody>
          <a:bodyPr anchor="ctr">
            <a:noAutofit/>
          </a:bodyPr>
          <a:lstStyle>
            <a:lvl1pPr marL="45659" indent="0">
              <a:buNone/>
              <a:defRPr sz="1900" b="1">
                <a:solidFill>
                  <a:schemeClr val="tx1">
                    <a:tint val="95000"/>
                  </a:schemeClr>
                </a:solidFill>
              </a:defRPr>
            </a:lvl1pPr>
            <a:lvl2pPr>
              <a:buNone/>
              <a:defRPr sz="2000" b="1"/>
            </a:lvl2pPr>
            <a:lvl3pPr>
              <a:buNone/>
              <a:defRPr sz="1800" b="1"/>
            </a:lvl3pPr>
            <a:lvl4pPr>
              <a:buNone/>
              <a:defRPr sz="1600" b="1"/>
            </a:lvl4pPr>
            <a:lvl5pPr>
              <a:buNone/>
              <a:defRPr sz="1600" b="1"/>
            </a:lvl5pPr>
          </a:lstStyle>
          <a:p>
            <a:pPr lvl="0" eaLnBrk="1" latinLnBrk="0" hangingPunct="1"/>
            <a:r>
              <a:rPr kumimoji="0" lang="es-ES" smtClean="0"/>
              <a:t>Haga clic para modificar el estilo de texto del patrón</a:t>
            </a:r>
          </a:p>
        </p:txBody>
      </p:sp>
      <p:sp>
        <p:nvSpPr>
          <p:cNvPr id="4" name="3 Marcador de texto"/>
          <p:cNvSpPr>
            <a:spLocks noGrp="1"/>
          </p:cNvSpPr>
          <p:nvPr>
            <p:ph type="body" sz="half" idx="3"/>
          </p:nvPr>
        </p:nvSpPr>
        <p:spPr>
          <a:xfrm>
            <a:off x="4721297" y="1683728"/>
            <a:ext cx="4041775" cy="342900"/>
          </a:xfrm>
          <a:solidFill>
            <a:schemeClr val="accent2">
              <a:satMod val="150000"/>
              <a:alpha val="25000"/>
            </a:schemeClr>
          </a:solidFill>
          <a:ln w="12700">
            <a:solidFill>
              <a:schemeClr val="accent2"/>
            </a:solidFill>
          </a:ln>
        </p:spPr>
        <p:txBody>
          <a:bodyPr anchor="ctr">
            <a:noAutofit/>
          </a:bodyPr>
          <a:lstStyle>
            <a:lvl1pPr marL="45659" indent="0">
              <a:buNone/>
              <a:defRPr sz="1900" b="1">
                <a:solidFill>
                  <a:schemeClr val="tx1">
                    <a:tint val="95000"/>
                  </a:schemeClr>
                </a:solidFill>
              </a:defRPr>
            </a:lvl1pPr>
            <a:lvl2pPr>
              <a:buNone/>
              <a:defRPr sz="2000" b="1"/>
            </a:lvl2pPr>
            <a:lvl3pPr>
              <a:buNone/>
              <a:defRPr sz="1800" b="1"/>
            </a:lvl3pPr>
            <a:lvl4pPr>
              <a:buNone/>
              <a:defRPr sz="1600" b="1"/>
            </a:lvl4pPr>
            <a:lvl5pPr>
              <a:buNone/>
              <a:defRPr sz="1600" b="1"/>
            </a:lvl5pPr>
          </a:lstStyle>
          <a:p>
            <a:pPr lvl="0" eaLnBrk="1" latinLnBrk="0" hangingPunct="1"/>
            <a:r>
              <a:rPr kumimoji="0" lang="es-ES" smtClean="0"/>
              <a:t>Haga clic para modificar el estilo de texto del patrón</a:t>
            </a:r>
          </a:p>
        </p:txBody>
      </p:sp>
      <p:sp>
        <p:nvSpPr>
          <p:cNvPr id="5" name="4 Marcador de contenido"/>
          <p:cNvSpPr>
            <a:spLocks noGrp="1"/>
          </p:cNvSpPr>
          <p:nvPr>
            <p:ph sz="quarter" idx="2"/>
          </p:nvPr>
        </p:nvSpPr>
        <p:spPr>
          <a:xfrm>
            <a:off x="381000" y="2031389"/>
            <a:ext cx="4041648" cy="2914650"/>
          </a:xfrm>
        </p:spPr>
        <p:txBody>
          <a:bodyPr/>
          <a:lstStyle>
            <a:lvl1pPr>
              <a:defRPr sz="2000"/>
            </a:lvl1pPr>
            <a:lvl2pPr>
              <a:defRPr sz="2000"/>
            </a:lvl2pPr>
            <a:lvl3pPr>
              <a:defRPr sz="1800"/>
            </a:lvl3pPr>
            <a:lvl4pPr>
              <a:defRPr sz="1600"/>
            </a:lvl4pPr>
            <a:lvl5pPr>
              <a:defRPr sz="1600"/>
            </a:lvl5pPr>
          </a:lstStyle>
          <a:p>
            <a:pPr lvl="0" eaLnBrk="1" latinLnBrk="0" hangingPunct="1"/>
            <a:r>
              <a:rPr lang="es-ES" smtClean="0"/>
              <a:t>Haga clic para modificar el estilo de texto del patrón</a:t>
            </a:r>
          </a:p>
          <a:p>
            <a:pPr lvl="1" eaLnBrk="1" latinLnBrk="0" hangingPunct="1"/>
            <a:r>
              <a:rPr lang="es-ES" smtClean="0"/>
              <a:t>Segundo nivel</a:t>
            </a:r>
          </a:p>
          <a:p>
            <a:pPr lvl="2" eaLnBrk="1" latinLnBrk="0" hangingPunct="1"/>
            <a:r>
              <a:rPr lang="es-ES" smtClean="0"/>
              <a:t>Tercer nivel</a:t>
            </a:r>
          </a:p>
          <a:p>
            <a:pPr lvl="3" eaLnBrk="1" latinLnBrk="0" hangingPunct="1"/>
            <a:r>
              <a:rPr lang="es-ES" smtClean="0"/>
              <a:t>Cuarto nivel</a:t>
            </a:r>
          </a:p>
          <a:p>
            <a:pPr lvl="4" eaLnBrk="1" latinLnBrk="0" hangingPunct="1"/>
            <a:r>
              <a:rPr lang="es-ES" smtClean="0"/>
              <a:t>Quinto nivel</a:t>
            </a:r>
            <a:endParaRPr kumimoji="0" lang="en-US"/>
          </a:p>
        </p:txBody>
      </p:sp>
      <p:sp>
        <p:nvSpPr>
          <p:cNvPr id="6" name="5 Marcador de contenido"/>
          <p:cNvSpPr>
            <a:spLocks noGrp="1"/>
          </p:cNvSpPr>
          <p:nvPr>
            <p:ph sz="quarter" idx="4"/>
          </p:nvPr>
        </p:nvSpPr>
        <p:spPr>
          <a:xfrm>
            <a:off x="4718378" y="2031389"/>
            <a:ext cx="4041775" cy="2914650"/>
          </a:xfrm>
        </p:spPr>
        <p:txBody>
          <a:bodyPr/>
          <a:lstStyle>
            <a:lvl1pPr>
              <a:defRPr sz="2000"/>
            </a:lvl1pPr>
            <a:lvl2pPr>
              <a:defRPr sz="2000"/>
            </a:lvl2pPr>
            <a:lvl3pPr>
              <a:defRPr sz="1800"/>
            </a:lvl3pPr>
            <a:lvl4pPr>
              <a:defRPr sz="1600"/>
            </a:lvl4pPr>
            <a:lvl5pPr>
              <a:defRPr sz="1600"/>
            </a:lvl5pPr>
          </a:lstStyle>
          <a:p>
            <a:pPr lvl="0" eaLnBrk="1" latinLnBrk="0" hangingPunct="1"/>
            <a:r>
              <a:rPr lang="es-ES" smtClean="0"/>
              <a:t>Haga clic para modificar el estilo de texto del patrón</a:t>
            </a:r>
          </a:p>
          <a:p>
            <a:pPr lvl="1" eaLnBrk="1" latinLnBrk="0" hangingPunct="1"/>
            <a:r>
              <a:rPr lang="es-ES" smtClean="0"/>
              <a:t>Segundo nivel</a:t>
            </a:r>
          </a:p>
          <a:p>
            <a:pPr lvl="2" eaLnBrk="1" latinLnBrk="0" hangingPunct="1"/>
            <a:r>
              <a:rPr lang="es-ES" smtClean="0"/>
              <a:t>Tercer nivel</a:t>
            </a:r>
          </a:p>
          <a:p>
            <a:pPr lvl="3" eaLnBrk="1" latinLnBrk="0" hangingPunct="1"/>
            <a:r>
              <a:rPr lang="es-ES" smtClean="0"/>
              <a:t>Cuarto nivel</a:t>
            </a:r>
          </a:p>
          <a:p>
            <a:pPr lvl="4" eaLnBrk="1" latinLnBrk="0" hangingPunct="1"/>
            <a:r>
              <a:rPr lang="es-ES" smtClean="0"/>
              <a:t>Quinto nivel</a:t>
            </a:r>
            <a:endParaRPr kumimoji="0" lang="en-US"/>
          </a:p>
        </p:txBody>
      </p:sp>
      <p:sp>
        <p:nvSpPr>
          <p:cNvPr id="26" name="25 Marcador de fecha"/>
          <p:cNvSpPr>
            <a:spLocks noGrp="1"/>
          </p:cNvSpPr>
          <p:nvPr>
            <p:ph type="dt" sz="half" idx="10"/>
          </p:nvPr>
        </p:nvSpPr>
        <p:spPr/>
        <p:txBody>
          <a:bodyPr rtlCol="0"/>
          <a:lstStyle/>
          <a:p>
            <a:fld id="{32099F8F-6F72-4552-9675-E6A73B760289}" type="datetimeFigureOut">
              <a:rPr lang="es-AR" smtClean="0">
                <a:solidFill>
                  <a:srgbClr val="438086"/>
                </a:solidFill>
              </a:rPr>
              <a:pPr/>
              <a:t>7/8/2024</a:t>
            </a:fld>
            <a:endParaRPr lang="es-AR">
              <a:solidFill>
                <a:srgbClr val="438086"/>
              </a:solidFill>
            </a:endParaRPr>
          </a:p>
        </p:txBody>
      </p:sp>
      <p:sp>
        <p:nvSpPr>
          <p:cNvPr id="27" name="26 Marcador de número de diapositiva"/>
          <p:cNvSpPr>
            <a:spLocks noGrp="1"/>
          </p:cNvSpPr>
          <p:nvPr>
            <p:ph type="sldNum" sz="quarter" idx="11"/>
          </p:nvPr>
        </p:nvSpPr>
        <p:spPr/>
        <p:txBody>
          <a:bodyPr rtlCol="0"/>
          <a:lstStyle/>
          <a:p>
            <a:fld id="{2F20CBE2-B0F0-4F11-A5D6-860EBEE691F4}" type="slidenum">
              <a:rPr lang="es-AR" smtClean="0"/>
              <a:pPr/>
              <a:t>‹Nº›</a:t>
            </a:fld>
            <a:endParaRPr lang="es-AR"/>
          </a:p>
        </p:txBody>
      </p:sp>
      <p:sp>
        <p:nvSpPr>
          <p:cNvPr id="28" name="27 Marcador de pie de página"/>
          <p:cNvSpPr>
            <a:spLocks noGrp="1"/>
          </p:cNvSpPr>
          <p:nvPr>
            <p:ph type="ftr" sz="quarter" idx="12"/>
          </p:nvPr>
        </p:nvSpPr>
        <p:spPr/>
        <p:txBody>
          <a:bodyPr rtlCol="0"/>
          <a:lstStyle/>
          <a:p>
            <a:endParaRPr lang="es-AR">
              <a:solidFill>
                <a:srgbClr val="438086"/>
              </a:solidFill>
            </a:endParaRPr>
          </a:p>
        </p:txBody>
      </p:sp>
    </p:spTree>
    <p:extLst>
      <p:ext uri="{BB962C8B-B14F-4D97-AF65-F5344CB8AC3E}">
        <p14:creationId xmlns:p14="http://schemas.microsoft.com/office/powerpoint/2010/main" val="1487417879"/>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200" y="857250"/>
            <a:ext cx="8229600" cy="802386"/>
          </a:xfrm>
        </p:spPr>
        <p:txBody>
          <a:bodyPr anchor="ctr"/>
          <a:lstStyle>
            <a:lvl1pPr>
              <a:defRPr sz="4000">
                <a:solidFill>
                  <a:schemeClr val="tx2"/>
                </a:solidFill>
              </a:defRPr>
            </a:lvl1pPr>
          </a:lstStyle>
          <a:p>
            <a:r>
              <a:rPr kumimoji="0" lang="es-ES" smtClean="0"/>
              <a:t>Haga clic para modificar el estilo de título del patrón</a:t>
            </a:r>
            <a:endParaRPr kumimoji="0" lang="en-US"/>
          </a:p>
        </p:txBody>
      </p:sp>
      <p:sp>
        <p:nvSpPr>
          <p:cNvPr id="3" name="2 Marcador de fecha"/>
          <p:cNvSpPr>
            <a:spLocks noGrp="1"/>
          </p:cNvSpPr>
          <p:nvPr>
            <p:ph type="dt" sz="half" idx="10"/>
          </p:nvPr>
        </p:nvSpPr>
        <p:spPr>
          <a:xfrm>
            <a:off x="6583680" y="459486"/>
            <a:ext cx="957264" cy="342900"/>
          </a:xfrm>
        </p:spPr>
        <p:txBody>
          <a:bodyPr/>
          <a:lstStyle/>
          <a:p>
            <a:fld id="{32099F8F-6F72-4552-9675-E6A73B760289}" type="datetimeFigureOut">
              <a:rPr lang="es-AR" smtClean="0">
                <a:solidFill>
                  <a:srgbClr val="438086"/>
                </a:solidFill>
              </a:rPr>
              <a:pPr/>
              <a:t>7/8/2024</a:t>
            </a:fld>
            <a:endParaRPr lang="es-AR">
              <a:solidFill>
                <a:srgbClr val="438086"/>
              </a:solidFill>
            </a:endParaRPr>
          </a:p>
        </p:txBody>
      </p:sp>
      <p:sp>
        <p:nvSpPr>
          <p:cNvPr id="4" name="3 Marcador de pie de página"/>
          <p:cNvSpPr>
            <a:spLocks noGrp="1"/>
          </p:cNvSpPr>
          <p:nvPr>
            <p:ph type="ftr" sz="quarter" idx="11"/>
          </p:nvPr>
        </p:nvSpPr>
        <p:spPr>
          <a:xfrm>
            <a:off x="5257800" y="459486"/>
            <a:ext cx="1325880" cy="342900"/>
          </a:xfrm>
        </p:spPr>
        <p:txBody>
          <a:bodyPr/>
          <a:lstStyle/>
          <a:p>
            <a:endParaRPr lang="es-AR">
              <a:solidFill>
                <a:srgbClr val="438086"/>
              </a:solidFill>
            </a:endParaRPr>
          </a:p>
        </p:txBody>
      </p:sp>
      <p:sp>
        <p:nvSpPr>
          <p:cNvPr id="5" name="4 Marcador de número de diapositiva"/>
          <p:cNvSpPr>
            <a:spLocks noGrp="1"/>
          </p:cNvSpPr>
          <p:nvPr>
            <p:ph type="sldNum" sz="quarter" idx="12"/>
          </p:nvPr>
        </p:nvSpPr>
        <p:spPr>
          <a:xfrm>
            <a:off x="8174736" y="1704"/>
            <a:ext cx="762000" cy="274320"/>
          </a:xfrm>
        </p:spPr>
        <p:txBody>
          <a:bodyPr/>
          <a:lstStyle/>
          <a:p>
            <a:fld id="{2F20CBE2-B0F0-4F11-A5D6-860EBEE691F4}" type="slidenum">
              <a:rPr lang="es-AR" smtClean="0"/>
              <a:pPr/>
              <a:t>‹Nº›</a:t>
            </a:fld>
            <a:endParaRPr lang="es-AR"/>
          </a:p>
        </p:txBody>
      </p:sp>
    </p:spTree>
    <p:extLst>
      <p:ext uri="{BB962C8B-B14F-4D97-AF65-F5344CB8AC3E}">
        <p14:creationId xmlns:p14="http://schemas.microsoft.com/office/powerpoint/2010/main" val="700456594"/>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1 Marcador de fecha"/>
          <p:cNvSpPr>
            <a:spLocks noGrp="1"/>
          </p:cNvSpPr>
          <p:nvPr>
            <p:ph type="dt" sz="half" idx="10"/>
          </p:nvPr>
        </p:nvSpPr>
        <p:spPr/>
        <p:txBody>
          <a:bodyPr/>
          <a:lstStyle/>
          <a:p>
            <a:fld id="{32099F8F-6F72-4552-9675-E6A73B760289}" type="datetimeFigureOut">
              <a:rPr lang="es-AR" smtClean="0">
                <a:solidFill>
                  <a:srgbClr val="438086"/>
                </a:solidFill>
              </a:rPr>
              <a:pPr/>
              <a:t>7/8/2024</a:t>
            </a:fld>
            <a:endParaRPr lang="es-AR">
              <a:solidFill>
                <a:srgbClr val="438086"/>
              </a:solidFill>
            </a:endParaRPr>
          </a:p>
        </p:txBody>
      </p:sp>
      <p:sp>
        <p:nvSpPr>
          <p:cNvPr id="3" name="2 Marcador de pie de página"/>
          <p:cNvSpPr>
            <a:spLocks noGrp="1"/>
          </p:cNvSpPr>
          <p:nvPr>
            <p:ph type="ftr" sz="quarter" idx="11"/>
          </p:nvPr>
        </p:nvSpPr>
        <p:spPr/>
        <p:txBody>
          <a:bodyPr/>
          <a:lstStyle/>
          <a:p>
            <a:endParaRPr lang="es-AR">
              <a:solidFill>
                <a:srgbClr val="438086"/>
              </a:solidFill>
            </a:endParaRPr>
          </a:p>
        </p:txBody>
      </p:sp>
      <p:sp>
        <p:nvSpPr>
          <p:cNvPr id="4" name="3 Marcador de número de diapositiva"/>
          <p:cNvSpPr>
            <a:spLocks noGrp="1"/>
          </p:cNvSpPr>
          <p:nvPr>
            <p:ph type="sldNum" sz="quarter" idx="12"/>
          </p:nvPr>
        </p:nvSpPr>
        <p:spPr/>
        <p:txBody>
          <a:bodyPr/>
          <a:lstStyle/>
          <a:p>
            <a:fld id="{2F20CBE2-B0F0-4F11-A5D6-860EBEE691F4}" type="slidenum">
              <a:rPr lang="es-AR" smtClean="0"/>
              <a:pPr/>
              <a:t>‹Nº›</a:t>
            </a:fld>
            <a:endParaRPr lang="es-AR"/>
          </a:p>
        </p:txBody>
      </p:sp>
    </p:spTree>
    <p:extLst>
      <p:ext uri="{BB962C8B-B14F-4D97-AF65-F5344CB8AC3E}">
        <p14:creationId xmlns:p14="http://schemas.microsoft.com/office/powerpoint/2010/main" val="2205106905"/>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5353496" y="826477"/>
            <a:ext cx="3383280" cy="658368"/>
          </a:xfrm>
        </p:spPr>
        <p:txBody>
          <a:bodyPr anchor="b"/>
          <a:lstStyle>
            <a:lvl1pPr algn="l">
              <a:buNone/>
              <a:defRPr sz="1800" b="1"/>
            </a:lvl1pPr>
          </a:lstStyle>
          <a:p>
            <a:r>
              <a:rPr kumimoji="0" lang="es-ES" smtClean="0"/>
              <a:t>Haga clic para modificar el estilo de título del patrón</a:t>
            </a:r>
            <a:endParaRPr kumimoji="0" lang="en-US"/>
          </a:p>
        </p:txBody>
      </p:sp>
      <p:sp>
        <p:nvSpPr>
          <p:cNvPr id="3" name="2 Marcador de texto"/>
          <p:cNvSpPr>
            <a:spLocks noGrp="1"/>
          </p:cNvSpPr>
          <p:nvPr>
            <p:ph type="body" idx="2"/>
          </p:nvPr>
        </p:nvSpPr>
        <p:spPr>
          <a:xfrm>
            <a:off x="5353496" y="1508045"/>
            <a:ext cx="3383280" cy="3463290"/>
          </a:xfrm>
        </p:spPr>
        <p:txBody>
          <a:bodyPr/>
          <a:lstStyle>
            <a:lvl1pPr marL="9144" indent="0">
              <a:buNone/>
              <a:defRPr sz="1400"/>
            </a:lvl1pPr>
            <a:lvl2pPr>
              <a:buNone/>
              <a:defRPr sz="1200"/>
            </a:lvl2pPr>
            <a:lvl3pPr>
              <a:buNone/>
              <a:defRPr sz="1000"/>
            </a:lvl3pPr>
            <a:lvl4pPr>
              <a:buNone/>
              <a:defRPr sz="900"/>
            </a:lvl4pPr>
            <a:lvl5pPr>
              <a:buNone/>
              <a:defRPr sz="900"/>
            </a:lvl5pPr>
          </a:lstStyle>
          <a:p>
            <a:pPr lvl="0" eaLnBrk="1" latinLnBrk="0" hangingPunct="1"/>
            <a:r>
              <a:rPr kumimoji="0" lang="es-ES" smtClean="0"/>
              <a:t>Haga clic para modificar el estilo de texto del patrón</a:t>
            </a:r>
          </a:p>
        </p:txBody>
      </p:sp>
      <p:sp>
        <p:nvSpPr>
          <p:cNvPr id="4" name="3 Marcador de contenido"/>
          <p:cNvSpPr>
            <a:spLocks noGrp="1"/>
          </p:cNvSpPr>
          <p:nvPr>
            <p:ph sz="half" idx="1"/>
          </p:nvPr>
        </p:nvSpPr>
        <p:spPr>
          <a:xfrm>
            <a:off x="152400" y="582215"/>
            <a:ext cx="5102352" cy="4389120"/>
          </a:xfrm>
        </p:spPr>
        <p:txBody>
          <a:bodyPr/>
          <a:lstStyle>
            <a:lvl1pPr>
              <a:defRPr sz="3200"/>
            </a:lvl1pPr>
            <a:lvl2pPr>
              <a:defRPr sz="2800"/>
            </a:lvl2pPr>
            <a:lvl3pPr>
              <a:defRPr sz="2400"/>
            </a:lvl3pPr>
            <a:lvl4pPr>
              <a:defRPr sz="2000"/>
            </a:lvl4pPr>
            <a:lvl5pPr>
              <a:defRPr sz="2000"/>
            </a:lvl5pPr>
          </a:lstStyle>
          <a:p>
            <a:pPr lvl="0" eaLnBrk="1" latinLnBrk="0" hangingPunct="1"/>
            <a:r>
              <a:rPr lang="es-ES" smtClean="0"/>
              <a:t>Haga clic para modificar el estilo de texto del patrón</a:t>
            </a:r>
          </a:p>
          <a:p>
            <a:pPr lvl="1" eaLnBrk="1" latinLnBrk="0" hangingPunct="1"/>
            <a:r>
              <a:rPr lang="es-ES" smtClean="0"/>
              <a:t>Segundo nivel</a:t>
            </a:r>
          </a:p>
          <a:p>
            <a:pPr lvl="2" eaLnBrk="1" latinLnBrk="0" hangingPunct="1"/>
            <a:r>
              <a:rPr lang="es-ES" smtClean="0"/>
              <a:t>Tercer nivel</a:t>
            </a:r>
          </a:p>
          <a:p>
            <a:pPr lvl="3" eaLnBrk="1" latinLnBrk="0" hangingPunct="1"/>
            <a:r>
              <a:rPr lang="es-ES" smtClean="0"/>
              <a:t>Cuarto nivel</a:t>
            </a:r>
          </a:p>
          <a:p>
            <a:pPr lvl="4" eaLnBrk="1" latinLnBrk="0" hangingPunct="1"/>
            <a:r>
              <a:rPr lang="es-ES" smtClean="0"/>
              <a:t>Quinto nivel</a:t>
            </a:r>
            <a:endParaRPr kumimoji="0" lang="en-US"/>
          </a:p>
        </p:txBody>
      </p:sp>
      <p:sp>
        <p:nvSpPr>
          <p:cNvPr id="5" name="4 Marcador de fecha"/>
          <p:cNvSpPr>
            <a:spLocks noGrp="1"/>
          </p:cNvSpPr>
          <p:nvPr>
            <p:ph type="dt" sz="half" idx="10"/>
          </p:nvPr>
        </p:nvSpPr>
        <p:spPr/>
        <p:txBody>
          <a:bodyPr/>
          <a:lstStyle/>
          <a:p>
            <a:fld id="{32099F8F-6F72-4552-9675-E6A73B760289}" type="datetimeFigureOut">
              <a:rPr lang="es-AR" smtClean="0">
                <a:solidFill>
                  <a:srgbClr val="438086"/>
                </a:solidFill>
              </a:rPr>
              <a:pPr/>
              <a:t>7/8/2024</a:t>
            </a:fld>
            <a:endParaRPr lang="es-AR">
              <a:solidFill>
                <a:srgbClr val="438086"/>
              </a:solidFill>
            </a:endParaRPr>
          </a:p>
        </p:txBody>
      </p:sp>
      <p:sp>
        <p:nvSpPr>
          <p:cNvPr id="6" name="5 Marcador de pie de página"/>
          <p:cNvSpPr>
            <a:spLocks noGrp="1"/>
          </p:cNvSpPr>
          <p:nvPr>
            <p:ph type="ftr" sz="quarter" idx="11"/>
          </p:nvPr>
        </p:nvSpPr>
        <p:spPr/>
        <p:txBody>
          <a:bodyPr/>
          <a:lstStyle/>
          <a:p>
            <a:endParaRPr lang="es-AR">
              <a:solidFill>
                <a:srgbClr val="438086"/>
              </a:solidFill>
            </a:endParaRPr>
          </a:p>
        </p:txBody>
      </p:sp>
      <p:sp>
        <p:nvSpPr>
          <p:cNvPr id="7" name="6 Marcador de número de diapositiva"/>
          <p:cNvSpPr>
            <a:spLocks noGrp="1"/>
          </p:cNvSpPr>
          <p:nvPr>
            <p:ph type="sldNum" sz="quarter" idx="12"/>
          </p:nvPr>
        </p:nvSpPr>
        <p:spPr/>
        <p:txBody>
          <a:bodyPr/>
          <a:lstStyle/>
          <a:p>
            <a:fld id="{2F20CBE2-B0F0-4F11-A5D6-860EBEE691F4}" type="slidenum">
              <a:rPr lang="es-AR" smtClean="0"/>
              <a:pPr/>
              <a:t>‹Nº›</a:t>
            </a:fld>
            <a:endParaRPr lang="es-AR"/>
          </a:p>
        </p:txBody>
      </p:sp>
    </p:spTree>
    <p:extLst>
      <p:ext uri="{BB962C8B-B14F-4D97-AF65-F5344CB8AC3E}">
        <p14:creationId xmlns:p14="http://schemas.microsoft.com/office/powerpoint/2010/main" val="2486258870"/>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5440439" y="831870"/>
            <a:ext cx="586803" cy="3511228"/>
          </a:xfrm>
        </p:spPr>
        <p:txBody>
          <a:bodyPr vert="vert270" lIns="45659" tIns="0" rIns="45659" anchor="t"/>
          <a:lstStyle>
            <a:lvl1pPr algn="ctr">
              <a:buNone/>
              <a:defRPr sz="2000" b="1"/>
            </a:lvl1pPr>
          </a:lstStyle>
          <a:p>
            <a:r>
              <a:rPr kumimoji="0" lang="es-ES" smtClean="0"/>
              <a:t>Haga clic para modificar el estilo de título del patrón</a:t>
            </a:r>
            <a:endParaRPr kumimoji="0" lang="en-US"/>
          </a:p>
        </p:txBody>
      </p:sp>
      <p:sp>
        <p:nvSpPr>
          <p:cNvPr id="3" name="2 Marcador de posición de imagen"/>
          <p:cNvSpPr>
            <a:spLocks noGrp="1"/>
          </p:cNvSpPr>
          <p:nvPr>
            <p:ph type="pic" idx="1"/>
          </p:nvPr>
        </p:nvSpPr>
        <p:spPr>
          <a:xfrm>
            <a:off x="403671" y="857250"/>
            <a:ext cx="4572000" cy="3429000"/>
          </a:xfrm>
          <a:solidFill>
            <a:srgbClr val="EAEAEA"/>
          </a:solidFill>
          <a:ln w="50800">
            <a:solidFill>
              <a:srgbClr val="FFFFFF"/>
            </a:solidFill>
            <a:miter lim="800000"/>
          </a:ln>
          <a:effectLst>
            <a:outerShdw blurRad="57150" dist="31750" dir="4800000" algn="tl" rotWithShape="0">
              <a:srgbClr val="000000">
                <a:alpha val="25000"/>
              </a:srgbClr>
            </a:outerShdw>
          </a:effectLst>
          <a:scene3d>
            <a:camera prst="orthographicFront"/>
            <a:lightRig rig="twoPt" dir="t">
              <a:rot lat="0" lon="0" rev="7200000"/>
            </a:lightRig>
          </a:scene3d>
          <a:sp3d contourW="2540">
            <a:bevelT w="25400" h="19050"/>
            <a:contourClr>
              <a:srgbClr val="AEAEAE"/>
            </a:contourClr>
          </a:sp3d>
        </p:spPr>
        <p:txBody>
          <a:bodyPr/>
          <a:lstStyle>
            <a:lvl1pPr marL="0" indent="0">
              <a:buNone/>
              <a:defRPr sz="3200"/>
            </a:lvl1pPr>
          </a:lstStyle>
          <a:p>
            <a:r>
              <a:rPr kumimoji="0" lang="es-ES" smtClean="0"/>
              <a:t>Haga clic en el icono para agregar una imagen</a:t>
            </a:r>
            <a:endParaRPr kumimoji="0" lang="en-US" dirty="0"/>
          </a:p>
        </p:txBody>
      </p:sp>
      <p:sp>
        <p:nvSpPr>
          <p:cNvPr id="4" name="3 Marcador de texto"/>
          <p:cNvSpPr>
            <a:spLocks noGrp="1"/>
          </p:cNvSpPr>
          <p:nvPr>
            <p:ph type="body" sz="half" idx="2"/>
          </p:nvPr>
        </p:nvSpPr>
        <p:spPr>
          <a:xfrm>
            <a:off x="6088443" y="2455842"/>
            <a:ext cx="2590800" cy="1887367"/>
          </a:xfrm>
        </p:spPr>
        <p:txBody>
          <a:bodyPr lIns="0" tIns="0" rIns="45659" anchor="t"/>
          <a:lstStyle>
            <a:lvl1pPr marL="0" indent="0">
              <a:lnSpc>
                <a:spcPct val="100000"/>
              </a:lnSpc>
              <a:spcBef>
                <a:spcPts val="0"/>
              </a:spcBef>
              <a:buFontTx/>
              <a:buNone/>
              <a:defRPr sz="1300"/>
            </a:lvl1pPr>
            <a:lvl2pPr>
              <a:buFontTx/>
              <a:buNone/>
              <a:defRPr sz="1200"/>
            </a:lvl2pPr>
            <a:lvl3pPr>
              <a:buFontTx/>
              <a:buNone/>
              <a:defRPr sz="1000"/>
            </a:lvl3pPr>
            <a:lvl4pPr>
              <a:buFontTx/>
              <a:buNone/>
              <a:defRPr sz="900"/>
            </a:lvl4pPr>
            <a:lvl5pPr>
              <a:buFontTx/>
              <a:buNone/>
              <a:defRPr sz="900"/>
            </a:lvl5pPr>
          </a:lstStyle>
          <a:p>
            <a:pPr lvl="0" eaLnBrk="1" latinLnBrk="0" hangingPunct="1"/>
            <a:r>
              <a:rPr kumimoji="0" lang="es-ES" smtClean="0"/>
              <a:t>Haga clic para modificar el estilo de texto del patrón</a:t>
            </a:r>
          </a:p>
        </p:txBody>
      </p:sp>
      <p:sp>
        <p:nvSpPr>
          <p:cNvPr id="5" name="4 Marcador de fecha"/>
          <p:cNvSpPr>
            <a:spLocks noGrp="1"/>
          </p:cNvSpPr>
          <p:nvPr>
            <p:ph type="dt" sz="half" idx="10"/>
          </p:nvPr>
        </p:nvSpPr>
        <p:spPr/>
        <p:txBody>
          <a:bodyPr/>
          <a:lstStyle/>
          <a:p>
            <a:fld id="{32099F8F-6F72-4552-9675-E6A73B760289}" type="datetimeFigureOut">
              <a:rPr lang="es-AR" smtClean="0">
                <a:solidFill>
                  <a:srgbClr val="438086"/>
                </a:solidFill>
              </a:rPr>
              <a:pPr/>
              <a:t>7/8/2024</a:t>
            </a:fld>
            <a:endParaRPr lang="es-AR">
              <a:solidFill>
                <a:srgbClr val="438086"/>
              </a:solidFill>
            </a:endParaRPr>
          </a:p>
        </p:txBody>
      </p:sp>
      <p:sp>
        <p:nvSpPr>
          <p:cNvPr id="6" name="5 Marcador de pie de página"/>
          <p:cNvSpPr>
            <a:spLocks noGrp="1"/>
          </p:cNvSpPr>
          <p:nvPr>
            <p:ph type="ftr" sz="quarter" idx="11"/>
          </p:nvPr>
        </p:nvSpPr>
        <p:spPr/>
        <p:txBody>
          <a:bodyPr/>
          <a:lstStyle/>
          <a:p>
            <a:endParaRPr lang="es-AR">
              <a:solidFill>
                <a:srgbClr val="438086"/>
              </a:solidFill>
            </a:endParaRPr>
          </a:p>
        </p:txBody>
      </p:sp>
      <p:sp>
        <p:nvSpPr>
          <p:cNvPr id="7" name="6 Marcador de número de diapositiva"/>
          <p:cNvSpPr>
            <a:spLocks noGrp="1"/>
          </p:cNvSpPr>
          <p:nvPr>
            <p:ph type="sldNum" sz="quarter" idx="12"/>
          </p:nvPr>
        </p:nvSpPr>
        <p:spPr/>
        <p:txBody>
          <a:bodyPr/>
          <a:lstStyle/>
          <a:p>
            <a:fld id="{2F20CBE2-B0F0-4F11-A5D6-860EBEE691F4}" type="slidenum">
              <a:rPr lang="es-AR" smtClean="0"/>
              <a:pPr/>
              <a:t>‹Nº›</a:t>
            </a:fld>
            <a:endParaRPr lang="es-AR"/>
          </a:p>
        </p:txBody>
      </p:sp>
    </p:spTree>
    <p:extLst>
      <p:ext uri="{BB962C8B-B14F-4D97-AF65-F5344CB8AC3E}">
        <p14:creationId xmlns:p14="http://schemas.microsoft.com/office/powerpoint/2010/main" val="1924639820"/>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kumimoji="0" lang="es-ES" smtClean="0"/>
              <a:t>Haga clic para modificar el estilo de título del patrón</a:t>
            </a:r>
            <a:endParaRPr kumimoji="0" lang="en-US"/>
          </a:p>
        </p:txBody>
      </p:sp>
      <p:sp>
        <p:nvSpPr>
          <p:cNvPr id="3" name="2 Marcador de texto vertical"/>
          <p:cNvSpPr>
            <a:spLocks noGrp="1"/>
          </p:cNvSpPr>
          <p:nvPr>
            <p:ph type="body" orient="vert" idx="1"/>
          </p:nvPr>
        </p:nvSpPr>
        <p:spPr/>
        <p:txBody>
          <a:bodyPr vert="eaVert"/>
          <a:lstStyle/>
          <a:p>
            <a:pPr lvl="0" eaLnBrk="1" latinLnBrk="0" hangingPunct="1"/>
            <a:r>
              <a:rPr lang="es-ES" smtClean="0"/>
              <a:t>Haga clic para modificar el estilo de texto del patrón</a:t>
            </a:r>
          </a:p>
          <a:p>
            <a:pPr lvl="1" eaLnBrk="1" latinLnBrk="0" hangingPunct="1"/>
            <a:r>
              <a:rPr lang="es-ES" smtClean="0"/>
              <a:t>Segundo nivel</a:t>
            </a:r>
          </a:p>
          <a:p>
            <a:pPr lvl="2" eaLnBrk="1" latinLnBrk="0" hangingPunct="1"/>
            <a:r>
              <a:rPr lang="es-ES" smtClean="0"/>
              <a:t>Tercer nivel</a:t>
            </a:r>
          </a:p>
          <a:p>
            <a:pPr lvl="3" eaLnBrk="1" latinLnBrk="0" hangingPunct="1"/>
            <a:r>
              <a:rPr lang="es-ES" smtClean="0"/>
              <a:t>Cuarto nivel</a:t>
            </a:r>
          </a:p>
          <a:p>
            <a:pPr lvl="4" eaLnBrk="1" latinLnBrk="0" hangingPunct="1"/>
            <a:r>
              <a:rPr lang="es-ES" smtClean="0"/>
              <a:t>Quinto nivel</a:t>
            </a:r>
            <a:endParaRPr kumimoji="0" lang="en-US"/>
          </a:p>
        </p:txBody>
      </p:sp>
      <p:sp>
        <p:nvSpPr>
          <p:cNvPr id="4" name="3 Marcador de fecha"/>
          <p:cNvSpPr>
            <a:spLocks noGrp="1"/>
          </p:cNvSpPr>
          <p:nvPr>
            <p:ph type="dt" sz="half" idx="10"/>
          </p:nvPr>
        </p:nvSpPr>
        <p:spPr/>
        <p:txBody>
          <a:bodyPr/>
          <a:lstStyle/>
          <a:p>
            <a:fld id="{32099F8F-6F72-4552-9675-E6A73B760289}" type="datetimeFigureOut">
              <a:rPr lang="es-AR" smtClean="0">
                <a:solidFill>
                  <a:srgbClr val="438086"/>
                </a:solidFill>
              </a:rPr>
              <a:pPr/>
              <a:t>7/8/2024</a:t>
            </a:fld>
            <a:endParaRPr lang="es-AR">
              <a:solidFill>
                <a:srgbClr val="438086"/>
              </a:solidFill>
            </a:endParaRPr>
          </a:p>
        </p:txBody>
      </p:sp>
      <p:sp>
        <p:nvSpPr>
          <p:cNvPr id="5" name="4 Marcador de pie de página"/>
          <p:cNvSpPr>
            <a:spLocks noGrp="1"/>
          </p:cNvSpPr>
          <p:nvPr>
            <p:ph type="ftr" sz="quarter" idx="11"/>
          </p:nvPr>
        </p:nvSpPr>
        <p:spPr/>
        <p:txBody>
          <a:bodyPr/>
          <a:lstStyle/>
          <a:p>
            <a:endParaRPr lang="es-AR">
              <a:solidFill>
                <a:srgbClr val="438086"/>
              </a:solidFill>
            </a:endParaRPr>
          </a:p>
        </p:txBody>
      </p:sp>
      <p:sp>
        <p:nvSpPr>
          <p:cNvPr id="6" name="5 Marcador de número de diapositiva"/>
          <p:cNvSpPr>
            <a:spLocks noGrp="1"/>
          </p:cNvSpPr>
          <p:nvPr>
            <p:ph type="sldNum" sz="quarter" idx="12"/>
          </p:nvPr>
        </p:nvSpPr>
        <p:spPr/>
        <p:txBody>
          <a:bodyPr/>
          <a:lstStyle/>
          <a:p>
            <a:fld id="{2F20CBE2-B0F0-4F11-A5D6-860EBEE691F4}" type="slidenum">
              <a:rPr lang="es-AR" smtClean="0"/>
              <a:pPr/>
              <a:t>‹Nº›</a:t>
            </a:fld>
            <a:endParaRPr lang="es-AR"/>
          </a:p>
        </p:txBody>
      </p:sp>
    </p:spTree>
    <p:extLst>
      <p:ext uri="{BB962C8B-B14F-4D97-AF65-F5344CB8AC3E}">
        <p14:creationId xmlns:p14="http://schemas.microsoft.com/office/powerpoint/2010/main" val="45067747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781800" y="857250"/>
            <a:ext cx="1905000" cy="4114800"/>
          </a:xfrm>
        </p:spPr>
        <p:txBody>
          <a:bodyPr vert="eaVert"/>
          <a:lstStyle/>
          <a:p>
            <a:r>
              <a:rPr kumimoji="0" lang="es-ES" smtClean="0"/>
              <a:t>Haga clic para modificar el estilo de título del patrón</a:t>
            </a:r>
            <a:endParaRPr kumimoji="0" lang="en-US"/>
          </a:p>
        </p:txBody>
      </p:sp>
      <p:sp>
        <p:nvSpPr>
          <p:cNvPr id="3" name="2 Marcador de texto vertical"/>
          <p:cNvSpPr>
            <a:spLocks noGrp="1"/>
          </p:cNvSpPr>
          <p:nvPr>
            <p:ph type="body" orient="vert" idx="1"/>
          </p:nvPr>
        </p:nvSpPr>
        <p:spPr>
          <a:xfrm>
            <a:off x="457200" y="857250"/>
            <a:ext cx="6248400" cy="4114800"/>
          </a:xfrm>
        </p:spPr>
        <p:txBody>
          <a:bodyPr vert="eaVert"/>
          <a:lstStyle/>
          <a:p>
            <a:pPr lvl="0" eaLnBrk="1" latinLnBrk="0" hangingPunct="1"/>
            <a:r>
              <a:rPr lang="es-ES" smtClean="0"/>
              <a:t>Haga clic para modificar el estilo de texto del patrón</a:t>
            </a:r>
          </a:p>
          <a:p>
            <a:pPr lvl="1" eaLnBrk="1" latinLnBrk="0" hangingPunct="1"/>
            <a:r>
              <a:rPr lang="es-ES" smtClean="0"/>
              <a:t>Segundo nivel</a:t>
            </a:r>
          </a:p>
          <a:p>
            <a:pPr lvl="2" eaLnBrk="1" latinLnBrk="0" hangingPunct="1"/>
            <a:r>
              <a:rPr lang="es-ES" smtClean="0"/>
              <a:t>Tercer nivel</a:t>
            </a:r>
          </a:p>
          <a:p>
            <a:pPr lvl="3" eaLnBrk="1" latinLnBrk="0" hangingPunct="1"/>
            <a:r>
              <a:rPr lang="es-ES" smtClean="0"/>
              <a:t>Cuarto nivel</a:t>
            </a:r>
          </a:p>
          <a:p>
            <a:pPr lvl="4" eaLnBrk="1" latinLnBrk="0" hangingPunct="1"/>
            <a:r>
              <a:rPr lang="es-ES" smtClean="0"/>
              <a:t>Quinto nivel</a:t>
            </a:r>
            <a:endParaRPr kumimoji="0" lang="en-US"/>
          </a:p>
        </p:txBody>
      </p:sp>
      <p:sp>
        <p:nvSpPr>
          <p:cNvPr id="4" name="3 Marcador de fecha"/>
          <p:cNvSpPr>
            <a:spLocks noGrp="1"/>
          </p:cNvSpPr>
          <p:nvPr>
            <p:ph type="dt" sz="half" idx="10"/>
          </p:nvPr>
        </p:nvSpPr>
        <p:spPr/>
        <p:txBody>
          <a:bodyPr/>
          <a:lstStyle/>
          <a:p>
            <a:fld id="{32099F8F-6F72-4552-9675-E6A73B760289}" type="datetimeFigureOut">
              <a:rPr lang="es-AR" smtClean="0">
                <a:solidFill>
                  <a:srgbClr val="438086"/>
                </a:solidFill>
              </a:rPr>
              <a:pPr/>
              <a:t>7/8/2024</a:t>
            </a:fld>
            <a:endParaRPr lang="es-AR">
              <a:solidFill>
                <a:srgbClr val="438086"/>
              </a:solidFill>
            </a:endParaRPr>
          </a:p>
        </p:txBody>
      </p:sp>
      <p:sp>
        <p:nvSpPr>
          <p:cNvPr id="5" name="4 Marcador de pie de página"/>
          <p:cNvSpPr>
            <a:spLocks noGrp="1"/>
          </p:cNvSpPr>
          <p:nvPr>
            <p:ph type="ftr" sz="quarter" idx="11"/>
          </p:nvPr>
        </p:nvSpPr>
        <p:spPr/>
        <p:txBody>
          <a:bodyPr/>
          <a:lstStyle/>
          <a:p>
            <a:endParaRPr lang="es-AR">
              <a:solidFill>
                <a:srgbClr val="438086"/>
              </a:solidFill>
            </a:endParaRPr>
          </a:p>
        </p:txBody>
      </p:sp>
      <p:sp>
        <p:nvSpPr>
          <p:cNvPr id="6" name="5 Marcador de número de diapositiva"/>
          <p:cNvSpPr>
            <a:spLocks noGrp="1"/>
          </p:cNvSpPr>
          <p:nvPr>
            <p:ph type="sldNum" sz="quarter" idx="12"/>
          </p:nvPr>
        </p:nvSpPr>
        <p:spPr/>
        <p:txBody>
          <a:bodyPr/>
          <a:lstStyle/>
          <a:p>
            <a:fld id="{2F20CBE2-B0F0-4F11-A5D6-860EBEE691F4}" type="slidenum">
              <a:rPr lang="es-AR" smtClean="0"/>
              <a:pPr/>
              <a:t>‹Nº›</a:t>
            </a:fld>
            <a:endParaRPr lang="es-AR"/>
          </a:p>
        </p:txBody>
      </p:sp>
    </p:spTree>
    <p:extLst>
      <p:ext uri="{BB962C8B-B14F-4D97-AF65-F5344CB8AC3E}">
        <p14:creationId xmlns:p14="http://schemas.microsoft.com/office/powerpoint/2010/main" val="3375656659"/>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1_Encabezado de sección">
    <p:bg>
      <p:bgPr>
        <a:gradFill rotWithShape="1">
          <a:gsLst>
            <a:gs pos="0">
              <a:srgbClr val="3CCDC1"/>
            </a:gs>
            <a:gs pos="75000">
              <a:srgbClr val="075460"/>
            </a:gs>
            <a:gs pos="100000">
              <a:srgbClr val="075460"/>
            </a:gs>
          </a:gsLst>
          <a:lin ang="6120000" scaled="1"/>
        </a:gradFill>
        <a:effectLst/>
      </p:bgPr>
    </p:bg>
    <p:spTree>
      <p:nvGrpSpPr>
        <p:cNvPr id="1" name=""/>
        <p:cNvGrpSpPr/>
        <p:nvPr/>
      </p:nvGrpSpPr>
      <p:grpSpPr>
        <a:xfrm>
          <a:off x="0" y="0"/>
          <a:ext cx="0" cy="0"/>
          <a:chOff x="0" y="0"/>
          <a:chExt cx="0" cy="0"/>
        </a:xfrm>
      </p:grpSpPr>
      <p:pic>
        <p:nvPicPr>
          <p:cNvPr id="4" name="Picture 3"/>
          <p:cNvPicPr>
            <a:picLocks noChangeAspect="1" noChangeArrowheads="1"/>
          </p:cNvPicPr>
          <p:nvPr/>
        </p:nvPicPr>
        <p:blipFill>
          <a:blip r:embed="rId3">
            <a:lum bright="6000" contrast="-6000"/>
            <a:extLst>
              <a:ext uri="{28A0092B-C50C-407E-A947-70E740481C1C}">
                <a14:useLocalDpi xmlns:a14="http://schemas.microsoft.com/office/drawing/2010/main" val="0"/>
              </a:ext>
            </a:extLst>
          </a:blip>
          <a:srcRect/>
          <a:stretch>
            <a:fillRect/>
          </a:stretch>
        </p:blipFill>
        <p:spPr bwMode="auto">
          <a:xfrm>
            <a:off x="7046936" y="4537473"/>
            <a:ext cx="2097087" cy="606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sp>
        <p:nvSpPr>
          <p:cNvPr id="3" name="2 Marcador de texto"/>
          <p:cNvSpPr>
            <a:spLocks noGrp="1"/>
          </p:cNvSpPr>
          <p:nvPr>
            <p:ph type="body" idx="1"/>
          </p:nvPr>
        </p:nvSpPr>
        <p:spPr>
          <a:xfrm>
            <a:off x="530352" y="2028498"/>
            <a:ext cx="7772400" cy="1132284"/>
          </a:xfrm>
        </p:spPr>
        <p:txBody>
          <a:bodyPr lIns="45659" rIns="45659"/>
          <a:lstStyle>
            <a:lvl1pPr marL="0" indent="0">
              <a:buNone/>
              <a:defRPr sz="2200">
                <a:solidFill>
                  <a:schemeClr val="tx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es-ES"/>
              <a:t>Haga clic para modificar el estilo de texto del patrón</a:t>
            </a:r>
          </a:p>
        </p:txBody>
      </p:sp>
      <p:sp>
        <p:nvSpPr>
          <p:cNvPr id="5" name="3 Marcador de fecha">
            <a:extLst>
              <a:ext uri="{FF2B5EF4-FFF2-40B4-BE49-F238E27FC236}"/>
            </a:extLst>
          </p:cNvPr>
          <p:cNvSpPr>
            <a:spLocks noGrp="1"/>
          </p:cNvSpPr>
          <p:nvPr>
            <p:ph type="dt" sz="half" idx="10"/>
          </p:nvPr>
        </p:nvSpPr>
        <p:spPr/>
        <p:txBody>
          <a:bodyPr/>
          <a:lstStyle>
            <a:lvl1pPr>
              <a:defRPr/>
            </a:lvl1pPr>
          </a:lstStyle>
          <a:p>
            <a:pPr>
              <a:defRPr/>
            </a:pPr>
            <a:fld id="{77F808A8-D150-42D2-9014-A48D57619BB4}" type="datetimeFigureOut">
              <a:rPr lang="es-AR">
                <a:solidFill>
                  <a:srgbClr val="105964">
                    <a:lumMod val="50000"/>
                  </a:srgbClr>
                </a:solidFill>
              </a:rPr>
              <a:pPr>
                <a:defRPr/>
              </a:pPr>
              <a:t>7/8/2024</a:t>
            </a:fld>
            <a:endParaRPr lang="es-AR">
              <a:solidFill>
                <a:srgbClr val="105964">
                  <a:lumMod val="50000"/>
                </a:srgbClr>
              </a:solidFill>
            </a:endParaRPr>
          </a:p>
        </p:txBody>
      </p:sp>
      <p:sp>
        <p:nvSpPr>
          <p:cNvPr id="6" name="4 Marcador de pie de página">
            <a:extLst>
              <a:ext uri="{FF2B5EF4-FFF2-40B4-BE49-F238E27FC236}"/>
            </a:extLst>
          </p:cNvPr>
          <p:cNvSpPr>
            <a:spLocks noGrp="1"/>
          </p:cNvSpPr>
          <p:nvPr>
            <p:ph type="ftr" sz="quarter" idx="11"/>
          </p:nvPr>
        </p:nvSpPr>
        <p:spPr/>
        <p:txBody>
          <a:bodyPr/>
          <a:lstStyle>
            <a:lvl1pPr>
              <a:defRPr/>
            </a:lvl1pPr>
          </a:lstStyle>
          <a:p>
            <a:pPr>
              <a:defRPr/>
            </a:pPr>
            <a:endParaRPr lang="es-AR">
              <a:solidFill>
                <a:srgbClr val="105964">
                  <a:lumMod val="50000"/>
                </a:srgbClr>
              </a:solidFill>
            </a:endParaRPr>
          </a:p>
        </p:txBody>
      </p:sp>
      <p:sp>
        <p:nvSpPr>
          <p:cNvPr id="7" name="5 Marcador de número de diapositiva">
            <a:extLst>
              <a:ext uri="{FF2B5EF4-FFF2-40B4-BE49-F238E27FC236}"/>
            </a:extLst>
          </p:cNvPr>
          <p:cNvSpPr>
            <a:spLocks noGrp="1"/>
          </p:cNvSpPr>
          <p:nvPr>
            <p:ph type="sldNum" sz="quarter" idx="12"/>
          </p:nvPr>
        </p:nvSpPr>
        <p:spPr/>
        <p:txBody>
          <a:bodyPr/>
          <a:lstStyle>
            <a:lvl1pPr>
              <a:defRPr>
                <a:solidFill>
                  <a:srgbClr val="082C32"/>
                </a:solidFill>
              </a:defRPr>
            </a:lvl1pPr>
          </a:lstStyle>
          <a:p>
            <a:pPr>
              <a:defRPr/>
            </a:pPr>
            <a:fld id="{1FF74ADD-CA85-49FC-91A2-E078ACC10AA5}" type="slidenum">
              <a:rPr lang="es-AR" altLang="es-ES"/>
              <a:pPr>
                <a:defRPr/>
              </a:pPr>
              <a:t>‹Nº›</a:t>
            </a:fld>
            <a:endParaRPr lang="es-AR" altLang="es-ES"/>
          </a:p>
        </p:txBody>
      </p:sp>
    </p:spTree>
    <p:extLst>
      <p:ext uri="{BB962C8B-B14F-4D97-AF65-F5344CB8AC3E}">
        <p14:creationId xmlns:p14="http://schemas.microsoft.com/office/powerpoint/2010/main" val="27800126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type="title" preserve="1">
  <p:cSld name="Diapositiva de título">
    <p:spTree>
      <p:nvGrpSpPr>
        <p:cNvPr id="1" name=""/>
        <p:cNvGrpSpPr/>
        <p:nvPr/>
      </p:nvGrpSpPr>
      <p:grpSpPr>
        <a:xfrm>
          <a:off x="0" y="0"/>
          <a:ext cx="0" cy="0"/>
          <a:chOff x="0" y="0"/>
          <a:chExt cx="0" cy="0"/>
        </a:xfrm>
      </p:grpSpPr>
      <p:sp>
        <p:nvSpPr>
          <p:cNvPr id="23" name="22 Rectángulo"/>
          <p:cNvSpPr/>
          <p:nvPr/>
        </p:nvSpPr>
        <p:spPr>
          <a:xfrm flipV="1">
            <a:off x="5410223" y="2857551"/>
            <a:ext cx="3733819" cy="68315"/>
          </a:xfrm>
          <a:prstGeom prst="rect">
            <a:avLst/>
          </a:prstGeom>
          <a:solidFill>
            <a:schemeClr val="accent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18" tIns="45659" rIns="91318" bIns="45659" anchor="ctr"/>
          <a:lstStyle/>
          <a:p>
            <a:pPr algn="ctr" defTabSz="913028"/>
            <a:endParaRPr lang="en-US">
              <a:solidFill>
                <a:prstClr val="white"/>
              </a:solidFill>
            </a:endParaRPr>
          </a:p>
        </p:txBody>
      </p:sp>
      <p:sp>
        <p:nvSpPr>
          <p:cNvPr id="24" name="23 Rectángulo"/>
          <p:cNvSpPr/>
          <p:nvPr/>
        </p:nvSpPr>
        <p:spPr>
          <a:xfrm flipV="1">
            <a:off x="5410265" y="2922758"/>
            <a:ext cx="3733801" cy="144018"/>
          </a:xfrm>
          <a:prstGeom prst="rect">
            <a:avLst/>
          </a:prstGeom>
          <a:solidFill>
            <a:schemeClr val="accent2">
              <a:alpha val="5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18" tIns="45659" rIns="91318" bIns="45659" anchor="ctr"/>
          <a:lstStyle/>
          <a:p>
            <a:pPr algn="ctr" defTabSz="913028"/>
            <a:endParaRPr lang="en-US">
              <a:solidFill>
                <a:prstClr val="white"/>
              </a:solidFill>
            </a:endParaRPr>
          </a:p>
        </p:txBody>
      </p:sp>
      <p:sp>
        <p:nvSpPr>
          <p:cNvPr id="25" name="24 Rectángulo"/>
          <p:cNvSpPr/>
          <p:nvPr/>
        </p:nvSpPr>
        <p:spPr>
          <a:xfrm flipV="1">
            <a:off x="5410265" y="3086375"/>
            <a:ext cx="3733801" cy="6858"/>
          </a:xfrm>
          <a:prstGeom prst="rect">
            <a:avLst/>
          </a:prstGeom>
          <a:solidFill>
            <a:schemeClr val="accent2">
              <a:alpha val="65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18" tIns="45659" rIns="91318" bIns="45659" anchor="ctr"/>
          <a:lstStyle/>
          <a:p>
            <a:pPr algn="ctr" defTabSz="913028"/>
            <a:endParaRPr lang="en-US">
              <a:solidFill>
                <a:prstClr val="white"/>
              </a:solidFill>
            </a:endParaRPr>
          </a:p>
        </p:txBody>
      </p:sp>
      <p:sp>
        <p:nvSpPr>
          <p:cNvPr id="26" name="25 Rectángulo"/>
          <p:cNvSpPr/>
          <p:nvPr/>
        </p:nvSpPr>
        <p:spPr>
          <a:xfrm flipV="1">
            <a:off x="5410200" y="3123302"/>
            <a:ext cx="1965960" cy="13716"/>
          </a:xfrm>
          <a:prstGeom prst="rect">
            <a:avLst/>
          </a:prstGeom>
          <a:solidFill>
            <a:schemeClr val="accent2">
              <a:alpha val="6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18" tIns="45659" rIns="91318" bIns="45659" anchor="ctr"/>
          <a:lstStyle/>
          <a:p>
            <a:pPr algn="ctr" defTabSz="913028"/>
            <a:endParaRPr lang="en-US">
              <a:solidFill>
                <a:prstClr val="white"/>
              </a:solidFill>
            </a:endParaRPr>
          </a:p>
        </p:txBody>
      </p:sp>
      <p:sp>
        <p:nvSpPr>
          <p:cNvPr id="27" name="26 Rectángulo"/>
          <p:cNvSpPr/>
          <p:nvPr/>
        </p:nvSpPr>
        <p:spPr>
          <a:xfrm flipV="1">
            <a:off x="5410200" y="3149679"/>
            <a:ext cx="1965960" cy="6858"/>
          </a:xfrm>
          <a:prstGeom prst="rect">
            <a:avLst/>
          </a:prstGeom>
          <a:solidFill>
            <a:schemeClr val="accent2">
              <a:alpha val="65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18" tIns="45659" rIns="91318" bIns="45659" anchor="ctr"/>
          <a:lstStyle/>
          <a:p>
            <a:pPr algn="ctr" defTabSz="913028"/>
            <a:endParaRPr lang="en-US">
              <a:solidFill>
                <a:prstClr val="white"/>
              </a:solidFill>
            </a:endParaRPr>
          </a:p>
        </p:txBody>
      </p:sp>
      <p:sp useBgFill="1">
        <p:nvSpPr>
          <p:cNvPr id="30" name="29 Rectángulo redondeado"/>
          <p:cNvSpPr/>
          <p:nvPr/>
        </p:nvSpPr>
        <p:spPr bwMode="white">
          <a:xfrm>
            <a:off x="5410200" y="2971800"/>
            <a:ext cx="3063240" cy="20574"/>
          </a:xfrm>
          <a:prstGeom prst="roundRect">
            <a:avLst>
              <a:gd name="adj" fmla="val 16667"/>
            </a:avLst>
          </a:prstGeom>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18" tIns="45659" rIns="91318" bIns="45659" anchor="ctr"/>
          <a:lstStyle/>
          <a:p>
            <a:pPr algn="ctr" defTabSz="913028"/>
            <a:endParaRPr lang="en-US">
              <a:solidFill>
                <a:prstClr val="white"/>
              </a:solidFill>
            </a:endParaRPr>
          </a:p>
        </p:txBody>
      </p:sp>
      <p:sp useBgFill="1">
        <p:nvSpPr>
          <p:cNvPr id="31" name="30 Rectángulo redondeado"/>
          <p:cNvSpPr/>
          <p:nvPr/>
        </p:nvSpPr>
        <p:spPr bwMode="white">
          <a:xfrm>
            <a:off x="7376507" y="3045737"/>
            <a:ext cx="1600200" cy="27432"/>
          </a:xfrm>
          <a:prstGeom prst="roundRect">
            <a:avLst>
              <a:gd name="adj" fmla="val 16667"/>
            </a:avLst>
          </a:prstGeom>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18" tIns="45659" rIns="91318" bIns="45659" anchor="ctr"/>
          <a:lstStyle/>
          <a:p>
            <a:pPr algn="ctr" defTabSz="913028"/>
            <a:endParaRPr lang="en-US">
              <a:solidFill>
                <a:prstClr val="white"/>
              </a:solidFill>
            </a:endParaRPr>
          </a:p>
        </p:txBody>
      </p:sp>
      <p:sp>
        <p:nvSpPr>
          <p:cNvPr id="7" name="6 Rectángulo"/>
          <p:cNvSpPr/>
          <p:nvPr/>
        </p:nvSpPr>
        <p:spPr>
          <a:xfrm>
            <a:off x="1" y="2737246"/>
            <a:ext cx="9144000" cy="183128"/>
          </a:xfrm>
          <a:prstGeom prst="rect">
            <a:avLst/>
          </a:prstGeom>
          <a:solidFill>
            <a:schemeClr val="accent2">
              <a:alpha val="5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18" tIns="45659" rIns="91318" bIns="45659" anchor="ctr"/>
          <a:lstStyle/>
          <a:p>
            <a:pPr algn="ctr" defTabSz="913028"/>
            <a:endParaRPr lang="en-US">
              <a:solidFill>
                <a:prstClr val="white"/>
              </a:solidFill>
            </a:endParaRPr>
          </a:p>
        </p:txBody>
      </p:sp>
      <p:sp>
        <p:nvSpPr>
          <p:cNvPr id="10" name="9 Rectángulo"/>
          <p:cNvSpPr/>
          <p:nvPr/>
        </p:nvSpPr>
        <p:spPr>
          <a:xfrm>
            <a:off x="17" y="2756646"/>
            <a:ext cx="9144001" cy="105508"/>
          </a:xfrm>
          <a:prstGeom prst="rect">
            <a:avLst/>
          </a:prstGeom>
          <a:solidFill>
            <a:schemeClr val="accent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18" tIns="45659" rIns="91318" bIns="45659" anchor="ctr"/>
          <a:lstStyle/>
          <a:p>
            <a:pPr algn="ctr" defTabSz="913028"/>
            <a:endParaRPr lang="en-US">
              <a:solidFill>
                <a:prstClr val="white"/>
              </a:solidFill>
            </a:endParaRPr>
          </a:p>
        </p:txBody>
      </p:sp>
      <p:sp>
        <p:nvSpPr>
          <p:cNvPr id="11" name="10 Rectángulo"/>
          <p:cNvSpPr/>
          <p:nvPr/>
        </p:nvSpPr>
        <p:spPr>
          <a:xfrm flipV="1">
            <a:off x="6414051" y="2732318"/>
            <a:ext cx="2729950" cy="186324"/>
          </a:xfrm>
          <a:prstGeom prst="rect">
            <a:avLst/>
          </a:prstGeom>
          <a:solidFill>
            <a:schemeClr val="accent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18" tIns="45659" rIns="91318" bIns="45659" anchor="ctr"/>
          <a:lstStyle/>
          <a:p>
            <a:pPr algn="ctr" defTabSz="913028"/>
            <a:endParaRPr lang="en-US">
              <a:solidFill>
                <a:prstClr val="white"/>
              </a:solidFill>
            </a:endParaRPr>
          </a:p>
        </p:txBody>
      </p:sp>
      <p:sp>
        <p:nvSpPr>
          <p:cNvPr id="19" name="18 Rectángulo"/>
          <p:cNvSpPr/>
          <p:nvPr/>
        </p:nvSpPr>
        <p:spPr>
          <a:xfrm>
            <a:off x="0" y="1"/>
            <a:ext cx="9144000" cy="2776275"/>
          </a:xfrm>
          <a:prstGeom prst="rect">
            <a:avLst/>
          </a:prstGeom>
          <a:solidFill>
            <a:schemeClr val="tx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18" tIns="45659" rIns="91318" bIns="45659" anchor="ctr"/>
          <a:lstStyle/>
          <a:p>
            <a:pPr algn="ctr" defTabSz="913028"/>
            <a:endParaRPr lang="en-US">
              <a:solidFill>
                <a:prstClr val="white"/>
              </a:solidFill>
            </a:endParaRPr>
          </a:p>
        </p:txBody>
      </p:sp>
      <p:sp>
        <p:nvSpPr>
          <p:cNvPr id="8" name="7 Título"/>
          <p:cNvSpPr>
            <a:spLocks noGrp="1"/>
          </p:cNvSpPr>
          <p:nvPr>
            <p:ph type="ctrTitle"/>
          </p:nvPr>
        </p:nvSpPr>
        <p:spPr>
          <a:xfrm>
            <a:off x="457200" y="1801547"/>
            <a:ext cx="8458200" cy="1102519"/>
          </a:xfrm>
        </p:spPr>
        <p:txBody>
          <a:bodyPr anchor="b"/>
          <a:lstStyle>
            <a:lvl1pPr>
              <a:defRPr sz="4400">
                <a:solidFill>
                  <a:schemeClr val="bg1"/>
                </a:solidFill>
              </a:defRPr>
            </a:lvl1pPr>
          </a:lstStyle>
          <a:p>
            <a:r>
              <a:rPr kumimoji="0" lang="es-ES" smtClean="0"/>
              <a:t>Haga clic para modificar el estilo de título del patrón</a:t>
            </a:r>
            <a:endParaRPr kumimoji="0" lang="en-US"/>
          </a:p>
        </p:txBody>
      </p:sp>
      <p:sp>
        <p:nvSpPr>
          <p:cNvPr id="9" name="8 Subtítulo"/>
          <p:cNvSpPr>
            <a:spLocks noGrp="1"/>
          </p:cNvSpPr>
          <p:nvPr>
            <p:ph type="subTitle" idx="1"/>
          </p:nvPr>
        </p:nvSpPr>
        <p:spPr>
          <a:xfrm>
            <a:off x="457200" y="2924953"/>
            <a:ext cx="4953000" cy="1314450"/>
          </a:xfrm>
        </p:spPr>
        <p:txBody>
          <a:bodyPr/>
          <a:lstStyle>
            <a:lvl1pPr marL="63917" indent="0" algn="l">
              <a:buNone/>
              <a:defRPr sz="2400">
                <a:solidFill>
                  <a:schemeClr val="tx2"/>
                </a:solidFill>
              </a:defRPr>
            </a:lvl1pPr>
            <a:lvl2pPr marL="456470" indent="0" algn="ctr">
              <a:buNone/>
            </a:lvl2pPr>
            <a:lvl3pPr marL="913028" indent="0" algn="ctr">
              <a:buNone/>
            </a:lvl3pPr>
            <a:lvl4pPr marL="1369526" indent="0" algn="ctr">
              <a:buNone/>
            </a:lvl4pPr>
            <a:lvl5pPr marL="1826054" indent="0" algn="ctr">
              <a:buNone/>
            </a:lvl5pPr>
            <a:lvl6pPr marL="2282523" indent="0" algn="ctr">
              <a:buNone/>
            </a:lvl6pPr>
            <a:lvl7pPr marL="2738993" indent="0" algn="ctr">
              <a:buNone/>
            </a:lvl7pPr>
            <a:lvl8pPr marL="3195520" indent="0" algn="ctr">
              <a:buNone/>
            </a:lvl8pPr>
            <a:lvl9pPr marL="3652035" indent="0" algn="ctr">
              <a:buNone/>
            </a:lvl9pPr>
          </a:lstStyle>
          <a:p>
            <a:r>
              <a:rPr kumimoji="0" lang="es-ES" smtClean="0"/>
              <a:t>Haga clic para modificar el estilo de subtítulo del patrón</a:t>
            </a:r>
            <a:endParaRPr kumimoji="0" lang="en-US"/>
          </a:p>
        </p:txBody>
      </p:sp>
      <p:sp>
        <p:nvSpPr>
          <p:cNvPr id="28" name="27 Marcador de fecha"/>
          <p:cNvSpPr>
            <a:spLocks noGrp="1"/>
          </p:cNvSpPr>
          <p:nvPr>
            <p:ph type="dt" sz="half" idx="10"/>
          </p:nvPr>
        </p:nvSpPr>
        <p:spPr>
          <a:xfrm>
            <a:off x="6705600" y="3154680"/>
            <a:ext cx="960120" cy="342900"/>
          </a:xfrm>
        </p:spPr>
        <p:txBody>
          <a:bodyPr/>
          <a:lstStyle/>
          <a:p>
            <a:fld id="{32099F8F-6F72-4552-9675-E6A73B760289}" type="datetimeFigureOut">
              <a:rPr lang="es-AR" smtClean="0">
                <a:solidFill>
                  <a:srgbClr val="438086"/>
                </a:solidFill>
              </a:rPr>
              <a:pPr/>
              <a:t>7/8/2024</a:t>
            </a:fld>
            <a:endParaRPr lang="es-AR">
              <a:solidFill>
                <a:srgbClr val="438086"/>
              </a:solidFill>
            </a:endParaRPr>
          </a:p>
        </p:txBody>
      </p:sp>
      <p:sp>
        <p:nvSpPr>
          <p:cNvPr id="17" name="16 Marcador de pie de página"/>
          <p:cNvSpPr>
            <a:spLocks noGrp="1"/>
          </p:cNvSpPr>
          <p:nvPr>
            <p:ph type="ftr" sz="quarter" idx="11"/>
          </p:nvPr>
        </p:nvSpPr>
        <p:spPr>
          <a:xfrm>
            <a:off x="5410200" y="3153966"/>
            <a:ext cx="1295400" cy="342900"/>
          </a:xfrm>
        </p:spPr>
        <p:txBody>
          <a:bodyPr/>
          <a:lstStyle/>
          <a:p>
            <a:endParaRPr lang="es-AR">
              <a:solidFill>
                <a:srgbClr val="438086"/>
              </a:solidFill>
            </a:endParaRPr>
          </a:p>
        </p:txBody>
      </p:sp>
      <p:sp>
        <p:nvSpPr>
          <p:cNvPr id="29" name="28 Marcador de número de diapositiva"/>
          <p:cNvSpPr>
            <a:spLocks noGrp="1"/>
          </p:cNvSpPr>
          <p:nvPr>
            <p:ph type="sldNum" sz="quarter" idx="12"/>
          </p:nvPr>
        </p:nvSpPr>
        <p:spPr>
          <a:xfrm>
            <a:off x="8320089" y="852"/>
            <a:ext cx="747712" cy="274320"/>
          </a:xfrm>
        </p:spPr>
        <p:txBody>
          <a:bodyPr/>
          <a:lstStyle>
            <a:lvl1pPr algn="r">
              <a:defRPr sz="1800">
                <a:solidFill>
                  <a:schemeClr val="bg1"/>
                </a:solidFill>
              </a:defRPr>
            </a:lvl1pPr>
          </a:lstStyle>
          <a:p>
            <a:fld id="{2F20CBE2-B0F0-4F11-A5D6-860EBEE691F4}" type="slidenum">
              <a:rPr lang="es-AR" smtClean="0">
                <a:solidFill>
                  <a:prstClr val="white"/>
                </a:solidFill>
              </a:rPr>
              <a:pPr/>
              <a:t>‹Nº›</a:t>
            </a:fld>
            <a:endParaRPr lang="es-AR">
              <a:solidFill>
                <a:prstClr val="white"/>
              </a:solidFill>
            </a:endParaRPr>
          </a:p>
        </p:txBody>
      </p:sp>
    </p:spTree>
    <p:extLst>
      <p:ext uri="{BB962C8B-B14F-4D97-AF65-F5344CB8AC3E}">
        <p14:creationId xmlns:p14="http://schemas.microsoft.com/office/powerpoint/2010/main" val="63808806"/>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kumimoji="0" lang="es-ES" smtClean="0"/>
              <a:t>Haga clic para modificar el estilo de título del patrón</a:t>
            </a:r>
            <a:endParaRPr kumimoji="0" lang="en-US"/>
          </a:p>
        </p:txBody>
      </p:sp>
      <p:sp>
        <p:nvSpPr>
          <p:cNvPr id="3" name="2 Marcador de contenido"/>
          <p:cNvSpPr>
            <a:spLocks noGrp="1"/>
          </p:cNvSpPr>
          <p:nvPr>
            <p:ph idx="1"/>
          </p:nvPr>
        </p:nvSpPr>
        <p:spPr/>
        <p:txBody>
          <a:bodyPr/>
          <a:lstStyle/>
          <a:p>
            <a:pPr lvl="0" eaLnBrk="1" latinLnBrk="0" hangingPunct="1"/>
            <a:r>
              <a:rPr lang="es-ES" smtClean="0"/>
              <a:t>Haga clic para modificar el estilo de texto del patrón</a:t>
            </a:r>
          </a:p>
          <a:p>
            <a:pPr lvl="1" eaLnBrk="1" latinLnBrk="0" hangingPunct="1"/>
            <a:r>
              <a:rPr lang="es-ES" smtClean="0"/>
              <a:t>Segundo nivel</a:t>
            </a:r>
          </a:p>
          <a:p>
            <a:pPr lvl="2" eaLnBrk="1" latinLnBrk="0" hangingPunct="1"/>
            <a:r>
              <a:rPr lang="es-ES" smtClean="0"/>
              <a:t>Tercer nivel</a:t>
            </a:r>
          </a:p>
          <a:p>
            <a:pPr lvl="3" eaLnBrk="1" latinLnBrk="0" hangingPunct="1"/>
            <a:r>
              <a:rPr lang="es-ES" smtClean="0"/>
              <a:t>Cuarto nivel</a:t>
            </a:r>
          </a:p>
          <a:p>
            <a:pPr lvl="4" eaLnBrk="1" latinLnBrk="0" hangingPunct="1"/>
            <a:r>
              <a:rPr lang="es-ES" smtClean="0"/>
              <a:t>Quinto nivel</a:t>
            </a:r>
            <a:endParaRPr kumimoji="0" lang="en-US"/>
          </a:p>
        </p:txBody>
      </p:sp>
      <p:sp>
        <p:nvSpPr>
          <p:cNvPr id="4" name="3 Marcador de fecha"/>
          <p:cNvSpPr>
            <a:spLocks noGrp="1"/>
          </p:cNvSpPr>
          <p:nvPr>
            <p:ph type="dt" sz="half" idx="10"/>
          </p:nvPr>
        </p:nvSpPr>
        <p:spPr/>
        <p:txBody>
          <a:bodyPr/>
          <a:lstStyle/>
          <a:p>
            <a:fld id="{32099F8F-6F72-4552-9675-E6A73B760289}" type="datetimeFigureOut">
              <a:rPr lang="es-AR" smtClean="0">
                <a:solidFill>
                  <a:srgbClr val="438086"/>
                </a:solidFill>
              </a:rPr>
              <a:pPr/>
              <a:t>7/8/2024</a:t>
            </a:fld>
            <a:endParaRPr lang="es-AR">
              <a:solidFill>
                <a:srgbClr val="438086"/>
              </a:solidFill>
            </a:endParaRPr>
          </a:p>
        </p:txBody>
      </p:sp>
      <p:sp>
        <p:nvSpPr>
          <p:cNvPr id="5" name="4 Marcador de pie de página"/>
          <p:cNvSpPr>
            <a:spLocks noGrp="1"/>
          </p:cNvSpPr>
          <p:nvPr>
            <p:ph type="ftr" sz="quarter" idx="11"/>
          </p:nvPr>
        </p:nvSpPr>
        <p:spPr/>
        <p:txBody>
          <a:bodyPr/>
          <a:lstStyle/>
          <a:p>
            <a:endParaRPr lang="es-AR">
              <a:solidFill>
                <a:srgbClr val="438086"/>
              </a:solidFill>
            </a:endParaRPr>
          </a:p>
        </p:txBody>
      </p:sp>
      <p:sp>
        <p:nvSpPr>
          <p:cNvPr id="6" name="5 Marcador de número de diapositiva"/>
          <p:cNvSpPr>
            <a:spLocks noGrp="1"/>
          </p:cNvSpPr>
          <p:nvPr>
            <p:ph type="sldNum" sz="quarter" idx="12"/>
          </p:nvPr>
        </p:nvSpPr>
        <p:spPr/>
        <p:txBody>
          <a:bodyPr/>
          <a:lstStyle/>
          <a:p>
            <a:fld id="{2F20CBE2-B0F0-4F11-A5D6-860EBEE691F4}" type="slidenum">
              <a:rPr lang="es-AR" smtClean="0"/>
              <a:pPr/>
              <a:t>‹Nº›</a:t>
            </a:fld>
            <a:endParaRPr lang="es-AR"/>
          </a:p>
        </p:txBody>
      </p:sp>
    </p:spTree>
    <p:extLst>
      <p:ext uri="{BB962C8B-B14F-4D97-AF65-F5344CB8AC3E}">
        <p14:creationId xmlns:p14="http://schemas.microsoft.com/office/powerpoint/2010/main" val="29999207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3 Marcador de fecha"/>
          <p:cNvSpPr>
            <a:spLocks noGrp="1"/>
          </p:cNvSpPr>
          <p:nvPr>
            <p:ph type="dt" sz="half" idx="10"/>
          </p:nvPr>
        </p:nvSpPr>
        <p:spPr>
          <a:xfrm>
            <a:off x="457201" y="4767357"/>
            <a:ext cx="2133600" cy="273844"/>
          </a:xfrm>
          <a:prstGeom prst="rect">
            <a:avLst/>
          </a:prstGeom>
        </p:spPr>
        <p:txBody>
          <a:bodyPr lIns="89953" tIns="44976" rIns="89953" bIns="44976"/>
          <a:lstStyle>
            <a:lvl1pPr>
              <a:defRPr b="1"/>
            </a:lvl1pPr>
          </a:lstStyle>
          <a:p>
            <a:pPr defTabSz="897136">
              <a:defRPr/>
            </a:pPr>
            <a:fld id="{C9D3579C-2116-44A5-A6F3-5EEB2DD7BDFE}" type="datetimeFigureOut">
              <a:rPr lang="es-ES">
                <a:solidFill>
                  <a:prstClr val="black"/>
                </a:solidFill>
              </a:rPr>
              <a:pPr defTabSz="897136">
                <a:defRPr/>
              </a:pPr>
              <a:t>07/08/2024</a:t>
            </a:fld>
            <a:endParaRPr lang="es-ES">
              <a:solidFill>
                <a:prstClr val="black"/>
              </a:solidFill>
            </a:endParaRPr>
          </a:p>
        </p:txBody>
      </p:sp>
      <p:sp>
        <p:nvSpPr>
          <p:cNvPr id="4" name="4 Marcador de pie de página"/>
          <p:cNvSpPr>
            <a:spLocks noGrp="1"/>
          </p:cNvSpPr>
          <p:nvPr>
            <p:ph type="ftr" sz="quarter" idx="11"/>
          </p:nvPr>
        </p:nvSpPr>
        <p:spPr/>
        <p:txBody>
          <a:bodyPr/>
          <a:lstStyle>
            <a:lvl1pPr>
              <a:defRPr b="1"/>
            </a:lvl1pPr>
          </a:lstStyle>
          <a:p>
            <a:pPr>
              <a:defRPr/>
            </a:pPr>
            <a:endParaRPr lang="es-ES"/>
          </a:p>
        </p:txBody>
      </p:sp>
      <p:sp>
        <p:nvSpPr>
          <p:cNvPr id="5" name="5 Marcador de número de diapositiva"/>
          <p:cNvSpPr>
            <a:spLocks noGrp="1"/>
          </p:cNvSpPr>
          <p:nvPr>
            <p:ph type="sldNum" sz="quarter" idx="12"/>
          </p:nvPr>
        </p:nvSpPr>
        <p:spPr/>
        <p:txBody>
          <a:bodyPr/>
          <a:lstStyle>
            <a:lvl1pPr>
              <a:defRPr b="1"/>
            </a:lvl1pPr>
          </a:lstStyle>
          <a:p>
            <a:pPr>
              <a:defRPr/>
            </a:pPr>
            <a:fld id="{95BCE4A3-11FA-4739-8BF5-4DC9AC894E97}" type="slidenum">
              <a:rPr lang="es-ES"/>
              <a:pPr>
                <a:defRPr/>
              </a:pPr>
              <a:t>‹Nº›</a:t>
            </a:fld>
            <a:endParaRPr lang="es-ES"/>
          </a:p>
        </p:txBody>
      </p:sp>
    </p:spTree>
    <p:extLst>
      <p:ext uri="{BB962C8B-B14F-4D97-AF65-F5344CB8AC3E}">
        <p14:creationId xmlns:p14="http://schemas.microsoft.com/office/powerpoint/2010/main" val="2745891017"/>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313" y="1485901"/>
            <a:ext cx="7772400" cy="1021556"/>
          </a:xfrm>
        </p:spPr>
        <p:txBody>
          <a:bodyPr anchor="b">
            <a:noAutofit/>
          </a:bodyPr>
          <a:lstStyle>
            <a:lvl1pPr algn="l">
              <a:buNone/>
              <a:defRPr sz="4300" b="1" cap="none" baseline="0">
                <a:ln w="12700">
                  <a:solidFill>
                    <a:schemeClr val="accent2">
                      <a:shade val="90000"/>
                      <a:satMod val="150000"/>
                    </a:schemeClr>
                  </a:solidFill>
                </a:ln>
                <a:solidFill>
                  <a:srgbClr val="FFFFFF"/>
                </a:solidFill>
                <a:effectLst>
                  <a:outerShdw blurRad="38100" dist="38100" dir="5400000" algn="tl" rotWithShape="0">
                    <a:srgbClr val="000000">
                      <a:alpha val="25000"/>
                    </a:srgbClr>
                  </a:outerShdw>
                </a:effectLst>
              </a:defRPr>
            </a:lvl1pPr>
          </a:lstStyle>
          <a:p>
            <a:r>
              <a:rPr kumimoji="0" lang="es-ES" smtClean="0"/>
              <a:t>Haga clic para modificar el estilo de título del patrón</a:t>
            </a:r>
            <a:endParaRPr kumimoji="0" lang="en-US"/>
          </a:p>
        </p:txBody>
      </p:sp>
      <p:sp>
        <p:nvSpPr>
          <p:cNvPr id="3" name="2 Marcador de texto"/>
          <p:cNvSpPr>
            <a:spLocks noGrp="1"/>
          </p:cNvSpPr>
          <p:nvPr>
            <p:ph type="body" idx="1"/>
          </p:nvPr>
        </p:nvSpPr>
        <p:spPr>
          <a:xfrm>
            <a:off x="722313" y="2525316"/>
            <a:ext cx="7772400" cy="1132284"/>
          </a:xfrm>
        </p:spPr>
        <p:txBody>
          <a:bodyPr anchor="t"/>
          <a:lstStyle>
            <a:lvl1pPr marL="45659" indent="0">
              <a:buNone/>
              <a:defRPr sz="2100" b="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s-ES" smtClean="0"/>
              <a:t>Haga clic para modificar el estilo de texto del patrón</a:t>
            </a:r>
          </a:p>
        </p:txBody>
      </p:sp>
      <p:sp>
        <p:nvSpPr>
          <p:cNvPr id="4" name="3 Marcador de fecha"/>
          <p:cNvSpPr>
            <a:spLocks noGrp="1"/>
          </p:cNvSpPr>
          <p:nvPr>
            <p:ph type="dt" sz="half" idx="10"/>
          </p:nvPr>
        </p:nvSpPr>
        <p:spPr/>
        <p:txBody>
          <a:bodyPr/>
          <a:lstStyle/>
          <a:p>
            <a:fld id="{32099F8F-6F72-4552-9675-E6A73B760289}" type="datetimeFigureOut">
              <a:rPr lang="es-AR" smtClean="0">
                <a:solidFill>
                  <a:srgbClr val="438086"/>
                </a:solidFill>
              </a:rPr>
              <a:pPr/>
              <a:t>7/8/2024</a:t>
            </a:fld>
            <a:endParaRPr lang="es-AR">
              <a:solidFill>
                <a:srgbClr val="438086"/>
              </a:solidFill>
            </a:endParaRPr>
          </a:p>
        </p:txBody>
      </p:sp>
      <p:sp>
        <p:nvSpPr>
          <p:cNvPr id="5" name="4 Marcador de pie de página"/>
          <p:cNvSpPr>
            <a:spLocks noGrp="1"/>
          </p:cNvSpPr>
          <p:nvPr>
            <p:ph type="ftr" sz="quarter" idx="11"/>
          </p:nvPr>
        </p:nvSpPr>
        <p:spPr/>
        <p:txBody>
          <a:bodyPr/>
          <a:lstStyle/>
          <a:p>
            <a:endParaRPr lang="es-AR">
              <a:solidFill>
                <a:srgbClr val="438086"/>
              </a:solidFill>
            </a:endParaRPr>
          </a:p>
        </p:txBody>
      </p:sp>
      <p:sp>
        <p:nvSpPr>
          <p:cNvPr id="6" name="5 Marcador de número de diapositiva"/>
          <p:cNvSpPr>
            <a:spLocks noGrp="1"/>
          </p:cNvSpPr>
          <p:nvPr>
            <p:ph type="sldNum" sz="quarter" idx="12"/>
          </p:nvPr>
        </p:nvSpPr>
        <p:spPr/>
        <p:txBody>
          <a:bodyPr/>
          <a:lstStyle/>
          <a:p>
            <a:fld id="{2F20CBE2-B0F0-4F11-A5D6-860EBEE691F4}" type="slidenum">
              <a:rPr lang="es-AR" smtClean="0"/>
              <a:pPr/>
              <a:t>‹Nº›</a:t>
            </a:fld>
            <a:endParaRPr lang="es-AR"/>
          </a:p>
        </p:txBody>
      </p:sp>
    </p:spTree>
    <p:extLst>
      <p:ext uri="{BB962C8B-B14F-4D97-AF65-F5344CB8AC3E}">
        <p14:creationId xmlns:p14="http://schemas.microsoft.com/office/powerpoint/2010/main" val="1311309837"/>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kumimoji="0" lang="es-ES" smtClean="0"/>
              <a:t>Haga clic para modificar el estilo de título del patrón</a:t>
            </a:r>
            <a:endParaRPr kumimoji="0" lang="en-US"/>
          </a:p>
        </p:txBody>
      </p:sp>
      <p:sp>
        <p:nvSpPr>
          <p:cNvPr id="3" name="2 Marcador de contenido"/>
          <p:cNvSpPr>
            <a:spLocks noGrp="1"/>
          </p:cNvSpPr>
          <p:nvPr>
            <p:ph sz="half" idx="1"/>
          </p:nvPr>
        </p:nvSpPr>
        <p:spPr>
          <a:xfrm>
            <a:off x="457200" y="1687069"/>
            <a:ext cx="4038600" cy="3394472"/>
          </a:xfrm>
        </p:spPr>
        <p:txBody>
          <a:bodyPr/>
          <a:lstStyle>
            <a:lvl1pPr>
              <a:defRPr sz="2000"/>
            </a:lvl1pPr>
            <a:lvl2pPr>
              <a:defRPr sz="1900"/>
            </a:lvl2pPr>
            <a:lvl3pPr>
              <a:defRPr sz="1800"/>
            </a:lvl3pPr>
            <a:lvl4pPr>
              <a:defRPr sz="1800"/>
            </a:lvl4pPr>
            <a:lvl5pPr>
              <a:defRPr sz="1800"/>
            </a:lvl5pPr>
          </a:lstStyle>
          <a:p>
            <a:pPr lvl="0" eaLnBrk="1" latinLnBrk="0" hangingPunct="1"/>
            <a:r>
              <a:rPr lang="es-ES" smtClean="0"/>
              <a:t>Haga clic para modificar el estilo de texto del patrón</a:t>
            </a:r>
          </a:p>
          <a:p>
            <a:pPr lvl="1" eaLnBrk="1" latinLnBrk="0" hangingPunct="1"/>
            <a:r>
              <a:rPr lang="es-ES" smtClean="0"/>
              <a:t>Segundo nivel</a:t>
            </a:r>
          </a:p>
          <a:p>
            <a:pPr lvl="2" eaLnBrk="1" latinLnBrk="0" hangingPunct="1"/>
            <a:r>
              <a:rPr lang="es-ES" smtClean="0"/>
              <a:t>Tercer nivel</a:t>
            </a:r>
          </a:p>
          <a:p>
            <a:pPr lvl="3" eaLnBrk="1" latinLnBrk="0" hangingPunct="1"/>
            <a:r>
              <a:rPr lang="es-ES" smtClean="0"/>
              <a:t>Cuarto nivel</a:t>
            </a:r>
          </a:p>
          <a:p>
            <a:pPr lvl="4" eaLnBrk="1" latinLnBrk="0" hangingPunct="1"/>
            <a:r>
              <a:rPr lang="es-ES" smtClean="0"/>
              <a:t>Quinto nivel</a:t>
            </a:r>
            <a:endParaRPr kumimoji="0" lang="en-US"/>
          </a:p>
        </p:txBody>
      </p:sp>
      <p:sp>
        <p:nvSpPr>
          <p:cNvPr id="4" name="3 Marcador de contenido"/>
          <p:cNvSpPr>
            <a:spLocks noGrp="1"/>
          </p:cNvSpPr>
          <p:nvPr>
            <p:ph sz="half" idx="2"/>
          </p:nvPr>
        </p:nvSpPr>
        <p:spPr>
          <a:xfrm>
            <a:off x="4648200" y="1687069"/>
            <a:ext cx="4038600" cy="3394472"/>
          </a:xfrm>
        </p:spPr>
        <p:txBody>
          <a:bodyPr/>
          <a:lstStyle>
            <a:lvl1pPr>
              <a:defRPr sz="2000"/>
            </a:lvl1pPr>
            <a:lvl2pPr>
              <a:defRPr sz="1900"/>
            </a:lvl2pPr>
            <a:lvl3pPr>
              <a:defRPr sz="1800"/>
            </a:lvl3pPr>
            <a:lvl4pPr>
              <a:defRPr sz="1800"/>
            </a:lvl4pPr>
            <a:lvl5pPr>
              <a:defRPr sz="1800"/>
            </a:lvl5pPr>
          </a:lstStyle>
          <a:p>
            <a:pPr lvl="0" eaLnBrk="1" latinLnBrk="0" hangingPunct="1"/>
            <a:r>
              <a:rPr lang="es-ES" smtClean="0"/>
              <a:t>Haga clic para modificar el estilo de texto del patrón</a:t>
            </a:r>
          </a:p>
          <a:p>
            <a:pPr lvl="1" eaLnBrk="1" latinLnBrk="0" hangingPunct="1"/>
            <a:r>
              <a:rPr lang="es-ES" smtClean="0"/>
              <a:t>Segundo nivel</a:t>
            </a:r>
          </a:p>
          <a:p>
            <a:pPr lvl="2" eaLnBrk="1" latinLnBrk="0" hangingPunct="1"/>
            <a:r>
              <a:rPr lang="es-ES" smtClean="0"/>
              <a:t>Tercer nivel</a:t>
            </a:r>
          </a:p>
          <a:p>
            <a:pPr lvl="3" eaLnBrk="1" latinLnBrk="0" hangingPunct="1"/>
            <a:r>
              <a:rPr lang="es-ES" smtClean="0"/>
              <a:t>Cuarto nivel</a:t>
            </a:r>
          </a:p>
          <a:p>
            <a:pPr lvl="4" eaLnBrk="1" latinLnBrk="0" hangingPunct="1"/>
            <a:r>
              <a:rPr lang="es-ES" smtClean="0"/>
              <a:t>Quinto nivel</a:t>
            </a:r>
            <a:endParaRPr kumimoji="0" lang="en-US"/>
          </a:p>
        </p:txBody>
      </p:sp>
      <p:sp>
        <p:nvSpPr>
          <p:cNvPr id="5" name="4 Marcador de fecha"/>
          <p:cNvSpPr>
            <a:spLocks noGrp="1"/>
          </p:cNvSpPr>
          <p:nvPr>
            <p:ph type="dt" sz="half" idx="10"/>
          </p:nvPr>
        </p:nvSpPr>
        <p:spPr/>
        <p:txBody>
          <a:bodyPr/>
          <a:lstStyle/>
          <a:p>
            <a:fld id="{32099F8F-6F72-4552-9675-E6A73B760289}" type="datetimeFigureOut">
              <a:rPr lang="es-AR" smtClean="0">
                <a:solidFill>
                  <a:srgbClr val="438086"/>
                </a:solidFill>
              </a:rPr>
              <a:pPr/>
              <a:t>7/8/2024</a:t>
            </a:fld>
            <a:endParaRPr lang="es-AR">
              <a:solidFill>
                <a:srgbClr val="438086"/>
              </a:solidFill>
            </a:endParaRPr>
          </a:p>
        </p:txBody>
      </p:sp>
      <p:sp>
        <p:nvSpPr>
          <p:cNvPr id="6" name="5 Marcador de pie de página"/>
          <p:cNvSpPr>
            <a:spLocks noGrp="1"/>
          </p:cNvSpPr>
          <p:nvPr>
            <p:ph type="ftr" sz="quarter" idx="11"/>
          </p:nvPr>
        </p:nvSpPr>
        <p:spPr/>
        <p:txBody>
          <a:bodyPr/>
          <a:lstStyle/>
          <a:p>
            <a:endParaRPr lang="es-AR">
              <a:solidFill>
                <a:srgbClr val="438086"/>
              </a:solidFill>
            </a:endParaRPr>
          </a:p>
        </p:txBody>
      </p:sp>
      <p:sp>
        <p:nvSpPr>
          <p:cNvPr id="7" name="6 Marcador de número de diapositiva"/>
          <p:cNvSpPr>
            <a:spLocks noGrp="1"/>
          </p:cNvSpPr>
          <p:nvPr>
            <p:ph type="sldNum" sz="quarter" idx="12"/>
          </p:nvPr>
        </p:nvSpPr>
        <p:spPr/>
        <p:txBody>
          <a:bodyPr/>
          <a:lstStyle/>
          <a:p>
            <a:fld id="{2F20CBE2-B0F0-4F11-A5D6-860EBEE691F4}" type="slidenum">
              <a:rPr lang="es-AR" smtClean="0"/>
              <a:pPr/>
              <a:t>‹Nº›</a:t>
            </a:fld>
            <a:endParaRPr lang="es-AR"/>
          </a:p>
        </p:txBody>
      </p:sp>
    </p:spTree>
    <p:extLst>
      <p:ext uri="{BB962C8B-B14F-4D97-AF65-F5344CB8AC3E}">
        <p14:creationId xmlns:p14="http://schemas.microsoft.com/office/powerpoint/2010/main" val="2538415947"/>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a:xfrm>
            <a:off x="381000" y="857250"/>
            <a:ext cx="8382000" cy="802386"/>
          </a:xfrm>
        </p:spPr>
        <p:txBody>
          <a:bodyPr anchor="ctr"/>
          <a:lstStyle>
            <a:lvl1pPr>
              <a:defRPr sz="4000" b="0" i="0" cap="none" baseline="0"/>
            </a:lvl1pPr>
          </a:lstStyle>
          <a:p>
            <a:r>
              <a:rPr kumimoji="0" lang="es-ES" smtClean="0"/>
              <a:t>Haga clic para modificar el estilo de título del patrón</a:t>
            </a:r>
            <a:endParaRPr kumimoji="0" lang="en-US"/>
          </a:p>
        </p:txBody>
      </p:sp>
      <p:sp>
        <p:nvSpPr>
          <p:cNvPr id="3" name="2 Marcador de texto"/>
          <p:cNvSpPr>
            <a:spLocks noGrp="1"/>
          </p:cNvSpPr>
          <p:nvPr>
            <p:ph type="body" idx="1"/>
          </p:nvPr>
        </p:nvSpPr>
        <p:spPr>
          <a:xfrm>
            <a:off x="381000" y="1683728"/>
            <a:ext cx="4041648" cy="342900"/>
          </a:xfrm>
          <a:solidFill>
            <a:schemeClr val="accent2">
              <a:satMod val="150000"/>
              <a:alpha val="25000"/>
            </a:schemeClr>
          </a:solidFill>
          <a:ln w="12700">
            <a:solidFill>
              <a:schemeClr val="accent2"/>
            </a:solidFill>
          </a:ln>
        </p:spPr>
        <p:txBody>
          <a:bodyPr anchor="ctr">
            <a:noAutofit/>
          </a:bodyPr>
          <a:lstStyle>
            <a:lvl1pPr marL="45659" indent="0">
              <a:buNone/>
              <a:defRPr sz="1900" b="1">
                <a:solidFill>
                  <a:schemeClr val="tx1">
                    <a:tint val="95000"/>
                  </a:schemeClr>
                </a:solidFill>
              </a:defRPr>
            </a:lvl1pPr>
            <a:lvl2pPr>
              <a:buNone/>
              <a:defRPr sz="2000" b="1"/>
            </a:lvl2pPr>
            <a:lvl3pPr>
              <a:buNone/>
              <a:defRPr sz="1800" b="1"/>
            </a:lvl3pPr>
            <a:lvl4pPr>
              <a:buNone/>
              <a:defRPr sz="1600" b="1"/>
            </a:lvl4pPr>
            <a:lvl5pPr>
              <a:buNone/>
              <a:defRPr sz="1600" b="1"/>
            </a:lvl5pPr>
          </a:lstStyle>
          <a:p>
            <a:pPr lvl="0" eaLnBrk="1" latinLnBrk="0" hangingPunct="1"/>
            <a:r>
              <a:rPr kumimoji="0" lang="es-ES" smtClean="0"/>
              <a:t>Haga clic para modificar el estilo de texto del patrón</a:t>
            </a:r>
          </a:p>
        </p:txBody>
      </p:sp>
      <p:sp>
        <p:nvSpPr>
          <p:cNvPr id="4" name="3 Marcador de texto"/>
          <p:cNvSpPr>
            <a:spLocks noGrp="1"/>
          </p:cNvSpPr>
          <p:nvPr>
            <p:ph type="body" sz="half" idx="3"/>
          </p:nvPr>
        </p:nvSpPr>
        <p:spPr>
          <a:xfrm>
            <a:off x="4721297" y="1683728"/>
            <a:ext cx="4041775" cy="342900"/>
          </a:xfrm>
          <a:solidFill>
            <a:schemeClr val="accent2">
              <a:satMod val="150000"/>
              <a:alpha val="25000"/>
            </a:schemeClr>
          </a:solidFill>
          <a:ln w="12700">
            <a:solidFill>
              <a:schemeClr val="accent2"/>
            </a:solidFill>
          </a:ln>
        </p:spPr>
        <p:txBody>
          <a:bodyPr anchor="ctr">
            <a:noAutofit/>
          </a:bodyPr>
          <a:lstStyle>
            <a:lvl1pPr marL="45659" indent="0">
              <a:buNone/>
              <a:defRPr sz="1900" b="1">
                <a:solidFill>
                  <a:schemeClr val="tx1">
                    <a:tint val="95000"/>
                  </a:schemeClr>
                </a:solidFill>
              </a:defRPr>
            </a:lvl1pPr>
            <a:lvl2pPr>
              <a:buNone/>
              <a:defRPr sz="2000" b="1"/>
            </a:lvl2pPr>
            <a:lvl3pPr>
              <a:buNone/>
              <a:defRPr sz="1800" b="1"/>
            </a:lvl3pPr>
            <a:lvl4pPr>
              <a:buNone/>
              <a:defRPr sz="1600" b="1"/>
            </a:lvl4pPr>
            <a:lvl5pPr>
              <a:buNone/>
              <a:defRPr sz="1600" b="1"/>
            </a:lvl5pPr>
          </a:lstStyle>
          <a:p>
            <a:pPr lvl="0" eaLnBrk="1" latinLnBrk="0" hangingPunct="1"/>
            <a:r>
              <a:rPr kumimoji="0" lang="es-ES" smtClean="0"/>
              <a:t>Haga clic para modificar el estilo de texto del patrón</a:t>
            </a:r>
          </a:p>
        </p:txBody>
      </p:sp>
      <p:sp>
        <p:nvSpPr>
          <p:cNvPr id="5" name="4 Marcador de contenido"/>
          <p:cNvSpPr>
            <a:spLocks noGrp="1"/>
          </p:cNvSpPr>
          <p:nvPr>
            <p:ph sz="quarter" idx="2"/>
          </p:nvPr>
        </p:nvSpPr>
        <p:spPr>
          <a:xfrm>
            <a:off x="381000" y="2031389"/>
            <a:ext cx="4041648" cy="2914650"/>
          </a:xfrm>
        </p:spPr>
        <p:txBody>
          <a:bodyPr/>
          <a:lstStyle>
            <a:lvl1pPr>
              <a:defRPr sz="2000"/>
            </a:lvl1pPr>
            <a:lvl2pPr>
              <a:defRPr sz="2000"/>
            </a:lvl2pPr>
            <a:lvl3pPr>
              <a:defRPr sz="1800"/>
            </a:lvl3pPr>
            <a:lvl4pPr>
              <a:defRPr sz="1600"/>
            </a:lvl4pPr>
            <a:lvl5pPr>
              <a:defRPr sz="1600"/>
            </a:lvl5pPr>
          </a:lstStyle>
          <a:p>
            <a:pPr lvl="0" eaLnBrk="1" latinLnBrk="0" hangingPunct="1"/>
            <a:r>
              <a:rPr lang="es-ES" smtClean="0"/>
              <a:t>Haga clic para modificar el estilo de texto del patrón</a:t>
            </a:r>
          </a:p>
          <a:p>
            <a:pPr lvl="1" eaLnBrk="1" latinLnBrk="0" hangingPunct="1"/>
            <a:r>
              <a:rPr lang="es-ES" smtClean="0"/>
              <a:t>Segundo nivel</a:t>
            </a:r>
          </a:p>
          <a:p>
            <a:pPr lvl="2" eaLnBrk="1" latinLnBrk="0" hangingPunct="1"/>
            <a:r>
              <a:rPr lang="es-ES" smtClean="0"/>
              <a:t>Tercer nivel</a:t>
            </a:r>
          </a:p>
          <a:p>
            <a:pPr lvl="3" eaLnBrk="1" latinLnBrk="0" hangingPunct="1"/>
            <a:r>
              <a:rPr lang="es-ES" smtClean="0"/>
              <a:t>Cuarto nivel</a:t>
            </a:r>
          </a:p>
          <a:p>
            <a:pPr lvl="4" eaLnBrk="1" latinLnBrk="0" hangingPunct="1"/>
            <a:r>
              <a:rPr lang="es-ES" smtClean="0"/>
              <a:t>Quinto nivel</a:t>
            </a:r>
            <a:endParaRPr kumimoji="0" lang="en-US"/>
          </a:p>
        </p:txBody>
      </p:sp>
      <p:sp>
        <p:nvSpPr>
          <p:cNvPr id="6" name="5 Marcador de contenido"/>
          <p:cNvSpPr>
            <a:spLocks noGrp="1"/>
          </p:cNvSpPr>
          <p:nvPr>
            <p:ph sz="quarter" idx="4"/>
          </p:nvPr>
        </p:nvSpPr>
        <p:spPr>
          <a:xfrm>
            <a:off x="4718378" y="2031389"/>
            <a:ext cx="4041775" cy="2914650"/>
          </a:xfrm>
        </p:spPr>
        <p:txBody>
          <a:bodyPr/>
          <a:lstStyle>
            <a:lvl1pPr>
              <a:defRPr sz="2000"/>
            </a:lvl1pPr>
            <a:lvl2pPr>
              <a:defRPr sz="2000"/>
            </a:lvl2pPr>
            <a:lvl3pPr>
              <a:defRPr sz="1800"/>
            </a:lvl3pPr>
            <a:lvl4pPr>
              <a:defRPr sz="1600"/>
            </a:lvl4pPr>
            <a:lvl5pPr>
              <a:defRPr sz="1600"/>
            </a:lvl5pPr>
          </a:lstStyle>
          <a:p>
            <a:pPr lvl="0" eaLnBrk="1" latinLnBrk="0" hangingPunct="1"/>
            <a:r>
              <a:rPr lang="es-ES" smtClean="0"/>
              <a:t>Haga clic para modificar el estilo de texto del patrón</a:t>
            </a:r>
          </a:p>
          <a:p>
            <a:pPr lvl="1" eaLnBrk="1" latinLnBrk="0" hangingPunct="1"/>
            <a:r>
              <a:rPr lang="es-ES" smtClean="0"/>
              <a:t>Segundo nivel</a:t>
            </a:r>
          </a:p>
          <a:p>
            <a:pPr lvl="2" eaLnBrk="1" latinLnBrk="0" hangingPunct="1"/>
            <a:r>
              <a:rPr lang="es-ES" smtClean="0"/>
              <a:t>Tercer nivel</a:t>
            </a:r>
          </a:p>
          <a:p>
            <a:pPr lvl="3" eaLnBrk="1" latinLnBrk="0" hangingPunct="1"/>
            <a:r>
              <a:rPr lang="es-ES" smtClean="0"/>
              <a:t>Cuarto nivel</a:t>
            </a:r>
          </a:p>
          <a:p>
            <a:pPr lvl="4" eaLnBrk="1" latinLnBrk="0" hangingPunct="1"/>
            <a:r>
              <a:rPr lang="es-ES" smtClean="0"/>
              <a:t>Quinto nivel</a:t>
            </a:r>
            <a:endParaRPr kumimoji="0" lang="en-US"/>
          </a:p>
        </p:txBody>
      </p:sp>
      <p:sp>
        <p:nvSpPr>
          <p:cNvPr id="26" name="25 Marcador de fecha"/>
          <p:cNvSpPr>
            <a:spLocks noGrp="1"/>
          </p:cNvSpPr>
          <p:nvPr>
            <p:ph type="dt" sz="half" idx="10"/>
          </p:nvPr>
        </p:nvSpPr>
        <p:spPr/>
        <p:txBody>
          <a:bodyPr rtlCol="0"/>
          <a:lstStyle/>
          <a:p>
            <a:fld id="{32099F8F-6F72-4552-9675-E6A73B760289}" type="datetimeFigureOut">
              <a:rPr lang="es-AR" smtClean="0">
                <a:solidFill>
                  <a:srgbClr val="438086"/>
                </a:solidFill>
              </a:rPr>
              <a:pPr/>
              <a:t>7/8/2024</a:t>
            </a:fld>
            <a:endParaRPr lang="es-AR">
              <a:solidFill>
                <a:srgbClr val="438086"/>
              </a:solidFill>
            </a:endParaRPr>
          </a:p>
        </p:txBody>
      </p:sp>
      <p:sp>
        <p:nvSpPr>
          <p:cNvPr id="27" name="26 Marcador de número de diapositiva"/>
          <p:cNvSpPr>
            <a:spLocks noGrp="1"/>
          </p:cNvSpPr>
          <p:nvPr>
            <p:ph type="sldNum" sz="quarter" idx="11"/>
          </p:nvPr>
        </p:nvSpPr>
        <p:spPr/>
        <p:txBody>
          <a:bodyPr rtlCol="0"/>
          <a:lstStyle/>
          <a:p>
            <a:fld id="{2F20CBE2-B0F0-4F11-A5D6-860EBEE691F4}" type="slidenum">
              <a:rPr lang="es-AR" smtClean="0"/>
              <a:pPr/>
              <a:t>‹Nº›</a:t>
            </a:fld>
            <a:endParaRPr lang="es-AR"/>
          </a:p>
        </p:txBody>
      </p:sp>
      <p:sp>
        <p:nvSpPr>
          <p:cNvPr id="28" name="27 Marcador de pie de página"/>
          <p:cNvSpPr>
            <a:spLocks noGrp="1"/>
          </p:cNvSpPr>
          <p:nvPr>
            <p:ph type="ftr" sz="quarter" idx="12"/>
          </p:nvPr>
        </p:nvSpPr>
        <p:spPr/>
        <p:txBody>
          <a:bodyPr rtlCol="0"/>
          <a:lstStyle/>
          <a:p>
            <a:endParaRPr lang="es-AR">
              <a:solidFill>
                <a:srgbClr val="438086"/>
              </a:solidFill>
            </a:endParaRPr>
          </a:p>
        </p:txBody>
      </p:sp>
    </p:spTree>
    <p:extLst>
      <p:ext uri="{BB962C8B-B14F-4D97-AF65-F5344CB8AC3E}">
        <p14:creationId xmlns:p14="http://schemas.microsoft.com/office/powerpoint/2010/main" val="569555937"/>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200" y="857250"/>
            <a:ext cx="8229600" cy="802386"/>
          </a:xfrm>
        </p:spPr>
        <p:txBody>
          <a:bodyPr anchor="ctr"/>
          <a:lstStyle>
            <a:lvl1pPr>
              <a:defRPr sz="4000">
                <a:solidFill>
                  <a:schemeClr val="tx2"/>
                </a:solidFill>
              </a:defRPr>
            </a:lvl1pPr>
          </a:lstStyle>
          <a:p>
            <a:r>
              <a:rPr kumimoji="0" lang="es-ES" smtClean="0"/>
              <a:t>Haga clic para modificar el estilo de título del patrón</a:t>
            </a:r>
            <a:endParaRPr kumimoji="0" lang="en-US"/>
          </a:p>
        </p:txBody>
      </p:sp>
      <p:sp>
        <p:nvSpPr>
          <p:cNvPr id="3" name="2 Marcador de fecha"/>
          <p:cNvSpPr>
            <a:spLocks noGrp="1"/>
          </p:cNvSpPr>
          <p:nvPr>
            <p:ph type="dt" sz="half" idx="10"/>
          </p:nvPr>
        </p:nvSpPr>
        <p:spPr>
          <a:xfrm>
            <a:off x="6583680" y="459486"/>
            <a:ext cx="957264" cy="342900"/>
          </a:xfrm>
        </p:spPr>
        <p:txBody>
          <a:bodyPr/>
          <a:lstStyle/>
          <a:p>
            <a:fld id="{32099F8F-6F72-4552-9675-E6A73B760289}" type="datetimeFigureOut">
              <a:rPr lang="es-AR" smtClean="0">
                <a:solidFill>
                  <a:srgbClr val="438086"/>
                </a:solidFill>
              </a:rPr>
              <a:pPr/>
              <a:t>7/8/2024</a:t>
            </a:fld>
            <a:endParaRPr lang="es-AR">
              <a:solidFill>
                <a:srgbClr val="438086"/>
              </a:solidFill>
            </a:endParaRPr>
          </a:p>
        </p:txBody>
      </p:sp>
      <p:sp>
        <p:nvSpPr>
          <p:cNvPr id="4" name="3 Marcador de pie de página"/>
          <p:cNvSpPr>
            <a:spLocks noGrp="1"/>
          </p:cNvSpPr>
          <p:nvPr>
            <p:ph type="ftr" sz="quarter" idx="11"/>
          </p:nvPr>
        </p:nvSpPr>
        <p:spPr>
          <a:xfrm>
            <a:off x="5257800" y="459486"/>
            <a:ext cx="1325880" cy="342900"/>
          </a:xfrm>
        </p:spPr>
        <p:txBody>
          <a:bodyPr/>
          <a:lstStyle/>
          <a:p>
            <a:endParaRPr lang="es-AR">
              <a:solidFill>
                <a:srgbClr val="438086"/>
              </a:solidFill>
            </a:endParaRPr>
          </a:p>
        </p:txBody>
      </p:sp>
      <p:sp>
        <p:nvSpPr>
          <p:cNvPr id="5" name="4 Marcador de número de diapositiva"/>
          <p:cNvSpPr>
            <a:spLocks noGrp="1"/>
          </p:cNvSpPr>
          <p:nvPr>
            <p:ph type="sldNum" sz="quarter" idx="12"/>
          </p:nvPr>
        </p:nvSpPr>
        <p:spPr>
          <a:xfrm>
            <a:off x="8174736" y="1704"/>
            <a:ext cx="762000" cy="274320"/>
          </a:xfrm>
        </p:spPr>
        <p:txBody>
          <a:bodyPr/>
          <a:lstStyle/>
          <a:p>
            <a:fld id="{2F20CBE2-B0F0-4F11-A5D6-860EBEE691F4}" type="slidenum">
              <a:rPr lang="es-AR" smtClean="0"/>
              <a:pPr/>
              <a:t>‹Nº›</a:t>
            </a:fld>
            <a:endParaRPr lang="es-AR"/>
          </a:p>
        </p:txBody>
      </p:sp>
    </p:spTree>
    <p:extLst>
      <p:ext uri="{BB962C8B-B14F-4D97-AF65-F5344CB8AC3E}">
        <p14:creationId xmlns:p14="http://schemas.microsoft.com/office/powerpoint/2010/main" val="3852205741"/>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1 Marcador de fecha"/>
          <p:cNvSpPr>
            <a:spLocks noGrp="1"/>
          </p:cNvSpPr>
          <p:nvPr>
            <p:ph type="dt" sz="half" idx="10"/>
          </p:nvPr>
        </p:nvSpPr>
        <p:spPr/>
        <p:txBody>
          <a:bodyPr/>
          <a:lstStyle/>
          <a:p>
            <a:fld id="{32099F8F-6F72-4552-9675-E6A73B760289}" type="datetimeFigureOut">
              <a:rPr lang="es-AR" smtClean="0">
                <a:solidFill>
                  <a:srgbClr val="438086"/>
                </a:solidFill>
              </a:rPr>
              <a:pPr/>
              <a:t>7/8/2024</a:t>
            </a:fld>
            <a:endParaRPr lang="es-AR">
              <a:solidFill>
                <a:srgbClr val="438086"/>
              </a:solidFill>
            </a:endParaRPr>
          </a:p>
        </p:txBody>
      </p:sp>
      <p:sp>
        <p:nvSpPr>
          <p:cNvPr id="3" name="2 Marcador de pie de página"/>
          <p:cNvSpPr>
            <a:spLocks noGrp="1"/>
          </p:cNvSpPr>
          <p:nvPr>
            <p:ph type="ftr" sz="quarter" idx="11"/>
          </p:nvPr>
        </p:nvSpPr>
        <p:spPr/>
        <p:txBody>
          <a:bodyPr/>
          <a:lstStyle/>
          <a:p>
            <a:endParaRPr lang="es-AR">
              <a:solidFill>
                <a:srgbClr val="438086"/>
              </a:solidFill>
            </a:endParaRPr>
          </a:p>
        </p:txBody>
      </p:sp>
      <p:sp>
        <p:nvSpPr>
          <p:cNvPr id="4" name="3 Marcador de número de diapositiva"/>
          <p:cNvSpPr>
            <a:spLocks noGrp="1"/>
          </p:cNvSpPr>
          <p:nvPr>
            <p:ph type="sldNum" sz="quarter" idx="12"/>
          </p:nvPr>
        </p:nvSpPr>
        <p:spPr/>
        <p:txBody>
          <a:bodyPr/>
          <a:lstStyle/>
          <a:p>
            <a:fld id="{2F20CBE2-B0F0-4F11-A5D6-860EBEE691F4}" type="slidenum">
              <a:rPr lang="es-AR" smtClean="0"/>
              <a:pPr/>
              <a:t>‹Nº›</a:t>
            </a:fld>
            <a:endParaRPr lang="es-AR"/>
          </a:p>
        </p:txBody>
      </p:sp>
    </p:spTree>
    <p:extLst>
      <p:ext uri="{BB962C8B-B14F-4D97-AF65-F5344CB8AC3E}">
        <p14:creationId xmlns:p14="http://schemas.microsoft.com/office/powerpoint/2010/main" val="2828792829"/>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5353496" y="826477"/>
            <a:ext cx="3383280" cy="658368"/>
          </a:xfrm>
        </p:spPr>
        <p:txBody>
          <a:bodyPr anchor="b"/>
          <a:lstStyle>
            <a:lvl1pPr algn="l">
              <a:buNone/>
              <a:defRPr sz="1800" b="1"/>
            </a:lvl1pPr>
          </a:lstStyle>
          <a:p>
            <a:r>
              <a:rPr kumimoji="0" lang="es-ES" smtClean="0"/>
              <a:t>Haga clic para modificar el estilo de título del patrón</a:t>
            </a:r>
            <a:endParaRPr kumimoji="0" lang="en-US"/>
          </a:p>
        </p:txBody>
      </p:sp>
      <p:sp>
        <p:nvSpPr>
          <p:cNvPr id="3" name="2 Marcador de texto"/>
          <p:cNvSpPr>
            <a:spLocks noGrp="1"/>
          </p:cNvSpPr>
          <p:nvPr>
            <p:ph type="body" idx="2"/>
          </p:nvPr>
        </p:nvSpPr>
        <p:spPr>
          <a:xfrm>
            <a:off x="5353496" y="1508045"/>
            <a:ext cx="3383280" cy="3463290"/>
          </a:xfrm>
        </p:spPr>
        <p:txBody>
          <a:bodyPr/>
          <a:lstStyle>
            <a:lvl1pPr marL="9144" indent="0">
              <a:buNone/>
              <a:defRPr sz="1400"/>
            </a:lvl1pPr>
            <a:lvl2pPr>
              <a:buNone/>
              <a:defRPr sz="1200"/>
            </a:lvl2pPr>
            <a:lvl3pPr>
              <a:buNone/>
              <a:defRPr sz="1000"/>
            </a:lvl3pPr>
            <a:lvl4pPr>
              <a:buNone/>
              <a:defRPr sz="900"/>
            </a:lvl4pPr>
            <a:lvl5pPr>
              <a:buNone/>
              <a:defRPr sz="900"/>
            </a:lvl5pPr>
          </a:lstStyle>
          <a:p>
            <a:pPr lvl="0" eaLnBrk="1" latinLnBrk="0" hangingPunct="1"/>
            <a:r>
              <a:rPr kumimoji="0" lang="es-ES" smtClean="0"/>
              <a:t>Haga clic para modificar el estilo de texto del patrón</a:t>
            </a:r>
          </a:p>
        </p:txBody>
      </p:sp>
      <p:sp>
        <p:nvSpPr>
          <p:cNvPr id="4" name="3 Marcador de contenido"/>
          <p:cNvSpPr>
            <a:spLocks noGrp="1"/>
          </p:cNvSpPr>
          <p:nvPr>
            <p:ph sz="half" idx="1"/>
          </p:nvPr>
        </p:nvSpPr>
        <p:spPr>
          <a:xfrm>
            <a:off x="152400" y="582215"/>
            <a:ext cx="5102352" cy="4389120"/>
          </a:xfrm>
        </p:spPr>
        <p:txBody>
          <a:bodyPr/>
          <a:lstStyle>
            <a:lvl1pPr>
              <a:defRPr sz="3200"/>
            </a:lvl1pPr>
            <a:lvl2pPr>
              <a:defRPr sz="2800"/>
            </a:lvl2pPr>
            <a:lvl3pPr>
              <a:defRPr sz="2400"/>
            </a:lvl3pPr>
            <a:lvl4pPr>
              <a:defRPr sz="2000"/>
            </a:lvl4pPr>
            <a:lvl5pPr>
              <a:defRPr sz="2000"/>
            </a:lvl5pPr>
          </a:lstStyle>
          <a:p>
            <a:pPr lvl="0" eaLnBrk="1" latinLnBrk="0" hangingPunct="1"/>
            <a:r>
              <a:rPr lang="es-ES" smtClean="0"/>
              <a:t>Haga clic para modificar el estilo de texto del patrón</a:t>
            </a:r>
          </a:p>
          <a:p>
            <a:pPr lvl="1" eaLnBrk="1" latinLnBrk="0" hangingPunct="1"/>
            <a:r>
              <a:rPr lang="es-ES" smtClean="0"/>
              <a:t>Segundo nivel</a:t>
            </a:r>
          </a:p>
          <a:p>
            <a:pPr lvl="2" eaLnBrk="1" latinLnBrk="0" hangingPunct="1"/>
            <a:r>
              <a:rPr lang="es-ES" smtClean="0"/>
              <a:t>Tercer nivel</a:t>
            </a:r>
          </a:p>
          <a:p>
            <a:pPr lvl="3" eaLnBrk="1" latinLnBrk="0" hangingPunct="1"/>
            <a:r>
              <a:rPr lang="es-ES" smtClean="0"/>
              <a:t>Cuarto nivel</a:t>
            </a:r>
          </a:p>
          <a:p>
            <a:pPr lvl="4" eaLnBrk="1" latinLnBrk="0" hangingPunct="1"/>
            <a:r>
              <a:rPr lang="es-ES" smtClean="0"/>
              <a:t>Quinto nivel</a:t>
            </a:r>
            <a:endParaRPr kumimoji="0" lang="en-US"/>
          </a:p>
        </p:txBody>
      </p:sp>
      <p:sp>
        <p:nvSpPr>
          <p:cNvPr id="5" name="4 Marcador de fecha"/>
          <p:cNvSpPr>
            <a:spLocks noGrp="1"/>
          </p:cNvSpPr>
          <p:nvPr>
            <p:ph type="dt" sz="half" idx="10"/>
          </p:nvPr>
        </p:nvSpPr>
        <p:spPr/>
        <p:txBody>
          <a:bodyPr/>
          <a:lstStyle/>
          <a:p>
            <a:fld id="{32099F8F-6F72-4552-9675-E6A73B760289}" type="datetimeFigureOut">
              <a:rPr lang="es-AR" smtClean="0">
                <a:solidFill>
                  <a:srgbClr val="438086"/>
                </a:solidFill>
              </a:rPr>
              <a:pPr/>
              <a:t>7/8/2024</a:t>
            </a:fld>
            <a:endParaRPr lang="es-AR">
              <a:solidFill>
                <a:srgbClr val="438086"/>
              </a:solidFill>
            </a:endParaRPr>
          </a:p>
        </p:txBody>
      </p:sp>
      <p:sp>
        <p:nvSpPr>
          <p:cNvPr id="6" name="5 Marcador de pie de página"/>
          <p:cNvSpPr>
            <a:spLocks noGrp="1"/>
          </p:cNvSpPr>
          <p:nvPr>
            <p:ph type="ftr" sz="quarter" idx="11"/>
          </p:nvPr>
        </p:nvSpPr>
        <p:spPr/>
        <p:txBody>
          <a:bodyPr/>
          <a:lstStyle/>
          <a:p>
            <a:endParaRPr lang="es-AR">
              <a:solidFill>
                <a:srgbClr val="438086"/>
              </a:solidFill>
            </a:endParaRPr>
          </a:p>
        </p:txBody>
      </p:sp>
      <p:sp>
        <p:nvSpPr>
          <p:cNvPr id="7" name="6 Marcador de número de diapositiva"/>
          <p:cNvSpPr>
            <a:spLocks noGrp="1"/>
          </p:cNvSpPr>
          <p:nvPr>
            <p:ph type="sldNum" sz="quarter" idx="12"/>
          </p:nvPr>
        </p:nvSpPr>
        <p:spPr/>
        <p:txBody>
          <a:bodyPr/>
          <a:lstStyle/>
          <a:p>
            <a:fld id="{2F20CBE2-B0F0-4F11-A5D6-860EBEE691F4}" type="slidenum">
              <a:rPr lang="es-AR" smtClean="0"/>
              <a:pPr/>
              <a:t>‹Nº›</a:t>
            </a:fld>
            <a:endParaRPr lang="es-AR"/>
          </a:p>
        </p:txBody>
      </p:sp>
    </p:spTree>
    <p:extLst>
      <p:ext uri="{BB962C8B-B14F-4D97-AF65-F5344CB8AC3E}">
        <p14:creationId xmlns:p14="http://schemas.microsoft.com/office/powerpoint/2010/main" val="1588493327"/>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5440439" y="831870"/>
            <a:ext cx="586803" cy="3511228"/>
          </a:xfrm>
        </p:spPr>
        <p:txBody>
          <a:bodyPr vert="vert270" lIns="45659" tIns="0" rIns="45659" anchor="t"/>
          <a:lstStyle>
            <a:lvl1pPr algn="ctr">
              <a:buNone/>
              <a:defRPr sz="2000" b="1"/>
            </a:lvl1pPr>
          </a:lstStyle>
          <a:p>
            <a:r>
              <a:rPr kumimoji="0" lang="es-ES" smtClean="0"/>
              <a:t>Haga clic para modificar el estilo de título del patrón</a:t>
            </a:r>
            <a:endParaRPr kumimoji="0" lang="en-US"/>
          </a:p>
        </p:txBody>
      </p:sp>
      <p:sp>
        <p:nvSpPr>
          <p:cNvPr id="3" name="2 Marcador de posición de imagen"/>
          <p:cNvSpPr>
            <a:spLocks noGrp="1"/>
          </p:cNvSpPr>
          <p:nvPr>
            <p:ph type="pic" idx="1"/>
          </p:nvPr>
        </p:nvSpPr>
        <p:spPr>
          <a:xfrm>
            <a:off x="403671" y="857250"/>
            <a:ext cx="4572000" cy="3429000"/>
          </a:xfrm>
          <a:solidFill>
            <a:srgbClr val="EAEAEA"/>
          </a:solidFill>
          <a:ln w="50800">
            <a:solidFill>
              <a:srgbClr val="FFFFFF"/>
            </a:solidFill>
            <a:miter lim="800000"/>
          </a:ln>
          <a:effectLst>
            <a:outerShdw blurRad="57150" dist="31750" dir="4800000" algn="tl" rotWithShape="0">
              <a:srgbClr val="000000">
                <a:alpha val="25000"/>
              </a:srgbClr>
            </a:outerShdw>
          </a:effectLst>
          <a:scene3d>
            <a:camera prst="orthographicFront"/>
            <a:lightRig rig="twoPt" dir="t">
              <a:rot lat="0" lon="0" rev="7200000"/>
            </a:lightRig>
          </a:scene3d>
          <a:sp3d contourW="2540">
            <a:bevelT w="25400" h="19050"/>
            <a:contourClr>
              <a:srgbClr val="AEAEAE"/>
            </a:contourClr>
          </a:sp3d>
        </p:spPr>
        <p:txBody>
          <a:bodyPr/>
          <a:lstStyle>
            <a:lvl1pPr marL="0" indent="0">
              <a:buNone/>
              <a:defRPr sz="3200"/>
            </a:lvl1pPr>
          </a:lstStyle>
          <a:p>
            <a:r>
              <a:rPr kumimoji="0" lang="es-ES" smtClean="0"/>
              <a:t>Haga clic en el icono para agregar una imagen</a:t>
            </a:r>
            <a:endParaRPr kumimoji="0" lang="en-US" dirty="0"/>
          </a:p>
        </p:txBody>
      </p:sp>
      <p:sp>
        <p:nvSpPr>
          <p:cNvPr id="4" name="3 Marcador de texto"/>
          <p:cNvSpPr>
            <a:spLocks noGrp="1"/>
          </p:cNvSpPr>
          <p:nvPr>
            <p:ph type="body" sz="half" idx="2"/>
          </p:nvPr>
        </p:nvSpPr>
        <p:spPr>
          <a:xfrm>
            <a:off x="6088443" y="2455784"/>
            <a:ext cx="2590800" cy="1887367"/>
          </a:xfrm>
        </p:spPr>
        <p:txBody>
          <a:bodyPr lIns="0" tIns="0" rIns="45659" anchor="t"/>
          <a:lstStyle>
            <a:lvl1pPr marL="0" indent="0">
              <a:lnSpc>
                <a:spcPct val="100000"/>
              </a:lnSpc>
              <a:spcBef>
                <a:spcPts val="0"/>
              </a:spcBef>
              <a:buFontTx/>
              <a:buNone/>
              <a:defRPr sz="1300"/>
            </a:lvl1pPr>
            <a:lvl2pPr>
              <a:buFontTx/>
              <a:buNone/>
              <a:defRPr sz="1200"/>
            </a:lvl2pPr>
            <a:lvl3pPr>
              <a:buFontTx/>
              <a:buNone/>
              <a:defRPr sz="1000"/>
            </a:lvl3pPr>
            <a:lvl4pPr>
              <a:buFontTx/>
              <a:buNone/>
              <a:defRPr sz="900"/>
            </a:lvl4pPr>
            <a:lvl5pPr>
              <a:buFontTx/>
              <a:buNone/>
              <a:defRPr sz="900"/>
            </a:lvl5pPr>
          </a:lstStyle>
          <a:p>
            <a:pPr lvl="0" eaLnBrk="1" latinLnBrk="0" hangingPunct="1"/>
            <a:r>
              <a:rPr kumimoji="0" lang="es-ES" smtClean="0"/>
              <a:t>Haga clic para modificar el estilo de texto del patrón</a:t>
            </a:r>
          </a:p>
        </p:txBody>
      </p:sp>
      <p:sp>
        <p:nvSpPr>
          <p:cNvPr id="5" name="4 Marcador de fecha"/>
          <p:cNvSpPr>
            <a:spLocks noGrp="1"/>
          </p:cNvSpPr>
          <p:nvPr>
            <p:ph type="dt" sz="half" idx="10"/>
          </p:nvPr>
        </p:nvSpPr>
        <p:spPr/>
        <p:txBody>
          <a:bodyPr/>
          <a:lstStyle/>
          <a:p>
            <a:fld id="{32099F8F-6F72-4552-9675-E6A73B760289}" type="datetimeFigureOut">
              <a:rPr lang="es-AR" smtClean="0">
                <a:solidFill>
                  <a:srgbClr val="438086"/>
                </a:solidFill>
              </a:rPr>
              <a:pPr/>
              <a:t>7/8/2024</a:t>
            </a:fld>
            <a:endParaRPr lang="es-AR">
              <a:solidFill>
                <a:srgbClr val="438086"/>
              </a:solidFill>
            </a:endParaRPr>
          </a:p>
        </p:txBody>
      </p:sp>
      <p:sp>
        <p:nvSpPr>
          <p:cNvPr id="6" name="5 Marcador de pie de página"/>
          <p:cNvSpPr>
            <a:spLocks noGrp="1"/>
          </p:cNvSpPr>
          <p:nvPr>
            <p:ph type="ftr" sz="quarter" idx="11"/>
          </p:nvPr>
        </p:nvSpPr>
        <p:spPr/>
        <p:txBody>
          <a:bodyPr/>
          <a:lstStyle/>
          <a:p>
            <a:endParaRPr lang="es-AR">
              <a:solidFill>
                <a:srgbClr val="438086"/>
              </a:solidFill>
            </a:endParaRPr>
          </a:p>
        </p:txBody>
      </p:sp>
      <p:sp>
        <p:nvSpPr>
          <p:cNvPr id="7" name="6 Marcador de número de diapositiva"/>
          <p:cNvSpPr>
            <a:spLocks noGrp="1"/>
          </p:cNvSpPr>
          <p:nvPr>
            <p:ph type="sldNum" sz="quarter" idx="12"/>
          </p:nvPr>
        </p:nvSpPr>
        <p:spPr/>
        <p:txBody>
          <a:bodyPr/>
          <a:lstStyle/>
          <a:p>
            <a:fld id="{2F20CBE2-B0F0-4F11-A5D6-860EBEE691F4}" type="slidenum">
              <a:rPr lang="es-AR" smtClean="0"/>
              <a:pPr/>
              <a:t>‹Nº›</a:t>
            </a:fld>
            <a:endParaRPr lang="es-AR"/>
          </a:p>
        </p:txBody>
      </p:sp>
    </p:spTree>
    <p:extLst>
      <p:ext uri="{BB962C8B-B14F-4D97-AF65-F5344CB8AC3E}">
        <p14:creationId xmlns:p14="http://schemas.microsoft.com/office/powerpoint/2010/main" val="1228198913"/>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kumimoji="0" lang="es-ES" smtClean="0"/>
              <a:t>Haga clic para modificar el estilo de título del patrón</a:t>
            </a:r>
            <a:endParaRPr kumimoji="0" lang="en-US"/>
          </a:p>
        </p:txBody>
      </p:sp>
      <p:sp>
        <p:nvSpPr>
          <p:cNvPr id="3" name="2 Marcador de texto vertical"/>
          <p:cNvSpPr>
            <a:spLocks noGrp="1"/>
          </p:cNvSpPr>
          <p:nvPr>
            <p:ph type="body" orient="vert" idx="1"/>
          </p:nvPr>
        </p:nvSpPr>
        <p:spPr/>
        <p:txBody>
          <a:bodyPr vert="eaVert"/>
          <a:lstStyle/>
          <a:p>
            <a:pPr lvl="0" eaLnBrk="1" latinLnBrk="0" hangingPunct="1"/>
            <a:r>
              <a:rPr lang="es-ES" smtClean="0"/>
              <a:t>Haga clic para modificar el estilo de texto del patrón</a:t>
            </a:r>
          </a:p>
          <a:p>
            <a:pPr lvl="1" eaLnBrk="1" latinLnBrk="0" hangingPunct="1"/>
            <a:r>
              <a:rPr lang="es-ES" smtClean="0"/>
              <a:t>Segundo nivel</a:t>
            </a:r>
          </a:p>
          <a:p>
            <a:pPr lvl="2" eaLnBrk="1" latinLnBrk="0" hangingPunct="1"/>
            <a:r>
              <a:rPr lang="es-ES" smtClean="0"/>
              <a:t>Tercer nivel</a:t>
            </a:r>
          </a:p>
          <a:p>
            <a:pPr lvl="3" eaLnBrk="1" latinLnBrk="0" hangingPunct="1"/>
            <a:r>
              <a:rPr lang="es-ES" smtClean="0"/>
              <a:t>Cuarto nivel</a:t>
            </a:r>
          </a:p>
          <a:p>
            <a:pPr lvl="4" eaLnBrk="1" latinLnBrk="0" hangingPunct="1"/>
            <a:r>
              <a:rPr lang="es-ES" smtClean="0"/>
              <a:t>Quinto nivel</a:t>
            </a:r>
            <a:endParaRPr kumimoji="0" lang="en-US"/>
          </a:p>
        </p:txBody>
      </p:sp>
      <p:sp>
        <p:nvSpPr>
          <p:cNvPr id="4" name="3 Marcador de fecha"/>
          <p:cNvSpPr>
            <a:spLocks noGrp="1"/>
          </p:cNvSpPr>
          <p:nvPr>
            <p:ph type="dt" sz="half" idx="10"/>
          </p:nvPr>
        </p:nvSpPr>
        <p:spPr/>
        <p:txBody>
          <a:bodyPr/>
          <a:lstStyle/>
          <a:p>
            <a:fld id="{32099F8F-6F72-4552-9675-E6A73B760289}" type="datetimeFigureOut">
              <a:rPr lang="es-AR" smtClean="0">
                <a:solidFill>
                  <a:srgbClr val="438086"/>
                </a:solidFill>
              </a:rPr>
              <a:pPr/>
              <a:t>7/8/2024</a:t>
            </a:fld>
            <a:endParaRPr lang="es-AR">
              <a:solidFill>
                <a:srgbClr val="438086"/>
              </a:solidFill>
            </a:endParaRPr>
          </a:p>
        </p:txBody>
      </p:sp>
      <p:sp>
        <p:nvSpPr>
          <p:cNvPr id="5" name="4 Marcador de pie de página"/>
          <p:cNvSpPr>
            <a:spLocks noGrp="1"/>
          </p:cNvSpPr>
          <p:nvPr>
            <p:ph type="ftr" sz="quarter" idx="11"/>
          </p:nvPr>
        </p:nvSpPr>
        <p:spPr/>
        <p:txBody>
          <a:bodyPr/>
          <a:lstStyle/>
          <a:p>
            <a:endParaRPr lang="es-AR">
              <a:solidFill>
                <a:srgbClr val="438086"/>
              </a:solidFill>
            </a:endParaRPr>
          </a:p>
        </p:txBody>
      </p:sp>
      <p:sp>
        <p:nvSpPr>
          <p:cNvPr id="6" name="5 Marcador de número de diapositiva"/>
          <p:cNvSpPr>
            <a:spLocks noGrp="1"/>
          </p:cNvSpPr>
          <p:nvPr>
            <p:ph type="sldNum" sz="quarter" idx="12"/>
          </p:nvPr>
        </p:nvSpPr>
        <p:spPr/>
        <p:txBody>
          <a:bodyPr/>
          <a:lstStyle/>
          <a:p>
            <a:fld id="{2F20CBE2-B0F0-4F11-A5D6-860EBEE691F4}" type="slidenum">
              <a:rPr lang="es-AR" smtClean="0"/>
              <a:pPr/>
              <a:t>‹Nº›</a:t>
            </a:fld>
            <a:endParaRPr lang="es-AR"/>
          </a:p>
        </p:txBody>
      </p:sp>
    </p:spTree>
    <p:extLst>
      <p:ext uri="{BB962C8B-B14F-4D97-AF65-F5344CB8AC3E}">
        <p14:creationId xmlns:p14="http://schemas.microsoft.com/office/powerpoint/2010/main" val="1789296173"/>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781800" y="857250"/>
            <a:ext cx="1905000" cy="4114800"/>
          </a:xfrm>
        </p:spPr>
        <p:txBody>
          <a:bodyPr vert="eaVert"/>
          <a:lstStyle/>
          <a:p>
            <a:r>
              <a:rPr kumimoji="0" lang="es-ES" smtClean="0"/>
              <a:t>Haga clic para modificar el estilo de título del patrón</a:t>
            </a:r>
            <a:endParaRPr kumimoji="0" lang="en-US"/>
          </a:p>
        </p:txBody>
      </p:sp>
      <p:sp>
        <p:nvSpPr>
          <p:cNvPr id="3" name="2 Marcador de texto vertical"/>
          <p:cNvSpPr>
            <a:spLocks noGrp="1"/>
          </p:cNvSpPr>
          <p:nvPr>
            <p:ph type="body" orient="vert" idx="1"/>
          </p:nvPr>
        </p:nvSpPr>
        <p:spPr>
          <a:xfrm>
            <a:off x="457200" y="857250"/>
            <a:ext cx="6248400" cy="4114800"/>
          </a:xfrm>
        </p:spPr>
        <p:txBody>
          <a:bodyPr vert="eaVert"/>
          <a:lstStyle/>
          <a:p>
            <a:pPr lvl="0" eaLnBrk="1" latinLnBrk="0" hangingPunct="1"/>
            <a:r>
              <a:rPr lang="es-ES" smtClean="0"/>
              <a:t>Haga clic para modificar el estilo de texto del patrón</a:t>
            </a:r>
          </a:p>
          <a:p>
            <a:pPr lvl="1" eaLnBrk="1" latinLnBrk="0" hangingPunct="1"/>
            <a:r>
              <a:rPr lang="es-ES" smtClean="0"/>
              <a:t>Segundo nivel</a:t>
            </a:r>
          </a:p>
          <a:p>
            <a:pPr lvl="2" eaLnBrk="1" latinLnBrk="0" hangingPunct="1"/>
            <a:r>
              <a:rPr lang="es-ES" smtClean="0"/>
              <a:t>Tercer nivel</a:t>
            </a:r>
          </a:p>
          <a:p>
            <a:pPr lvl="3" eaLnBrk="1" latinLnBrk="0" hangingPunct="1"/>
            <a:r>
              <a:rPr lang="es-ES" smtClean="0"/>
              <a:t>Cuarto nivel</a:t>
            </a:r>
          </a:p>
          <a:p>
            <a:pPr lvl="4" eaLnBrk="1" latinLnBrk="0" hangingPunct="1"/>
            <a:r>
              <a:rPr lang="es-ES" smtClean="0"/>
              <a:t>Quinto nivel</a:t>
            </a:r>
            <a:endParaRPr kumimoji="0" lang="en-US"/>
          </a:p>
        </p:txBody>
      </p:sp>
      <p:sp>
        <p:nvSpPr>
          <p:cNvPr id="4" name="3 Marcador de fecha"/>
          <p:cNvSpPr>
            <a:spLocks noGrp="1"/>
          </p:cNvSpPr>
          <p:nvPr>
            <p:ph type="dt" sz="half" idx="10"/>
          </p:nvPr>
        </p:nvSpPr>
        <p:spPr/>
        <p:txBody>
          <a:bodyPr/>
          <a:lstStyle/>
          <a:p>
            <a:fld id="{32099F8F-6F72-4552-9675-E6A73B760289}" type="datetimeFigureOut">
              <a:rPr lang="es-AR" smtClean="0">
                <a:solidFill>
                  <a:srgbClr val="438086"/>
                </a:solidFill>
              </a:rPr>
              <a:pPr/>
              <a:t>7/8/2024</a:t>
            </a:fld>
            <a:endParaRPr lang="es-AR">
              <a:solidFill>
                <a:srgbClr val="438086"/>
              </a:solidFill>
            </a:endParaRPr>
          </a:p>
        </p:txBody>
      </p:sp>
      <p:sp>
        <p:nvSpPr>
          <p:cNvPr id="5" name="4 Marcador de pie de página"/>
          <p:cNvSpPr>
            <a:spLocks noGrp="1"/>
          </p:cNvSpPr>
          <p:nvPr>
            <p:ph type="ftr" sz="quarter" idx="11"/>
          </p:nvPr>
        </p:nvSpPr>
        <p:spPr/>
        <p:txBody>
          <a:bodyPr/>
          <a:lstStyle/>
          <a:p>
            <a:endParaRPr lang="es-AR">
              <a:solidFill>
                <a:srgbClr val="438086"/>
              </a:solidFill>
            </a:endParaRPr>
          </a:p>
        </p:txBody>
      </p:sp>
      <p:sp>
        <p:nvSpPr>
          <p:cNvPr id="6" name="5 Marcador de número de diapositiva"/>
          <p:cNvSpPr>
            <a:spLocks noGrp="1"/>
          </p:cNvSpPr>
          <p:nvPr>
            <p:ph type="sldNum" sz="quarter" idx="12"/>
          </p:nvPr>
        </p:nvSpPr>
        <p:spPr/>
        <p:txBody>
          <a:bodyPr/>
          <a:lstStyle/>
          <a:p>
            <a:fld id="{2F20CBE2-B0F0-4F11-A5D6-860EBEE691F4}" type="slidenum">
              <a:rPr lang="es-AR" smtClean="0"/>
              <a:pPr/>
              <a:t>‹Nº›</a:t>
            </a:fld>
            <a:endParaRPr lang="es-AR"/>
          </a:p>
        </p:txBody>
      </p:sp>
    </p:spTree>
    <p:extLst>
      <p:ext uri="{BB962C8B-B14F-4D97-AF65-F5344CB8AC3E}">
        <p14:creationId xmlns:p14="http://schemas.microsoft.com/office/powerpoint/2010/main" val="388580166"/>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1_Encabezado de sección">
    <p:bg>
      <p:bgPr>
        <a:gradFill rotWithShape="1">
          <a:gsLst>
            <a:gs pos="0">
              <a:srgbClr val="3CCDC1"/>
            </a:gs>
            <a:gs pos="75000">
              <a:srgbClr val="075460"/>
            </a:gs>
            <a:gs pos="100000">
              <a:srgbClr val="075460"/>
            </a:gs>
          </a:gsLst>
          <a:lin ang="6120000" scaled="1"/>
        </a:gradFill>
        <a:effectLst/>
      </p:bgPr>
    </p:bg>
    <p:spTree>
      <p:nvGrpSpPr>
        <p:cNvPr id="1" name=""/>
        <p:cNvGrpSpPr/>
        <p:nvPr/>
      </p:nvGrpSpPr>
      <p:grpSpPr>
        <a:xfrm>
          <a:off x="0" y="0"/>
          <a:ext cx="0" cy="0"/>
          <a:chOff x="0" y="0"/>
          <a:chExt cx="0" cy="0"/>
        </a:xfrm>
      </p:grpSpPr>
      <p:pic>
        <p:nvPicPr>
          <p:cNvPr id="4" name="Picture 3"/>
          <p:cNvPicPr>
            <a:picLocks noChangeAspect="1" noChangeArrowheads="1"/>
          </p:cNvPicPr>
          <p:nvPr/>
        </p:nvPicPr>
        <p:blipFill>
          <a:blip r:embed="rId3">
            <a:lum bright="6000" contrast="-6000"/>
            <a:extLst>
              <a:ext uri="{28A0092B-C50C-407E-A947-70E740481C1C}">
                <a14:useLocalDpi xmlns:a14="http://schemas.microsoft.com/office/drawing/2010/main" val="0"/>
              </a:ext>
            </a:extLst>
          </a:blip>
          <a:srcRect/>
          <a:stretch>
            <a:fillRect/>
          </a:stretch>
        </p:blipFill>
        <p:spPr bwMode="auto">
          <a:xfrm>
            <a:off x="7046936" y="4537473"/>
            <a:ext cx="2097087" cy="606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sp>
        <p:nvSpPr>
          <p:cNvPr id="3" name="2 Marcador de texto"/>
          <p:cNvSpPr>
            <a:spLocks noGrp="1"/>
          </p:cNvSpPr>
          <p:nvPr>
            <p:ph type="body" idx="1"/>
          </p:nvPr>
        </p:nvSpPr>
        <p:spPr>
          <a:xfrm>
            <a:off x="530352" y="2028498"/>
            <a:ext cx="7772400" cy="1132284"/>
          </a:xfrm>
        </p:spPr>
        <p:txBody>
          <a:bodyPr lIns="45659" rIns="45659"/>
          <a:lstStyle>
            <a:lvl1pPr marL="0" indent="0">
              <a:buNone/>
              <a:defRPr sz="2200">
                <a:solidFill>
                  <a:schemeClr val="tx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es-ES"/>
              <a:t>Haga clic para modificar el estilo de texto del patrón</a:t>
            </a:r>
          </a:p>
        </p:txBody>
      </p:sp>
      <p:sp>
        <p:nvSpPr>
          <p:cNvPr id="5" name="3 Marcador de fecha">
            <a:extLst>
              <a:ext uri="{FF2B5EF4-FFF2-40B4-BE49-F238E27FC236}"/>
            </a:extLst>
          </p:cNvPr>
          <p:cNvSpPr>
            <a:spLocks noGrp="1"/>
          </p:cNvSpPr>
          <p:nvPr>
            <p:ph type="dt" sz="half" idx="10"/>
          </p:nvPr>
        </p:nvSpPr>
        <p:spPr/>
        <p:txBody>
          <a:bodyPr/>
          <a:lstStyle>
            <a:lvl1pPr>
              <a:defRPr/>
            </a:lvl1pPr>
          </a:lstStyle>
          <a:p>
            <a:pPr>
              <a:defRPr/>
            </a:pPr>
            <a:fld id="{77F808A8-D150-42D2-9014-A48D57619BB4}" type="datetimeFigureOut">
              <a:rPr lang="es-AR">
                <a:solidFill>
                  <a:srgbClr val="105964">
                    <a:lumMod val="50000"/>
                  </a:srgbClr>
                </a:solidFill>
              </a:rPr>
              <a:pPr>
                <a:defRPr/>
              </a:pPr>
              <a:t>7/8/2024</a:t>
            </a:fld>
            <a:endParaRPr lang="es-AR">
              <a:solidFill>
                <a:srgbClr val="105964">
                  <a:lumMod val="50000"/>
                </a:srgbClr>
              </a:solidFill>
            </a:endParaRPr>
          </a:p>
        </p:txBody>
      </p:sp>
      <p:sp>
        <p:nvSpPr>
          <p:cNvPr id="6" name="4 Marcador de pie de página">
            <a:extLst>
              <a:ext uri="{FF2B5EF4-FFF2-40B4-BE49-F238E27FC236}"/>
            </a:extLst>
          </p:cNvPr>
          <p:cNvSpPr>
            <a:spLocks noGrp="1"/>
          </p:cNvSpPr>
          <p:nvPr>
            <p:ph type="ftr" sz="quarter" idx="11"/>
          </p:nvPr>
        </p:nvSpPr>
        <p:spPr/>
        <p:txBody>
          <a:bodyPr/>
          <a:lstStyle>
            <a:lvl1pPr>
              <a:defRPr/>
            </a:lvl1pPr>
          </a:lstStyle>
          <a:p>
            <a:pPr>
              <a:defRPr/>
            </a:pPr>
            <a:endParaRPr lang="es-AR">
              <a:solidFill>
                <a:srgbClr val="105964">
                  <a:lumMod val="50000"/>
                </a:srgbClr>
              </a:solidFill>
            </a:endParaRPr>
          </a:p>
        </p:txBody>
      </p:sp>
      <p:sp>
        <p:nvSpPr>
          <p:cNvPr id="7" name="5 Marcador de número de diapositiva">
            <a:extLst>
              <a:ext uri="{FF2B5EF4-FFF2-40B4-BE49-F238E27FC236}"/>
            </a:extLst>
          </p:cNvPr>
          <p:cNvSpPr>
            <a:spLocks noGrp="1"/>
          </p:cNvSpPr>
          <p:nvPr>
            <p:ph type="sldNum" sz="quarter" idx="12"/>
          </p:nvPr>
        </p:nvSpPr>
        <p:spPr/>
        <p:txBody>
          <a:bodyPr/>
          <a:lstStyle>
            <a:lvl1pPr>
              <a:defRPr>
                <a:solidFill>
                  <a:srgbClr val="082C32"/>
                </a:solidFill>
              </a:defRPr>
            </a:lvl1pPr>
          </a:lstStyle>
          <a:p>
            <a:pPr>
              <a:defRPr/>
            </a:pPr>
            <a:fld id="{1FF74ADD-CA85-49FC-91A2-E078ACC10AA5}" type="slidenum">
              <a:rPr lang="es-AR" altLang="es-ES"/>
              <a:pPr>
                <a:defRPr/>
              </a:pPr>
              <a:t>‹Nº›</a:t>
            </a:fld>
            <a:endParaRPr lang="es-AR" altLang="es-ES"/>
          </a:p>
        </p:txBody>
      </p:sp>
    </p:spTree>
    <p:extLst>
      <p:ext uri="{BB962C8B-B14F-4D97-AF65-F5344CB8AC3E}">
        <p14:creationId xmlns:p14="http://schemas.microsoft.com/office/powerpoint/2010/main" val="30284160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47836178"/>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3169"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 xmlns:a16="http://schemas.microsoft.com/office/drawing/2014/main" id="{45BA39F8-AD37-488C-93DF-222FD9C286B5}"/>
              </a:ext>
            </a:extLst>
          </p:cNvPr>
          <p:cNvSpPr/>
          <p:nvPr userDrawn="1">
            <p:custDataLst>
              <p:tags r:id="rId3"/>
            </p:custDataLst>
          </p:nvPr>
        </p:nvSpPr>
        <p:spPr>
          <a:xfrm>
            <a:off x="2" y="77"/>
            <a:ext cx="119063" cy="119063"/>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85800"/>
            <a:endParaRPr lang="en-GB" b="1">
              <a:solidFill>
                <a:srgbClr val="000000"/>
              </a:solidFill>
              <a:latin typeface="Arial" panose="020B0604020202020204" pitchFamily="34" charset="0"/>
              <a:sym typeface="Arial" panose="020B0604020202020204" pitchFamily="34" charset="0"/>
            </a:endParaRPr>
          </a:p>
        </p:txBody>
      </p:sp>
      <p:sp>
        <p:nvSpPr>
          <p:cNvPr id="2" name="2. Slide Title"/>
          <p:cNvSpPr>
            <a:spLocks noGrp="1"/>
          </p:cNvSpPr>
          <p:nvPr>
            <p:ph type="title"/>
          </p:nvPr>
        </p:nvSpPr>
        <p:spPr bwMode="gray"/>
        <p:txBody>
          <a:bodyPr/>
          <a:lstStyle/>
          <a:p>
            <a:r>
              <a:rPr lang="en-GB"/>
              <a:t>Click to edit Master title style</a:t>
            </a:r>
          </a:p>
        </p:txBody>
      </p:sp>
      <p:sp>
        <p:nvSpPr>
          <p:cNvPr id="5" name="doc id" hidden="1"/>
          <p:cNvSpPr>
            <a:spLocks noChangeArrowheads="1"/>
          </p:cNvSpPr>
          <p:nvPr userDrawn="1"/>
        </p:nvSpPr>
        <p:spPr bwMode="gray">
          <a:xfrm flipH="1">
            <a:off x="7993503" y="38877"/>
            <a:ext cx="923672" cy="769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913520"/>
            <a:endParaRPr lang="en-GB" sz="500">
              <a:solidFill>
                <a:srgbClr val="808080"/>
              </a:solidFill>
            </a:endParaRPr>
          </a:p>
        </p:txBody>
      </p:sp>
    </p:spTree>
    <p:extLst>
      <p:ext uri="{BB962C8B-B14F-4D97-AF65-F5344CB8AC3E}">
        <p14:creationId xmlns:p14="http://schemas.microsoft.com/office/powerpoint/2010/main" val="3487338677"/>
      </p:ext>
    </p:extLst>
  </p:cSld>
  <p:clrMapOvr>
    <a:masterClrMapping/>
  </p:clrMapOvr>
  <p:extLst mod="1">
    <p:ext uri="{DCECCB84-F9BA-43D5-87BE-67443E8EF086}">
      <p15:sldGuideLst xmlns:p15="http://schemas.microsoft.com/office/powerpoint/2012/main">
        <p15:guide id="1" pos="7489">
          <p15:clr>
            <a:srgbClr val="F26B43"/>
          </p15:clr>
        </p15:guide>
        <p15:guide id="2" pos="101">
          <p15:clr>
            <a:srgbClr val="F26B43"/>
          </p15:clr>
        </p15:guide>
        <p15:guide id="3" orient="horz" pos="701">
          <p15:clr>
            <a:srgbClr val="F26B43"/>
          </p15:clr>
        </p15:guide>
        <p15:guide id="4" orient="horz" pos="3991">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3 Marcador de fecha"/>
          <p:cNvSpPr>
            <a:spLocks noGrp="1"/>
          </p:cNvSpPr>
          <p:nvPr>
            <p:ph type="dt" sz="half" idx="10"/>
          </p:nvPr>
        </p:nvSpPr>
        <p:spPr>
          <a:xfrm>
            <a:off x="457201" y="4767357"/>
            <a:ext cx="2133600" cy="273844"/>
          </a:xfrm>
          <a:prstGeom prst="rect">
            <a:avLst/>
          </a:prstGeom>
        </p:spPr>
        <p:txBody>
          <a:bodyPr lIns="89953" tIns="44976" rIns="89953" bIns="44976"/>
          <a:lstStyle>
            <a:lvl1pPr>
              <a:defRPr b="1"/>
            </a:lvl1pPr>
          </a:lstStyle>
          <a:p>
            <a:pPr defTabSz="897136">
              <a:defRPr/>
            </a:pPr>
            <a:fld id="{C910B865-06C9-47EF-B716-6E285541543F}" type="datetimeFigureOut">
              <a:rPr lang="es-ES">
                <a:solidFill>
                  <a:prstClr val="black"/>
                </a:solidFill>
              </a:rPr>
              <a:pPr defTabSz="897136">
                <a:defRPr/>
              </a:pPr>
              <a:t>07/08/2024</a:t>
            </a:fld>
            <a:endParaRPr lang="es-ES">
              <a:solidFill>
                <a:prstClr val="black"/>
              </a:solidFill>
            </a:endParaRPr>
          </a:p>
        </p:txBody>
      </p:sp>
      <p:sp>
        <p:nvSpPr>
          <p:cNvPr id="3" name="4 Marcador de pie de página"/>
          <p:cNvSpPr>
            <a:spLocks noGrp="1"/>
          </p:cNvSpPr>
          <p:nvPr>
            <p:ph type="ftr" sz="quarter" idx="11"/>
          </p:nvPr>
        </p:nvSpPr>
        <p:spPr/>
        <p:txBody>
          <a:bodyPr/>
          <a:lstStyle>
            <a:lvl1pPr>
              <a:defRPr b="1"/>
            </a:lvl1pPr>
          </a:lstStyle>
          <a:p>
            <a:pPr>
              <a:defRPr/>
            </a:pPr>
            <a:endParaRPr lang="es-ES"/>
          </a:p>
        </p:txBody>
      </p:sp>
      <p:sp>
        <p:nvSpPr>
          <p:cNvPr id="4" name="5 Marcador de número de diapositiva"/>
          <p:cNvSpPr>
            <a:spLocks noGrp="1"/>
          </p:cNvSpPr>
          <p:nvPr>
            <p:ph type="sldNum" sz="quarter" idx="12"/>
          </p:nvPr>
        </p:nvSpPr>
        <p:spPr/>
        <p:txBody>
          <a:bodyPr/>
          <a:lstStyle>
            <a:lvl1pPr>
              <a:defRPr b="1"/>
            </a:lvl1pPr>
          </a:lstStyle>
          <a:p>
            <a:pPr>
              <a:defRPr/>
            </a:pPr>
            <a:fld id="{F39067CC-85CD-4833-92B2-8B99CE5F6C01}" type="slidenum">
              <a:rPr lang="es-ES"/>
              <a:pPr>
                <a:defRPr/>
              </a:pPr>
              <a:t>‹Nº›</a:t>
            </a:fld>
            <a:endParaRPr lang="es-ES"/>
          </a:p>
        </p:txBody>
      </p:sp>
    </p:spTree>
    <p:extLst>
      <p:ext uri="{BB962C8B-B14F-4D97-AF65-F5344CB8AC3E}">
        <p14:creationId xmlns:p14="http://schemas.microsoft.com/office/powerpoint/2010/main" val="3433794074"/>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Title with Image">
    <p:spTree>
      <p:nvGrpSpPr>
        <p:cNvPr id="1" name=""/>
        <p:cNvGrpSpPr/>
        <p:nvPr/>
      </p:nvGrpSpPr>
      <p:grpSpPr>
        <a:xfrm>
          <a:off x="0" y="0"/>
          <a:ext cx="0" cy="0"/>
          <a:chOff x="0" y="0"/>
          <a:chExt cx="0" cy="0"/>
        </a:xfrm>
      </p:grpSpPr>
      <p:sp>
        <p:nvSpPr>
          <p:cNvPr id="19" name="Rectangle 6">
            <a:extLst>
              <a:ext uri="{FF2B5EF4-FFF2-40B4-BE49-F238E27FC236}">
                <a16:creationId xmlns="" xmlns:a16="http://schemas.microsoft.com/office/drawing/2014/main" id="{18D4B9FA-39D5-DC46-AEE9-0F3C6ECD9555}"/>
              </a:ext>
            </a:extLst>
          </p:cNvPr>
          <p:cNvSpPr/>
          <p:nvPr userDrawn="1"/>
        </p:nvSpPr>
        <p:spPr>
          <a:xfrm>
            <a:off x="0" y="3105000"/>
            <a:ext cx="107504" cy="1485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08" tIns="34289" rIns="68508" bIns="34289" anchor="ctr"/>
          <a:lstStyle/>
          <a:p>
            <a:pPr algn="ctr" defTabSz="684984"/>
            <a:endParaRPr lang="en-US" altLang="en-US" sz="1400">
              <a:solidFill>
                <a:srgbClr val="FFFFFF"/>
              </a:solidFill>
            </a:endParaRPr>
          </a:p>
        </p:txBody>
      </p:sp>
      <p:sp>
        <p:nvSpPr>
          <p:cNvPr id="21" name="Title 1">
            <a:extLst>
              <a:ext uri="{FF2B5EF4-FFF2-40B4-BE49-F238E27FC236}">
                <a16:creationId xmlns="" xmlns:a16="http://schemas.microsoft.com/office/drawing/2014/main" id="{BBB8651D-A822-B447-BA6F-5B2ACD54EA33}"/>
              </a:ext>
            </a:extLst>
          </p:cNvPr>
          <p:cNvSpPr>
            <a:spLocks noGrp="1"/>
          </p:cNvSpPr>
          <p:nvPr>
            <p:ph type="ctrTitle" hasCustomPrompt="1"/>
          </p:nvPr>
        </p:nvSpPr>
        <p:spPr>
          <a:xfrm>
            <a:off x="733673" y="3024910"/>
            <a:ext cx="6675924" cy="671442"/>
          </a:xfrm>
        </p:spPr>
        <p:txBody>
          <a:bodyPr wrap="square" tIns="0" rIns="0" bIns="0" anchor="b" anchorCtr="0">
            <a:noAutofit/>
          </a:bodyPr>
          <a:lstStyle>
            <a:lvl1pPr>
              <a:lnSpc>
                <a:spcPts val="2835"/>
              </a:lnSpc>
              <a:defRPr sz="2100" b="0" i="0" baseline="0">
                <a:solidFill>
                  <a:schemeClr val="tx2"/>
                </a:solidFill>
                <a:latin typeface="Calibri" pitchFamily="34" charset="0"/>
                <a:ea typeface="メイリオ" pitchFamily="50" charset="-128"/>
                <a:cs typeface="Calibri" pitchFamily="34" charset="0"/>
              </a:defRPr>
            </a:lvl1pPr>
          </a:lstStyle>
          <a:p>
            <a:r>
              <a:rPr lang="en-GB"/>
              <a:t>Click to enter Presentation Title</a:t>
            </a:r>
          </a:p>
        </p:txBody>
      </p:sp>
      <p:sp>
        <p:nvSpPr>
          <p:cNvPr id="13" name="Text Placeholder 8">
            <a:extLst>
              <a:ext uri="{FF2B5EF4-FFF2-40B4-BE49-F238E27FC236}">
                <a16:creationId xmlns="" xmlns:a16="http://schemas.microsoft.com/office/drawing/2014/main" id="{10C6B0C8-EB17-EC48-8410-BE88116D3ACD}"/>
              </a:ext>
            </a:extLst>
          </p:cNvPr>
          <p:cNvSpPr>
            <a:spLocks noGrp="1"/>
          </p:cNvSpPr>
          <p:nvPr>
            <p:ph type="body" sz="quarter" idx="13" hasCustomPrompt="1"/>
          </p:nvPr>
        </p:nvSpPr>
        <p:spPr>
          <a:xfrm>
            <a:off x="733425" y="3748420"/>
            <a:ext cx="6677100" cy="199800"/>
          </a:xfrm>
        </p:spPr>
        <p:txBody>
          <a:bodyPr>
            <a:noAutofit/>
          </a:bodyPr>
          <a:lstStyle>
            <a:lvl1pPr marL="0" indent="0">
              <a:buNone/>
              <a:defRPr sz="1200">
                <a:solidFill>
                  <a:schemeClr val="tx2"/>
                </a:solidFill>
              </a:defRPr>
            </a:lvl1pPr>
          </a:lstStyle>
          <a:p>
            <a:r>
              <a:rPr lang="en-US"/>
              <a:t>Date</a:t>
            </a:r>
          </a:p>
        </p:txBody>
      </p:sp>
      <p:sp>
        <p:nvSpPr>
          <p:cNvPr id="14" name="Text Placeholder 17">
            <a:extLst>
              <a:ext uri="{FF2B5EF4-FFF2-40B4-BE49-F238E27FC236}">
                <a16:creationId xmlns="" xmlns:a16="http://schemas.microsoft.com/office/drawing/2014/main" id="{F36B06DC-7895-8244-8724-6CDF07B1B8EC}"/>
              </a:ext>
            </a:extLst>
          </p:cNvPr>
          <p:cNvSpPr>
            <a:spLocks noGrp="1"/>
          </p:cNvSpPr>
          <p:nvPr>
            <p:ph type="body" sz="quarter" idx="11" hasCustomPrompt="1"/>
          </p:nvPr>
        </p:nvSpPr>
        <p:spPr>
          <a:xfrm>
            <a:off x="733425" y="4192697"/>
            <a:ext cx="6677100" cy="199800"/>
          </a:xfrm>
        </p:spPr>
        <p:txBody>
          <a:bodyPr>
            <a:noAutofit/>
          </a:bodyPr>
          <a:lstStyle>
            <a:lvl1pPr marL="0" indent="0">
              <a:buNone/>
              <a:defRPr sz="1200">
                <a:solidFill>
                  <a:schemeClr val="tx2"/>
                </a:solidFill>
              </a:defRPr>
            </a:lvl1pPr>
          </a:lstStyle>
          <a:p>
            <a:r>
              <a:rPr lang="en-US"/>
              <a:t>Department</a:t>
            </a:r>
          </a:p>
        </p:txBody>
      </p:sp>
      <p:sp>
        <p:nvSpPr>
          <p:cNvPr id="15" name="Text Placeholder 19">
            <a:extLst>
              <a:ext uri="{FF2B5EF4-FFF2-40B4-BE49-F238E27FC236}">
                <a16:creationId xmlns="" xmlns:a16="http://schemas.microsoft.com/office/drawing/2014/main" id="{6BDF6E0C-07EA-D14B-9328-D8C625F573A5}"/>
              </a:ext>
            </a:extLst>
          </p:cNvPr>
          <p:cNvSpPr>
            <a:spLocks noGrp="1"/>
          </p:cNvSpPr>
          <p:nvPr>
            <p:ph type="body" sz="quarter" idx="14" hasCustomPrompt="1"/>
          </p:nvPr>
        </p:nvSpPr>
        <p:spPr>
          <a:xfrm>
            <a:off x="733425" y="3970559"/>
            <a:ext cx="6677100" cy="199800"/>
          </a:xfrm>
        </p:spPr>
        <p:txBody>
          <a:bodyPr>
            <a:noAutofit/>
          </a:bodyPr>
          <a:lstStyle>
            <a:lvl1pPr marL="0" indent="0">
              <a:buNone/>
              <a:defRPr sz="1200">
                <a:solidFill>
                  <a:schemeClr val="tx2"/>
                </a:solidFill>
              </a:defRPr>
            </a:lvl1pPr>
          </a:lstStyle>
          <a:p>
            <a:r>
              <a:rPr lang="en-US"/>
              <a:t>Name, Job Title</a:t>
            </a:r>
          </a:p>
        </p:txBody>
      </p:sp>
      <p:sp>
        <p:nvSpPr>
          <p:cNvPr id="20" name="Picture Placeholder 3">
            <a:extLst>
              <a:ext uri="{FF2B5EF4-FFF2-40B4-BE49-F238E27FC236}">
                <a16:creationId xmlns="" xmlns:a16="http://schemas.microsoft.com/office/drawing/2014/main" id="{902F3095-EA6E-F94A-AF04-18ED691DEB75}"/>
              </a:ext>
            </a:extLst>
          </p:cNvPr>
          <p:cNvSpPr>
            <a:spLocks noGrp="1"/>
          </p:cNvSpPr>
          <p:nvPr>
            <p:ph type="pic" sz="quarter" idx="17"/>
          </p:nvPr>
        </p:nvSpPr>
        <p:spPr>
          <a:xfrm>
            <a:off x="0" y="0"/>
            <a:ext cx="9144000" cy="2571750"/>
          </a:xfrm>
        </p:spPr>
        <p:txBody>
          <a:bodyPr/>
          <a:lstStyle/>
          <a:p>
            <a:endParaRPr lang="en-US"/>
          </a:p>
        </p:txBody>
      </p:sp>
      <p:pic>
        <p:nvPicPr>
          <p:cNvPr id="11" name="Picture 12" descr="Takeda_Logo_Pos_RGB.emf">
            <a:extLst>
              <a:ext uri="{FF2B5EF4-FFF2-40B4-BE49-F238E27FC236}">
                <a16:creationId xmlns="" xmlns:a16="http://schemas.microsoft.com/office/drawing/2014/main" id="{D003522B-CA1C-7940-9AC3-1D158FB0AF1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7533829" y="3105001"/>
            <a:ext cx="876500" cy="294776"/>
          </a:xfrm>
          <a:prstGeom prst="rect">
            <a:avLst/>
          </a:prstGeom>
          <a:noFill/>
          <a:ln w="9525">
            <a:noFill/>
            <a:miter lim="800000"/>
            <a:headEnd/>
            <a:tailEnd/>
          </a:ln>
        </p:spPr>
      </p:pic>
      <p:pic>
        <p:nvPicPr>
          <p:cNvPr id="12" name="Picture 11">
            <a:extLst>
              <a:ext uri="{FF2B5EF4-FFF2-40B4-BE49-F238E27FC236}">
                <a16:creationId xmlns="" xmlns:a16="http://schemas.microsoft.com/office/drawing/2014/main" id="{F0A45412-5330-3C4E-8BF0-9B1FA353B3C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462935" y="4104437"/>
            <a:ext cx="1134142" cy="678942"/>
          </a:xfrm>
          <a:prstGeom prst="rect">
            <a:avLst/>
          </a:prstGeom>
        </p:spPr>
      </p:pic>
      <p:sp>
        <p:nvSpPr>
          <p:cNvPr id="3" name="Text Placeholder 2">
            <a:extLst>
              <a:ext uri="{FF2B5EF4-FFF2-40B4-BE49-F238E27FC236}">
                <a16:creationId xmlns="" xmlns:a16="http://schemas.microsoft.com/office/drawing/2014/main" id="{D73E1AEB-2338-4C68-8D78-7C54C62807A2}"/>
              </a:ext>
            </a:extLst>
          </p:cNvPr>
          <p:cNvSpPr>
            <a:spLocks noGrp="1"/>
          </p:cNvSpPr>
          <p:nvPr>
            <p:ph type="body" sz="quarter" idx="19" hasCustomPrompt="1"/>
          </p:nvPr>
        </p:nvSpPr>
        <p:spPr>
          <a:xfrm>
            <a:off x="733425" y="4414837"/>
            <a:ext cx="6677100" cy="199800"/>
          </a:xfrm>
        </p:spPr>
        <p:txBody>
          <a:bodyPr>
            <a:noAutofit/>
          </a:bodyPr>
          <a:lstStyle>
            <a:lvl1pPr marL="0" indent="0">
              <a:buNone/>
              <a:defRPr sz="1200"/>
            </a:lvl1pPr>
            <a:lvl2pPr marL="342470" indent="0">
              <a:buNone/>
              <a:defRPr sz="1200"/>
            </a:lvl2pPr>
            <a:lvl3pPr marL="684984" indent="0">
              <a:buNone/>
              <a:defRPr sz="1200"/>
            </a:lvl3pPr>
            <a:lvl4pPr marL="1027476" indent="0">
              <a:buNone/>
              <a:defRPr sz="1200"/>
            </a:lvl4pPr>
            <a:lvl5pPr marL="1369968" indent="0">
              <a:buNone/>
              <a:defRPr sz="1200"/>
            </a:lvl5pPr>
          </a:lstStyle>
          <a:p>
            <a:pPr lvl="0"/>
            <a:r>
              <a:rPr lang="en-US"/>
              <a:t>Company Name</a:t>
            </a:r>
          </a:p>
        </p:txBody>
      </p:sp>
      <p:sp>
        <p:nvSpPr>
          <p:cNvPr id="4" name="Slide Number Placeholder 3">
            <a:extLst>
              <a:ext uri="{FF2B5EF4-FFF2-40B4-BE49-F238E27FC236}">
                <a16:creationId xmlns="" xmlns:a16="http://schemas.microsoft.com/office/drawing/2014/main" id="{1B79BE7A-A26E-4F2D-ACA2-A5CE14ADC39F}"/>
              </a:ext>
            </a:extLst>
          </p:cNvPr>
          <p:cNvSpPr>
            <a:spLocks noGrp="1"/>
          </p:cNvSpPr>
          <p:nvPr>
            <p:ph type="sldNum" sz="quarter" idx="21"/>
          </p:nvPr>
        </p:nvSpPr>
        <p:spPr/>
        <p:txBody>
          <a:bodyPr/>
          <a:lstStyle/>
          <a:p>
            <a:fld id="{E9B57936-92EF-4126-AE48-1D9D36D15E98}" type="slidenum">
              <a:rPr lang="ja-JP" altLang="en-US" smtClean="0">
                <a:solidFill>
                  <a:srgbClr val="A1A4AC"/>
                </a:solidFill>
              </a:rPr>
              <a:pPr/>
              <a:t>‹Nº›</a:t>
            </a:fld>
            <a:endParaRPr lang="ja-JP" altLang="en-US">
              <a:solidFill>
                <a:srgbClr val="A1A4AC"/>
              </a:solidFill>
            </a:endParaRPr>
          </a:p>
        </p:txBody>
      </p:sp>
      <p:sp>
        <p:nvSpPr>
          <p:cNvPr id="5" name="Footer Placeholder 4">
            <a:extLst>
              <a:ext uri="{FF2B5EF4-FFF2-40B4-BE49-F238E27FC236}">
                <a16:creationId xmlns="" xmlns:a16="http://schemas.microsoft.com/office/drawing/2014/main" id="{76CA4C1B-8891-44A3-B999-5E0855BC6AAC}"/>
              </a:ext>
            </a:extLst>
          </p:cNvPr>
          <p:cNvSpPr>
            <a:spLocks noGrp="1"/>
          </p:cNvSpPr>
          <p:nvPr>
            <p:ph type="ftr" sz="quarter" idx="22"/>
          </p:nvPr>
        </p:nvSpPr>
        <p:spPr/>
        <p:txBody>
          <a:bodyPr/>
          <a:lstStyle/>
          <a:p>
            <a:r>
              <a:rPr lang="en-GB" altLang="ja-JP">
                <a:solidFill>
                  <a:srgbClr val="000000">
                    <a:tint val="75000"/>
                  </a:srgbClr>
                </a:solidFill>
              </a:rPr>
              <a:t>Long-term efficacy and safety of Takeda’s dengue vaccine candidate (TAK-003) after 4.5 years of follow-up | TBC | Approval </a:t>
            </a:r>
            <a:r>
              <a:rPr lang="en-US" altLang="ja-JP">
                <a:solidFill>
                  <a:srgbClr val="000000">
                    <a:tint val="75000"/>
                  </a:srgbClr>
                </a:solidFill>
              </a:rPr>
              <a:t>date: March 2023</a:t>
            </a:r>
            <a:endParaRPr lang="ja-JP" altLang="en-US" sz="100">
              <a:solidFill>
                <a:srgbClr val="000000">
                  <a:tint val="75000"/>
                </a:srgbClr>
              </a:solidFill>
            </a:endParaRPr>
          </a:p>
        </p:txBody>
      </p:sp>
    </p:spTree>
    <p:extLst>
      <p:ext uri="{BB962C8B-B14F-4D97-AF65-F5344CB8AC3E}">
        <p14:creationId xmlns:p14="http://schemas.microsoft.com/office/powerpoint/2010/main" val="61926299"/>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9" name="Rectangle 6">
            <a:extLst>
              <a:ext uri="{FF2B5EF4-FFF2-40B4-BE49-F238E27FC236}">
                <a16:creationId xmlns="" xmlns:a16="http://schemas.microsoft.com/office/drawing/2014/main" id="{18D4B9FA-39D5-DC46-AEE9-0F3C6ECD9555}"/>
              </a:ext>
            </a:extLst>
          </p:cNvPr>
          <p:cNvSpPr/>
          <p:nvPr userDrawn="1"/>
        </p:nvSpPr>
        <p:spPr>
          <a:xfrm>
            <a:off x="0" y="519522"/>
            <a:ext cx="107504" cy="40704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08" tIns="34289" rIns="68508" bIns="34289" anchor="ctr"/>
          <a:lstStyle/>
          <a:p>
            <a:pPr algn="ctr" defTabSz="684984"/>
            <a:endParaRPr lang="en-US" altLang="en-US" sz="1400">
              <a:solidFill>
                <a:srgbClr val="FFFFFF"/>
              </a:solidFill>
            </a:endParaRPr>
          </a:p>
        </p:txBody>
      </p:sp>
      <p:sp>
        <p:nvSpPr>
          <p:cNvPr id="21" name="Title 1">
            <a:extLst>
              <a:ext uri="{FF2B5EF4-FFF2-40B4-BE49-F238E27FC236}">
                <a16:creationId xmlns="" xmlns:a16="http://schemas.microsoft.com/office/drawing/2014/main" id="{BBB8651D-A822-B447-BA6F-5B2ACD54EA33}"/>
              </a:ext>
            </a:extLst>
          </p:cNvPr>
          <p:cNvSpPr>
            <a:spLocks noGrp="1"/>
          </p:cNvSpPr>
          <p:nvPr>
            <p:ph type="ctrTitle" hasCustomPrompt="1"/>
          </p:nvPr>
        </p:nvSpPr>
        <p:spPr>
          <a:xfrm>
            <a:off x="733671" y="1417374"/>
            <a:ext cx="5845440" cy="2308757"/>
          </a:xfrm>
        </p:spPr>
        <p:txBody>
          <a:bodyPr wrap="square" tIns="0" rIns="0" bIns="0" anchor="ctr" anchorCtr="0">
            <a:noAutofit/>
          </a:bodyPr>
          <a:lstStyle>
            <a:lvl1pPr>
              <a:lnSpc>
                <a:spcPts val="2835"/>
              </a:lnSpc>
              <a:defRPr sz="2100" b="0" i="0" baseline="0">
                <a:solidFill>
                  <a:schemeClr val="tx2"/>
                </a:solidFill>
                <a:latin typeface="Calibri" pitchFamily="34" charset="0"/>
                <a:ea typeface="メイリオ" pitchFamily="50" charset="-128"/>
                <a:cs typeface="Calibri" pitchFamily="34" charset="0"/>
              </a:defRPr>
            </a:lvl1pPr>
          </a:lstStyle>
          <a:p>
            <a:r>
              <a:rPr lang="en-US" altLang="ja-JP"/>
              <a:t>Click to enter Presentation Title</a:t>
            </a:r>
            <a:endParaRPr lang="en-GB"/>
          </a:p>
        </p:txBody>
      </p:sp>
      <p:pic>
        <p:nvPicPr>
          <p:cNvPr id="22" name="Picture 12" descr="Takeda_Logo_Pos_RGB.emf">
            <a:extLst>
              <a:ext uri="{FF2B5EF4-FFF2-40B4-BE49-F238E27FC236}">
                <a16:creationId xmlns="" xmlns:a16="http://schemas.microsoft.com/office/drawing/2014/main" id="{C149A174-44EE-8840-8DF2-A61115CADF3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733672" y="519522"/>
            <a:ext cx="876500" cy="294776"/>
          </a:xfrm>
          <a:prstGeom prst="rect">
            <a:avLst/>
          </a:prstGeom>
          <a:noFill/>
          <a:ln w="9525">
            <a:noFill/>
            <a:miter lim="800000"/>
            <a:headEnd/>
            <a:tailEnd/>
          </a:ln>
        </p:spPr>
      </p:pic>
      <p:sp>
        <p:nvSpPr>
          <p:cNvPr id="13" name="Text Placeholder 8">
            <a:extLst>
              <a:ext uri="{FF2B5EF4-FFF2-40B4-BE49-F238E27FC236}">
                <a16:creationId xmlns="" xmlns:a16="http://schemas.microsoft.com/office/drawing/2014/main" id="{B2B05F68-B197-814D-B205-23942323983F}"/>
              </a:ext>
            </a:extLst>
          </p:cNvPr>
          <p:cNvSpPr>
            <a:spLocks noGrp="1"/>
          </p:cNvSpPr>
          <p:nvPr>
            <p:ph type="body" sz="quarter" idx="13" hasCustomPrompt="1"/>
          </p:nvPr>
        </p:nvSpPr>
        <p:spPr>
          <a:xfrm>
            <a:off x="733425" y="3748420"/>
            <a:ext cx="5856300" cy="199800"/>
          </a:xfrm>
        </p:spPr>
        <p:txBody>
          <a:bodyPr>
            <a:noAutofit/>
          </a:bodyPr>
          <a:lstStyle>
            <a:lvl1pPr marL="0" indent="0">
              <a:buNone/>
              <a:defRPr sz="1200">
                <a:solidFill>
                  <a:schemeClr val="tx2"/>
                </a:solidFill>
              </a:defRPr>
            </a:lvl1pPr>
          </a:lstStyle>
          <a:p>
            <a:r>
              <a:rPr lang="en-US"/>
              <a:t>Date</a:t>
            </a:r>
          </a:p>
        </p:txBody>
      </p:sp>
      <p:sp>
        <p:nvSpPr>
          <p:cNvPr id="14" name="Text Placeholder 17">
            <a:extLst>
              <a:ext uri="{FF2B5EF4-FFF2-40B4-BE49-F238E27FC236}">
                <a16:creationId xmlns="" xmlns:a16="http://schemas.microsoft.com/office/drawing/2014/main" id="{35BA5041-95B8-DA43-9B0D-A51F8EB9AE8C}"/>
              </a:ext>
            </a:extLst>
          </p:cNvPr>
          <p:cNvSpPr>
            <a:spLocks noGrp="1"/>
          </p:cNvSpPr>
          <p:nvPr>
            <p:ph type="body" sz="quarter" idx="11" hasCustomPrompt="1"/>
          </p:nvPr>
        </p:nvSpPr>
        <p:spPr>
          <a:xfrm>
            <a:off x="733547" y="4192697"/>
            <a:ext cx="5855724" cy="199800"/>
          </a:xfrm>
        </p:spPr>
        <p:txBody>
          <a:bodyPr>
            <a:noAutofit/>
          </a:bodyPr>
          <a:lstStyle>
            <a:lvl1pPr marL="0" indent="0">
              <a:buNone/>
              <a:defRPr sz="1200">
                <a:solidFill>
                  <a:schemeClr val="tx2"/>
                </a:solidFill>
              </a:defRPr>
            </a:lvl1pPr>
          </a:lstStyle>
          <a:p>
            <a:r>
              <a:rPr lang="en-US"/>
              <a:t>Department</a:t>
            </a:r>
          </a:p>
        </p:txBody>
      </p:sp>
      <p:sp>
        <p:nvSpPr>
          <p:cNvPr id="16" name="Text Placeholder 19">
            <a:extLst>
              <a:ext uri="{FF2B5EF4-FFF2-40B4-BE49-F238E27FC236}">
                <a16:creationId xmlns="" xmlns:a16="http://schemas.microsoft.com/office/drawing/2014/main" id="{8170F29E-72F0-9043-B0D6-F30E440CFB8B}"/>
              </a:ext>
            </a:extLst>
          </p:cNvPr>
          <p:cNvSpPr>
            <a:spLocks noGrp="1"/>
          </p:cNvSpPr>
          <p:nvPr>
            <p:ph type="body" sz="quarter" idx="14" hasCustomPrompt="1"/>
          </p:nvPr>
        </p:nvSpPr>
        <p:spPr>
          <a:xfrm>
            <a:off x="733547" y="3970559"/>
            <a:ext cx="5855724" cy="199800"/>
          </a:xfrm>
        </p:spPr>
        <p:txBody>
          <a:bodyPr>
            <a:noAutofit/>
          </a:bodyPr>
          <a:lstStyle>
            <a:lvl1pPr marL="0" indent="0">
              <a:buNone/>
              <a:defRPr sz="1200">
                <a:solidFill>
                  <a:schemeClr val="tx2"/>
                </a:solidFill>
              </a:defRPr>
            </a:lvl1pPr>
          </a:lstStyle>
          <a:p>
            <a:r>
              <a:rPr lang="en-US"/>
              <a:t>Name, Job Title</a:t>
            </a:r>
          </a:p>
        </p:txBody>
      </p:sp>
      <p:pic>
        <p:nvPicPr>
          <p:cNvPr id="11" name="Picture 10">
            <a:extLst>
              <a:ext uri="{FF2B5EF4-FFF2-40B4-BE49-F238E27FC236}">
                <a16:creationId xmlns="" xmlns:a16="http://schemas.microsoft.com/office/drawing/2014/main" id="{E68C4E39-7A2C-C54A-89E6-D83490115C6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604706" y="340156"/>
            <a:ext cx="1134142" cy="678942"/>
          </a:xfrm>
          <a:prstGeom prst="rect">
            <a:avLst/>
          </a:prstGeom>
        </p:spPr>
      </p:pic>
      <p:sp>
        <p:nvSpPr>
          <p:cNvPr id="3" name="Text Placeholder 2">
            <a:extLst>
              <a:ext uri="{FF2B5EF4-FFF2-40B4-BE49-F238E27FC236}">
                <a16:creationId xmlns="" xmlns:a16="http://schemas.microsoft.com/office/drawing/2014/main" id="{D09022C1-C69C-4071-9785-A9344EEC9E86}"/>
              </a:ext>
            </a:extLst>
          </p:cNvPr>
          <p:cNvSpPr>
            <a:spLocks noGrp="1"/>
          </p:cNvSpPr>
          <p:nvPr>
            <p:ph type="body" sz="quarter" idx="19" hasCustomPrompt="1"/>
          </p:nvPr>
        </p:nvSpPr>
        <p:spPr>
          <a:xfrm>
            <a:off x="733425" y="4414837"/>
            <a:ext cx="5856300" cy="199800"/>
          </a:xfrm>
        </p:spPr>
        <p:txBody>
          <a:bodyPr>
            <a:noAutofit/>
          </a:bodyPr>
          <a:lstStyle>
            <a:lvl1pPr marL="0" indent="0">
              <a:buNone/>
              <a:defRPr sz="1200"/>
            </a:lvl1pPr>
            <a:lvl2pPr marL="342470" indent="0">
              <a:buNone/>
              <a:defRPr sz="1200"/>
            </a:lvl2pPr>
            <a:lvl3pPr marL="684984" indent="0">
              <a:buNone/>
              <a:defRPr sz="1200"/>
            </a:lvl3pPr>
            <a:lvl4pPr marL="1027476" indent="0">
              <a:buNone/>
              <a:defRPr sz="1200"/>
            </a:lvl4pPr>
            <a:lvl5pPr marL="1369968" indent="0">
              <a:buNone/>
              <a:defRPr sz="1200"/>
            </a:lvl5pPr>
          </a:lstStyle>
          <a:p>
            <a:pPr lvl="0"/>
            <a:r>
              <a:rPr lang="en-US"/>
              <a:t>Company Name</a:t>
            </a:r>
          </a:p>
        </p:txBody>
      </p:sp>
      <p:sp>
        <p:nvSpPr>
          <p:cNvPr id="4" name="Slide Number Placeholder 3">
            <a:extLst>
              <a:ext uri="{FF2B5EF4-FFF2-40B4-BE49-F238E27FC236}">
                <a16:creationId xmlns="" xmlns:a16="http://schemas.microsoft.com/office/drawing/2014/main" id="{B18B2ED7-FF41-4B61-BF13-6DE2674A496D}"/>
              </a:ext>
            </a:extLst>
          </p:cNvPr>
          <p:cNvSpPr>
            <a:spLocks noGrp="1"/>
          </p:cNvSpPr>
          <p:nvPr>
            <p:ph type="sldNum" sz="quarter" idx="21"/>
          </p:nvPr>
        </p:nvSpPr>
        <p:spPr/>
        <p:txBody>
          <a:bodyPr/>
          <a:lstStyle/>
          <a:p>
            <a:fld id="{E9B57936-92EF-4126-AE48-1D9D36D15E98}" type="slidenum">
              <a:rPr lang="ja-JP" altLang="en-US" smtClean="0">
                <a:solidFill>
                  <a:srgbClr val="A1A4AC"/>
                </a:solidFill>
              </a:rPr>
              <a:pPr/>
              <a:t>‹Nº›</a:t>
            </a:fld>
            <a:endParaRPr lang="ja-JP" altLang="en-US">
              <a:solidFill>
                <a:srgbClr val="A1A4AC"/>
              </a:solidFill>
            </a:endParaRPr>
          </a:p>
        </p:txBody>
      </p:sp>
      <p:sp>
        <p:nvSpPr>
          <p:cNvPr id="5" name="Footer Placeholder 4">
            <a:extLst>
              <a:ext uri="{FF2B5EF4-FFF2-40B4-BE49-F238E27FC236}">
                <a16:creationId xmlns="" xmlns:a16="http://schemas.microsoft.com/office/drawing/2014/main" id="{0B01F254-9374-4736-B0D3-552D9489DF29}"/>
              </a:ext>
            </a:extLst>
          </p:cNvPr>
          <p:cNvSpPr>
            <a:spLocks noGrp="1"/>
          </p:cNvSpPr>
          <p:nvPr>
            <p:ph type="ftr" sz="quarter" idx="22"/>
          </p:nvPr>
        </p:nvSpPr>
        <p:spPr/>
        <p:txBody>
          <a:bodyPr/>
          <a:lstStyle/>
          <a:p>
            <a:r>
              <a:rPr lang="en-GB" altLang="ja-JP">
                <a:solidFill>
                  <a:srgbClr val="000000">
                    <a:tint val="75000"/>
                  </a:srgbClr>
                </a:solidFill>
              </a:rPr>
              <a:t>Long-term efficacy and safety of Takeda’s dengue vaccine candidate (TAK-003) after 4.5 years of follow-up | TBC | Approval </a:t>
            </a:r>
            <a:r>
              <a:rPr lang="en-US" altLang="ja-JP">
                <a:solidFill>
                  <a:srgbClr val="000000">
                    <a:tint val="75000"/>
                  </a:srgbClr>
                </a:solidFill>
              </a:rPr>
              <a:t>date: March 2023</a:t>
            </a:r>
            <a:endParaRPr lang="ja-JP" altLang="en-US" sz="100">
              <a:solidFill>
                <a:srgbClr val="000000">
                  <a:tint val="75000"/>
                </a:srgbClr>
              </a:solidFill>
            </a:endParaRPr>
          </a:p>
        </p:txBody>
      </p:sp>
    </p:spTree>
    <p:extLst>
      <p:ext uri="{BB962C8B-B14F-4D97-AF65-F5344CB8AC3E}">
        <p14:creationId xmlns:p14="http://schemas.microsoft.com/office/powerpoint/2010/main" val="2261827445"/>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19" name="Rectangle 6">
            <a:extLst>
              <a:ext uri="{FF2B5EF4-FFF2-40B4-BE49-F238E27FC236}">
                <a16:creationId xmlns="" xmlns:a16="http://schemas.microsoft.com/office/drawing/2014/main" id="{18D4B9FA-39D5-DC46-AEE9-0F3C6ECD9555}"/>
              </a:ext>
            </a:extLst>
          </p:cNvPr>
          <p:cNvSpPr/>
          <p:nvPr userDrawn="1"/>
        </p:nvSpPr>
        <p:spPr>
          <a:xfrm>
            <a:off x="0" y="2006100"/>
            <a:ext cx="107504" cy="113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08" tIns="34289" rIns="68508" bIns="34289" anchor="ctr"/>
          <a:lstStyle/>
          <a:p>
            <a:pPr algn="ctr" defTabSz="684984"/>
            <a:endParaRPr lang="en-US" altLang="en-US" sz="1400">
              <a:solidFill>
                <a:srgbClr val="FFFFFF"/>
              </a:solidFill>
            </a:endParaRPr>
          </a:p>
        </p:txBody>
      </p:sp>
      <p:sp>
        <p:nvSpPr>
          <p:cNvPr id="21" name="Title 1">
            <a:extLst>
              <a:ext uri="{FF2B5EF4-FFF2-40B4-BE49-F238E27FC236}">
                <a16:creationId xmlns="" xmlns:a16="http://schemas.microsoft.com/office/drawing/2014/main" id="{BBB8651D-A822-B447-BA6F-5B2ACD54EA33}"/>
              </a:ext>
            </a:extLst>
          </p:cNvPr>
          <p:cNvSpPr>
            <a:spLocks noGrp="1"/>
          </p:cNvSpPr>
          <p:nvPr>
            <p:ph type="ctrTitle" hasCustomPrompt="1"/>
          </p:nvPr>
        </p:nvSpPr>
        <p:spPr>
          <a:xfrm>
            <a:off x="733671" y="2006102"/>
            <a:ext cx="5845440" cy="1134001"/>
          </a:xfrm>
        </p:spPr>
        <p:txBody>
          <a:bodyPr wrap="square" tIns="0" rIns="0" bIns="0" anchor="ctr" anchorCtr="0">
            <a:noAutofit/>
          </a:bodyPr>
          <a:lstStyle>
            <a:lvl1pPr>
              <a:lnSpc>
                <a:spcPts val="2835"/>
              </a:lnSpc>
              <a:defRPr sz="2100" b="0" i="0" baseline="0">
                <a:solidFill>
                  <a:schemeClr val="tx2"/>
                </a:solidFill>
                <a:latin typeface="Calibri" pitchFamily="34" charset="0"/>
                <a:ea typeface="メイリオ" pitchFamily="50" charset="-128"/>
                <a:cs typeface="Calibri" pitchFamily="34" charset="0"/>
              </a:defRPr>
            </a:lvl1pPr>
          </a:lstStyle>
          <a:p>
            <a:r>
              <a:rPr lang="en-GB"/>
              <a:t>Add your section title here</a:t>
            </a:r>
          </a:p>
        </p:txBody>
      </p:sp>
      <p:pic>
        <p:nvPicPr>
          <p:cNvPr id="8" name="Picture 12" descr="Takeda_Logo_Pos_RGB.emf">
            <a:extLst>
              <a:ext uri="{FF2B5EF4-FFF2-40B4-BE49-F238E27FC236}">
                <a16:creationId xmlns="" xmlns:a16="http://schemas.microsoft.com/office/drawing/2014/main" id="{1560E966-F000-3844-8319-54C2333D663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7975658" y="233604"/>
            <a:ext cx="772806" cy="259904"/>
          </a:xfrm>
          <a:prstGeom prst="rect">
            <a:avLst/>
          </a:prstGeom>
          <a:noFill/>
          <a:ln w="9525">
            <a:noFill/>
            <a:miter lim="800000"/>
            <a:headEnd/>
            <a:tailEnd/>
          </a:ln>
        </p:spPr>
      </p:pic>
      <p:pic>
        <p:nvPicPr>
          <p:cNvPr id="9" name="Picture 8">
            <a:extLst>
              <a:ext uri="{FF2B5EF4-FFF2-40B4-BE49-F238E27FC236}">
                <a16:creationId xmlns="" xmlns:a16="http://schemas.microsoft.com/office/drawing/2014/main" id="{E0653B6F-108F-2440-ACBE-14F409A1ADB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937746" y="4604928"/>
            <a:ext cx="1008126" cy="603504"/>
          </a:xfrm>
          <a:prstGeom prst="rect">
            <a:avLst/>
          </a:prstGeom>
        </p:spPr>
      </p:pic>
      <p:sp>
        <p:nvSpPr>
          <p:cNvPr id="3" name="Slide Number Placeholder 2">
            <a:extLst>
              <a:ext uri="{FF2B5EF4-FFF2-40B4-BE49-F238E27FC236}">
                <a16:creationId xmlns="" xmlns:a16="http://schemas.microsoft.com/office/drawing/2014/main" id="{F46F0BAC-8161-48BF-90C0-1FB60ED42732}"/>
              </a:ext>
            </a:extLst>
          </p:cNvPr>
          <p:cNvSpPr>
            <a:spLocks noGrp="1"/>
          </p:cNvSpPr>
          <p:nvPr>
            <p:ph type="sldNum" sz="quarter" idx="11"/>
          </p:nvPr>
        </p:nvSpPr>
        <p:spPr/>
        <p:txBody>
          <a:bodyPr/>
          <a:lstStyle/>
          <a:p>
            <a:fld id="{E9B57936-92EF-4126-AE48-1D9D36D15E98}" type="slidenum">
              <a:rPr lang="ja-JP" altLang="en-US" smtClean="0">
                <a:solidFill>
                  <a:srgbClr val="A1A4AC"/>
                </a:solidFill>
              </a:rPr>
              <a:pPr/>
              <a:t>‹Nº›</a:t>
            </a:fld>
            <a:endParaRPr lang="ja-JP" altLang="en-US">
              <a:solidFill>
                <a:srgbClr val="A1A4AC"/>
              </a:solidFill>
            </a:endParaRPr>
          </a:p>
        </p:txBody>
      </p:sp>
      <p:sp>
        <p:nvSpPr>
          <p:cNvPr id="2" name="Footer Placeholder 1">
            <a:extLst>
              <a:ext uri="{FF2B5EF4-FFF2-40B4-BE49-F238E27FC236}">
                <a16:creationId xmlns="" xmlns:a16="http://schemas.microsoft.com/office/drawing/2014/main" id="{3636BDCA-B376-4A50-9C0F-6977B57BF899}"/>
              </a:ext>
            </a:extLst>
          </p:cNvPr>
          <p:cNvSpPr>
            <a:spLocks noGrp="1"/>
          </p:cNvSpPr>
          <p:nvPr>
            <p:ph type="ftr" sz="quarter" idx="12"/>
          </p:nvPr>
        </p:nvSpPr>
        <p:spPr/>
        <p:txBody>
          <a:bodyPr/>
          <a:lstStyle/>
          <a:p>
            <a:r>
              <a:rPr lang="en-GB" altLang="ja-JP">
                <a:solidFill>
                  <a:srgbClr val="000000">
                    <a:tint val="75000"/>
                  </a:srgbClr>
                </a:solidFill>
              </a:rPr>
              <a:t>Long-term efficacy and safety of Takeda’s dengue vaccine candidate (TAK-003) after 4.5 years of follow-up | TBC | Approval </a:t>
            </a:r>
            <a:r>
              <a:rPr lang="en-US" altLang="ja-JP">
                <a:solidFill>
                  <a:srgbClr val="000000">
                    <a:tint val="75000"/>
                  </a:srgbClr>
                </a:solidFill>
              </a:rPr>
              <a:t>date: March 2023</a:t>
            </a:r>
            <a:endParaRPr lang="ja-JP" altLang="en-US" sz="100">
              <a:solidFill>
                <a:srgbClr val="000000">
                  <a:tint val="75000"/>
                </a:srgbClr>
              </a:solidFill>
            </a:endParaRPr>
          </a:p>
        </p:txBody>
      </p:sp>
    </p:spTree>
    <p:extLst>
      <p:ext uri="{BB962C8B-B14F-4D97-AF65-F5344CB8AC3E}">
        <p14:creationId xmlns:p14="http://schemas.microsoft.com/office/powerpoint/2010/main" val="3564875064"/>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675D4F24-3AD1-7943-A1A9-EB84047B5123}"/>
              </a:ext>
            </a:extLst>
          </p:cNvPr>
          <p:cNvSpPr>
            <a:spLocks noGrp="1"/>
          </p:cNvSpPr>
          <p:nvPr>
            <p:ph type="body" sz="quarter" idx="13" hasCustomPrompt="1"/>
          </p:nvPr>
        </p:nvSpPr>
        <p:spPr>
          <a:xfrm>
            <a:off x="395289" y="926921"/>
            <a:ext cx="8343899" cy="3480567"/>
          </a:xfrm>
        </p:spPr>
        <p:txBody>
          <a:bodyPr/>
          <a:lstStyle>
            <a:lvl1pPr>
              <a:buClr>
                <a:srgbClr val="4C4948"/>
              </a:buClr>
              <a:defRPr>
                <a:solidFill>
                  <a:schemeClr val="tx2"/>
                </a:solidFill>
              </a:defRPr>
            </a:lvl1pPr>
            <a:lvl2pPr>
              <a:buClr>
                <a:srgbClr val="4C4948"/>
              </a:buClr>
              <a:defRPr>
                <a:solidFill>
                  <a:schemeClr val="tx2"/>
                </a:solidFill>
              </a:defRPr>
            </a:lvl2pPr>
            <a:lvl3pPr>
              <a:buClr>
                <a:srgbClr val="4C4948"/>
              </a:buClr>
              <a:defRPr>
                <a:solidFill>
                  <a:schemeClr val="tx2"/>
                </a:solidFill>
              </a:defRPr>
            </a:lvl3pPr>
            <a:lvl4pPr>
              <a:buClr>
                <a:srgbClr val="4C4948"/>
              </a:buClr>
              <a:defRPr>
                <a:solidFill>
                  <a:schemeClr val="tx2"/>
                </a:solidFill>
              </a:defRPr>
            </a:lvl4pPr>
            <a:lvl5pPr>
              <a:buClr>
                <a:srgbClr val="4C4948"/>
              </a:buClr>
              <a:defRPr>
                <a:solidFill>
                  <a:schemeClr val="tx2"/>
                </a:solidFill>
              </a:defRPr>
            </a:lvl5pPr>
          </a:lstStyle>
          <a:p>
            <a:pPr lvl="0"/>
            <a:r>
              <a:rPr lang="en-US"/>
              <a:t>Add your text her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 xmlns:a16="http://schemas.microsoft.com/office/drawing/2014/main" id="{FC71F690-8ECF-4851-9B1B-65F80621D3C2}"/>
              </a:ext>
            </a:extLst>
          </p:cNvPr>
          <p:cNvSpPr>
            <a:spLocks noGrp="1"/>
          </p:cNvSpPr>
          <p:nvPr>
            <p:ph type="body" sz="quarter" idx="14" hasCustomPrompt="1"/>
          </p:nvPr>
        </p:nvSpPr>
        <p:spPr>
          <a:xfrm>
            <a:off x="395289" y="4431389"/>
            <a:ext cx="7529513" cy="340727"/>
          </a:xfrm>
        </p:spPr>
        <p:txBody>
          <a:bodyPr bIns="0" anchor="b" anchorCtr="0">
            <a:noAutofit/>
          </a:bodyPr>
          <a:lstStyle>
            <a:lvl1pPr marL="0" indent="0">
              <a:spcBef>
                <a:spcPts val="0"/>
              </a:spcBef>
              <a:buFontTx/>
              <a:buNone/>
              <a:defRPr sz="700">
                <a:solidFill>
                  <a:srgbClr val="34373F"/>
                </a:solidFill>
              </a:defRPr>
            </a:lvl1pPr>
          </a:lstStyle>
          <a:p>
            <a:r>
              <a:rPr lang="en-US"/>
              <a:t>Footnotes.</a:t>
            </a:r>
          </a:p>
          <a:p>
            <a:r>
              <a:rPr lang="en-US"/>
              <a:t>Abbreviations.</a:t>
            </a:r>
          </a:p>
          <a:p>
            <a:r>
              <a:rPr lang="en-US"/>
              <a:t>References.</a:t>
            </a:r>
          </a:p>
        </p:txBody>
      </p:sp>
      <p:sp>
        <p:nvSpPr>
          <p:cNvPr id="5" name="Slide Number Placeholder 4">
            <a:extLst>
              <a:ext uri="{FF2B5EF4-FFF2-40B4-BE49-F238E27FC236}">
                <a16:creationId xmlns="" xmlns:a16="http://schemas.microsoft.com/office/drawing/2014/main" id="{D866840B-298E-4CFC-A58E-46D1C350B59F}"/>
              </a:ext>
            </a:extLst>
          </p:cNvPr>
          <p:cNvSpPr>
            <a:spLocks noGrp="1"/>
          </p:cNvSpPr>
          <p:nvPr>
            <p:ph type="sldNum" sz="quarter" idx="16"/>
          </p:nvPr>
        </p:nvSpPr>
        <p:spPr/>
        <p:txBody>
          <a:bodyPr/>
          <a:lstStyle/>
          <a:p>
            <a:fld id="{E9B57936-92EF-4126-AE48-1D9D36D15E98}" type="slidenum">
              <a:rPr lang="ja-JP" altLang="en-US" smtClean="0">
                <a:solidFill>
                  <a:srgbClr val="A1A4AC"/>
                </a:solidFill>
              </a:rPr>
              <a:pPr/>
              <a:t>‹Nº›</a:t>
            </a:fld>
            <a:endParaRPr lang="ja-JP" altLang="en-US">
              <a:solidFill>
                <a:srgbClr val="A1A4AC"/>
              </a:solidFill>
            </a:endParaRPr>
          </a:p>
        </p:txBody>
      </p:sp>
      <p:sp>
        <p:nvSpPr>
          <p:cNvPr id="8" name="Title 7">
            <a:extLst>
              <a:ext uri="{FF2B5EF4-FFF2-40B4-BE49-F238E27FC236}">
                <a16:creationId xmlns="" xmlns:a16="http://schemas.microsoft.com/office/drawing/2014/main" id="{8F0341E0-7C1E-44B6-B63F-9834CF4F1267}"/>
              </a:ext>
            </a:extLst>
          </p:cNvPr>
          <p:cNvSpPr>
            <a:spLocks noGrp="1"/>
          </p:cNvSpPr>
          <p:nvPr>
            <p:ph type="title"/>
          </p:nvPr>
        </p:nvSpPr>
        <p:spPr>
          <a:xfrm>
            <a:off x="395289" y="99585"/>
            <a:ext cx="7357234" cy="527957"/>
          </a:xfrm>
        </p:spPr>
        <p:txBody>
          <a:bodyPr bIns="0"/>
          <a:lstStyle/>
          <a:p>
            <a:r>
              <a:rPr lang="en-US"/>
              <a:t>Click to edit Master title style</a:t>
            </a:r>
          </a:p>
        </p:txBody>
      </p:sp>
      <p:sp>
        <p:nvSpPr>
          <p:cNvPr id="6" name="Footer Placeholder 5">
            <a:extLst>
              <a:ext uri="{FF2B5EF4-FFF2-40B4-BE49-F238E27FC236}">
                <a16:creationId xmlns="" xmlns:a16="http://schemas.microsoft.com/office/drawing/2014/main" id="{A139C958-1D42-46C5-9663-C1E0F49EEACC}"/>
              </a:ext>
            </a:extLst>
          </p:cNvPr>
          <p:cNvSpPr>
            <a:spLocks noGrp="1"/>
          </p:cNvSpPr>
          <p:nvPr>
            <p:ph type="ftr" sz="quarter" idx="17"/>
          </p:nvPr>
        </p:nvSpPr>
        <p:spPr/>
        <p:txBody>
          <a:bodyPr/>
          <a:lstStyle/>
          <a:p>
            <a:r>
              <a:rPr lang="en-GB" altLang="ja-JP">
                <a:solidFill>
                  <a:srgbClr val="000000">
                    <a:tint val="75000"/>
                  </a:srgbClr>
                </a:solidFill>
              </a:rPr>
              <a:t>Long-term efficacy and safety of Takeda’s dengue vaccine candidate (TAK-003) after 4.5 years of follow-up | TBC | Approval </a:t>
            </a:r>
            <a:r>
              <a:rPr lang="en-US" altLang="ja-JP">
                <a:solidFill>
                  <a:srgbClr val="000000">
                    <a:tint val="75000"/>
                  </a:srgbClr>
                </a:solidFill>
              </a:rPr>
              <a:t>date: March 2023</a:t>
            </a:r>
            <a:endParaRPr lang="ja-JP" altLang="en-US" sz="200">
              <a:solidFill>
                <a:srgbClr val="000000">
                  <a:tint val="75000"/>
                </a:srgbClr>
              </a:solidFill>
            </a:endParaRPr>
          </a:p>
        </p:txBody>
      </p:sp>
    </p:spTree>
    <p:extLst>
      <p:ext uri="{BB962C8B-B14F-4D97-AF65-F5344CB8AC3E}">
        <p14:creationId xmlns:p14="http://schemas.microsoft.com/office/powerpoint/2010/main" val="1837731962"/>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6" name="Text Placeholder 3">
            <a:extLst>
              <a:ext uri="{FF2B5EF4-FFF2-40B4-BE49-F238E27FC236}">
                <a16:creationId xmlns="" xmlns:a16="http://schemas.microsoft.com/office/drawing/2014/main" id="{B08CFEF5-24AE-495E-BBF3-2FCF473E5A90}"/>
              </a:ext>
            </a:extLst>
          </p:cNvPr>
          <p:cNvSpPr>
            <a:spLocks noGrp="1"/>
          </p:cNvSpPr>
          <p:nvPr>
            <p:ph type="body" sz="quarter" idx="14" hasCustomPrompt="1"/>
          </p:nvPr>
        </p:nvSpPr>
        <p:spPr>
          <a:xfrm>
            <a:off x="395289" y="4431389"/>
            <a:ext cx="7529513" cy="340727"/>
          </a:xfrm>
        </p:spPr>
        <p:txBody>
          <a:bodyPr bIns="0" anchor="b" anchorCtr="0">
            <a:noAutofit/>
          </a:bodyPr>
          <a:lstStyle>
            <a:lvl1pPr marL="0" indent="0">
              <a:spcBef>
                <a:spcPts val="0"/>
              </a:spcBef>
              <a:buFontTx/>
              <a:buNone/>
              <a:defRPr sz="700"/>
            </a:lvl1pPr>
          </a:lstStyle>
          <a:p>
            <a:r>
              <a:rPr lang="en-US"/>
              <a:t>Footnotes.</a:t>
            </a:r>
          </a:p>
          <a:p>
            <a:r>
              <a:rPr lang="en-US"/>
              <a:t>Abbreviations.</a:t>
            </a:r>
          </a:p>
          <a:p>
            <a:r>
              <a:rPr lang="en-US"/>
              <a:t>References.</a:t>
            </a:r>
          </a:p>
        </p:txBody>
      </p:sp>
      <p:sp>
        <p:nvSpPr>
          <p:cNvPr id="5" name="Slide Number Placeholder 4">
            <a:extLst>
              <a:ext uri="{FF2B5EF4-FFF2-40B4-BE49-F238E27FC236}">
                <a16:creationId xmlns="" xmlns:a16="http://schemas.microsoft.com/office/drawing/2014/main" id="{D62C38EF-9E03-4702-A967-554F359F12DA}"/>
              </a:ext>
            </a:extLst>
          </p:cNvPr>
          <p:cNvSpPr>
            <a:spLocks noGrp="1"/>
          </p:cNvSpPr>
          <p:nvPr>
            <p:ph type="sldNum" sz="quarter" idx="16"/>
          </p:nvPr>
        </p:nvSpPr>
        <p:spPr/>
        <p:txBody>
          <a:bodyPr/>
          <a:lstStyle/>
          <a:p>
            <a:fld id="{E9B57936-92EF-4126-AE48-1D9D36D15E98}" type="slidenum">
              <a:rPr lang="ja-JP" altLang="en-US" smtClean="0">
                <a:solidFill>
                  <a:srgbClr val="A1A4AC"/>
                </a:solidFill>
              </a:rPr>
              <a:pPr/>
              <a:t>‹Nº›</a:t>
            </a:fld>
            <a:endParaRPr lang="ja-JP" altLang="en-US">
              <a:solidFill>
                <a:srgbClr val="A1A4AC"/>
              </a:solidFill>
            </a:endParaRPr>
          </a:p>
        </p:txBody>
      </p:sp>
      <p:sp>
        <p:nvSpPr>
          <p:cNvPr id="8" name="Title 7">
            <a:extLst>
              <a:ext uri="{FF2B5EF4-FFF2-40B4-BE49-F238E27FC236}">
                <a16:creationId xmlns="" xmlns:a16="http://schemas.microsoft.com/office/drawing/2014/main" id="{4C912CFE-FD99-4A0D-9068-9156FF22F571}"/>
              </a:ext>
            </a:extLst>
          </p:cNvPr>
          <p:cNvSpPr>
            <a:spLocks noGrp="1"/>
          </p:cNvSpPr>
          <p:nvPr>
            <p:ph type="title"/>
          </p:nvPr>
        </p:nvSpPr>
        <p:spPr>
          <a:xfrm>
            <a:off x="395289" y="99585"/>
            <a:ext cx="7357234" cy="527957"/>
          </a:xfrm>
        </p:spPr>
        <p:txBody>
          <a:bodyPr/>
          <a:lstStyle/>
          <a:p>
            <a:r>
              <a:rPr lang="en-US"/>
              <a:t>Click to edit Master title style</a:t>
            </a:r>
          </a:p>
        </p:txBody>
      </p:sp>
      <p:sp>
        <p:nvSpPr>
          <p:cNvPr id="14" name="Content Placeholder 13">
            <a:extLst>
              <a:ext uri="{FF2B5EF4-FFF2-40B4-BE49-F238E27FC236}">
                <a16:creationId xmlns="" xmlns:a16="http://schemas.microsoft.com/office/drawing/2014/main" id="{BD455CB7-5206-463D-BED2-EAD28551A070}"/>
              </a:ext>
            </a:extLst>
          </p:cNvPr>
          <p:cNvSpPr>
            <a:spLocks noGrp="1"/>
          </p:cNvSpPr>
          <p:nvPr>
            <p:ph sz="quarter" idx="17" hasCustomPrompt="1"/>
          </p:nvPr>
        </p:nvSpPr>
        <p:spPr>
          <a:xfrm>
            <a:off x="395289" y="926920"/>
            <a:ext cx="8343899" cy="3480566"/>
          </a:xfrm>
        </p:spPr>
        <p:txBody>
          <a:bodyPr/>
          <a:lstStyle/>
          <a:p>
            <a:pPr lvl="0"/>
            <a:r>
              <a:rPr lang="en-US"/>
              <a:t>Add your content here</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 xmlns:a16="http://schemas.microsoft.com/office/drawing/2014/main" id="{58FB5C6F-365C-4BC7-A55F-F64700AA7CD4}"/>
              </a:ext>
            </a:extLst>
          </p:cNvPr>
          <p:cNvSpPr>
            <a:spLocks noGrp="1"/>
          </p:cNvSpPr>
          <p:nvPr>
            <p:ph type="ftr" sz="quarter" idx="18"/>
          </p:nvPr>
        </p:nvSpPr>
        <p:spPr/>
        <p:txBody>
          <a:bodyPr/>
          <a:lstStyle/>
          <a:p>
            <a:r>
              <a:rPr lang="en-GB" altLang="ja-JP">
                <a:solidFill>
                  <a:srgbClr val="000000">
                    <a:tint val="75000"/>
                  </a:srgbClr>
                </a:solidFill>
              </a:rPr>
              <a:t>Long-term efficacy and safety of Takeda’s dengue vaccine candidate (TAK-003) after 4.5 years of follow-up | TBC | Approval </a:t>
            </a:r>
            <a:r>
              <a:rPr lang="en-US" altLang="ja-JP">
                <a:solidFill>
                  <a:srgbClr val="000000">
                    <a:tint val="75000"/>
                  </a:srgbClr>
                </a:solidFill>
              </a:rPr>
              <a:t>date: March 2023</a:t>
            </a:r>
            <a:endParaRPr lang="ja-JP" altLang="en-US" sz="100">
              <a:solidFill>
                <a:srgbClr val="000000">
                  <a:tint val="75000"/>
                </a:srgbClr>
              </a:solidFill>
            </a:endParaRPr>
          </a:p>
        </p:txBody>
      </p:sp>
    </p:spTree>
    <p:extLst>
      <p:ext uri="{BB962C8B-B14F-4D97-AF65-F5344CB8AC3E}">
        <p14:creationId xmlns:p14="http://schemas.microsoft.com/office/powerpoint/2010/main" val="1015122467"/>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E129881-6E69-4223-8D15-63FA14B0CB4C}"/>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 xmlns:a16="http://schemas.microsoft.com/office/drawing/2014/main" id="{5F0A8DA1-F9F6-4D74-B055-A738E3CE1D2A}"/>
              </a:ext>
            </a:extLst>
          </p:cNvPr>
          <p:cNvSpPr>
            <a:spLocks noGrp="1"/>
          </p:cNvSpPr>
          <p:nvPr>
            <p:ph sz="quarter" idx="12"/>
          </p:nvPr>
        </p:nvSpPr>
        <p:spPr>
          <a:xfrm>
            <a:off x="395298" y="926920"/>
            <a:ext cx="3641135" cy="34805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5">
            <a:extLst>
              <a:ext uri="{FF2B5EF4-FFF2-40B4-BE49-F238E27FC236}">
                <a16:creationId xmlns="" xmlns:a16="http://schemas.microsoft.com/office/drawing/2014/main" id="{8FB8791A-5714-4174-93D6-9FC70336EEB7}"/>
              </a:ext>
            </a:extLst>
          </p:cNvPr>
          <p:cNvSpPr>
            <a:spLocks noGrp="1"/>
          </p:cNvSpPr>
          <p:nvPr>
            <p:ph sz="quarter" idx="13"/>
          </p:nvPr>
        </p:nvSpPr>
        <p:spPr>
          <a:xfrm>
            <a:off x="4287134" y="926920"/>
            <a:ext cx="3641135" cy="34805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a:extLst>
              <a:ext uri="{FF2B5EF4-FFF2-40B4-BE49-F238E27FC236}">
                <a16:creationId xmlns="" xmlns:a16="http://schemas.microsoft.com/office/drawing/2014/main" id="{58223120-B955-4710-ACD4-F603408F08BD}"/>
              </a:ext>
            </a:extLst>
          </p:cNvPr>
          <p:cNvSpPr>
            <a:spLocks noGrp="1"/>
          </p:cNvSpPr>
          <p:nvPr>
            <p:ph type="body" sz="quarter" idx="14" hasCustomPrompt="1"/>
          </p:nvPr>
        </p:nvSpPr>
        <p:spPr>
          <a:xfrm>
            <a:off x="395289" y="4431389"/>
            <a:ext cx="7529513" cy="340727"/>
          </a:xfrm>
        </p:spPr>
        <p:txBody>
          <a:bodyPr bIns="0" anchor="b" anchorCtr="0">
            <a:noAutofit/>
          </a:bodyPr>
          <a:lstStyle>
            <a:lvl1pPr marL="0" indent="0">
              <a:spcBef>
                <a:spcPts val="0"/>
              </a:spcBef>
              <a:buFontTx/>
              <a:buNone/>
              <a:defRPr sz="700"/>
            </a:lvl1pPr>
          </a:lstStyle>
          <a:p>
            <a:r>
              <a:rPr lang="en-US"/>
              <a:t>Footnotes.</a:t>
            </a:r>
          </a:p>
          <a:p>
            <a:r>
              <a:rPr lang="en-US"/>
              <a:t>Abbreviations.</a:t>
            </a:r>
          </a:p>
          <a:p>
            <a:r>
              <a:rPr lang="en-US"/>
              <a:t>References.</a:t>
            </a:r>
          </a:p>
        </p:txBody>
      </p:sp>
      <p:sp>
        <p:nvSpPr>
          <p:cNvPr id="10" name="Slide Number Placeholder 9">
            <a:extLst>
              <a:ext uri="{FF2B5EF4-FFF2-40B4-BE49-F238E27FC236}">
                <a16:creationId xmlns="" xmlns:a16="http://schemas.microsoft.com/office/drawing/2014/main" id="{2D89B19E-B09D-4A01-BCC6-248802776290}"/>
              </a:ext>
            </a:extLst>
          </p:cNvPr>
          <p:cNvSpPr>
            <a:spLocks noGrp="1"/>
          </p:cNvSpPr>
          <p:nvPr>
            <p:ph type="sldNum" sz="quarter" idx="16"/>
          </p:nvPr>
        </p:nvSpPr>
        <p:spPr/>
        <p:txBody>
          <a:bodyPr/>
          <a:lstStyle/>
          <a:p>
            <a:fld id="{E9B57936-92EF-4126-AE48-1D9D36D15E98}" type="slidenum">
              <a:rPr lang="ja-JP" altLang="en-US" smtClean="0">
                <a:solidFill>
                  <a:srgbClr val="A1A4AC"/>
                </a:solidFill>
              </a:rPr>
              <a:pPr/>
              <a:t>‹Nº›</a:t>
            </a:fld>
            <a:endParaRPr lang="ja-JP" altLang="en-US">
              <a:solidFill>
                <a:srgbClr val="A1A4AC"/>
              </a:solidFill>
            </a:endParaRPr>
          </a:p>
        </p:txBody>
      </p:sp>
      <p:sp>
        <p:nvSpPr>
          <p:cNvPr id="4" name="Footer Placeholder 3">
            <a:extLst>
              <a:ext uri="{FF2B5EF4-FFF2-40B4-BE49-F238E27FC236}">
                <a16:creationId xmlns="" xmlns:a16="http://schemas.microsoft.com/office/drawing/2014/main" id="{51762CEE-A79A-45D3-9875-94BC3324923E}"/>
              </a:ext>
            </a:extLst>
          </p:cNvPr>
          <p:cNvSpPr>
            <a:spLocks noGrp="1"/>
          </p:cNvSpPr>
          <p:nvPr>
            <p:ph type="ftr" sz="quarter" idx="17"/>
          </p:nvPr>
        </p:nvSpPr>
        <p:spPr/>
        <p:txBody>
          <a:bodyPr/>
          <a:lstStyle/>
          <a:p>
            <a:r>
              <a:rPr lang="en-GB" altLang="ja-JP">
                <a:solidFill>
                  <a:srgbClr val="000000">
                    <a:tint val="75000"/>
                  </a:srgbClr>
                </a:solidFill>
              </a:rPr>
              <a:t>Long-term efficacy and safety of Takeda’s dengue vaccine candidate (TAK-003) after 4.5 years of follow-up | TBC | Approval </a:t>
            </a:r>
            <a:r>
              <a:rPr lang="en-US" altLang="ja-JP">
                <a:solidFill>
                  <a:srgbClr val="000000">
                    <a:tint val="75000"/>
                  </a:srgbClr>
                </a:solidFill>
              </a:rPr>
              <a:t>date: March 2023</a:t>
            </a:r>
            <a:endParaRPr lang="ja-JP" altLang="en-US" sz="100">
              <a:solidFill>
                <a:srgbClr val="000000">
                  <a:tint val="75000"/>
                </a:srgbClr>
              </a:solidFill>
            </a:endParaRPr>
          </a:p>
        </p:txBody>
      </p:sp>
    </p:spTree>
    <p:extLst>
      <p:ext uri="{BB962C8B-B14F-4D97-AF65-F5344CB8AC3E}">
        <p14:creationId xmlns:p14="http://schemas.microsoft.com/office/powerpoint/2010/main" val="3667992142"/>
      </p:ext>
    </p:extLst>
  </p:cSld>
  <p:clrMapOvr>
    <a:masterClrMapping/>
  </p:clrMapOvr>
  <p:extLst mod="1">
    <p:ext uri="{DCECCB84-F9BA-43D5-87BE-67443E8EF086}">
      <p15:sldGuideLst xmlns:p15="http://schemas.microsoft.com/office/powerpoint/2012/main"/>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44F408B-24E8-4FB6-AE04-197CC2CD7D0D}"/>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 xmlns:a16="http://schemas.microsoft.com/office/drawing/2014/main" id="{8B3088A4-9931-4BF0-A80E-31B01AC30FF8}"/>
              </a:ext>
            </a:extLst>
          </p:cNvPr>
          <p:cNvSpPr>
            <a:spLocks noGrp="1"/>
          </p:cNvSpPr>
          <p:nvPr>
            <p:ph type="sldNum" sz="quarter" idx="10"/>
          </p:nvPr>
        </p:nvSpPr>
        <p:spPr/>
        <p:txBody>
          <a:bodyPr/>
          <a:lstStyle/>
          <a:p>
            <a:fld id="{E9B57936-92EF-4126-AE48-1D9D36D15E98}" type="slidenum">
              <a:rPr lang="ja-JP" altLang="en-US" smtClean="0">
                <a:solidFill>
                  <a:srgbClr val="A1A4AC"/>
                </a:solidFill>
              </a:rPr>
              <a:pPr/>
              <a:t>‹Nº›</a:t>
            </a:fld>
            <a:endParaRPr lang="ja-JP" altLang="en-US">
              <a:solidFill>
                <a:srgbClr val="A1A4AC"/>
              </a:solidFill>
            </a:endParaRPr>
          </a:p>
        </p:txBody>
      </p:sp>
      <p:sp>
        <p:nvSpPr>
          <p:cNvPr id="4" name="Footer Placeholder 3">
            <a:extLst>
              <a:ext uri="{FF2B5EF4-FFF2-40B4-BE49-F238E27FC236}">
                <a16:creationId xmlns="" xmlns:a16="http://schemas.microsoft.com/office/drawing/2014/main" id="{0E749EFD-54C3-4F3F-B5B9-5977BA58250F}"/>
              </a:ext>
            </a:extLst>
          </p:cNvPr>
          <p:cNvSpPr>
            <a:spLocks noGrp="1"/>
          </p:cNvSpPr>
          <p:nvPr>
            <p:ph type="ftr" sz="quarter" idx="11"/>
          </p:nvPr>
        </p:nvSpPr>
        <p:spPr/>
        <p:txBody>
          <a:bodyPr/>
          <a:lstStyle/>
          <a:p>
            <a:r>
              <a:rPr lang="en-GB" altLang="ja-JP">
                <a:solidFill>
                  <a:srgbClr val="000000">
                    <a:tint val="75000"/>
                  </a:srgbClr>
                </a:solidFill>
              </a:rPr>
              <a:t>Long-term efficacy and safety of Takeda’s dengue vaccine candidate (TAK-003) after 4.5 years of follow-up | TBC | Approval </a:t>
            </a:r>
            <a:r>
              <a:rPr lang="en-US" altLang="ja-JP">
                <a:solidFill>
                  <a:srgbClr val="000000">
                    <a:tint val="75000"/>
                  </a:srgbClr>
                </a:solidFill>
              </a:rPr>
              <a:t>date: March 2023</a:t>
            </a:r>
            <a:endParaRPr lang="ja-JP" altLang="en-US" sz="100">
              <a:solidFill>
                <a:srgbClr val="000000">
                  <a:tint val="75000"/>
                </a:srgbClr>
              </a:solidFill>
            </a:endParaRPr>
          </a:p>
        </p:txBody>
      </p:sp>
    </p:spTree>
    <p:extLst>
      <p:ext uri="{BB962C8B-B14F-4D97-AF65-F5344CB8AC3E}">
        <p14:creationId xmlns:p14="http://schemas.microsoft.com/office/powerpoint/2010/main" val="163804852"/>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Back Cover">
    <p:spTree>
      <p:nvGrpSpPr>
        <p:cNvPr id="1" name=""/>
        <p:cNvGrpSpPr/>
        <p:nvPr/>
      </p:nvGrpSpPr>
      <p:grpSpPr>
        <a:xfrm>
          <a:off x="0" y="0"/>
          <a:ext cx="0" cy="0"/>
          <a:chOff x="0" y="0"/>
          <a:chExt cx="0" cy="0"/>
        </a:xfrm>
      </p:grpSpPr>
      <p:sp>
        <p:nvSpPr>
          <p:cNvPr id="6" name="テキスト プレースホルダ 5"/>
          <p:cNvSpPr>
            <a:spLocks noGrp="1"/>
          </p:cNvSpPr>
          <p:nvPr>
            <p:ph type="body" sz="quarter" idx="10" hasCustomPrompt="1"/>
          </p:nvPr>
        </p:nvSpPr>
        <p:spPr>
          <a:xfrm>
            <a:off x="1943710" y="1924050"/>
            <a:ext cx="5256584" cy="1292352"/>
          </a:xfrm>
        </p:spPr>
        <p:txBody>
          <a:bodyPr anchor="ctr"/>
          <a:lstStyle>
            <a:lvl1pPr algn="ctr">
              <a:buNone/>
              <a:defRPr>
                <a:solidFill>
                  <a:schemeClr val="tx2"/>
                </a:solidFill>
                <a:latin typeface="Calibri" pitchFamily="34" charset="0"/>
                <a:ea typeface="+mj-ea"/>
                <a:cs typeface="Calibri" pitchFamily="34" charset="0"/>
              </a:defRPr>
            </a:lvl1pPr>
          </a:lstStyle>
          <a:p>
            <a:pPr lvl="0"/>
            <a:r>
              <a:rPr kumimoji="1" lang="en-US" altLang="ja-JP"/>
              <a:t>Click to add text</a:t>
            </a:r>
            <a:endParaRPr kumimoji="1" lang="ja-JP" altLang="en-US"/>
          </a:p>
        </p:txBody>
      </p:sp>
      <p:sp>
        <p:nvSpPr>
          <p:cNvPr id="8" name="TextBox 7">
            <a:extLst>
              <a:ext uri="{FF2B5EF4-FFF2-40B4-BE49-F238E27FC236}">
                <a16:creationId xmlns="" xmlns:a16="http://schemas.microsoft.com/office/drawing/2014/main" id="{2E616805-6DFB-0945-A003-D0CAF7C12BCF}"/>
              </a:ext>
            </a:extLst>
          </p:cNvPr>
          <p:cNvSpPr txBox="1"/>
          <p:nvPr userDrawn="1"/>
        </p:nvSpPr>
        <p:spPr>
          <a:xfrm>
            <a:off x="2744652" y="4843417"/>
            <a:ext cx="3654707" cy="253916"/>
          </a:xfrm>
          <a:prstGeom prst="rect">
            <a:avLst/>
          </a:prstGeom>
          <a:noFill/>
        </p:spPr>
        <p:txBody>
          <a:bodyPr wrap="square" lIns="68508" tIns="34289" rIns="68508" bIns="34289" rtlCol="0">
            <a:spAutoFit/>
          </a:bodyPr>
          <a:lstStyle/>
          <a:p>
            <a:pPr algn="ctr" defTabSz="684984"/>
            <a:r>
              <a:rPr lang="en-US" sz="600">
                <a:solidFill>
                  <a:srgbClr val="34373F"/>
                </a:solidFill>
              </a:rPr>
              <a:t>© 2019 Takeda Pharmaceutical Company Limited. All rights reserved</a:t>
            </a:r>
          </a:p>
          <a:p>
            <a:pPr algn="ctr" defTabSz="684984"/>
            <a:endParaRPr lang="en-US" sz="600">
              <a:solidFill>
                <a:srgbClr val="34373F"/>
              </a:solidFill>
            </a:endParaRPr>
          </a:p>
        </p:txBody>
      </p:sp>
      <p:pic>
        <p:nvPicPr>
          <p:cNvPr id="9" name="Picture 12" descr="Takeda_Logo_Pos_RGB.emf">
            <a:extLst>
              <a:ext uri="{FF2B5EF4-FFF2-40B4-BE49-F238E27FC236}">
                <a16:creationId xmlns="" xmlns:a16="http://schemas.microsoft.com/office/drawing/2014/main" id="{06211555-87D5-2840-BDB0-E8779633087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4040560" y="4088664"/>
            <a:ext cx="1062884" cy="357458"/>
          </a:xfrm>
          <a:prstGeom prst="rect">
            <a:avLst/>
          </a:prstGeom>
          <a:noFill/>
          <a:ln w="9525">
            <a:noFill/>
            <a:miter lim="800000"/>
            <a:headEnd/>
            <a:tailEnd/>
          </a:ln>
        </p:spPr>
      </p:pic>
    </p:spTree>
    <p:extLst>
      <p:ext uri="{BB962C8B-B14F-4D97-AF65-F5344CB8AC3E}">
        <p14:creationId xmlns:p14="http://schemas.microsoft.com/office/powerpoint/2010/main" val="3991963361"/>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タイトルとコンテンツ">
    <p:spTree>
      <p:nvGrpSpPr>
        <p:cNvPr id="1" name=""/>
        <p:cNvGrpSpPr/>
        <p:nvPr/>
      </p:nvGrpSpPr>
      <p:grpSpPr>
        <a:xfrm>
          <a:off x="0" y="0"/>
          <a:ext cx="0" cy="0"/>
          <a:chOff x="0" y="0"/>
          <a:chExt cx="0" cy="0"/>
        </a:xfrm>
      </p:grpSpPr>
      <p:sp>
        <p:nvSpPr>
          <p:cNvPr id="3" name="コンテンツ プレースホルダ 2"/>
          <p:cNvSpPr>
            <a:spLocks noGrp="1"/>
          </p:cNvSpPr>
          <p:nvPr>
            <p:ph idx="1" hasCustomPrompt="1"/>
          </p:nvPr>
        </p:nvSpPr>
        <p:spPr/>
        <p:txBody>
          <a:bodyPr>
            <a:normAutofit/>
          </a:bodyPr>
          <a:lstStyle>
            <a:lvl1pPr marL="342470" marR="0" indent="-342470" algn="l" defTabSz="684984" rtl="0" eaLnBrk="1" fontAlgn="auto" latinLnBrk="0" hangingPunct="1">
              <a:lnSpc>
                <a:spcPct val="100000"/>
              </a:lnSpc>
              <a:spcBef>
                <a:spcPct val="20000"/>
              </a:spcBef>
              <a:spcAft>
                <a:spcPts val="0"/>
              </a:spcAft>
              <a:buClr>
                <a:srgbClr val="4C4948"/>
              </a:buClr>
              <a:buSzTx/>
              <a:buFont typeface="Arial" panose="020B0604020202020204" pitchFamily="34" charset="0"/>
              <a:buChar char="•"/>
              <a:tabLst/>
              <a:defRPr sz="2000" baseline="0">
                <a:solidFill>
                  <a:schemeClr val="accent2"/>
                </a:solidFill>
                <a:latin typeface="Calibri" pitchFamily="34" charset="0"/>
                <a:cs typeface="Calibri" pitchFamily="34" charset="0"/>
              </a:defRPr>
            </a:lvl1pPr>
            <a:lvl2pPr marL="556541" marR="0" indent="-214073" algn="l" defTabSz="684984" rtl="0" eaLnBrk="1" fontAlgn="auto" latinLnBrk="0" hangingPunct="1">
              <a:lnSpc>
                <a:spcPct val="100000"/>
              </a:lnSpc>
              <a:spcBef>
                <a:spcPct val="20000"/>
              </a:spcBef>
              <a:spcAft>
                <a:spcPts val="0"/>
              </a:spcAft>
              <a:buClr>
                <a:srgbClr val="4C4948"/>
              </a:buClr>
              <a:buSzTx/>
              <a:buFont typeface="Arial" pitchFamily="34" charset="0"/>
              <a:buChar char="–"/>
              <a:tabLst/>
              <a:defRPr sz="1400" baseline="0">
                <a:solidFill>
                  <a:srgbClr val="231815"/>
                </a:solidFill>
                <a:latin typeface="Calibri" pitchFamily="34" charset="0"/>
                <a:cs typeface="Calibri" pitchFamily="34" charset="0"/>
              </a:defRPr>
            </a:lvl2pPr>
            <a:lvl3pPr marL="856241" marR="0" indent="-171258" algn="l" defTabSz="684984" rtl="0" eaLnBrk="1" fontAlgn="auto" latinLnBrk="0" hangingPunct="1">
              <a:lnSpc>
                <a:spcPct val="100000"/>
              </a:lnSpc>
              <a:spcBef>
                <a:spcPct val="20000"/>
              </a:spcBef>
              <a:spcAft>
                <a:spcPts val="0"/>
              </a:spcAft>
              <a:buClr>
                <a:srgbClr val="4C4948"/>
              </a:buClr>
              <a:buSzTx/>
              <a:buFont typeface="Arial" pitchFamily="34" charset="0"/>
              <a:buChar char="•"/>
              <a:tabLst/>
              <a:defRPr sz="1200" baseline="0">
                <a:solidFill>
                  <a:srgbClr val="231815"/>
                </a:solidFill>
                <a:latin typeface="Calibri" pitchFamily="34" charset="0"/>
                <a:cs typeface="Calibri" pitchFamily="34" charset="0"/>
              </a:defRPr>
            </a:lvl3pPr>
            <a:lvl4pPr marL="1198710" marR="0" indent="-171258" algn="l" defTabSz="684984" rtl="0" eaLnBrk="1" fontAlgn="auto" latinLnBrk="0" hangingPunct="1">
              <a:lnSpc>
                <a:spcPct val="100000"/>
              </a:lnSpc>
              <a:spcBef>
                <a:spcPct val="20000"/>
              </a:spcBef>
              <a:spcAft>
                <a:spcPts val="0"/>
              </a:spcAft>
              <a:buClr>
                <a:srgbClr val="4C4948"/>
              </a:buClr>
              <a:buSzTx/>
              <a:buFont typeface="Arial" pitchFamily="34" charset="0"/>
              <a:buChar char="–"/>
              <a:tabLst/>
              <a:defRPr sz="1100" baseline="0">
                <a:solidFill>
                  <a:srgbClr val="231815"/>
                </a:solidFill>
                <a:latin typeface="Calibri" pitchFamily="34" charset="0"/>
                <a:cs typeface="Calibri" pitchFamily="34" charset="0"/>
              </a:defRPr>
            </a:lvl4pPr>
            <a:lvl5pPr marL="1541180" marR="0" indent="-171258" algn="l" defTabSz="684984" rtl="0" eaLnBrk="1" fontAlgn="auto" latinLnBrk="0" hangingPunct="1">
              <a:lnSpc>
                <a:spcPct val="100000"/>
              </a:lnSpc>
              <a:spcBef>
                <a:spcPct val="20000"/>
              </a:spcBef>
              <a:spcAft>
                <a:spcPts val="0"/>
              </a:spcAft>
              <a:buClr>
                <a:srgbClr val="4C4948"/>
              </a:buClr>
              <a:buSzTx/>
              <a:buFont typeface="Arial" pitchFamily="34" charset="0"/>
              <a:buChar char="»"/>
              <a:tabLst/>
              <a:defRPr sz="1100" baseline="0">
                <a:solidFill>
                  <a:srgbClr val="231815"/>
                </a:solidFill>
                <a:latin typeface="Calibri" pitchFamily="34" charset="0"/>
                <a:cs typeface="Calibri" pitchFamily="34" charset="0"/>
              </a:defRPr>
            </a:lvl5pPr>
          </a:lstStyle>
          <a:p>
            <a:pPr marL="342470" marR="0" lvl="0" indent="-342470" algn="l" defTabSz="684984" rtl="0" eaLnBrk="1" fontAlgn="auto" latinLnBrk="0" hangingPunct="1">
              <a:lnSpc>
                <a:spcPct val="100000"/>
              </a:lnSpc>
              <a:spcBef>
                <a:spcPct val="20000"/>
              </a:spcBef>
              <a:spcAft>
                <a:spcPts val="0"/>
              </a:spcAft>
              <a:buClr>
                <a:srgbClr val="4C4948"/>
              </a:buClr>
              <a:buSzTx/>
              <a:buFont typeface="Arial" panose="020B0604020202020204" pitchFamily="34" charset="0"/>
              <a:buChar char="•"/>
              <a:tabLst/>
              <a:defRPr/>
            </a:pPr>
            <a:r>
              <a:rPr kumimoji="1" lang="en-US" sz="2000" b="0" i="0" u="none" strike="noStrike" kern="1200" cap="none" spc="0" normalizeH="0" baseline="0" noProof="0">
                <a:ln>
                  <a:noFill/>
                </a:ln>
                <a:solidFill>
                  <a:srgbClr val="4C4948"/>
                </a:solidFill>
                <a:effectLst/>
                <a:uLnTx/>
                <a:uFillTx/>
                <a:latin typeface="Calibri" pitchFamily="34" charset="0"/>
                <a:ea typeface="メイリオ" pitchFamily="50" charset="-128"/>
                <a:cs typeface="Calibri" pitchFamily="34" charset="0"/>
              </a:rPr>
              <a:t>Add your content here</a:t>
            </a:r>
          </a:p>
          <a:p>
            <a:pPr marL="556541" marR="0" lvl="1" indent="-214073" algn="l" defTabSz="684984" rtl="0" eaLnBrk="1" fontAlgn="auto" latinLnBrk="0" hangingPunct="1">
              <a:lnSpc>
                <a:spcPct val="100000"/>
              </a:lnSpc>
              <a:spcBef>
                <a:spcPct val="20000"/>
              </a:spcBef>
              <a:spcAft>
                <a:spcPts val="0"/>
              </a:spcAft>
              <a:buClr>
                <a:srgbClr val="4C4948"/>
              </a:buClr>
              <a:buSzTx/>
              <a:buFont typeface="Arial" pitchFamily="34" charset="0"/>
              <a:buChar char="–"/>
              <a:tabLst/>
              <a:defRPr/>
            </a:pPr>
            <a:r>
              <a:rPr kumimoji="1" lang="en-US" sz="1800" b="0" i="0" u="none" strike="noStrike" kern="1200" cap="none" spc="0" normalizeH="0" baseline="0" noProof="0">
                <a:ln>
                  <a:noFill/>
                </a:ln>
                <a:solidFill>
                  <a:srgbClr val="4C4948"/>
                </a:solidFill>
                <a:effectLst/>
                <a:uLnTx/>
                <a:uFillTx/>
                <a:latin typeface="Calibri" pitchFamily="34" charset="0"/>
                <a:ea typeface="メイリオ" pitchFamily="50" charset="-128"/>
                <a:cs typeface="Calibri" pitchFamily="34" charset="0"/>
              </a:rPr>
              <a:t>Second level</a:t>
            </a:r>
          </a:p>
          <a:p>
            <a:pPr marL="856241" marR="0" lvl="2" indent="-171258" algn="l" defTabSz="684984" rtl="0" eaLnBrk="1" fontAlgn="auto" latinLnBrk="0" hangingPunct="1">
              <a:lnSpc>
                <a:spcPct val="100000"/>
              </a:lnSpc>
              <a:spcBef>
                <a:spcPct val="20000"/>
              </a:spcBef>
              <a:spcAft>
                <a:spcPts val="0"/>
              </a:spcAft>
              <a:buClr>
                <a:srgbClr val="4C4948"/>
              </a:buClr>
              <a:buSzTx/>
              <a:buFont typeface="Arial" pitchFamily="34" charset="0"/>
              <a:buChar char="•"/>
              <a:tabLst/>
              <a:defRPr/>
            </a:pPr>
            <a:r>
              <a:rPr kumimoji="1" lang="en-US" sz="1700" b="0" i="0" u="none" strike="noStrike" kern="1200" cap="none" spc="0" normalizeH="0" baseline="0" noProof="0">
                <a:ln>
                  <a:noFill/>
                </a:ln>
                <a:solidFill>
                  <a:srgbClr val="4C4948"/>
                </a:solidFill>
                <a:effectLst/>
                <a:uLnTx/>
                <a:uFillTx/>
                <a:latin typeface="Calibri" pitchFamily="34" charset="0"/>
                <a:ea typeface="メイリオ" pitchFamily="50" charset="-128"/>
                <a:cs typeface="Calibri" pitchFamily="34" charset="0"/>
              </a:rPr>
              <a:t>Third level</a:t>
            </a:r>
          </a:p>
          <a:p>
            <a:pPr marL="1198710" marR="0" lvl="3" indent="-171258" algn="l" defTabSz="684984" rtl="0" eaLnBrk="1" fontAlgn="auto" latinLnBrk="0" hangingPunct="1">
              <a:lnSpc>
                <a:spcPct val="100000"/>
              </a:lnSpc>
              <a:spcBef>
                <a:spcPct val="20000"/>
              </a:spcBef>
              <a:spcAft>
                <a:spcPts val="0"/>
              </a:spcAft>
              <a:buClr>
                <a:srgbClr val="4C4948"/>
              </a:buClr>
              <a:buSzTx/>
              <a:buFont typeface="Arial" pitchFamily="34" charset="0"/>
              <a:buChar char="–"/>
              <a:tabLst/>
              <a:defRPr/>
            </a:pPr>
            <a:r>
              <a:rPr kumimoji="1" lang="en-US" sz="1500" b="0" i="0" u="none" strike="noStrike" kern="1200" cap="none" spc="0" normalizeH="0" baseline="0" noProof="0">
                <a:ln>
                  <a:noFill/>
                </a:ln>
                <a:solidFill>
                  <a:srgbClr val="4C4948"/>
                </a:solidFill>
                <a:effectLst/>
                <a:uLnTx/>
                <a:uFillTx/>
                <a:latin typeface="Calibri" pitchFamily="34" charset="0"/>
                <a:ea typeface="メイリオ" pitchFamily="50" charset="-128"/>
                <a:cs typeface="Calibri" pitchFamily="34" charset="0"/>
              </a:rPr>
              <a:t>Fourth level</a:t>
            </a:r>
          </a:p>
          <a:p>
            <a:pPr marL="1541180" marR="0" lvl="4" indent="-171258" algn="l" defTabSz="684984" rtl="0" eaLnBrk="1" fontAlgn="auto" latinLnBrk="0" hangingPunct="1">
              <a:lnSpc>
                <a:spcPct val="100000"/>
              </a:lnSpc>
              <a:spcBef>
                <a:spcPct val="20000"/>
              </a:spcBef>
              <a:spcAft>
                <a:spcPts val="0"/>
              </a:spcAft>
              <a:buClr>
                <a:srgbClr val="4C4948"/>
              </a:buClr>
              <a:buSzTx/>
              <a:buFont typeface="Arial" pitchFamily="34" charset="0"/>
              <a:buChar char="»"/>
              <a:tabLst/>
              <a:defRPr/>
            </a:pPr>
            <a:r>
              <a:rPr kumimoji="1" lang="en-US" sz="1500" b="0" i="0" u="none" strike="noStrike" kern="1200" cap="none" spc="0" normalizeH="0" baseline="0" noProof="0">
                <a:ln>
                  <a:noFill/>
                </a:ln>
                <a:solidFill>
                  <a:srgbClr val="4C4948"/>
                </a:solidFill>
                <a:effectLst/>
                <a:uLnTx/>
                <a:uFillTx/>
                <a:latin typeface="Calibri" pitchFamily="34" charset="0"/>
                <a:ea typeface="メイリオ" pitchFamily="50" charset="-128"/>
                <a:cs typeface="Calibri" pitchFamily="34" charset="0"/>
              </a:rPr>
              <a:t>Fifth level</a:t>
            </a:r>
            <a:endParaRPr kumimoji="1" lang="ja-JP" altLang="en-US"/>
          </a:p>
        </p:txBody>
      </p:sp>
      <p:sp>
        <p:nvSpPr>
          <p:cNvPr id="7" name="Title 14">
            <a:extLst>
              <a:ext uri="{FF2B5EF4-FFF2-40B4-BE49-F238E27FC236}">
                <a16:creationId xmlns="" xmlns:a16="http://schemas.microsoft.com/office/drawing/2014/main" id="{ACC062CD-A904-0F41-8348-B090B7D80016}"/>
              </a:ext>
            </a:extLst>
          </p:cNvPr>
          <p:cNvSpPr>
            <a:spLocks noGrp="1"/>
          </p:cNvSpPr>
          <p:nvPr>
            <p:ph type="title" hasCustomPrompt="1"/>
          </p:nvPr>
        </p:nvSpPr>
        <p:spPr>
          <a:xfrm>
            <a:off x="395288" y="99585"/>
            <a:ext cx="7290144" cy="527957"/>
          </a:xfrm>
        </p:spPr>
        <p:txBody>
          <a:bodyPr/>
          <a:lstStyle>
            <a:lvl1pPr>
              <a:defRPr>
                <a:solidFill>
                  <a:schemeClr val="accent2"/>
                </a:solidFill>
                <a:latin typeface="Calibri" panose="020F0502020204030204" pitchFamily="34" charset="0"/>
                <a:cs typeface="Calibri" panose="020F0502020204030204" pitchFamily="34" charset="0"/>
              </a:defRPr>
            </a:lvl1pPr>
          </a:lstStyle>
          <a:p>
            <a:r>
              <a:rPr lang="en-US"/>
              <a:t>Add your title here</a:t>
            </a:r>
          </a:p>
        </p:txBody>
      </p:sp>
      <p:sp>
        <p:nvSpPr>
          <p:cNvPr id="10" name="Slide Number Placeholder 2">
            <a:extLst>
              <a:ext uri="{FF2B5EF4-FFF2-40B4-BE49-F238E27FC236}">
                <a16:creationId xmlns="" xmlns:a16="http://schemas.microsoft.com/office/drawing/2014/main" id="{E66FFE87-AC99-D545-8637-52F42D6E6547}"/>
              </a:ext>
            </a:extLst>
          </p:cNvPr>
          <p:cNvSpPr>
            <a:spLocks noGrp="1"/>
          </p:cNvSpPr>
          <p:nvPr>
            <p:ph type="sldNum" sz="quarter" idx="4"/>
          </p:nvPr>
        </p:nvSpPr>
        <p:spPr>
          <a:xfrm>
            <a:off x="3" y="4748469"/>
            <a:ext cx="486833" cy="292687"/>
          </a:xfrm>
          <a:prstGeom prst="rect">
            <a:avLst/>
          </a:prstGeom>
        </p:spPr>
        <p:txBody>
          <a:bodyPr rIns="0" anchor="ctr" anchorCtr="0"/>
          <a:lstStyle>
            <a:lvl1pPr algn="r">
              <a:defRPr sz="800" b="0" i="0">
                <a:solidFill>
                  <a:schemeClr val="accent3"/>
                </a:solidFill>
                <a:latin typeface="Calibri" panose="020F0502020204030204" pitchFamily="34" charset="0"/>
                <a:cs typeface="Calibri" panose="020F0502020204030204" pitchFamily="34" charset="0"/>
              </a:defRPr>
            </a:lvl1pPr>
          </a:lstStyle>
          <a:p>
            <a:fld id="{E9B57936-92EF-4126-AE48-1D9D36D15E98}" type="slidenum">
              <a:rPr lang="ja-JP" altLang="en-US" smtClean="0">
                <a:solidFill>
                  <a:srgbClr val="A1A4AC"/>
                </a:solidFill>
              </a:rPr>
              <a:pPr/>
              <a:t>‹Nº›</a:t>
            </a:fld>
            <a:endParaRPr lang="ja-JP" altLang="en-US">
              <a:solidFill>
                <a:srgbClr val="A1A4AC"/>
              </a:solidFill>
            </a:endParaRPr>
          </a:p>
        </p:txBody>
      </p:sp>
      <p:sp>
        <p:nvSpPr>
          <p:cNvPr id="11" name="Footer Placeholder 4">
            <a:extLst>
              <a:ext uri="{FF2B5EF4-FFF2-40B4-BE49-F238E27FC236}">
                <a16:creationId xmlns="" xmlns:a16="http://schemas.microsoft.com/office/drawing/2014/main" id="{AF0B85ED-B35C-F940-9C41-40AD55C5EB03}"/>
              </a:ext>
            </a:extLst>
          </p:cNvPr>
          <p:cNvSpPr>
            <a:spLocks noGrp="1"/>
          </p:cNvSpPr>
          <p:nvPr>
            <p:ph type="ftr" sz="quarter" idx="3"/>
          </p:nvPr>
        </p:nvSpPr>
        <p:spPr>
          <a:xfrm>
            <a:off x="486833" y="4748422"/>
            <a:ext cx="7447713" cy="292688"/>
          </a:xfrm>
          <a:prstGeom prst="rect">
            <a:avLst/>
          </a:prstGeom>
        </p:spPr>
        <p:txBody>
          <a:bodyPr lIns="53952" anchor="ctr" anchorCtr="0"/>
          <a:lstStyle>
            <a:lvl1pPr>
              <a:defRPr sz="800" b="0" i="0">
                <a:solidFill>
                  <a:schemeClr val="accent3"/>
                </a:solidFill>
                <a:latin typeface="Calibri" panose="020F0502020204030204" pitchFamily="34" charset="0"/>
                <a:cs typeface="Calibri" panose="020F0502020204030204" pitchFamily="34" charset="0"/>
              </a:defRPr>
            </a:lvl1pPr>
          </a:lstStyle>
          <a:p>
            <a:r>
              <a:rPr lang="en-GB" altLang="ja-JP">
                <a:solidFill>
                  <a:srgbClr val="A1A4AC"/>
                </a:solidFill>
              </a:rPr>
              <a:t>Long-term efficacy and safety of Takeda’s dengue vaccine candidate (TAK-003) after 4.5 years of follow-up | TBC | Approval date: March 2023</a:t>
            </a:r>
            <a:endParaRPr lang="ja-JP" altLang="en-US">
              <a:solidFill>
                <a:srgbClr val="A1A4AC"/>
              </a:solidFill>
            </a:endParaRPr>
          </a:p>
        </p:txBody>
      </p:sp>
      <p:sp>
        <p:nvSpPr>
          <p:cNvPr id="6" name="Text Placeholder 3">
            <a:extLst>
              <a:ext uri="{FF2B5EF4-FFF2-40B4-BE49-F238E27FC236}">
                <a16:creationId xmlns="" xmlns:a16="http://schemas.microsoft.com/office/drawing/2014/main" id="{B08CFEF5-24AE-495E-BBF3-2FCF473E5A90}"/>
              </a:ext>
            </a:extLst>
          </p:cNvPr>
          <p:cNvSpPr>
            <a:spLocks noGrp="1"/>
          </p:cNvSpPr>
          <p:nvPr>
            <p:ph type="body" sz="quarter" idx="14" hasCustomPrompt="1"/>
          </p:nvPr>
        </p:nvSpPr>
        <p:spPr>
          <a:xfrm>
            <a:off x="404820" y="4407742"/>
            <a:ext cx="7529513" cy="340519"/>
          </a:xfrm>
        </p:spPr>
        <p:txBody>
          <a:bodyPr anchor="b" anchorCtr="0">
            <a:noAutofit/>
          </a:bodyPr>
          <a:lstStyle>
            <a:lvl1pPr marL="0" indent="0">
              <a:spcBef>
                <a:spcPts val="0"/>
              </a:spcBef>
              <a:buFontTx/>
              <a:buNone/>
              <a:defRPr sz="700"/>
            </a:lvl1pPr>
          </a:lstStyle>
          <a:p>
            <a:pPr lvl="0"/>
            <a:r>
              <a:rPr lang="en-US"/>
              <a:t>Abbreviations and references</a:t>
            </a:r>
          </a:p>
        </p:txBody>
      </p:sp>
    </p:spTree>
    <p:extLst>
      <p:ext uri="{BB962C8B-B14F-4D97-AF65-F5344CB8AC3E}">
        <p14:creationId xmlns:p14="http://schemas.microsoft.com/office/powerpoint/2010/main" val="4166220228"/>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Blank w/ Title (Ligh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2791E102-F015-C78A-47B6-E9A6357A4664}"/>
              </a:ext>
            </a:extLst>
          </p:cNvPr>
          <p:cNvSpPr>
            <a:spLocks noGrp="1"/>
          </p:cNvSpPr>
          <p:nvPr>
            <p:ph type="title" hasCustomPrompt="1"/>
          </p:nvPr>
        </p:nvSpPr>
        <p:spPr/>
        <p:txBody>
          <a:bodyPr/>
          <a:lstStyle>
            <a:lvl1pPr>
              <a:defRPr>
                <a:solidFill>
                  <a:schemeClr val="tx2"/>
                </a:solidFill>
              </a:defRPr>
            </a:lvl1pPr>
          </a:lstStyle>
          <a:p>
            <a:r>
              <a:rPr lang="en-US"/>
              <a:t>Enter title here</a:t>
            </a:r>
            <a:endParaRPr lang="en-GB"/>
          </a:p>
        </p:txBody>
      </p:sp>
      <p:sp>
        <p:nvSpPr>
          <p:cNvPr id="3" name="Footer Placeholder 2">
            <a:extLst>
              <a:ext uri="{FF2B5EF4-FFF2-40B4-BE49-F238E27FC236}">
                <a16:creationId xmlns="" xmlns:a16="http://schemas.microsoft.com/office/drawing/2014/main" id="{D7FB5E98-4ADD-3B20-06BA-EA0D13A6542A}"/>
              </a:ext>
            </a:extLst>
          </p:cNvPr>
          <p:cNvSpPr>
            <a:spLocks noGrp="1"/>
          </p:cNvSpPr>
          <p:nvPr>
            <p:ph type="ftr" sz="quarter" idx="10"/>
          </p:nvPr>
        </p:nvSpPr>
        <p:spPr/>
        <p:txBody>
          <a:bodyPr/>
          <a:lstStyle/>
          <a:p>
            <a:r>
              <a:rPr lang="en-GB">
                <a:solidFill>
                  <a:srgbClr val="000000">
                    <a:tint val="75000"/>
                  </a:srgbClr>
                </a:solidFill>
              </a:rPr>
              <a:t>Long-term efficacy and safety of Takeda’s dengue vaccine candidate (TAK-003) after 4.5 years of follow-up | TBC | Approval date: March 2023</a:t>
            </a:r>
          </a:p>
        </p:txBody>
      </p:sp>
      <p:sp>
        <p:nvSpPr>
          <p:cNvPr id="4" name="Slide Number Placeholder 3">
            <a:extLst>
              <a:ext uri="{FF2B5EF4-FFF2-40B4-BE49-F238E27FC236}">
                <a16:creationId xmlns="" xmlns:a16="http://schemas.microsoft.com/office/drawing/2014/main" id="{A42EA920-1055-F026-0BE2-8DFAFD83F4F6}"/>
              </a:ext>
            </a:extLst>
          </p:cNvPr>
          <p:cNvSpPr>
            <a:spLocks noGrp="1"/>
          </p:cNvSpPr>
          <p:nvPr>
            <p:ph type="sldNum" sz="quarter" idx="11"/>
          </p:nvPr>
        </p:nvSpPr>
        <p:spPr/>
        <p:txBody>
          <a:bodyPr/>
          <a:lstStyle/>
          <a:p>
            <a:fld id="{6C2D6B06-1DB8-4E35-8DFF-019CD55AEF0F}" type="slidenum">
              <a:rPr lang="en-GB" smtClean="0">
                <a:solidFill>
                  <a:srgbClr val="A1A4AC"/>
                </a:solidFill>
              </a:rPr>
              <a:pPr/>
              <a:t>‹Nº›</a:t>
            </a:fld>
            <a:endParaRPr lang="en-GB">
              <a:solidFill>
                <a:srgbClr val="A1A4AC"/>
              </a:solidFill>
            </a:endParaRPr>
          </a:p>
        </p:txBody>
      </p:sp>
    </p:spTree>
    <p:extLst>
      <p:ext uri="{BB962C8B-B14F-4D97-AF65-F5344CB8AC3E}">
        <p14:creationId xmlns:p14="http://schemas.microsoft.com/office/powerpoint/2010/main" val="12708559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524" y="204787"/>
            <a:ext cx="3008313" cy="871538"/>
          </a:xfrm>
        </p:spPr>
        <p:txBody>
          <a:bodyPr anchor="b"/>
          <a:lstStyle>
            <a:lvl1pPr algn="l">
              <a:defRPr sz="2000" b="1"/>
            </a:lvl1pPr>
          </a:lstStyle>
          <a:p>
            <a:r>
              <a:rPr lang="es-ES"/>
              <a:t>Haga clic para modificar el estilo de título del patrón</a:t>
            </a:r>
          </a:p>
        </p:txBody>
      </p:sp>
      <p:sp>
        <p:nvSpPr>
          <p:cNvPr id="3" name="2 Marcador de contenido"/>
          <p:cNvSpPr>
            <a:spLocks noGrp="1"/>
          </p:cNvSpPr>
          <p:nvPr>
            <p:ph idx="1"/>
          </p:nvPr>
        </p:nvSpPr>
        <p:spPr>
          <a:xfrm>
            <a:off x="3575050" y="204851"/>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texto"/>
          <p:cNvSpPr>
            <a:spLocks noGrp="1"/>
          </p:cNvSpPr>
          <p:nvPr>
            <p:ph type="body" sz="half" idx="2"/>
          </p:nvPr>
        </p:nvSpPr>
        <p:spPr>
          <a:xfrm>
            <a:off x="457524" y="1076328"/>
            <a:ext cx="3008313" cy="3518297"/>
          </a:xfrm>
        </p:spPr>
        <p:txBody>
          <a:bodyPr/>
          <a:lstStyle>
            <a:lvl1pPr marL="0" indent="0">
              <a:buNone/>
              <a:defRPr sz="1400"/>
            </a:lvl1pPr>
            <a:lvl2pPr marL="448575" indent="0">
              <a:buNone/>
              <a:defRPr sz="1200"/>
            </a:lvl2pPr>
            <a:lvl3pPr marL="897136" indent="0">
              <a:buNone/>
              <a:defRPr sz="1000"/>
            </a:lvl3pPr>
            <a:lvl4pPr marL="1345700" indent="0">
              <a:buNone/>
              <a:defRPr sz="900"/>
            </a:lvl4pPr>
            <a:lvl5pPr marL="1794279" indent="0">
              <a:buNone/>
              <a:defRPr sz="900"/>
            </a:lvl5pPr>
            <a:lvl6pPr marL="2242845" indent="0">
              <a:buNone/>
              <a:defRPr sz="900"/>
            </a:lvl6pPr>
            <a:lvl7pPr marL="2691413" indent="0">
              <a:buNone/>
              <a:defRPr sz="900"/>
            </a:lvl7pPr>
            <a:lvl8pPr marL="3139987" indent="0">
              <a:buNone/>
              <a:defRPr sz="900"/>
            </a:lvl8pPr>
            <a:lvl9pPr marL="3588554" indent="0">
              <a:buNone/>
              <a:defRPr sz="900"/>
            </a:lvl9pPr>
          </a:lstStyle>
          <a:p>
            <a:pPr lvl="0"/>
            <a:r>
              <a:rPr lang="es-ES"/>
              <a:t>Haga clic para modificar el estilo de texto del patrón</a:t>
            </a:r>
          </a:p>
        </p:txBody>
      </p:sp>
      <p:sp>
        <p:nvSpPr>
          <p:cNvPr id="5" name="3 Marcador de fecha"/>
          <p:cNvSpPr>
            <a:spLocks noGrp="1"/>
          </p:cNvSpPr>
          <p:nvPr>
            <p:ph type="dt" sz="half" idx="10"/>
          </p:nvPr>
        </p:nvSpPr>
        <p:spPr>
          <a:xfrm>
            <a:off x="457201" y="4767357"/>
            <a:ext cx="2133600" cy="273844"/>
          </a:xfrm>
          <a:prstGeom prst="rect">
            <a:avLst/>
          </a:prstGeom>
        </p:spPr>
        <p:txBody>
          <a:bodyPr lIns="89953" tIns="44976" rIns="89953" bIns="44976"/>
          <a:lstStyle>
            <a:lvl1pPr>
              <a:defRPr b="1"/>
            </a:lvl1pPr>
          </a:lstStyle>
          <a:p>
            <a:pPr defTabSz="897136">
              <a:defRPr/>
            </a:pPr>
            <a:fld id="{41EDBB76-DCE5-4F31-8382-7A9638B1C43B}" type="datetimeFigureOut">
              <a:rPr lang="es-ES">
                <a:solidFill>
                  <a:prstClr val="black"/>
                </a:solidFill>
              </a:rPr>
              <a:pPr defTabSz="897136">
                <a:defRPr/>
              </a:pPr>
              <a:t>07/08/2024</a:t>
            </a:fld>
            <a:endParaRPr lang="es-ES">
              <a:solidFill>
                <a:prstClr val="black"/>
              </a:solidFill>
            </a:endParaRPr>
          </a:p>
        </p:txBody>
      </p:sp>
      <p:sp>
        <p:nvSpPr>
          <p:cNvPr id="6" name="4 Marcador de pie de página"/>
          <p:cNvSpPr>
            <a:spLocks noGrp="1"/>
          </p:cNvSpPr>
          <p:nvPr>
            <p:ph type="ftr" sz="quarter" idx="11"/>
          </p:nvPr>
        </p:nvSpPr>
        <p:spPr/>
        <p:txBody>
          <a:bodyPr/>
          <a:lstStyle>
            <a:lvl1pPr>
              <a:defRPr b="1"/>
            </a:lvl1pPr>
          </a:lstStyle>
          <a:p>
            <a:pPr>
              <a:defRPr/>
            </a:pPr>
            <a:endParaRPr lang="es-ES"/>
          </a:p>
        </p:txBody>
      </p:sp>
      <p:sp>
        <p:nvSpPr>
          <p:cNvPr id="7" name="5 Marcador de número de diapositiva"/>
          <p:cNvSpPr>
            <a:spLocks noGrp="1"/>
          </p:cNvSpPr>
          <p:nvPr>
            <p:ph type="sldNum" sz="quarter" idx="12"/>
          </p:nvPr>
        </p:nvSpPr>
        <p:spPr/>
        <p:txBody>
          <a:bodyPr/>
          <a:lstStyle>
            <a:lvl1pPr>
              <a:defRPr b="1"/>
            </a:lvl1pPr>
          </a:lstStyle>
          <a:p>
            <a:pPr>
              <a:defRPr/>
            </a:pPr>
            <a:fld id="{7C55D46E-58B9-444E-B735-442E03077310}" type="slidenum">
              <a:rPr lang="es-ES"/>
              <a:pPr>
                <a:defRPr/>
              </a:pPr>
              <a:t>‹Nº›</a:t>
            </a:fld>
            <a:endParaRPr lang="es-ES"/>
          </a:p>
        </p:txBody>
      </p:sp>
    </p:spTree>
    <p:extLst>
      <p:ext uri="{BB962C8B-B14F-4D97-AF65-F5344CB8AC3E}">
        <p14:creationId xmlns:p14="http://schemas.microsoft.com/office/powerpoint/2010/main" val="345495666"/>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Page 1">
    <p:spTree>
      <p:nvGrpSpPr>
        <p:cNvPr id="1" name=""/>
        <p:cNvGrpSpPr/>
        <p:nvPr/>
      </p:nvGrpSpPr>
      <p:grpSpPr>
        <a:xfrm>
          <a:off x="0" y="0"/>
          <a:ext cx="0" cy="0"/>
          <a:chOff x="0" y="0"/>
          <a:chExt cx="0" cy="0"/>
        </a:xfrm>
      </p:grpSpPr>
      <p:sp>
        <p:nvSpPr>
          <p:cNvPr id="6" name="Rectangle 6">
            <a:extLst>
              <a:ext uri="{FF2B5EF4-FFF2-40B4-BE49-F238E27FC236}">
                <a16:creationId xmlns="" xmlns:a16="http://schemas.microsoft.com/office/drawing/2014/main" id="{82B9CECE-7D8F-8C4A-AFC6-A963B1F05594}"/>
              </a:ext>
            </a:extLst>
          </p:cNvPr>
          <p:cNvSpPr/>
          <p:nvPr userDrawn="1"/>
        </p:nvSpPr>
        <p:spPr>
          <a:xfrm>
            <a:off x="0" y="45949"/>
            <a:ext cx="191386" cy="6367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19" tIns="34289" rIns="68519" bIns="34289" anchor="ctr"/>
          <a:lstStyle/>
          <a:p>
            <a:pPr algn="ctr" defTabSz="685103"/>
            <a:endParaRPr lang="en-US" altLang="en-US" sz="1400">
              <a:solidFill>
                <a:srgbClr val="E1242A"/>
              </a:solidFill>
            </a:endParaRPr>
          </a:p>
        </p:txBody>
      </p:sp>
      <p:sp>
        <p:nvSpPr>
          <p:cNvPr id="10" name="Picture Placeholder 9">
            <a:extLst>
              <a:ext uri="{FF2B5EF4-FFF2-40B4-BE49-F238E27FC236}">
                <a16:creationId xmlns="" xmlns:a16="http://schemas.microsoft.com/office/drawing/2014/main" id="{91E79114-5B74-9547-8292-DAB8965D43FD}"/>
              </a:ext>
            </a:extLst>
          </p:cNvPr>
          <p:cNvSpPr>
            <a:spLocks noGrp="1"/>
          </p:cNvSpPr>
          <p:nvPr>
            <p:ph type="pic" sz="quarter" idx="10"/>
          </p:nvPr>
        </p:nvSpPr>
        <p:spPr>
          <a:xfrm>
            <a:off x="561756" y="381"/>
            <a:ext cx="8594519" cy="2571371"/>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2246">
                <a:moveTo>
                  <a:pt x="0" y="1652"/>
                </a:moveTo>
                <a:lnTo>
                  <a:pt x="11459359" y="0"/>
                </a:lnTo>
                <a:cubicBezTo>
                  <a:pt x="11456406" y="1115201"/>
                  <a:pt x="11441877" y="2245391"/>
                  <a:pt x="11438924" y="3360592"/>
                </a:cubicBezTo>
                <a:lnTo>
                  <a:pt x="579722" y="3362246"/>
                </a:lnTo>
                <a:cubicBezTo>
                  <a:pt x="259550" y="3362246"/>
                  <a:pt x="0" y="3102696"/>
                  <a:pt x="0" y="2782524"/>
                </a:cubicBezTo>
                <a:lnTo>
                  <a:pt x="0" y="1652"/>
                </a:lnTo>
                <a:close/>
              </a:path>
            </a:pathLst>
          </a:custGeom>
          <a:noFill/>
        </p:spPr>
        <p:txBody>
          <a:bodyPr/>
          <a:lstStyle>
            <a:lvl1pPr marL="0" indent="0">
              <a:buNone/>
              <a:defRPr sz="1800">
                <a:solidFill>
                  <a:schemeClr val="bg1"/>
                </a:solidFill>
              </a:defRPr>
            </a:lvl1pPr>
          </a:lstStyle>
          <a:p>
            <a:r>
              <a:rPr lang="es-ES"/>
              <a:t>Haga clic en el icono para agregar una imagen</a:t>
            </a:r>
            <a:endParaRPr lang="x-none"/>
          </a:p>
        </p:txBody>
      </p:sp>
      <p:pic>
        <p:nvPicPr>
          <p:cNvPr id="18" name="Picture 17" descr="Takeda">
            <a:extLst>
              <a:ext uri="{FF2B5EF4-FFF2-40B4-BE49-F238E27FC236}">
                <a16:creationId xmlns="" xmlns:a16="http://schemas.microsoft.com/office/drawing/2014/main" id="{5F9376FC-2A9F-C644-AD88-C6E1B65B4D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342928" y="2522105"/>
            <a:ext cx="1688783" cy="936649"/>
          </a:xfrm>
          <a:prstGeom prst="rect">
            <a:avLst/>
          </a:prstGeom>
        </p:spPr>
      </p:pic>
      <p:sp>
        <p:nvSpPr>
          <p:cNvPr id="15" name="Title 1">
            <a:extLst>
              <a:ext uri="{FF2B5EF4-FFF2-40B4-BE49-F238E27FC236}">
                <a16:creationId xmlns="" xmlns:a16="http://schemas.microsoft.com/office/drawing/2014/main" id="{9F5E8E0A-41D4-8346-9248-0B9AAC71238D}"/>
              </a:ext>
            </a:extLst>
          </p:cNvPr>
          <p:cNvSpPr>
            <a:spLocks noGrp="1"/>
          </p:cNvSpPr>
          <p:nvPr>
            <p:ph type="ctrTitle" hasCustomPrompt="1"/>
          </p:nvPr>
        </p:nvSpPr>
        <p:spPr>
          <a:xfrm>
            <a:off x="896055" y="2967638"/>
            <a:ext cx="5774753" cy="761761"/>
          </a:xfrm>
          <a:prstGeom prst="rect">
            <a:avLst/>
          </a:prstGeom>
        </p:spPr>
        <p:txBody>
          <a:bodyPr wrap="square" lIns="0" tIns="0" rIns="0" bIns="0" anchor="t" anchorCtr="0">
            <a:normAutofit/>
          </a:bodyPr>
          <a:lstStyle>
            <a:lvl1pPr>
              <a:lnSpc>
                <a:spcPts val="2850"/>
              </a:lnSpc>
              <a:defRPr sz="27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a:t>
            </a:r>
            <a:br>
              <a:rPr lang="en-GB"/>
            </a:br>
            <a:r>
              <a:rPr lang="en-GB"/>
              <a:t>Title</a:t>
            </a:r>
          </a:p>
        </p:txBody>
      </p:sp>
      <p:sp>
        <p:nvSpPr>
          <p:cNvPr id="17" name="Rectangle 16">
            <a:extLst>
              <a:ext uri="{FF2B5EF4-FFF2-40B4-BE49-F238E27FC236}">
                <a16:creationId xmlns="" xmlns:a16="http://schemas.microsoft.com/office/drawing/2014/main" id="{F5A63B8E-5554-A04E-B4C5-97ECEE58B6CC}"/>
              </a:ext>
            </a:extLst>
          </p:cNvPr>
          <p:cNvSpPr/>
          <p:nvPr userDrawn="1"/>
        </p:nvSpPr>
        <p:spPr>
          <a:xfrm>
            <a:off x="561754" y="2823048"/>
            <a:ext cx="72900" cy="20303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19" tIns="34289" rIns="68519" bIns="34289" anchor="ctr"/>
          <a:lstStyle/>
          <a:p>
            <a:pPr algn="ctr" defTabSz="685103"/>
            <a:endParaRPr lang="en-US" altLang="en-US" sz="1400">
              <a:solidFill>
                <a:srgbClr val="FFFFFF"/>
              </a:solidFill>
            </a:endParaRPr>
          </a:p>
        </p:txBody>
      </p:sp>
      <p:pic>
        <p:nvPicPr>
          <p:cNvPr id="21" name="Picture 20">
            <a:extLst>
              <a:ext uri="{FF2B5EF4-FFF2-40B4-BE49-F238E27FC236}">
                <a16:creationId xmlns="" xmlns:a16="http://schemas.microsoft.com/office/drawing/2014/main" id="{C2637423-F180-3943-B758-C8CCFA816E0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178941" y="4768499"/>
            <a:ext cx="1468934" cy="88097"/>
          </a:xfrm>
          <a:prstGeom prst="rect">
            <a:avLst/>
          </a:prstGeom>
        </p:spPr>
      </p:pic>
      <p:sp>
        <p:nvSpPr>
          <p:cNvPr id="23" name="Text Placeholder 2">
            <a:extLst>
              <a:ext uri="{FF2B5EF4-FFF2-40B4-BE49-F238E27FC236}">
                <a16:creationId xmlns="" xmlns:a16="http://schemas.microsoft.com/office/drawing/2014/main" id="{F7327E43-4F43-914D-BE65-DB0ADB5A5E11}"/>
              </a:ext>
            </a:extLst>
          </p:cNvPr>
          <p:cNvSpPr>
            <a:spLocks noGrp="1"/>
          </p:cNvSpPr>
          <p:nvPr>
            <p:ph type="body" sz="quarter" idx="23" hasCustomPrompt="1"/>
          </p:nvPr>
        </p:nvSpPr>
        <p:spPr>
          <a:xfrm>
            <a:off x="896055" y="3942065"/>
            <a:ext cx="5774753" cy="175501"/>
          </a:xfrm>
          <a:prstGeom prst="rect">
            <a:avLst/>
          </a:prstGeom>
        </p:spPr>
        <p:txBody>
          <a:bodyPr lIns="0" tIns="0" rIns="0" bIns="0">
            <a:noAutofit/>
          </a:bodyPr>
          <a:lstStyle>
            <a:lvl1pPr marL="0" indent="0">
              <a:buNone/>
              <a:defRPr sz="1100" b="0" i="0">
                <a:solidFill>
                  <a:schemeClr val="tx1"/>
                </a:solidFill>
                <a:latin typeface="Calibri" panose="020F0502020204030204" pitchFamily="34" charset="0"/>
                <a:cs typeface="Calibri" panose="020F0502020204030204" pitchFamily="34" charset="0"/>
              </a:defRPr>
            </a:lvl1pPr>
            <a:lvl2pPr marL="342434" indent="0">
              <a:buNone/>
              <a:defRPr sz="1100">
                <a:solidFill>
                  <a:schemeClr val="tx1"/>
                </a:solidFill>
              </a:defRPr>
            </a:lvl2pPr>
            <a:lvl3pPr marL="684915" indent="0">
              <a:buNone/>
              <a:defRPr sz="1100">
                <a:solidFill>
                  <a:schemeClr val="tx1"/>
                </a:solidFill>
              </a:defRPr>
            </a:lvl3pPr>
            <a:lvl4pPr marL="1027368" indent="0">
              <a:buNone/>
              <a:defRPr sz="1100">
                <a:solidFill>
                  <a:schemeClr val="tx1"/>
                </a:solidFill>
              </a:defRPr>
            </a:lvl4pPr>
            <a:lvl5pPr marL="1369824" indent="0">
              <a:buNone/>
              <a:defRPr sz="1100">
                <a:solidFill>
                  <a:schemeClr val="tx1"/>
                </a:solidFill>
              </a:defRPr>
            </a:lvl5pPr>
          </a:lstStyle>
          <a:p>
            <a:pPr lvl="0"/>
            <a:r>
              <a:rPr lang="en-US"/>
              <a:t>Title of Position</a:t>
            </a:r>
          </a:p>
        </p:txBody>
      </p:sp>
      <p:sp>
        <p:nvSpPr>
          <p:cNvPr id="24" name="Text Placeholder 2">
            <a:extLst>
              <a:ext uri="{FF2B5EF4-FFF2-40B4-BE49-F238E27FC236}">
                <a16:creationId xmlns="" xmlns:a16="http://schemas.microsoft.com/office/drawing/2014/main" id="{4A23AA60-6137-8841-B2ED-51B2F2E5C1BB}"/>
              </a:ext>
            </a:extLst>
          </p:cNvPr>
          <p:cNvSpPr>
            <a:spLocks noGrp="1"/>
          </p:cNvSpPr>
          <p:nvPr>
            <p:ph type="body" sz="quarter" idx="24" hasCustomPrompt="1"/>
          </p:nvPr>
        </p:nvSpPr>
        <p:spPr>
          <a:xfrm>
            <a:off x="896055" y="4136325"/>
            <a:ext cx="5774753" cy="175501"/>
          </a:xfrm>
          <a:prstGeom prst="rect">
            <a:avLst/>
          </a:prstGeom>
        </p:spPr>
        <p:txBody>
          <a:bodyPr lIns="0" tIns="0" rIns="0" bIns="0">
            <a:noAutofit/>
          </a:bodyPr>
          <a:lstStyle>
            <a:lvl1pPr marL="0" indent="0">
              <a:buNone/>
              <a:defRPr sz="1100" b="0" i="0">
                <a:solidFill>
                  <a:schemeClr val="tx1"/>
                </a:solidFill>
                <a:latin typeface="Calibri" panose="020F0502020204030204" pitchFamily="34" charset="0"/>
                <a:cs typeface="Calibri" panose="020F0502020204030204" pitchFamily="34" charset="0"/>
              </a:defRPr>
            </a:lvl1pPr>
            <a:lvl2pPr marL="342434" indent="0">
              <a:buNone/>
              <a:defRPr sz="1100">
                <a:solidFill>
                  <a:schemeClr val="tx1"/>
                </a:solidFill>
              </a:defRPr>
            </a:lvl2pPr>
            <a:lvl3pPr marL="684915" indent="0">
              <a:buNone/>
              <a:defRPr sz="1100">
                <a:solidFill>
                  <a:schemeClr val="tx1"/>
                </a:solidFill>
              </a:defRPr>
            </a:lvl3pPr>
            <a:lvl4pPr marL="1027368" indent="0">
              <a:buNone/>
              <a:defRPr sz="1100">
                <a:solidFill>
                  <a:schemeClr val="tx1"/>
                </a:solidFill>
              </a:defRPr>
            </a:lvl4pPr>
            <a:lvl5pPr marL="1369824" indent="0">
              <a:buNone/>
              <a:defRPr sz="1100">
                <a:solidFill>
                  <a:schemeClr val="tx1"/>
                </a:solidFill>
              </a:defRPr>
            </a:lvl5pPr>
          </a:lstStyle>
          <a:p>
            <a:pPr lvl="0"/>
            <a:r>
              <a:rPr lang="en-US"/>
              <a:t>Department</a:t>
            </a:r>
          </a:p>
        </p:txBody>
      </p:sp>
      <p:sp>
        <p:nvSpPr>
          <p:cNvPr id="25" name="Text Placeholder 2">
            <a:extLst>
              <a:ext uri="{FF2B5EF4-FFF2-40B4-BE49-F238E27FC236}">
                <a16:creationId xmlns="" xmlns:a16="http://schemas.microsoft.com/office/drawing/2014/main" id="{BB4FEAB2-22C6-3446-B4D2-5B610A729BCC}"/>
              </a:ext>
            </a:extLst>
          </p:cNvPr>
          <p:cNvSpPr>
            <a:spLocks noGrp="1"/>
          </p:cNvSpPr>
          <p:nvPr>
            <p:ph type="body" sz="quarter" idx="25" hasCustomPrompt="1"/>
          </p:nvPr>
        </p:nvSpPr>
        <p:spPr>
          <a:xfrm>
            <a:off x="896055" y="4327190"/>
            <a:ext cx="5774753" cy="175501"/>
          </a:xfrm>
          <a:prstGeom prst="rect">
            <a:avLst/>
          </a:prstGeom>
        </p:spPr>
        <p:txBody>
          <a:bodyPr lIns="0" tIns="0" rIns="0" bIns="0">
            <a:noAutofit/>
          </a:bodyPr>
          <a:lstStyle>
            <a:lvl1pPr marL="0" indent="0">
              <a:buNone/>
              <a:defRPr sz="1100" b="0" i="0">
                <a:solidFill>
                  <a:schemeClr val="tx1"/>
                </a:solidFill>
                <a:latin typeface="Calibri" panose="020F0502020204030204" pitchFamily="34" charset="0"/>
                <a:cs typeface="Calibri" panose="020F0502020204030204" pitchFamily="34" charset="0"/>
              </a:defRPr>
            </a:lvl1pPr>
            <a:lvl2pPr marL="342434" indent="0">
              <a:buNone/>
              <a:defRPr sz="1100">
                <a:solidFill>
                  <a:schemeClr val="tx1"/>
                </a:solidFill>
              </a:defRPr>
            </a:lvl2pPr>
            <a:lvl3pPr marL="684915" indent="0">
              <a:buNone/>
              <a:defRPr sz="1100">
                <a:solidFill>
                  <a:schemeClr val="tx1"/>
                </a:solidFill>
              </a:defRPr>
            </a:lvl3pPr>
            <a:lvl4pPr marL="1027368" indent="0">
              <a:buNone/>
              <a:defRPr sz="1100">
                <a:solidFill>
                  <a:schemeClr val="tx1"/>
                </a:solidFill>
              </a:defRPr>
            </a:lvl4pPr>
            <a:lvl5pPr marL="1369824" indent="0">
              <a:buNone/>
              <a:defRPr sz="1100">
                <a:solidFill>
                  <a:schemeClr val="tx1"/>
                </a:solidFill>
              </a:defRPr>
            </a:lvl5pPr>
          </a:lstStyle>
          <a:p>
            <a:pPr lvl="0"/>
            <a:r>
              <a:rPr lang="en-US"/>
              <a:t>Date</a:t>
            </a:r>
          </a:p>
        </p:txBody>
      </p:sp>
      <p:sp>
        <p:nvSpPr>
          <p:cNvPr id="28" name="Text Placeholder 2">
            <a:extLst>
              <a:ext uri="{FF2B5EF4-FFF2-40B4-BE49-F238E27FC236}">
                <a16:creationId xmlns="" xmlns:a16="http://schemas.microsoft.com/office/drawing/2014/main" id="{4085F378-E668-A648-B7B1-8C76C309ED6D}"/>
              </a:ext>
            </a:extLst>
          </p:cNvPr>
          <p:cNvSpPr>
            <a:spLocks noGrp="1"/>
          </p:cNvSpPr>
          <p:nvPr>
            <p:ph type="body" sz="quarter" idx="26" hasCustomPrompt="1"/>
          </p:nvPr>
        </p:nvSpPr>
        <p:spPr>
          <a:xfrm>
            <a:off x="896055" y="3748174"/>
            <a:ext cx="5774753" cy="175501"/>
          </a:xfrm>
          <a:prstGeom prst="rect">
            <a:avLst/>
          </a:prstGeom>
        </p:spPr>
        <p:txBody>
          <a:bodyPr lIns="0" tIns="0" rIns="0" bIns="0">
            <a:noAutofit/>
          </a:bodyPr>
          <a:lstStyle>
            <a:lvl1pPr marL="0" indent="0">
              <a:buNone/>
              <a:defRPr sz="1100" b="0" i="0">
                <a:solidFill>
                  <a:schemeClr val="tx1"/>
                </a:solidFill>
                <a:latin typeface="Calibri" panose="020F0502020204030204" pitchFamily="34" charset="0"/>
                <a:cs typeface="Calibri" panose="020F0502020204030204" pitchFamily="34" charset="0"/>
              </a:defRPr>
            </a:lvl1pPr>
            <a:lvl2pPr marL="342434" indent="0">
              <a:buNone/>
              <a:defRPr sz="1100">
                <a:solidFill>
                  <a:schemeClr val="tx1"/>
                </a:solidFill>
              </a:defRPr>
            </a:lvl2pPr>
            <a:lvl3pPr marL="684915" indent="0">
              <a:buNone/>
              <a:defRPr sz="1100">
                <a:solidFill>
                  <a:schemeClr val="tx1"/>
                </a:solidFill>
              </a:defRPr>
            </a:lvl3pPr>
            <a:lvl4pPr marL="1027368" indent="0">
              <a:buNone/>
              <a:defRPr sz="1100">
                <a:solidFill>
                  <a:schemeClr val="tx1"/>
                </a:solidFill>
              </a:defRPr>
            </a:lvl4pPr>
            <a:lvl5pPr marL="1369824" indent="0">
              <a:buNone/>
              <a:defRPr sz="1100">
                <a:solidFill>
                  <a:schemeClr val="tx1"/>
                </a:solidFill>
              </a:defRPr>
            </a:lvl5pPr>
          </a:lstStyle>
          <a:p>
            <a:pPr lvl="0"/>
            <a:r>
              <a:rPr lang="en-US"/>
              <a:t>Presenter Name</a:t>
            </a:r>
          </a:p>
        </p:txBody>
      </p:sp>
      <p:sp>
        <p:nvSpPr>
          <p:cNvPr id="13" name="Text Placeholder 2">
            <a:extLst>
              <a:ext uri="{FF2B5EF4-FFF2-40B4-BE49-F238E27FC236}">
                <a16:creationId xmlns="" xmlns:a16="http://schemas.microsoft.com/office/drawing/2014/main" id="{C1E31EF6-BED5-C14F-94AD-4E5C55B85515}"/>
              </a:ext>
            </a:extLst>
          </p:cNvPr>
          <p:cNvSpPr>
            <a:spLocks noGrp="1"/>
          </p:cNvSpPr>
          <p:nvPr>
            <p:ph type="body" sz="quarter" idx="16" hasCustomPrompt="1"/>
          </p:nvPr>
        </p:nvSpPr>
        <p:spPr>
          <a:xfrm>
            <a:off x="896055" y="4520555"/>
            <a:ext cx="5774753" cy="175501"/>
          </a:xfrm>
        </p:spPr>
        <p:txBody>
          <a:bodyPr tIns="0" rIns="0" bIns="0" anchor="ctr" anchorCtr="0">
            <a:noAutofit/>
          </a:bodyPr>
          <a:lstStyle>
            <a:lvl1pPr marL="0" marR="0" indent="0" algn="l" defTabSz="684916"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600"/>
            </a:lvl1pPr>
            <a:lvl2pPr>
              <a:defRPr sz="600"/>
            </a:lvl2pPr>
            <a:lvl3pPr>
              <a:defRPr sz="600"/>
            </a:lvl3pPr>
            <a:lvl4pPr>
              <a:defRPr sz="600"/>
            </a:lvl4pPr>
            <a:lvl5pPr>
              <a:defRPr sz="600"/>
            </a:lvl5pPr>
          </a:lstStyle>
          <a:p>
            <a:pPr marL="0" marR="0" lvl="0" indent="0" algn="l" defTabSz="684916"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3096640799"/>
      </p:ext>
    </p:extLst>
  </p:cSld>
  <p:clrMapOvr>
    <a:masterClrMapping/>
  </p:clrMapOvr>
  <p:transition spd="slow">
    <p:push dir="u"/>
  </p:transition>
  <p:extLst mod="1">
    <p:ext uri="{DCECCB84-F9BA-43D5-87BE-67443E8EF086}">
      <p15:sldGuideLst xmlns:p15="http://schemas.microsoft.com/office/powerpoint/2012/main">
        <p15:guide id="1" orient="horz" pos="4065" userDrawn="1">
          <p15:clr>
            <a:srgbClr val="FBAE40"/>
          </p15:clr>
        </p15:guide>
        <p15:guide id="2" orient="horz" pos="2364" userDrawn="1">
          <p15:clr>
            <a:srgbClr val="FBAE40"/>
          </p15:clr>
        </p15:guide>
        <p15:guide id="3" orient="horz" pos="2160" userDrawn="1">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Page 2 ">
    <p:spTree>
      <p:nvGrpSpPr>
        <p:cNvPr id="1" name=""/>
        <p:cNvGrpSpPr/>
        <p:nvPr/>
      </p:nvGrpSpPr>
      <p:grpSpPr>
        <a:xfrm>
          <a:off x="0" y="0"/>
          <a:ext cx="0" cy="0"/>
          <a:chOff x="0" y="0"/>
          <a:chExt cx="0" cy="0"/>
        </a:xfrm>
      </p:grpSpPr>
      <p:sp>
        <p:nvSpPr>
          <p:cNvPr id="33" name="Title 1">
            <a:extLst>
              <a:ext uri="{FF2B5EF4-FFF2-40B4-BE49-F238E27FC236}">
                <a16:creationId xmlns="" xmlns:a16="http://schemas.microsoft.com/office/drawing/2014/main" id="{E02383DA-65B3-044E-9E1B-2CC00A0B1CC6}"/>
              </a:ext>
            </a:extLst>
          </p:cNvPr>
          <p:cNvSpPr>
            <a:spLocks noGrp="1"/>
          </p:cNvSpPr>
          <p:nvPr>
            <p:ph type="ctrTitle" hasCustomPrompt="1"/>
          </p:nvPr>
        </p:nvSpPr>
        <p:spPr>
          <a:xfrm>
            <a:off x="896050" y="1727314"/>
            <a:ext cx="3266048" cy="844477"/>
          </a:xfrm>
          <a:prstGeom prst="rect">
            <a:avLst/>
          </a:prstGeom>
        </p:spPr>
        <p:txBody>
          <a:bodyPr wrap="square" lIns="0" tIns="0" rIns="0" bIns="0" anchor="t" anchorCtr="0">
            <a:normAutofit/>
          </a:bodyPr>
          <a:lstStyle>
            <a:lvl1pPr>
              <a:lnSpc>
                <a:spcPts val="2850"/>
              </a:lnSpc>
              <a:defRPr sz="27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0" name="Picture Placeholder 3">
            <a:extLst>
              <a:ext uri="{FF2B5EF4-FFF2-40B4-BE49-F238E27FC236}">
                <a16:creationId xmlns="" xmlns:a16="http://schemas.microsoft.com/office/drawing/2014/main" id="{902F3095-EA6E-F94A-AF04-18ED691DEB75}"/>
              </a:ext>
            </a:extLst>
          </p:cNvPr>
          <p:cNvSpPr>
            <a:spLocks noGrp="1"/>
          </p:cNvSpPr>
          <p:nvPr>
            <p:ph type="pic" sz="quarter" idx="17"/>
          </p:nvPr>
        </p:nvSpPr>
        <p:spPr>
          <a:xfrm>
            <a:off x="4399887" y="282135"/>
            <a:ext cx="4744900" cy="4581401"/>
          </a:xfrm>
          <a:custGeom>
            <a:avLst/>
            <a:gdLst>
              <a:gd name="connsiteX0" fmla="*/ 0 w 6462532"/>
              <a:gd name="connsiteY0" fmla="*/ 3052818 h 6105636"/>
              <a:gd name="connsiteX1" fmla="*/ 3052818 w 6462532"/>
              <a:gd name="connsiteY1" fmla="*/ 0 h 6105636"/>
              <a:gd name="connsiteX2" fmla="*/ 3409714 w 6462532"/>
              <a:gd name="connsiteY2" fmla="*/ 0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309764"/>
              <a:gd name="connsiteY0" fmla="*/ 3060215 h 6113033"/>
              <a:gd name="connsiteX1" fmla="*/ 3052818 w 7309764"/>
              <a:gd name="connsiteY1" fmla="*/ 7397 h 6113033"/>
              <a:gd name="connsiteX2" fmla="*/ 6592752 w 7309764"/>
              <a:gd name="connsiteY2" fmla="*/ 53695 h 6113033"/>
              <a:gd name="connsiteX3" fmla="*/ 6462532 w 7309764"/>
              <a:gd name="connsiteY3" fmla="*/ 3060215 h 6113033"/>
              <a:gd name="connsiteX4" fmla="*/ 6462532 w 7309764"/>
              <a:gd name="connsiteY4" fmla="*/ 3060215 h 6113033"/>
              <a:gd name="connsiteX5" fmla="*/ 3409714 w 7309764"/>
              <a:gd name="connsiteY5" fmla="*/ 6113033 h 6113033"/>
              <a:gd name="connsiteX6" fmla="*/ 3052818 w 7309764"/>
              <a:gd name="connsiteY6" fmla="*/ 6113033 h 6113033"/>
              <a:gd name="connsiteX7" fmla="*/ 0 w 7309764"/>
              <a:gd name="connsiteY7" fmla="*/ 3060215 h 6113033"/>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6750471"/>
              <a:gd name="connsiteY0" fmla="*/ 3052818 h 6105636"/>
              <a:gd name="connsiteX1" fmla="*/ 3052818 w 6750471"/>
              <a:gd name="connsiteY1" fmla="*/ 0 h 6105636"/>
              <a:gd name="connsiteX2" fmla="*/ 6395982 w 6750471"/>
              <a:gd name="connsiteY2" fmla="*/ 11574 h 6105636"/>
              <a:gd name="connsiteX3" fmla="*/ 6462532 w 6750471"/>
              <a:gd name="connsiteY3" fmla="*/ 3052818 h 6105636"/>
              <a:gd name="connsiteX4" fmla="*/ 6462532 w 6750471"/>
              <a:gd name="connsiteY4" fmla="*/ 3052818 h 6105636"/>
              <a:gd name="connsiteX5" fmla="*/ 3409714 w 6750471"/>
              <a:gd name="connsiteY5" fmla="*/ 6105636 h 6105636"/>
              <a:gd name="connsiteX6" fmla="*/ 3052818 w 6750471"/>
              <a:gd name="connsiteY6" fmla="*/ 6105636 h 6105636"/>
              <a:gd name="connsiteX7" fmla="*/ 0 w 6750471"/>
              <a:gd name="connsiteY7" fmla="*/ 3052818 h 6105636"/>
              <a:gd name="connsiteX0" fmla="*/ 0 w 6462532"/>
              <a:gd name="connsiteY0" fmla="*/ 3052818 h 6105636"/>
              <a:gd name="connsiteX1" fmla="*/ 3052818 w 6462532"/>
              <a:gd name="connsiteY1" fmla="*/ 0 h 6105636"/>
              <a:gd name="connsiteX2" fmla="*/ 6395982 w 6462532"/>
              <a:gd name="connsiteY2" fmla="*/ 11574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6462532 w 6477004"/>
              <a:gd name="connsiteY4" fmla="*/ 3052819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5756477 w 6477004"/>
              <a:gd name="connsiteY4" fmla="*/ 3018095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3409714 w 6477004"/>
              <a:gd name="connsiteY4" fmla="*/ 6105637 h 6105637"/>
              <a:gd name="connsiteX5" fmla="*/ 3052818 w 6477004"/>
              <a:gd name="connsiteY5" fmla="*/ 6105637 h 6105637"/>
              <a:gd name="connsiteX6" fmla="*/ 0 w 6477004"/>
              <a:gd name="connsiteY6" fmla="*/ 3052819 h 6105637"/>
              <a:gd name="connsiteX0" fmla="*/ 0 w 6477004"/>
              <a:gd name="connsiteY0" fmla="*/ 3052819 h 6108535"/>
              <a:gd name="connsiteX1" fmla="*/ 3052818 w 6477004"/>
              <a:gd name="connsiteY1" fmla="*/ 1 h 6108535"/>
              <a:gd name="connsiteX2" fmla="*/ 6477004 w 6477004"/>
              <a:gd name="connsiteY2" fmla="*/ 0 h 6108535"/>
              <a:gd name="connsiteX3" fmla="*/ 6462532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477004"/>
              <a:gd name="connsiteY0" fmla="*/ 3052819 h 6108535"/>
              <a:gd name="connsiteX1" fmla="*/ 3052818 w 6477004"/>
              <a:gd name="connsiteY1" fmla="*/ 1 h 6108535"/>
              <a:gd name="connsiteX2" fmla="*/ 6477004 w 6477004"/>
              <a:gd name="connsiteY2" fmla="*/ 0 h 6108535"/>
              <a:gd name="connsiteX3" fmla="*/ 6323635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326533"/>
              <a:gd name="connsiteY0" fmla="*/ 3052819 h 6108535"/>
              <a:gd name="connsiteX1" fmla="*/ 3052818 w 6326533"/>
              <a:gd name="connsiteY1" fmla="*/ 1 h 6108535"/>
              <a:gd name="connsiteX2" fmla="*/ 6326533 w 6326533"/>
              <a:gd name="connsiteY2" fmla="*/ 0 h 6108535"/>
              <a:gd name="connsiteX3" fmla="*/ 6323635 w 6326533"/>
              <a:gd name="connsiteY3" fmla="*/ 6108535 h 6108535"/>
              <a:gd name="connsiteX4" fmla="*/ 3409714 w 6326533"/>
              <a:gd name="connsiteY4" fmla="*/ 6105637 h 6108535"/>
              <a:gd name="connsiteX5" fmla="*/ 3052818 w 6326533"/>
              <a:gd name="connsiteY5" fmla="*/ 6105637 h 6108535"/>
              <a:gd name="connsiteX6" fmla="*/ 0 w 6326533"/>
              <a:gd name="connsiteY6" fmla="*/ 3052819 h 61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26533" h="6108535">
                <a:moveTo>
                  <a:pt x="0" y="3052819"/>
                </a:moveTo>
                <a:cubicBezTo>
                  <a:pt x="0" y="1366794"/>
                  <a:pt x="1366793" y="1"/>
                  <a:pt x="3052818" y="1"/>
                </a:cubicBezTo>
                <a:lnTo>
                  <a:pt x="6326533" y="0"/>
                </a:lnTo>
                <a:lnTo>
                  <a:pt x="6323635" y="6108535"/>
                </a:lnTo>
                <a:lnTo>
                  <a:pt x="3409714" y="6105637"/>
                </a:lnTo>
                <a:lnTo>
                  <a:pt x="3052818" y="6105637"/>
                </a:lnTo>
                <a:cubicBezTo>
                  <a:pt x="1366793" y="6105637"/>
                  <a:pt x="0" y="4738844"/>
                  <a:pt x="0" y="3052819"/>
                </a:cubicBezTo>
                <a:close/>
              </a:path>
            </a:pathLst>
          </a:custGeom>
          <a:noFill/>
        </p:spPr>
        <p:txBody>
          <a:bodyPr>
            <a:normAutofit/>
          </a:bodyPr>
          <a:lstStyle>
            <a:lvl1pPr marL="0" indent="0">
              <a:buNone/>
              <a:defRPr sz="1800">
                <a:solidFill>
                  <a:schemeClr val="bg1"/>
                </a:solidFill>
              </a:defRPr>
            </a:lvl1pPr>
          </a:lstStyle>
          <a:p>
            <a:r>
              <a:rPr lang="es-ES"/>
              <a:t>Haga clic en el icono para agregar una imagen</a:t>
            </a:r>
            <a:endParaRPr lang="en-US"/>
          </a:p>
        </p:txBody>
      </p:sp>
      <p:pic>
        <p:nvPicPr>
          <p:cNvPr id="9" name="Picture 8" descr="Takeda">
            <a:extLst>
              <a:ext uri="{FF2B5EF4-FFF2-40B4-BE49-F238E27FC236}">
                <a16:creationId xmlns="" xmlns:a16="http://schemas.microsoft.com/office/drawing/2014/main" id="{F83AE827-0C93-0344-8F1E-82C9D7F8CD5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80824" y="-8227"/>
            <a:ext cx="1688783" cy="936649"/>
          </a:xfrm>
          <a:prstGeom prst="rect">
            <a:avLst/>
          </a:prstGeom>
        </p:spPr>
      </p:pic>
      <p:pic>
        <p:nvPicPr>
          <p:cNvPr id="19" name="Picture 18">
            <a:extLst>
              <a:ext uri="{FF2B5EF4-FFF2-40B4-BE49-F238E27FC236}">
                <a16:creationId xmlns="" xmlns:a16="http://schemas.microsoft.com/office/drawing/2014/main" id="{C219044E-3CA3-8043-AF11-ED42DE4ECFF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96047" y="4775481"/>
            <a:ext cx="1468934" cy="88097"/>
          </a:xfrm>
          <a:prstGeom prst="rect">
            <a:avLst/>
          </a:prstGeom>
        </p:spPr>
      </p:pic>
      <p:sp>
        <p:nvSpPr>
          <p:cNvPr id="28" name="Rectangle 27">
            <a:extLst>
              <a:ext uri="{FF2B5EF4-FFF2-40B4-BE49-F238E27FC236}">
                <a16:creationId xmlns="" xmlns:a16="http://schemas.microsoft.com/office/drawing/2014/main" id="{92F9C2FE-7E43-3948-92F0-0CEA804BDBFE}"/>
              </a:ext>
            </a:extLst>
          </p:cNvPr>
          <p:cNvSpPr/>
          <p:nvPr userDrawn="1"/>
        </p:nvSpPr>
        <p:spPr>
          <a:xfrm>
            <a:off x="561754" y="1582698"/>
            <a:ext cx="72900" cy="20303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19" tIns="34289" rIns="68519" bIns="34289" anchor="ctr"/>
          <a:lstStyle/>
          <a:p>
            <a:pPr algn="ctr" defTabSz="685103"/>
            <a:endParaRPr lang="en-US" altLang="en-US" sz="1400">
              <a:solidFill>
                <a:srgbClr val="FFFFFF"/>
              </a:solidFill>
            </a:endParaRPr>
          </a:p>
        </p:txBody>
      </p:sp>
      <p:sp>
        <p:nvSpPr>
          <p:cNvPr id="29" name="Text Placeholder 2">
            <a:extLst>
              <a:ext uri="{FF2B5EF4-FFF2-40B4-BE49-F238E27FC236}">
                <a16:creationId xmlns="" xmlns:a16="http://schemas.microsoft.com/office/drawing/2014/main" id="{8F239D86-1AC3-1D48-9675-22CEFBB263F8}"/>
              </a:ext>
            </a:extLst>
          </p:cNvPr>
          <p:cNvSpPr>
            <a:spLocks noGrp="1"/>
          </p:cNvSpPr>
          <p:nvPr>
            <p:ph type="body" sz="quarter" idx="27" hasCustomPrompt="1"/>
          </p:nvPr>
        </p:nvSpPr>
        <p:spPr>
          <a:xfrm>
            <a:off x="896048" y="2876957"/>
            <a:ext cx="3266049" cy="175501"/>
          </a:xfrm>
          <a:prstGeom prst="rect">
            <a:avLst/>
          </a:prstGeom>
        </p:spPr>
        <p:txBody>
          <a:bodyPr lIns="0" tIns="0" rIns="0" bIns="0">
            <a:noAutofit/>
          </a:bodyPr>
          <a:lstStyle>
            <a:lvl1pPr marL="0" indent="0">
              <a:buNone/>
              <a:defRPr sz="1100" b="0" i="0">
                <a:solidFill>
                  <a:schemeClr val="tx1"/>
                </a:solidFill>
                <a:latin typeface="Calibri" panose="020F0502020204030204" pitchFamily="34" charset="0"/>
                <a:cs typeface="Calibri" panose="020F0502020204030204" pitchFamily="34" charset="0"/>
              </a:defRPr>
            </a:lvl1pPr>
            <a:lvl2pPr marL="342434" indent="0">
              <a:buNone/>
              <a:defRPr sz="1100">
                <a:solidFill>
                  <a:schemeClr val="tx1"/>
                </a:solidFill>
              </a:defRPr>
            </a:lvl2pPr>
            <a:lvl3pPr marL="684915" indent="0">
              <a:buNone/>
              <a:defRPr sz="1100">
                <a:solidFill>
                  <a:schemeClr val="tx1"/>
                </a:solidFill>
              </a:defRPr>
            </a:lvl3pPr>
            <a:lvl4pPr marL="1027368" indent="0">
              <a:buNone/>
              <a:defRPr sz="1100">
                <a:solidFill>
                  <a:schemeClr val="tx1"/>
                </a:solidFill>
              </a:defRPr>
            </a:lvl4pPr>
            <a:lvl5pPr marL="1369824" indent="0">
              <a:buNone/>
              <a:defRPr sz="1100">
                <a:solidFill>
                  <a:schemeClr val="tx1"/>
                </a:solidFill>
              </a:defRPr>
            </a:lvl5pPr>
          </a:lstStyle>
          <a:p>
            <a:pPr lvl="0"/>
            <a:r>
              <a:rPr lang="en-US"/>
              <a:t>Title of Position</a:t>
            </a:r>
          </a:p>
        </p:txBody>
      </p:sp>
      <p:sp>
        <p:nvSpPr>
          <p:cNvPr id="30" name="Text Placeholder 2">
            <a:extLst>
              <a:ext uri="{FF2B5EF4-FFF2-40B4-BE49-F238E27FC236}">
                <a16:creationId xmlns="" xmlns:a16="http://schemas.microsoft.com/office/drawing/2014/main" id="{91BF6710-27B9-2444-8317-2C64F0D30847}"/>
              </a:ext>
            </a:extLst>
          </p:cNvPr>
          <p:cNvSpPr>
            <a:spLocks noGrp="1"/>
          </p:cNvSpPr>
          <p:nvPr>
            <p:ph type="body" sz="quarter" idx="28" hasCustomPrompt="1"/>
          </p:nvPr>
        </p:nvSpPr>
        <p:spPr>
          <a:xfrm>
            <a:off x="896048" y="3071246"/>
            <a:ext cx="3266049" cy="175501"/>
          </a:xfrm>
          <a:prstGeom prst="rect">
            <a:avLst/>
          </a:prstGeom>
        </p:spPr>
        <p:txBody>
          <a:bodyPr lIns="0" tIns="0" rIns="0" bIns="0">
            <a:noAutofit/>
          </a:bodyPr>
          <a:lstStyle>
            <a:lvl1pPr marL="0" indent="0">
              <a:buNone/>
              <a:defRPr sz="1100" b="0" i="0">
                <a:solidFill>
                  <a:schemeClr val="tx1"/>
                </a:solidFill>
                <a:latin typeface="Calibri" panose="020F0502020204030204" pitchFamily="34" charset="0"/>
                <a:cs typeface="Calibri" panose="020F0502020204030204" pitchFamily="34" charset="0"/>
              </a:defRPr>
            </a:lvl1pPr>
            <a:lvl2pPr marL="342434" indent="0">
              <a:buNone/>
              <a:defRPr sz="1100">
                <a:solidFill>
                  <a:schemeClr val="tx1"/>
                </a:solidFill>
              </a:defRPr>
            </a:lvl2pPr>
            <a:lvl3pPr marL="684915" indent="0">
              <a:buNone/>
              <a:defRPr sz="1100">
                <a:solidFill>
                  <a:schemeClr val="tx1"/>
                </a:solidFill>
              </a:defRPr>
            </a:lvl3pPr>
            <a:lvl4pPr marL="1027368" indent="0">
              <a:buNone/>
              <a:defRPr sz="1100">
                <a:solidFill>
                  <a:schemeClr val="tx1"/>
                </a:solidFill>
              </a:defRPr>
            </a:lvl4pPr>
            <a:lvl5pPr marL="1369824" indent="0">
              <a:buNone/>
              <a:defRPr sz="1100">
                <a:solidFill>
                  <a:schemeClr val="tx1"/>
                </a:solidFill>
              </a:defRPr>
            </a:lvl5pPr>
          </a:lstStyle>
          <a:p>
            <a:pPr lvl="0"/>
            <a:r>
              <a:rPr lang="en-US"/>
              <a:t>Department</a:t>
            </a:r>
          </a:p>
        </p:txBody>
      </p:sp>
      <p:sp>
        <p:nvSpPr>
          <p:cNvPr id="31" name="Text Placeholder 2">
            <a:extLst>
              <a:ext uri="{FF2B5EF4-FFF2-40B4-BE49-F238E27FC236}">
                <a16:creationId xmlns="" xmlns:a16="http://schemas.microsoft.com/office/drawing/2014/main" id="{669B2D41-B11D-9D45-B189-F838AC342B07}"/>
              </a:ext>
            </a:extLst>
          </p:cNvPr>
          <p:cNvSpPr>
            <a:spLocks noGrp="1"/>
          </p:cNvSpPr>
          <p:nvPr>
            <p:ph type="body" sz="quarter" idx="29" hasCustomPrompt="1"/>
          </p:nvPr>
        </p:nvSpPr>
        <p:spPr>
          <a:xfrm>
            <a:off x="896048" y="3262112"/>
            <a:ext cx="3266049" cy="175501"/>
          </a:xfrm>
          <a:prstGeom prst="rect">
            <a:avLst/>
          </a:prstGeom>
        </p:spPr>
        <p:txBody>
          <a:bodyPr lIns="0" tIns="0" rIns="0" bIns="0">
            <a:noAutofit/>
          </a:bodyPr>
          <a:lstStyle>
            <a:lvl1pPr marL="0" indent="0">
              <a:buNone/>
              <a:defRPr sz="1100" b="0" i="0">
                <a:solidFill>
                  <a:schemeClr val="tx1"/>
                </a:solidFill>
                <a:latin typeface="Calibri" panose="020F0502020204030204" pitchFamily="34" charset="0"/>
                <a:cs typeface="Calibri" panose="020F0502020204030204" pitchFamily="34" charset="0"/>
              </a:defRPr>
            </a:lvl1pPr>
            <a:lvl2pPr marL="342434" indent="0">
              <a:buNone/>
              <a:defRPr sz="1100">
                <a:solidFill>
                  <a:schemeClr val="tx1"/>
                </a:solidFill>
              </a:defRPr>
            </a:lvl2pPr>
            <a:lvl3pPr marL="684915" indent="0">
              <a:buNone/>
              <a:defRPr sz="1100">
                <a:solidFill>
                  <a:schemeClr val="tx1"/>
                </a:solidFill>
              </a:defRPr>
            </a:lvl3pPr>
            <a:lvl4pPr marL="1027368" indent="0">
              <a:buNone/>
              <a:defRPr sz="1100">
                <a:solidFill>
                  <a:schemeClr val="tx1"/>
                </a:solidFill>
              </a:defRPr>
            </a:lvl4pPr>
            <a:lvl5pPr marL="1369824" indent="0">
              <a:buNone/>
              <a:defRPr sz="1100">
                <a:solidFill>
                  <a:schemeClr val="tx1"/>
                </a:solidFill>
              </a:defRPr>
            </a:lvl5pPr>
          </a:lstStyle>
          <a:p>
            <a:pPr lvl="0"/>
            <a:r>
              <a:rPr lang="en-US"/>
              <a:t>Date</a:t>
            </a:r>
          </a:p>
        </p:txBody>
      </p:sp>
      <p:sp>
        <p:nvSpPr>
          <p:cNvPr id="32" name="Text Placeholder 2">
            <a:extLst>
              <a:ext uri="{FF2B5EF4-FFF2-40B4-BE49-F238E27FC236}">
                <a16:creationId xmlns="" xmlns:a16="http://schemas.microsoft.com/office/drawing/2014/main" id="{D7467C81-9D88-4140-B42C-28DFB5646475}"/>
              </a:ext>
            </a:extLst>
          </p:cNvPr>
          <p:cNvSpPr>
            <a:spLocks noGrp="1"/>
          </p:cNvSpPr>
          <p:nvPr>
            <p:ph type="body" sz="quarter" idx="30" hasCustomPrompt="1"/>
          </p:nvPr>
        </p:nvSpPr>
        <p:spPr>
          <a:xfrm>
            <a:off x="896048" y="2683095"/>
            <a:ext cx="3266049" cy="175501"/>
          </a:xfrm>
          <a:prstGeom prst="rect">
            <a:avLst/>
          </a:prstGeom>
        </p:spPr>
        <p:txBody>
          <a:bodyPr lIns="0" tIns="0" rIns="0" bIns="0">
            <a:noAutofit/>
          </a:bodyPr>
          <a:lstStyle>
            <a:lvl1pPr marL="0" indent="0">
              <a:buNone/>
              <a:defRPr sz="1100" b="0" i="0">
                <a:solidFill>
                  <a:schemeClr val="tx1"/>
                </a:solidFill>
                <a:latin typeface="Calibri" panose="020F0502020204030204" pitchFamily="34" charset="0"/>
                <a:cs typeface="Calibri" panose="020F0502020204030204" pitchFamily="34" charset="0"/>
              </a:defRPr>
            </a:lvl1pPr>
            <a:lvl2pPr marL="342434" indent="0">
              <a:buNone/>
              <a:defRPr sz="1100">
                <a:solidFill>
                  <a:schemeClr val="tx1"/>
                </a:solidFill>
              </a:defRPr>
            </a:lvl2pPr>
            <a:lvl3pPr marL="684915" indent="0">
              <a:buNone/>
              <a:defRPr sz="1100">
                <a:solidFill>
                  <a:schemeClr val="tx1"/>
                </a:solidFill>
              </a:defRPr>
            </a:lvl3pPr>
            <a:lvl4pPr marL="1027368" indent="0">
              <a:buNone/>
              <a:defRPr sz="1100">
                <a:solidFill>
                  <a:schemeClr val="tx1"/>
                </a:solidFill>
              </a:defRPr>
            </a:lvl4pPr>
            <a:lvl5pPr marL="1369824" indent="0">
              <a:buNone/>
              <a:defRPr sz="1100">
                <a:solidFill>
                  <a:schemeClr val="tx1"/>
                </a:solidFill>
              </a:defRPr>
            </a:lvl5pPr>
          </a:lstStyle>
          <a:p>
            <a:pPr lvl="0"/>
            <a:r>
              <a:rPr lang="en-US"/>
              <a:t>Presenter Name</a:t>
            </a:r>
          </a:p>
        </p:txBody>
      </p:sp>
    </p:spTree>
    <p:extLst>
      <p:ext uri="{BB962C8B-B14F-4D97-AF65-F5344CB8AC3E}">
        <p14:creationId xmlns:p14="http://schemas.microsoft.com/office/powerpoint/2010/main" val="920927190"/>
      </p:ext>
    </p:extLst>
  </p:cSld>
  <p:clrMapOvr>
    <a:masterClrMapping/>
  </p:clrMapOvr>
  <p:transition spd="slow">
    <p:push dir="u"/>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_Title Page 2 ">
    <p:spTree>
      <p:nvGrpSpPr>
        <p:cNvPr id="1" name=""/>
        <p:cNvGrpSpPr/>
        <p:nvPr/>
      </p:nvGrpSpPr>
      <p:grpSpPr>
        <a:xfrm>
          <a:off x="0" y="0"/>
          <a:ext cx="0" cy="0"/>
          <a:chOff x="0" y="0"/>
          <a:chExt cx="0" cy="0"/>
        </a:xfrm>
      </p:grpSpPr>
      <p:sp>
        <p:nvSpPr>
          <p:cNvPr id="33" name="Title 1">
            <a:extLst>
              <a:ext uri="{FF2B5EF4-FFF2-40B4-BE49-F238E27FC236}">
                <a16:creationId xmlns="" xmlns:a16="http://schemas.microsoft.com/office/drawing/2014/main" id="{E02383DA-65B3-044E-9E1B-2CC00A0B1CC6}"/>
              </a:ext>
            </a:extLst>
          </p:cNvPr>
          <p:cNvSpPr>
            <a:spLocks noGrp="1"/>
          </p:cNvSpPr>
          <p:nvPr>
            <p:ph type="ctrTitle" hasCustomPrompt="1"/>
          </p:nvPr>
        </p:nvSpPr>
        <p:spPr>
          <a:xfrm>
            <a:off x="896049" y="1727314"/>
            <a:ext cx="5146613" cy="844477"/>
          </a:xfrm>
          <a:prstGeom prst="rect">
            <a:avLst/>
          </a:prstGeom>
        </p:spPr>
        <p:txBody>
          <a:bodyPr wrap="square" lIns="0" tIns="0" rIns="0" bIns="0" anchor="t" anchorCtr="0">
            <a:normAutofit/>
          </a:bodyPr>
          <a:lstStyle>
            <a:lvl1pPr>
              <a:lnSpc>
                <a:spcPts val="2850"/>
              </a:lnSpc>
              <a:defRPr sz="27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8" name="Rectangle 27">
            <a:extLst>
              <a:ext uri="{FF2B5EF4-FFF2-40B4-BE49-F238E27FC236}">
                <a16:creationId xmlns="" xmlns:a16="http://schemas.microsoft.com/office/drawing/2014/main" id="{92F9C2FE-7E43-3948-92F0-0CEA804BDBFE}"/>
              </a:ext>
            </a:extLst>
          </p:cNvPr>
          <p:cNvSpPr/>
          <p:nvPr userDrawn="1"/>
        </p:nvSpPr>
        <p:spPr>
          <a:xfrm>
            <a:off x="561754" y="1582698"/>
            <a:ext cx="72900" cy="20303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19" tIns="34289" rIns="68519" bIns="34289" anchor="ctr"/>
          <a:lstStyle/>
          <a:p>
            <a:pPr algn="ctr" defTabSz="685103"/>
            <a:endParaRPr lang="en-US" altLang="en-US" sz="1400">
              <a:solidFill>
                <a:srgbClr val="FFFFFF"/>
              </a:solidFill>
            </a:endParaRPr>
          </a:p>
        </p:txBody>
      </p:sp>
      <p:sp>
        <p:nvSpPr>
          <p:cNvPr id="29" name="Text Placeholder 2">
            <a:extLst>
              <a:ext uri="{FF2B5EF4-FFF2-40B4-BE49-F238E27FC236}">
                <a16:creationId xmlns="" xmlns:a16="http://schemas.microsoft.com/office/drawing/2014/main" id="{8F239D86-1AC3-1D48-9675-22CEFBB263F8}"/>
              </a:ext>
            </a:extLst>
          </p:cNvPr>
          <p:cNvSpPr>
            <a:spLocks noGrp="1"/>
          </p:cNvSpPr>
          <p:nvPr>
            <p:ph type="body" sz="quarter" idx="27" hasCustomPrompt="1"/>
          </p:nvPr>
        </p:nvSpPr>
        <p:spPr>
          <a:xfrm>
            <a:off x="896049" y="2876947"/>
            <a:ext cx="5146613" cy="197306"/>
          </a:xfrm>
          <a:prstGeom prst="rect">
            <a:avLst/>
          </a:prstGeom>
        </p:spPr>
        <p:txBody>
          <a:bodyPr lIns="0" tIns="0" rIns="0" bIns="0">
            <a:noAutofit/>
          </a:bodyPr>
          <a:lstStyle>
            <a:lvl1pPr marL="0" indent="0">
              <a:buNone/>
              <a:defRPr sz="1100" b="0" i="0">
                <a:solidFill>
                  <a:schemeClr val="tx1"/>
                </a:solidFill>
                <a:latin typeface="Calibri" panose="020F0502020204030204" pitchFamily="34" charset="0"/>
                <a:cs typeface="Calibri" panose="020F0502020204030204" pitchFamily="34" charset="0"/>
              </a:defRPr>
            </a:lvl1pPr>
            <a:lvl2pPr marL="342434" indent="0">
              <a:buNone/>
              <a:defRPr sz="1100">
                <a:solidFill>
                  <a:schemeClr val="tx1"/>
                </a:solidFill>
              </a:defRPr>
            </a:lvl2pPr>
            <a:lvl3pPr marL="684915" indent="0">
              <a:buNone/>
              <a:defRPr sz="1100">
                <a:solidFill>
                  <a:schemeClr val="tx1"/>
                </a:solidFill>
              </a:defRPr>
            </a:lvl3pPr>
            <a:lvl4pPr marL="1027368" indent="0">
              <a:buNone/>
              <a:defRPr sz="1100">
                <a:solidFill>
                  <a:schemeClr val="tx1"/>
                </a:solidFill>
              </a:defRPr>
            </a:lvl4pPr>
            <a:lvl5pPr marL="1369824" indent="0">
              <a:buNone/>
              <a:defRPr sz="1100">
                <a:solidFill>
                  <a:schemeClr val="tx1"/>
                </a:solidFill>
              </a:defRPr>
            </a:lvl5pPr>
          </a:lstStyle>
          <a:p>
            <a:pPr lvl="0"/>
            <a:r>
              <a:rPr lang="en-US"/>
              <a:t>Title of Position</a:t>
            </a:r>
          </a:p>
        </p:txBody>
      </p:sp>
      <p:sp>
        <p:nvSpPr>
          <p:cNvPr id="30" name="Text Placeholder 2">
            <a:extLst>
              <a:ext uri="{FF2B5EF4-FFF2-40B4-BE49-F238E27FC236}">
                <a16:creationId xmlns="" xmlns:a16="http://schemas.microsoft.com/office/drawing/2014/main" id="{91BF6710-27B9-2444-8317-2C64F0D30847}"/>
              </a:ext>
            </a:extLst>
          </p:cNvPr>
          <p:cNvSpPr>
            <a:spLocks noGrp="1"/>
          </p:cNvSpPr>
          <p:nvPr>
            <p:ph type="body" sz="quarter" idx="28" hasCustomPrompt="1"/>
          </p:nvPr>
        </p:nvSpPr>
        <p:spPr>
          <a:xfrm>
            <a:off x="896049" y="3071206"/>
            <a:ext cx="5146613" cy="197306"/>
          </a:xfrm>
          <a:prstGeom prst="rect">
            <a:avLst/>
          </a:prstGeom>
        </p:spPr>
        <p:txBody>
          <a:bodyPr lIns="0" tIns="0" rIns="0" bIns="0">
            <a:noAutofit/>
          </a:bodyPr>
          <a:lstStyle>
            <a:lvl1pPr marL="0" indent="0">
              <a:buNone/>
              <a:defRPr sz="1100" b="0" i="0">
                <a:solidFill>
                  <a:schemeClr val="tx1"/>
                </a:solidFill>
                <a:latin typeface="Calibri" panose="020F0502020204030204" pitchFamily="34" charset="0"/>
                <a:cs typeface="Calibri" panose="020F0502020204030204" pitchFamily="34" charset="0"/>
              </a:defRPr>
            </a:lvl1pPr>
            <a:lvl2pPr marL="342434" indent="0">
              <a:buNone/>
              <a:defRPr sz="1100">
                <a:solidFill>
                  <a:schemeClr val="tx1"/>
                </a:solidFill>
              </a:defRPr>
            </a:lvl2pPr>
            <a:lvl3pPr marL="684915" indent="0">
              <a:buNone/>
              <a:defRPr sz="1100">
                <a:solidFill>
                  <a:schemeClr val="tx1"/>
                </a:solidFill>
              </a:defRPr>
            </a:lvl3pPr>
            <a:lvl4pPr marL="1027368" indent="0">
              <a:buNone/>
              <a:defRPr sz="1100">
                <a:solidFill>
                  <a:schemeClr val="tx1"/>
                </a:solidFill>
              </a:defRPr>
            </a:lvl4pPr>
            <a:lvl5pPr marL="1369824" indent="0">
              <a:buNone/>
              <a:defRPr sz="1100">
                <a:solidFill>
                  <a:schemeClr val="tx1"/>
                </a:solidFill>
              </a:defRPr>
            </a:lvl5pPr>
          </a:lstStyle>
          <a:p>
            <a:pPr lvl="0"/>
            <a:r>
              <a:rPr lang="en-US"/>
              <a:t>Department</a:t>
            </a:r>
          </a:p>
        </p:txBody>
      </p:sp>
      <p:sp>
        <p:nvSpPr>
          <p:cNvPr id="31" name="Text Placeholder 2">
            <a:extLst>
              <a:ext uri="{FF2B5EF4-FFF2-40B4-BE49-F238E27FC236}">
                <a16:creationId xmlns="" xmlns:a16="http://schemas.microsoft.com/office/drawing/2014/main" id="{669B2D41-B11D-9D45-B189-F838AC342B07}"/>
              </a:ext>
            </a:extLst>
          </p:cNvPr>
          <p:cNvSpPr>
            <a:spLocks noGrp="1"/>
          </p:cNvSpPr>
          <p:nvPr>
            <p:ph type="body" sz="quarter" idx="29" hasCustomPrompt="1"/>
          </p:nvPr>
        </p:nvSpPr>
        <p:spPr>
          <a:xfrm>
            <a:off x="896049" y="3262072"/>
            <a:ext cx="5146613" cy="197306"/>
          </a:xfrm>
          <a:prstGeom prst="rect">
            <a:avLst/>
          </a:prstGeom>
        </p:spPr>
        <p:txBody>
          <a:bodyPr lIns="0" tIns="0" rIns="0" bIns="0">
            <a:noAutofit/>
          </a:bodyPr>
          <a:lstStyle>
            <a:lvl1pPr marL="0" indent="0">
              <a:buNone/>
              <a:defRPr sz="1100" b="0" i="0">
                <a:solidFill>
                  <a:schemeClr val="tx1"/>
                </a:solidFill>
                <a:latin typeface="Calibri" panose="020F0502020204030204" pitchFamily="34" charset="0"/>
                <a:cs typeface="Calibri" panose="020F0502020204030204" pitchFamily="34" charset="0"/>
              </a:defRPr>
            </a:lvl1pPr>
            <a:lvl2pPr marL="342434" indent="0">
              <a:buNone/>
              <a:defRPr sz="1100">
                <a:solidFill>
                  <a:schemeClr val="tx1"/>
                </a:solidFill>
              </a:defRPr>
            </a:lvl2pPr>
            <a:lvl3pPr marL="684915" indent="0">
              <a:buNone/>
              <a:defRPr sz="1100">
                <a:solidFill>
                  <a:schemeClr val="tx1"/>
                </a:solidFill>
              </a:defRPr>
            </a:lvl3pPr>
            <a:lvl4pPr marL="1027368" indent="0">
              <a:buNone/>
              <a:defRPr sz="1100">
                <a:solidFill>
                  <a:schemeClr val="tx1"/>
                </a:solidFill>
              </a:defRPr>
            </a:lvl4pPr>
            <a:lvl5pPr marL="1369824" indent="0">
              <a:buNone/>
              <a:defRPr sz="1100">
                <a:solidFill>
                  <a:schemeClr val="tx1"/>
                </a:solidFill>
              </a:defRPr>
            </a:lvl5pPr>
          </a:lstStyle>
          <a:p>
            <a:pPr lvl="0"/>
            <a:r>
              <a:rPr lang="en-US"/>
              <a:t>Date</a:t>
            </a:r>
          </a:p>
        </p:txBody>
      </p:sp>
      <p:sp>
        <p:nvSpPr>
          <p:cNvPr id="32" name="Text Placeholder 2">
            <a:extLst>
              <a:ext uri="{FF2B5EF4-FFF2-40B4-BE49-F238E27FC236}">
                <a16:creationId xmlns="" xmlns:a16="http://schemas.microsoft.com/office/drawing/2014/main" id="{D7467C81-9D88-4140-B42C-28DFB5646475}"/>
              </a:ext>
            </a:extLst>
          </p:cNvPr>
          <p:cNvSpPr>
            <a:spLocks noGrp="1"/>
          </p:cNvSpPr>
          <p:nvPr>
            <p:ph type="body" sz="quarter" idx="30" hasCustomPrompt="1"/>
          </p:nvPr>
        </p:nvSpPr>
        <p:spPr>
          <a:xfrm>
            <a:off x="896049" y="2683054"/>
            <a:ext cx="5146613" cy="197306"/>
          </a:xfrm>
          <a:prstGeom prst="rect">
            <a:avLst/>
          </a:prstGeom>
        </p:spPr>
        <p:txBody>
          <a:bodyPr lIns="0" tIns="0" rIns="0" bIns="0">
            <a:noAutofit/>
          </a:bodyPr>
          <a:lstStyle>
            <a:lvl1pPr marL="0" indent="0">
              <a:buNone/>
              <a:defRPr sz="1100" b="0" i="0">
                <a:solidFill>
                  <a:schemeClr val="tx1"/>
                </a:solidFill>
                <a:latin typeface="Calibri" panose="020F0502020204030204" pitchFamily="34" charset="0"/>
                <a:cs typeface="Calibri" panose="020F0502020204030204" pitchFamily="34" charset="0"/>
              </a:defRPr>
            </a:lvl1pPr>
            <a:lvl2pPr marL="342434" indent="0">
              <a:buNone/>
              <a:defRPr sz="1100">
                <a:solidFill>
                  <a:schemeClr val="tx1"/>
                </a:solidFill>
              </a:defRPr>
            </a:lvl2pPr>
            <a:lvl3pPr marL="684915" indent="0">
              <a:buNone/>
              <a:defRPr sz="1100">
                <a:solidFill>
                  <a:schemeClr val="tx1"/>
                </a:solidFill>
              </a:defRPr>
            </a:lvl3pPr>
            <a:lvl4pPr marL="1027368" indent="0">
              <a:buNone/>
              <a:defRPr sz="1100">
                <a:solidFill>
                  <a:schemeClr val="tx1"/>
                </a:solidFill>
              </a:defRPr>
            </a:lvl4pPr>
            <a:lvl5pPr marL="1369824" indent="0">
              <a:buNone/>
              <a:defRPr sz="1100">
                <a:solidFill>
                  <a:schemeClr val="tx1"/>
                </a:solidFill>
              </a:defRPr>
            </a:lvl5pPr>
          </a:lstStyle>
          <a:p>
            <a:pPr lvl="0"/>
            <a:r>
              <a:rPr lang="en-US"/>
              <a:t>Presenter Name</a:t>
            </a:r>
          </a:p>
        </p:txBody>
      </p:sp>
      <p:pic>
        <p:nvPicPr>
          <p:cNvPr id="12" name="Picture 11">
            <a:extLst>
              <a:ext uri="{FF2B5EF4-FFF2-40B4-BE49-F238E27FC236}">
                <a16:creationId xmlns="" xmlns:a16="http://schemas.microsoft.com/office/drawing/2014/main" id="{16819C41-2A79-B54D-9C44-C619DA694E6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178941" y="4768499"/>
            <a:ext cx="1468934" cy="88097"/>
          </a:xfrm>
          <a:prstGeom prst="rect">
            <a:avLst/>
          </a:prstGeom>
        </p:spPr>
      </p:pic>
      <p:pic>
        <p:nvPicPr>
          <p:cNvPr id="13" name="Picture 12">
            <a:extLst>
              <a:ext uri="{FF2B5EF4-FFF2-40B4-BE49-F238E27FC236}">
                <a16:creationId xmlns="" xmlns:a16="http://schemas.microsoft.com/office/drawing/2014/main" id="{3D2794BD-1A0D-7D48-855D-469111926BF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342928" y="-6445"/>
            <a:ext cx="1688783" cy="936649"/>
          </a:xfrm>
          <a:prstGeom prst="rect">
            <a:avLst/>
          </a:prstGeom>
        </p:spPr>
      </p:pic>
      <p:sp>
        <p:nvSpPr>
          <p:cNvPr id="14" name="Text Placeholder 2">
            <a:extLst>
              <a:ext uri="{FF2B5EF4-FFF2-40B4-BE49-F238E27FC236}">
                <a16:creationId xmlns="" xmlns:a16="http://schemas.microsoft.com/office/drawing/2014/main" id="{B9909778-A51F-784D-ACA4-EC5DBA48BE16}"/>
              </a:ext>
            </a:extLst>
          </p:cNvPr>
          <p:cNvSpPr>
            <a:spLocks noGrp="1"/>
          </p:cNvSpPr>
          <p:nvPr>
            <p:ph type="body" sz="quarter" idx="16" hasCustomPrompt="1"/>
          </p:nvPr>
        </p:nvSpPr>
        <p:spPr>
          <a:xfrm>
            <a:off x="896055" y="4740008"/>
            <a:ext cx="5774753" cy="175501"/>
          </a:xfrm>
        </p:spPr>
        <p:txBody>
          <a:bodyPr tIns="0" rIns="0" bIns="0" anchor="ctr" anchorCtr="0">
            <a:noAutofit/>
          </a:bodyPr>
          <a:lstStyle>
            <a:lvl1pPr marL="0" marR="0" indent="0" algn="l" defTabSz="684916"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600"/>
            </a:lvl1pPr>
            <a:lvl2pPr>
              <a:defRPr sz="600"/>
            </a:lvl2pPr>
            <a:lvl3pPr>
              <a:defRPr sz="600"/>
            </a:lvl3pPr>
            <a:lvl4pPr>
              <a:defRPr sz="600"/>
            </a:lvl4pPr>
            <a:lvl5pPr>
              <a:defRPr sz="600"/>
            </a:lvl5pPr>
          </a:lstStyle>
          <a:p>
            <a:pPr marL="0" marR="0" lvl="0" indent="0" algn="l" defTabSz="684916"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2212183645"/>
      </p:ext>
    </p:extLst>
  </p:cSld>
  <p:clrMapOvr>
    <a:masterClrMapping/>
  </p:clrMapOvr>
  <p:transition spd="slow">
    <p:push dir="u"/>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Standard 1-Column Text">
    <p:spTree>
      <p:nvGrpSpPr>
        <p:cNvPr id="1" name=""/>
        <p:cNvGrpSpPr/>
        <p:nvPr/>
      </p:nvGrpSpPr>
      <p:grpSpPr>
        <a:xfrm>
          <a:off x="0" y="0"/>
          <a:ext cx="0" cy="0"/>
          <a:chOff x="0" y="0"/>
          <a:chExt cx="0" cy="0"/>
        </a:xfrm>
      </p:grpSpPr>
      <p:sp>
        <p:nvSpPr>
          <p:cNvPr id="12" name="Text Placeholder 6">
            <a:extLst>
              <a:ext uri="{FF2B5EF4-FFF2-40B4-BE49-F238E27FC236}">
                <a16:creationId xmlns="" xmlns:a16="http://schemas.microsoft.com/office/drawing/2014/main" id="{FD2406EE-A554-5348-AE6D-4D8B343E6201}"/>
              </a:ext>
            </a:extLst>
          </p:cNvPr>
          <p:cNvSpPr>
            <a:spLocks noGrp="1"/>
          </p:cNvSpPr>
          <p:nvPr>
            <p:ph type="body" sz="quarter" idx="15" hasCustomPrompt="1"/>
          </p:nvPr>
        </p:nvSpPr>
        <p:spPr>
          <a:xfrm>
            <a:off x="233363" y="826793"/>
            <a:ext cx="8677275" cy="3996643"/>
          </a:xfrm>
          <a:prstGeom prst="rect">
            <a:avLst/>
          </a:prstGeom>
        </p:spPr>
        <p:txBody>
          <a:bodyPr tIns="0" rIns="0" bIns="0" numCol="1">
            <a:normAutofit/>
          </a:bodyPr>
          <a:lstStyle>
            <a:lvl1pPr marL="0" indent="0">
              <a:lnSpc>
                <a:spcPct val="100000"/>
              </a:lnSpc>
              <a:spcBef>
                <a:spcPts val="0"/>
              </a:spcBef>
              <a:spcAft>
                <a:spcPts val="450"/>
              </a:spcAft>
              <a:buFont typeface="Arial" panose="020B0604020202020204" pitchFamily="34" charset="0"/>
              <a:buNone/>
              <a:defRPr sz="1200" b="0">
                <a:solidFill>
                  <a:schemeClr val="tx1"/>
                </a:solidFill>
              </a:defRPr>
            </a:lvl1pPr>
            <a:lvl2pPr marL="342434" indent="0">
              <a:lnSpc>
                <a:spcPts val="1350"/>
              </a:lnSpc>
              <a:spcBef>
                <a:spcPts val="0"/>
              </a:spcBef>
              <a:buNone/>
              <a:defRPr sz="1100"/>
            </a:lvl2pPr>
            <a:lvl3pPr marL="684915" indent="0">
              <a:lnSpc>
                <a:spcPts val="1350"/>
              </a:lnSpc>
              <a:spcBef>
                <a:spcPts val="0"/>
              </a:spcBef>
              <a:buNone/>
              <a:defRPr sz="1100"/>
            </a:lvl3pPr>
            <a:lvl4pPr marL="1027368" indent="0">
              <a:lnSpc>
                <a:spcPts val="1350"/>
              </a:lnSpc>
              <a:spcBef>
                <a:spcPts val="0"/>
              </a:spcBef>
              <a:buNone/>
              <a:defRPr sz="1100"/>
            </a:lvl4pPr>
            <a:lvl5pPr marL="1369824" indent="0">
              <a:lnSpc>
                <a:spcPts val="1350"/>
              </a:lnSpc>
              <a:spcBef>
                <a:spcPts val="0"/>
              </a:spcBef>
              <a:buNone/>
              <a:defRPr sz="1100"/>
            </a:lvl5pPr>
          </a:lstStyle>
          <a:p>
            <a:pPr lvl="0"/>
            <a:r>
              <a:rPr lang="en-US"/>
              <a:t>This is a one-column layout. Click to add content</a:t>
            </a:r>
          </a:p>
        </p:txBody>
      </p:sp>
      <p:sp>
        <p:nvSpPr>
          <p:cNvPr id="19" name="Footer Placeholder 8">
            <a:extLst>
              <a:ext uri="{FF2B5EF4-FFF2-40B4-BE49-F238E27FC236}">
                <a16:creationId xmlns="" xmlns:a16="http://schemas.microsoft.com/office/drawing/2014/main" id="{CDA06C55-0643-C148-AAB1-C4BB26FD7B26}"/>
              </a:ext>
            </a:extLst>
          </p:cNvPr>
          <p:cNvSpPr>
            <a:spLocks noGrp="1"/>
          </p:cNvSpPr>
          <p:nvPr>
            <p:ph type="ftr" sz="quarter" idx="3"/>
          </p:nvPr>
        </p:nvSpPr>
        <p:spPr>
          <a:xfrm>
            <a:off x="5824538" y="4892251"/>
            <a:ext cx="3086100" cy="147098"/>
          </a:xfrm>
          <a:prstGeom prst="rect">
            <a:avLst/>
          </a:prstGeom>
        </p:spPr>
        <p:txBody>
          <a:bodyPr vert="horz" lIns="0" tIns="0" rIns="0" bIns="0" rtlCol="0" anchor="ctr"/>
          <a:lstStyle>
            <a:lvl1pPr algn="r">
              <a:defRPr sz="600" b="1" spc="75" baseline="0">
                <a:solidFill>
                  <a:schemeClr val="tx1"/>
                </a:solidFill>
              </a:defRPr>
            </a:lvl1pPr>
          </a:lstStyle>
          <a:p>
            <a:r>
              <a:rPr lang="x-none">
                <a:solidFill>
                  <a:srgbClr val="34373F"/>
                </a:solidFill>
              </a:rPr>
              <a:t> </a:t>
            </a:r>
          </a:p>
        </p:txBody>
      </p:sp>
      <p:pic>
        <p:nvPicPr>
          <p:cNvPr id="14" name="Picture 13" descr="Takeda">
            <a:extLst>
              <a:ext uri="{FF2B5EF4-FFF2-40B4-BE49-F238E27FC236}">
                <a16:creationId xmlns=""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09748" y="-1211"/>
            <a:ext cx="1272174" cy="705585"/>
          </a:xfrm>
          <a:prstGeom prst="rect">
            <a:avLst/>
          </a:prstGeom>
        </p:spPr>
      </p:pic>
      <p:sp>
        <p:nvSpPr>
          <p:cNvPr id="22" name="タイトル プレースホルダ 1">
            <a:extLst>
              <a:ext uri="{FF2B5EF4-FFF2-40B4-BE49-F238E27FC236}">
                <a16:creationId xmlns="" xmlns:a16="http://schemas.microsoft.com/office/drawing/2014/main" id="{86D2E5B8-9E2B-DB46-A55A-5F26569C4F99}"/>
              </a:ext>
            </a:extLst>
          </p:cNvPr>
          <p:cNvSpPr>
            <a:spLocks noGrp="1"/>
          </p:cNvSpPr>
          <p:nvPr>
            <p:ph type="title" hasCustomPrompt="1"/>
          </p:nvPr>
        </p:nvSpPr>
        <p:spPr>
          <a:xfrm>
            <a:off x="454559" y="121208"/>
            <a:ext cx="7455190" cy="51435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a:extLst>
              <a:ext uri="{FF2B5EF4-FFF2-40B4-BE49-F238E27FC236}">
                <a16:creationId xmlns="" xmlns:a16="http://schemas.microsoft.com/office/drawing/2014/main" id="{51A4825E-63A1-564F-BC3A-FBC167ECE5EB}"/>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3185"/>
            <a:fld id="{E9B57936-92EF-4126-AE48-1D9D36D15E98}" type="slidenum">
              <a:rPr lang="ja-JP" altLang="en-US" smtClean="0">
                <a:solidFill>
                  <a:srgbClr val="34373F"/>
                </a:solidFill>
              </a:rPr>
              <a:pPr defTabSz="913185"/>
              <a:t>‹Nº›</a:t>
            </a:fld>
            <a:endParaRPr lang="ja-JP" altLang="en-US">
              <a:solidFill>
                <a:srgbClr val="34373F"/>
              </a:solidFill>
            </a:endParaRPr>
          </a:p>
        </p:txBody>
      </p:sp>
      <p:sp>
        <p:nvSpPr>
          <p:cNvPr id="21" name="Rectangle 20">
            <a:extLst>
              <a:ext uri="{FF2B5EF4-FFF2-40B4-BE49-F238E27FC236}">
                <a16:creationId xmlns="" xmlns:a16="http://schemas.microsoft.com/office/drawing/2014/main" id="{FCF9CDB0-5730-E246-B31F-F5963CF8EFDC}"/>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19" tIns="34289" rIns="68519" bIns="34289" rtlCol="0" anchor="ctr"/>
          <a:lstStyle/>
          <a:p>
            <a:pPr algn="ctr" defTabSz="685103"/>
            <a:endParaRPr kumimoji="1" lang="x-none" sz="1400">
              <a:solidFill>
                <a:srgbClr val="E1242A"/>
              </a:solidFill>
            </a:endParaRPr>
          </a:p>
        </p:txBody>
      </p:sp>
      <p:sp>
        <p:nvSpPr>
          <p:cNvPr id="24" name="Text Placeholder 6">
            <a:extLst>
              <a:ext uri="{FF2B5EF4-FFF2-40B4-BE49-F238E27FC236}">
                <a16:creationId xmlns="" xmlns:a16="http://schemas.microsoft.com/office/drawing/2014/main" id="{44EB3013-FCB4-1B4E-A9F2-FD57CF727CCC}"/>
              </a:ext>
            </a:extLst>
          </p:cNvPr>
          <p:cNvSpPr>
            <a:spLocks noGrp="1"/>
          </p:cNvSpPr>
          <p:nvPr>
            <p:ph type="body" sz="quarter" idx="16" hasCustomPrompt="1"/>
          </p:nvPr>
        </p:nvSpPr>
        <p:spPr>
          <a:xfrm>
            <a:off x="454559" y="4892253"/>
            <a:ext cx="5226261" cy="154210"/>
          </a:xfrm>
          <a:prstGeom prst="rect">
            <a:avLst/>
          </a:prstGeom>
        </p:spPr>
        <p:txBody>
          <a:bodyPr wrap="none" tIns="0" rIns="0" bIns="53959" numCol="1" anchor="ctr">
            <a:noAutofit/>
          </a:bodyPr>
          <a:lstStyle>
            <a:lvl1pPr marL="0" indent="0">
              <a:lnSpc>
                <a:spcPts val="1200"/>
              </a:lnSpc>
              <a:spcBef>
                <a:spcPts val="0"/>
              </a:spcBef>
              <a:spcAft>
                <a:spcPts val="450"/>
              </a:spcAft>
              <a:buFont typeface="Arial" panose="020B0604020202020204" pitchFamily="34" charset="0"/>
              <a:buNone/>
              <a:defRPr sz="600" b="0">
                <a:solidFill>
                  <a:schemeClr val="accent3"/>
                </a:solidFill>
              </a:defRPr>
            </a:lvl1pPr>
            <a:lvl2pPr marL="342434" indent="0">
              <a:lnSpc>
                <a:spcPts val="1350"/>
              </a:lnSpc>
              <a:spcBef>
                <a:spcPts val="0"/>
              </a:spcBef>
              <a:buNone/>
              <a:defRPr sz="1100"/>
            </a:lvl2pPr>
            <a:lvl3pPr marL="684915" indent="0">
              <a:lnSpc>
                <a:spcPts val="1350"/>
              </a:lnSpc>
              <a:spcBef>
                <a:spcPts val="0"/>
              </a:spcBef>
              <a:buNone/>
              <a:defRPr sz="1100"/>
            </a:lvl3pPr>
            <a:lvl4pPr marL="1027368" indent="0">
              <a:lnSpc>
                <a:spcPts val="1350"/>
              </a:lnSpc>
              <a:spcBef>
                <a:spcPts val="0"/>
              </a:spcBef>
              <a:buNone/>
              <a:defRPr sz="1100"/>
            </a:lvl4pPr>
            <a:lvl5pPr marL="1369824" indent="0">
              <a:lnSpc>
                <a:spcPts val="1350"/>
              </a:lnSpc>
              <a:spcBef>
                <a:spcPts val="0"/>
              </a:spcBef>
              <a:buNone/>
              <a:defRPr sz="1100"/>
            </a:lvl5pPr>
          </a:lstStyle>
          <a:p>
            <a:pPr lvl="0"/>
            <a:r>
              <a:rPr lang="en-US"/>
              <a:t>Private and confidential. For internal use only.</a:t>
            </a:r>
          </a:p>
        </p:txBody>
      </p:sp>
    </p:spTree>
    <p:extLst>
      <p:ext uri="{BB962C8B-B14F-4D97-AF65-F5344CB8AC3E}">
        <p14:creationId xmlns:p14="http://schemas.microsoft.com/office/powerpoint/2010/main" val="2868631905"/>
      </p:ext>
    </p:extLst>
  </p:cSld>
  <p:clrMapOvr>
    <a:masterClrMapping/>
  </p:clrMapOvr>
  <p:transition spd="slow">
    <p:push dir="u"/>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Standard 2-Column Text">
    <p:spTree>
      <p:nvGrpSpPr>
        <p:cNvPr id="1" name=""/>
        <p:cNvGrpSpPr/>
        <p:nvPr/>
      </p:nvGrpSpPr>
      <p:grpSpPr>
        <a:xfrm>
          <a:off x="0" y="0"/>
          <a:ext cx="0" cy="0"/>
          <a:chOff x="0" y="0"/>
          <a:chExt cx="0" cy="0"/>
        </a:xfrm>
      </p:grpSpPr>
      <p:sp>
        <p:nvSpPr>
          <p:cNvPr id="12" name="Text Placeholder 6">
            <a:extLst>
              <a:ext uri="{FF2B5EF4-FFF2-40B4-BE49-F238E27FC236}">
                <a16:creationId xmlns="" xmlns:a16="http://schemas.microsoft.com/office/drawing/2014/main" id="{FD2406EE-A554-5348-AE6D-4D8B343E6201}"/>
              </a:ext>
            </a:extLst>
          </p:cNvPr>
          <p:cNvSpPr>
            <a:spLocks noGrp="1"/>
          </p:cNvSpPr>
          <p:nvPr>
            <p:ph type="body" sz="quarter" idx="15" hasCustomPrompt="1"/>
          </p:nvPr>
        </p:nvSpPr>
        <p:spPr>
          <a:xfrm>
            <a:off x="233363" y="826793"/>
            <a:ext cx="8677275" cy="3996643"/>
          </a:xfrm>
          <a:prstGeom prst="rect">
            <a:avLst/>
          </a:prstGeom>
        </p:spPr>
        <p:txBody>
          <a:bodyPr tIns="0" rIns="0" bIns="0" numCol="2" spcCol="404590">
            <a:normAutofit/>
          </a:bodyPr>
          <a:lstStyle>
            <a:lvl1pPr marL="0" indent="0">
              <a:lnSpc>
                <a:spcPct val="100000"/>
              </a:lnSpc>
              <a:spcBef>
                <a:spcPts val="0"/>
              </a:spcBef>
              <a:spcAft>
                <a:spcPts val="450"/>
              </a:spcAft>
              <a:buFont typeface="Arial" panose="020B0604020202020204" pitchFamily="34" charset="0"/>
              <a:buNone/>
              <a:defRPr sz="1200" b="0">
                <a:solidFill>
                  <a:schemeClr val="tx1"/>
                </a:solidFill>
              </a:defRPr>
            </a:lvl1pPr>
            <a:lvl2pPr marL="342434" indent="0">
              <a:lnSpc>
                <a:spcPts val="1350"/>
              </a:lnSpc>
              <a:spcBef>
                <a:spcPts val="0"/>
              </a:spcBef>
              <a:buNone/>
              <a:defRPr sz="1100"/>
            </a:lvl2pPr>
            <a:lvl3pPr marL="684915" indent="0">
              <a:lnSpc>
                <a:spcPts val="1350"/>
              </a:lnSpc>
              <a:spcBef>
                <a:spcPts val="0"/>
              </a:spcBef>
              <a:buNone/>
              <a:defRPr sz="1100"/>
            </a:lvl3pPr>
            <a:lvl4pPr marL="1027368" indent="0">
              <a:lnSpc>
                <a:spcPts val="1350"/>
              </a:lnSpc>
              <a:spcBef>
                <a:spcPts val="0"/>
              </a:spcBef>
              <a:buNone/>
              <a:defRPr sz="1100"/>
            </a:lvl4pPr>
            <a:lvl5pPr marL="1369824" indent="0">
              <a:lnSpc>
                <a:spcPts val="1350"/>
              </a:lnSpc>
              <a:spcBef>
                <a:spcPts val="0"/>
              </a:spcBef>
              <a:buNone/>
              <a:defRPr sz="1100"/>
            </a:lvl5pPr>
          </a:lstStyle>
          <a:p>
            <a:pPr lvl="0"/>
            <a:r>
              <a:rPr lang="en-US"/>
              <a:t>This is a two-column layout. Click to add content. </a:t>
            </a:r>
          </a:p>
        </p:txBody>
      </p:sp>
      <p:sp>
        <p:nvSpPr>
          <p:cNvPr id="19" name="Footer Placeholder 8">
            <a:extLst>
              <a:ext uri="{FF2B5EF4-FFF2-40B4-BE49-F238E27FC236}">
                <a16:creationId xmlns="" xmlns:a16="http://schemas.microsoft.com/office/drawing/2014/main" id="{CDA06C55-0643-C148-AAB1-C4BB26FD7B26}"/>
              </a:ext>
            </a:extLst>
          </p:cNvPr>
          <p:cNvSpPr>
            <a:spLocks noGrp="1"/>
          </p:cNvSpPr>
          <p:nvPr>
            <p:ph type="ftr" sz="quarter" idx="3"/>
          </p:nvPr>
        </p:nvSpPr>
        <p:spPr>
          <a:xfrm>
            <a:off x="5824538" y="4892251"/>
            <a:ext cx="3086100" cy="147098"/>
          </a:xfrm>
          <a:prstGeom prst="rect">
            <a:avLst/>
          </a:prstGeom>
        </p:spPr>
        <p:txBody>
          <a:bodyPr vert="horz" lIns="0" tIns="0" rIns="0" bIns="0" rtlCol="0" anchor="ctr"/>
          <a:lstStyle>
            <a:lvl1pPr algn="r">
              <a:defRPr sz="600" b="1" spc="75" baseline="0">
                <a:solidFill>
                  <a:schemeClr val="tx1"/>
                </a:solidFill>
              </a:defRPr>
            </a:lvl1pPr>
          </a:lstStyle>
          <a:p>
            <a:r>
              <a:rPr lang="x-none">
                <a:solidFill>
                  <a:srgbClr val="34373F"/>
                </a:solidFill>
              </a:rPr>
              <a:t> </a:t>
            </a:r>
          </a:p>
        </p:txBody>
      </p:sp>
      <p:pic>
        <p:nvPicPr>
          <p:cNvPr id="14" name="Picture 13" descr="Takeda">
            <a:extLst>
              <a:ext uri="{FF2B5EF4-FFF2-40B4-BE49-F238E27FC236}">
                <a16:creationId xmlns=""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09748" y="-1211"/>
            <a:ext cx="1272174" cy="705585"/>
          </a:xfrm>
          <a:prstGeom prst="rect">
            <a:avLst/>
          </a:prstGeom>
        </p:spPr>
      </p:pic>
      <p:sp>
        <p:nvSpPr>
          <p:cNvPr id="22" name="タイトル プレースホルダ 1">
            <a:extLst>
              <a:ext uri="{FF2B5EF4-FFF2-40B4-BE49-F238E27FC236}">
                <a16:creationId xmlns="" xmlns:a16="http://schemas.microsoft.com/office/drawing/2014/main" id="{86D2E5B8-9E2B-DB46-A55A-5F26569C4F99}"/>
              </a:ext>
            </a:extLst>
          </p:cNvPr>
          <p:cNvSpPr>
            <a:spLocks noGrp="1"/>
          </p:cNvSpPr>
          <p:nvPr>
            <p:ph type="title" hasCustomPrompt="1"/>
          </p:nvPr>
        </p:nvSpPr>
        <p:spPr>
          <a:xfrm>
            <a:off x="454559" y="121208"/>
            <a:ext cx="7455190" cy="514351"/>
          </a:xfrm>
          <a:prstGeom prst="rect">
            <a:avLst/>
          </a:prstGeom>
        </p:spPr>
        <p:txBody>
          <a:bodyPr vert="horz" lIns="0" tIns="0" rIns="0" bIns="0" rtlCol="0" anchor="ctr">
            <a:normAutofit/>
          </a:bodyPr>
          <a:lstStyle/>
          <a:p>
            <a:r>
              <a:rPr kumimoji="1" lang="en-US" altLang="ja-JP"/>
              <a:t>Two-column layout. Click to add title</a:t>
            </a:r>
            <a:endParaRPr kumimoji="1" lang="ja-JP" altLang="en-US"/>
          </a:p>
        </p:txBody>
      </p:sp>
      <p:sp>
        <p:nvSpPr>
          <p:cNvPr id="13" name="Rectangle 12">
            <a:extLst>
              <a:ext uri="{FF2B5EF4-FFF2-40B4-BE49-F238E27FC236}">
                <a16:creationId xmlns="" xmlns:a16="http://schemas.microsoft.com/office/drawing/2014/main" id="{F49634AC-7DDA-D44D-88DB-5850289DD643}"/>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19" tIns="34289" rIns="68519" bIns="34289" rtlCol="0" anchor="ctr"/>
          <a:lstStyle/>
          <a:p>
            <a:pPr algn="ctr" defTabSz="685103"/>
            <a:endParaRPr kumimoji="1" lang="x-none" sz="1400">
              <a:solidFill>
                <a:srgbClr val="E1242A"/>
              </a:solidFill>
            </a:endParaRPr>
          </a:p>
        </p:txBody>
      </p:sp>
      <p:sp>
        <p:nvSpPr>
          <p:cNvPr id="20" name="スライド番号プレースホルダ 5">
            <a:extLst>
              <a:ext uri="{FF2B5EF4-FFF2-40B4-BE49-F238E27FC236}">
                <a16:creationId xmlns="" xmlns:a16="http://schemas.microsoft.com/office/drawing/2014/main" id="{E22A984C-7436-8C4C-83C8-F2AD67592041}"/>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3185"/>
            <a:fld id="{E9B57936-92EF-4126-AE48-1D9D36D15E98}" type="slidenum">
              <a:rPr lang="ja-JP" altLang="en-US" smtClean="0">
                <a:solidFill>
                  <a:srgbClr val="34373F"/>
                </a:solidFill>
              </a:rPr>
              <a:pPr defTabSz="913185"/>
              <a:t>‹Nº›</a:t>
            </a:fld>
            <a:endParaRPr lang="ja-JP" altLang="en-US">
              <a:solidFill>
                <a:srgbClr val="34373F"/>
              </a:solidFill>
            </a:endParaRPr>
          </a:p>
        </p:txBody>
      </p:sp>
      <p:sp>
        <p:nvSpPr>
          <p:cNvPr id="21" name="Text Placeholder 6">
            <a:extLst>
              <a:ext uri="{FF2B5EF4-FFF2-40B4-BE49-F238E27FC236}">
                <a16:creationId xmlns="" xmlns:a16="http://schemas.microsoft.com/office/drawing/2014/main" id="{0A6720AD-4FA4-A146-AEEB-A4E558BAA3EA}"/>
              </a:ext>
            </a:extLst>
          </p:cNvPr>
          <p:cNvSpPr>
            <a:spLocks noGrp="1"/>
          </p:cNvSpPr>
          <p:nvPr>
            <p:ph type="body" sz="quarter" idx="16" hasCustomPrompt="1"/>
          </p:nvPr>
        </p:nvSpPr>
        <p:spPr>
          <a:xfrm>
            <a:off x="454559" y="4892253"/>
            <a:ext cx="5226261" cy="154210"/>
          </a:xfrm>
          <a:prstGeom prst="rect">
            <a:avLst/>
          </a:prstGeom>
        </p:spPr>
        <p:txBody>
          <a:bodyPr wrap="none" tIns="0" rIns="0" bIns="53959" numCol="1" anchor="ctr">
            <a:noAutofit/>
          </a:bodyPr>
          <a:lstStyle>
            <a:lvl1pPr marL="0" indent="0">
              <a:lnSpc>
                <a:spcPts val="1200"/>
              </a:lnSpc>
              <a:spcBef>
                <a:spcPts val="0"/>
              </a:spcBef>
              <a:spcAft>
                <a:spcPts val="450"/>
              </a:spcAft>
              <a:buFont typeface="Arial" panose="020B0604020202020204" pitchFamily="34" charset="0"/>
              <a:buNone/>
              <a:defRPr sz="600" b="0">
                <a:solidFill>
                  <a:schemeClr val="accent3"/>
                </a:solidFill>
              </a:defRPr>
            </a:lvl1pPr>
            <a:lvl2pPr marL="342434" indent="0">
              <a:lnSpc>
                <a:spcPts val="1350"/>
              </a:lnSpc>
              <a:spcBef>
                <a:spcPts val="0"/>
              </a:spcBef>
              <a:buNone/>
              <a:defRPr sz="1100"/>
            </a:lvl2pPr>
            <a:lvl3pPr marL="684915" indent="0">
              <a:lnSpc>
                <a:spcPts val="1350"/>
              </a:lnSpc>
              <a:spcBef>
                <a:spcPts val="0"/>
              </a:spcBef>
              <a:buNone/>
              <a:defRPr sz="1100"/>
            </a:lvl3pPr>
            <a:lvl4pPr marL="1027368" indent="0">
              <a:lnSpc>
                <a:spcPts val="1350"/>
              </a:lnSpc>
              <a:spcBef>
                <a:spcPts val="0"/>
              </a:spcBef>
              <a:buNone/>
              <a:defRPr sz="1100"/>
            </a:lvl4pPr>
            <a:lvl5pPr marL="1369824" indent="0">
              <a:lnSpc>
                <a:spcPts val="1350"/>
              </a:lnSpc>
              <a:spcBef>
                <a:spcPts val="0"/>
              </a:spcBef>
              <a:buNone/>
              <a:defRPr sz="1100"/>
            </a:lvl5pPr>
          </a:lstStyle>
          <a:p>
            <a:pPr lvl="0"/>
            <a:r>
              <a:rPr lang="en-US"/>
              <a:t>Private and confidential. For internal use only.</a:t>
            </a:r>
          </a:p>
        </p:txBody>
      </p:sp>
    </p:spTree>
    <p:extLst>
      <p:ext uri="{BB962C8B-B14F-4D97-AF65-F5344CB8AC3E}">
        <p14:creationId xmlns:p14="http://schemas.microsoft.com/office/powerpoint/2010/main" val="2313601492"/>
      </p:ext>
    </p:extLst>
  </p:cSld>
  <p:clrMapOvr>
    <a:masterClrMapping/>
  </p:clrMapOvr>
  <p:transition spd="slow">
    <p:push dir="u"/>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Section Title Page">
    <p:spTree>
      <p:nvGrpSpPr>
        <p:cNvPr id="1" name=""/>
        <p:cNvGrpSpPr/>
        <p:nvPr/>
      </p:nvGrpSpPr>
      <p:grpSpPr>
        <a:xfrm>
          <a:off x="0" y="0"/>
          <a:ext cx="0" cy="0"/>
          <a:chOff x="0" y="0"/>
          <a:chExt cx="0" cy="0"/>
        </a:xfrm>
      </p:grpSpPr>
      <p:sp>
        <p:nvSpPr>
          <p:cNvPr id="33" name="Title 1">
            <a:extLst>
              <a:ext uri="{FF2B5EF4-FFF2-40B4-BE49-F238E27FC236}">
                <a16:creationId xmlns="" xmlns:a16="http://schemas.microsoft.com/office/drawing/2014/main" id="{E02383DA-65B3-044E-9E1B-2CC00A0B1CC6}"/>
              </a:ext>
            </a:extLst>
          </p:cNvPr>
          <p:cNvSpPr>
            <a:spLocks noGrp="1"/>
          </p:cNvSpPr>
          <p:nvPr>
            <p:ph type="ctrTitle" hasCustomPrompt="1"/>
          </p:nvPr>
        </p:nvSpPr>
        <p:spPr>
          <a:xfrm>
            <a:off x="896050" y="1727272"/>
            <a:ext cx="3266048" cy="1709348"/>
          </a:xfrm>
          <a:prstGeom prst="rect">
            <a:avLst/>
          </a:prstGeom>
        </p:spPr>
        <p:txBody>
          <a:bodyPr wrap="square" lIns="0" tIns="0" rIns="0" bIns="0" anchor="ctr" anchorCtr="0">
            <a:normAutofit/>
          </a:bodyPr>
          <a:lstStyle>
            <a:lvl1pPr>
              <a:lnSpc>
                <a:spcPts val="2850"/>
              </a:lnSpc>
              <a:defRPr sz="27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section title</a:t>
            </a:r>
          </a:p>
        </p:txBody>
      </p:sp>
      <p:sp>
        <p:nvSpPr>
          <p:cNvPr id="28" name="Rectangle 27">
            <a:extLst>
              <a:ext uri="{FF2B5EF4-FFF2-40B4-BE49-F238E27FC236}">
                <a16:creationId xmlns="" xmlns:a16="http://schemas.microsoft.com/office/drawing/2014/main" id="{92F9C2FE-7E43-3948-92F0-0CEA804BDBFE}"/>
              </a:ext>
            </a:extLst>
          </p:cNvPr>
          <p:cNvSpPr/>
          <p:nvPr userDrawn="1"/>
        </p:nvSpPr>
        <p:spPr>
          <a:xfrm>
            <a:off x="561754" y="1582698"/>
            <a:ext cx="72900" cy="20303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19" tIns="34289" rIns="68519" bIns="34289" anchor="ctr"/>
          <a:lstStyle/>
          <a:p>
            <a:pPr algn="ctr" defTabSz="685103"/>
            <a:endParaRPr lang="en-US" altLang="en-US" sz="1400">
              <a:solidFill>
                <a:srgbClr val="FFFFFF"/>
              </a:solidFill>
            </a:endParaRPr>
          </a:p>
        </p:txBody>
      </p:sp>
      <p:sp>
        <p:nvSpPr>
          <p:cNvPr id="13" name="Picture Placeholder 9">
            <a:extLst>
              <a:ext uri="{FF2B5EF4-FFF2-40B4-BE49-F238E27FC236}">
                <a16:creationId xmlns="" xmlns:a16="http://schemas.microsoft.com/office/drawing/2014/main" id="{46656F8F-0621-5F47-BF80-4A4E365A2D91}"/>
              </a:ext>
            </a:extLst>
          </p:cNvPr>
          <p:cNvSpPr>
            <a:spLocks noGrp="1"/>
          </p:cNvSpPr>
          <p:nvPr>
            <p:ph type="pic" sz="quarter" idx="10"/>
          </p:nvPr>
        </p:nvSpPr>
        <p:spPr>
          <a:xfrm>
            <a:off x="4981947" y="0"/>
            <a:ext cx="4174367" cy="4812506"/>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158474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782524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0592">
                <a:moveTo>
                  <a:pt x="0" y="1652"/>
                </a:moveTo>
                <a:lnTo>
                  <a:pt x="11459359" y="0"/>
                </a:lnTo>
                <a:cubicBezTo>
                  <a:pt x="11456406" y="1115201"/>
                  <a:pt x="11441877" y="2245391"/>
                  <a:pt x="11438924" y="3360592"/>
                </a:cubicBezTo>
                <a:lnTo>
                  <a:pt x="1188396" y="3358591"/>
                </a:lnTo>
                <a:cubicBezTo>
                  <a:pt x="848612" y="3356903"/>
                  <a:pt x="0" y="3267167"/>
                  <a:pt x="0" y="2946995"/>
                </a:cubicBezTo>
                <a:lnTo>
                  <a:pt x="0" y="1652"/>
                </a:lnTo>
                <a:close/>
              </a:path>
            </a:pathLst>
          </a:custGeom>
          <a:noFill/>
        </p:spPr>
        <p:txBody>
          <a:bodyPr/>
          <a:lstStyle>
            <a:lvl1pPr marL="0" indent="0">
              <a:buNone/>
              <a:defRPr sz="1800">
                <a:solidFill>
                  <a:schemeClr val="bg1"/>
                </a:solidFill>
              </a:defRPr>
            </a:lvl1pPr>
          </a:lstStyle>
          <a:p>
            <a:r>
              <a:rPr lang="es-ES"/>
              <a:t>Haga clic en el icono para agregar una imagen</a:t>
            </a:r>
            <a:endParaRPr lang="x-none"/>
          </a:p>
        </p:txBody>
      </p:sp>
    </p:spTree>
    <p:extLst>
      <p:ext uri="{BB962C8B-B14F-4D97-AF65-F5344CB8AC3E}">
        <p14:creationId xmlns:p14="http://schemas.microsoft.com/office/powerpoint/2010/main" val="1123989741"/>
      </p:ext>
    </p:extLst>
  </p:cSld>
  <p:clrMapOvr>
    <a:masterClrMapping/>
  </p:clrMapOvr>
  <p:transition spd="slow">
    <p:push dir="u"/>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30A5DA52-BBAF-EA48-AEC6-EA08F428CF57}"/>
              </a:ext>
            </a:extLst>
          </p:cNvPr>
          <p:cNvSpPr>
            <a:spLocks noGrp="1"/>
          </p:cNvSpPr>
          <p:nvPr>
            <p:ph type="body" sz="quarter" idx="10" hasCustomPrompt="1"/>
          </p:nvPr>
        </p:nvSpPr>
        <p:spPr>
          <a:xfrm>
            <a:off x="225030" y="278969"/>
            <a:ext cx="8693944" cy="4533537"/>
          </a:xfrm>
          <a:prstGeom prst="rect">
            <a:avLst/>
          </a:prstGeom>
        </p:spPr>
        <p:txBody>
          <a:bodyPr anchor="ctr" anchorCtr="0"/>
          <a:lstStyle>
            <a:lvl1pPr marL="0" indent="0" algn="ctr">
              <a:lnSpc>
                <a:spcPct val="100000"/>
              </a:lnSpc>
              <a:buNone/>
              <a:defRPr sz="2300"/>
            </a:lvl1pPr>
          </a:lstStyle>
          <a:p>
            <a:pPr lvl="0"/>
            <a:r>
              <a:rPr lang="en-US"/>
              <a:t>Blank slide</a:t>
            </a:r>
            <a:endParaRPr lang="x-none"/>
          </a:p>
        </p:txBody>
      </p:sp>
    </p:spTree>
    <p:extLst>
      <p:ext uri="{BB962C8B-B14F-4D97-AF65-F5344CB8AC3E}">
        <p14:creationId xmlns:p14="http://schemas.microsoft.com/office/powerpoint/2010/main" val="4145370333"/>
      </p:ext>
    </p:extLst>
  </p:cSld>
  <p:clrMapOvr>
    <a:masterClrMapping/>
  </p:clrMapOvr>
  <p:transition spd="slow">
    <p:push dir="u"/>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Advanced 3-Column Text">
    <p:spTree>
      <p:nvGrpSpPr>
        <p:cNvPr id="1" name=""/>
        <p:cNvGrpSpPr/>
        <p:nvPr/>
      </p:nvGrpSpPr>
      <p:grpSpPr>
        <a:xfrm>
          <a:off x="0" y="0"/>
          <a:ext cx="0" cy="0"/>
          <a:chOff x="0" y="0"/>
          <a:chExt cx="0" cy="0"/>
        </a:xfrm>
      </p:grpSpPr>
      <p:sp>
        <p:nvSpPr>
          <p:cNvPr id="7" name="Text Placeholder 6">
            <a:extLst>
              <a:ext uri="{FF2B5EF4-FFF2-40B4-BE49-F238E27FC236}">
                <a16:creationId xmlns="" xmlns:a16="http://schemas.microsoft.com/office/drawing/2014/main" id="{65925D82-457F-D84D-B8DF-D8ADFD7E71DF}"/>
              </a:ext>
            </a:extLst>
          </p:cNvPr>
          <p:cNvSpPr>
            <a:spLocks noGrp="1"/>
          </p:cNvSpPr>
          <p:nvPr>
            <p:ph type="body" sz="quarter" idx="14" hasCustomPrompt="1"/>
          </p:nvPr>
        </p:nvSpPr>
        <p:spPr>
          <a:xfrm>
            <a:off x="233362" y="2383723"/>
            <a:ext cx="4281488" cy="204590"/>
          </a:xfrm>
          <a:prstGeom prst="rect">
            <a:avLst/>
          </a:prstGeom>
        </p:spPr>
        <p:txBody>
          <a:bodyPr tIns="0" rIns="0" bIns="0" numCol="1">
            <a:noAutofit/>
          </a:bodyPr>
          <a:lstStyle>
            <a:lvl1pPr marL="0" indent="0">
              <a:lnSpc>
                <a:spcPct val="100000"/>
              </a:lnSpc>
              <a:spcBef>
                <a:spcPts val="0"/>
              </a:spcBef>
              <a:spcAft>
                <a:spcPts val="450"/>
              </a:spcAft>
              <a:buNone/>
              <a:defRPr sz="1400" b="1">
                <a:solidFill>
                  <a:schemeClr val="accent1"/>
                </a:solidFill>
              </a:defRPr>
            </a:lvl1pPr>
            <a:lvl2pPr marL="342434" indent="0">
              <a:lnSpc>
                <a:spcPts val="1350"/>
              </a:lnSpc>
              <a:spcBef>
                <a:spcPts val="0"/>
              </a:spcBef>
              <a:buNone/>
              <a:defRPr sz="1100"/>
            </a:lvl2pPr>
            <a:lvl3pPr marL="684915" indent="0">
              <a:lnSpc>
                <a:spcPts val="1350"/>
              </a:lnSpc>
              <a:spcBef>
                <a:spcPts val="0"/>
              </a:spcBef>
              <a:buNone/>
              <a:defRPr sz="1100"/>
            </a:lvl3pPr>
            <a:lvl4pPr marL="1027368" indent="0">
              <a:lnSpc>
                <a:spcPts val="1350"/>
              </a:lnSpc>
              <a:spcBef>
                <a:spcPts val="0"/>
              </a:spcBef>
              <a:buNone/>
              <a:defRPr sz="1100"/>
            </a:lvl4pPr>
            <a:lvl5pPr marL="1369824" indent="0">
              <a:lnSpc>
                <a:spcPts val="1350"/>
              </a:lnSpc>
              <a:spcBef>
                <a:spcPts val="0"/>
              </a:spcBef>
              <a:buNone/>
              <a:defRPr sz="1100"/>
            </a:lvl5pPr>
          </a:lstStyle>
          <a:p>
            <a:pPr lvl="0"/>
            <a:r>
              <a:rPr lang="en-US"/>
              <a:t>This is your Secondary Title</a:t>
            </a:r>
          </a:p>
        </p:txBody>
      </p:sp>
      <p:sp>
        <p:nvSpPr>
          <p:cNvPr id="12" name="Text Placeholder 6">
            <a:extLst>
              <a:ext uri="{FF2B5EF4-FFF2-40B4-BE49-F238E27FC236}">
                <a16:creationId xmlns="" xmlns:a16="http://schemas.microsoft.com/office/drawing/2014/main" id="{FD2406EE-A554-5348-AE6D-4D8B343E6201}"/>
              </a:ext>
            </a:extLst>
          </p:cNvPr>
          <p:cNvSpPr>
            <a:spLocks noGrp="1"/>
          </p:cNvSpPr>
          <p:nvPr>
            <p:ph type="body" sz="quarter" idx="15" hasCustomPrompt="1"/>
          </p:nvPr>
        </p:nvSpPr>
        <p:spPr>
          <a:xfrm>
            <a:off x="233363" y="2681929"/>
            <a:ext cx="2822659" cy="2130578"/>
          </a:xfrm>
          <a:prstGeom prst="rect">
            <a:avLst/>
          </a:prstGeom>
        </p:spPr>
        <p:txBody>
          <a:bodyPr tIns="0" rIns="0" bIns="0" numCol="1">
            <a:noAutofit/>
          </a:bodyPr>
          <a:lstStyle>
            <a:lvl1pPr marL="128465" indent="-128465">
              <a:lnSpc>
                <a:spcPct val="100000"/>
              </a:lnSpc>
              <a:spcBef>
                <a:spcPts val="0"/>
              </a:spcBef>
              <a:spcAft>
                <a:spcPts val="450"/>
              </a:spcAft>
              <a:buFont typeface="Arial" panose="020B0604020202020204" pitchFamily="34" charset="0"/>
              <a:buChar char="•"/>
              <a:defRPr sz="1100" b="0">
                <a:solidFill>
                  <a:schemeClr val="tx1"/>
                </a:solidFill>
              </a:defRPr>
            </a:lvl1pPr>
            <a:lvl2pPr marL="342434" indent="0">
              <a:lnSpc>
                <a:spcPts val="1350"/>
              </a:lnSpc>
              <a:spcBef>
                <a:spcPts val="0"/>
              </a:spcBef>
              <a:buNone/>
              <a:defRPr sz="1100"/>
            </a:lvl2pPr>
            <a:lvl3pPr marL="684915" indent="0">
              <a:lnSpc>
                <a:spcPts val="1350"/>
              </a:lnSpc>
              <a:spcBef>
                <a:spcPts val="0"/>
              </a:spcBef>
              <a:buNone/>
              <a:defRPr sz="1100"/>
            </a:lvl3pPr>
            <a:lvl4pPr marL="1027368" indent="0">
              <a:lnSpc>
                <a:spcPts val="1350"/>
              </a:lnSpc>
              <a:spcBef>
                <a:spcPts val="0"/>
              </a:spcBef>
              <a:buNone/>
              <a:defRPr sz="1100"/>
            </a:lvl4pPr>
            <a:lvl5pPr marL="1369824" indent="0">
              <a:lnSpc>
                <a:spcPts val="1350"/>
              </a:lnSpc>
              <a:spcBef>
                <a:spcPts val="0"/>
              </a:spcBef>
              <a:buNone/>
              <a:defRPr sz="1100"/>
            </a:lvl5pPr>
          </a:lstStyle>
          <a:p>
            <a:pPr lvl="0"/>
            <a:r>
              <a:rPr lang="en-US"/>
              <a:t>This is your Secondary text. </a:t>
            </a:r>
          </a:p>
        </p:txBody>
      </p:sp>
      <p:sp>
        <p:nvSpPr>
          <p:cNvPr id="17" name="Text Placeholder 6">
            <a:extLst>
              <a:ext uri="{FF2B5EF4-FFF2-40B4-BE49-F238E27FC236}">
                <a16:creationId xmlns="" xmlns:a16="http://schemas.microsoft.com/office/drawing/2014/main" id="{3BB454FD-9C16-FC47-B46E-6675394572BB}"/>
              </a:ext>
            </a:extLst>
          </p:cNvPr>
          <p:cNvSpPr>
            <a:spLocks noGrp="1"/>
          </p:cNvSpPr>
          <p:nvPr>
            <p:ph type="body" sz="quarter" idx="18" hasCustomPrompt="1"/>
          </p:nvPr>
        </p:nvSpPr>
        <p:spPr>
          <a:xfrm>
            <a:off x="3160336" y="2681929"/>
            <a:ext cx="2822659" cy="2130578"/>
          </a:xfrm>
          <a:prstGeom prst="rect">
            <a:avLst/>
          </a:prstGeom>
        </p:spPr>
        <p:txBody>
          <a:bodyPr tIns="0" rIns="0" bIns="0" numCol="1">
            <a:noAutofit/>
          </a:bodyPr>
          <a:lstStyle>
            <a:lvl1pPr marL="128465" indent="-128465">
              <a:lnSpc>
                <a:spcPct val="100000"/>
              </a:lnSpc>
              <a:spcBef>
                <a:spcPts val="0"/>
              </a:spcBef>
              <a:spcAft>
                <a:spcPts val="450"/>
              </a:spcAft>
              <a:buFont typeface="Arial" panose="020B0604020202020204" pitchFamily="34" charset="0"/>
              <a:buChar char="•"/>
              <a:defRPr sz="1100" b="0">
                <a:solidFill>
                  <a:schemeClr val="tx1"/>
                </a:solidFill>
              </a:defRPr>
            </a:lvl1pPr>
            <a:lvl2pPr marL="342434" indent="0">
              <a:lnSpc>
                <a:spcPts val="1350"/>
              </a:lnSpc>
              <a:spcBef>
                <a:spcPts val="0"/>
              </a:spcBef>
              <a:buNone/>
              <a:defRPr sz="1100"/>
            </a:lvl2pPr>
            <a:lvl3pPr marL="684915" indent="0">
              <a:lnSpc>
                <a:spcPts val="1350"/>
              </a:lnSpc>
              <a:spcBef>
                <a:spcPts val="0"/>
              </a:spcBef>
              <a:buNone/>
              <a:defRPr sz="1100"/>
            </a:lvl3pPr>
            <a:lvl4pPr marL="1027368" indent="0">
              <a:lnSpc>
                <a:spcPts val="1350"/>
              </a:lnSpc>
              <a:spcBef>
                <a:spcPts val="0"/>
              </a:spcBef>
              <a:buNone/>
              <a:defRPr sz="1100"/>
            </a:lvl4pPr>
            <a:lvl5pPr marL="1369824" indent="0">
              <a:lnSpc>
                <a:spcPts val="1350"/>
              </a:lnSpc>
              <a:spcBef>
                <a:spcPts val="0"/>
              </a:spcBef>
              <a:buNone/>
              <a:defRPr sz="1100"/>
            </a:lvl5pPr>
          </a:lstStyle>
          <a:p>
            <a:pPr lvl="0"/>
            <a:r>
              <a:rPr lang="en-US"/>
              <a:t>This is your Secondary text. </a:t>
            </a:r>
          </a:p>
        </p:txBody>
      </p:sp>
      <p:sp>
        <p:nvSpPr>
          <p:cNvPr id="18" name="Text Placeholder 6">
            <a:extLst>
              <a:ext uri="{FF2B5EF4-FFF2-40B4-BE49-F238E27FC236}">
                <a16:creationId xmlns="" xmlns:a16="http://schemas.microsoft.com/office/drawing/2014/main" id="{568F3A49-7287-1C4D-93C8-50E3C0B4F15A}"/>
              </a:ext>
            </a:extLst>
          </p:cNvPr>
          <p:cNvSpPr>
            <a:spLocks noGrp="1"/>
          </p:cNvSpPr>
          <p:nvPr>
            <p:ph type="body" sz="quarter" idx="19" hasCustomPrompt="1"/>
          </p:nvPr>
        </p:nvSpPr>
        <p:spPr>
          <a:xfrm>
            <a:off x="6075017" y="2681929"/>
            <a:ext cx="2822659" cy="2130578"/>
          </a:xfrm>
          <a:prstGeom prst="rect">
            <a:avLst/>
          </a:prstGeom>
        </p:spPr>
        <p:txBody>
          <a:bodyPr tIns="0" rIns="0" bIns="0" numCol="1">
            <a:noAutofit/>
          </a:bodyPr>
          <a:lstStyle>
            <a:lvl1pPr marL="128465" indent="-128465">
              <a:lnSpc>
                <a:spcPct val="100000"/>
              </a:lnSpc>
              <a:spcBef>
                <a:spcPts val="0"/>
              </a:spcBef>
              <a:spcAft>
                <a:spcPts val="450"/>
              </a:spcAft>
              <a:buFont typeface="Arial" panose="020B0604020202020204" pitchFamily="34" charset="0"/>
              <a:buChar char="•"/>
              <a:defRPr sz="1100" b="0">
                <a:solidFill>
                  <a:schemeClr val="tx1"/>
                </a:solidFill>
              </a:defRPr>
            </a:lvl1pPr>
            <a:lvl2pPr marL="342434" indent="0">
              <a:lnSpc>
                <a:spcPts val="1350"/>
              </a:lnSpc>
              <a:spcBef>
                <a:spcPts val="0"/>
              </a:spcBef>
              <a:buNone/>
              <a:defRPr sz="1100"/>
            </a:lvl2pPr>
            <a:lvl3pPr marL="684915" indent="0">
              <a:lnSpc>
                <a:spcPts val="1350"/>
              </a:lnSpc>
              <a:spcBef>
                <a:spcPts val="0"/>
              </a:spcBef>
              <a:buNone/>
              <a:defRPr sz="1100"/>
            </a:lvl3pPr>
            <a:lvl4pPr marL="1027368" indent="0">
              <a:lnSpc>
                <a:spcPts val="1350"/>
              </a:lnSpc>
              <a:spcBef>
                <a:spcPts val="0"/>
              </a:spcBef>
              <a:buNone/>
              <a:defRPr sz="1100"/>
            </a:lvl4pPr>
            <a:lvl5pPr marL="1369824" indent="0">
              <a:lnSpc>
                <a:spcPts val="1350"/>
              </a:lnSpc>
              <a:spcBef>
                <a:spcPts val="0"/>
              </a:spcBef>
              <a:buNone/>
              <a:defRPr sz="1100"/>
            </a:lvl5pPr>
          </a:lstStyle>
          <a:p>
            <a:pPr lvl="0"/>
            <a:r>
              <a:rPr lang="en-US"/>
              <a:t>This is your Secondary text. </a:t>
            </a:r>
          </a:p>
        </p:txBody>
      </p:sp>
      <p:sp>
        <p:nvSpPr>
          <p:cNvPr id="21" name="Footer Placeholder 8">
            <a:extLst>
              <a:ext uri="{FF2B5EF4-FFF2-40B4-BE49-F238E27FC236}">
                <a16:creationId xmlns="" xmlns:a16="http://schemas.microsoft.com/office/drawing/2014/main" id="{519BC59F-4516-0043-8BAC-F9FE45B6A9F4}"/>
              </a:ext>
            </a:extLst>
          </p:cNvPr>
          <p:cNvSpPr>
            <a:spLocks noGrp="1"/>
          </p:cNvSpPr>
          <p:nvPr>
            <p:ph type="ftr" sz="quarter" idx="3"/>
          </p:nvPr>
        </p:nvSpPr>
        <p:spPr>
          <a:xfrm>
            <a:off x="5824538" y="4892251"/>
            <a:ext cx="3086100" cy="147098"/>
          </a:xfrm>
          <a:prstGeom prst="rect">
            <a:avLst/>
          </a:prstGeom>
        </p:spPr>
        <p:txBody>
          <a:bodyPr vert="horz" lIns="68519" tIns="34289" rIns="0" bIns="34289" rtlCol="0" anchor="ctr"/>
          <a:lstStyle>
            <a:lvl1pPr algn="r">
              <a:defRPr sz="600" b="1" spc="75" baseline="0">
                <a:solidFill>
                  <a:schemeClr val="tx1"/>
                </a:solidFill>
              </a:defRPr>
            </a:lvl1pPr>
          </a:lstStyle>
          <a:p>
            <a:r>
              <a:rPr lang="x-none">
                <a:solidFill>
                  <a:srgbClr val="34373F"/>
                </a:solidFill>
              </a:rPr>
              <a:t> </a:t>
            </a:r>
          </a:p>
        </p:txBody>
      </p:sp>
      <p:pic>
        <p:nvPicPr>
          <p:cNvPr id="14" name="Picture 13" descr="Takeda">
            <a:extLst>
              <a:ext uri="{FF2B5EF4-FFF2-40B4-BE49-F238E27FC236}">
                <a16:creationId xmlns="" xmlns:a16="http://schemas.microsoft.com/office/drawing/2014/main" id="{0E2D4ABB-BC5B-754B-B0DE-676246A385A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09748" y="-1211"/>
            <a:ext cx="1272174" cy="705585"/>
          </a:xfrm>
          <a:prstGeom prst="rect">
            <a:avLst/>
          </a:prstGeom>
        </p:spPr>
      </p:pic>
      <p:sp>
        <p:nvSpPr>
          <p:cNvPr id="24" name="タイトル プレースホルダ 1">
            <a:extLst>
              <a:ext uri="{FF2B5EF4-FFF2-40B4-BE49-F238E27FC236}">
                <a16:creationId xmlns="" xmlns:a16="http://schemas.microsoft.com/office/drawing/2014/main" id="{CC986DF6-9894-F144-B9DA-A9DBE0000AB8}"/>
              </a:ext>
            </a:extLst>
          </p:cNvPr>
          <p:cNvSpPr>
            <a:spLocks noGrp="1"/>
          </p:cNvSpPr>
          <p:nvPr>
            <p:ph type="title" hasCustomPrompt="1"/>
          </p:nvPr>
        </p:nvSpPr>
        <p:spPr>
          <a:xfrm>
            <a:off x="454559" y="121208"/>
            <a:ext cx="7455190" cy="51435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3" name="Rectangle 22">
            <a:extLst>
              <a:ext uri="{FF2B5EF4-FFF2-40B4-BE49-F238E27FC236}">
                <a16:creationId xmlns="" xmlns:a16="http://schemas.microsoft.com/office/drawing/2014/main" id="{886528CE-2840-6C44-965A-04D8835743E3}"/>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19" tIns="34289" rIns="68519" bIns="34289" rtlCol="0" anchor="ctr"/>
          <a:lstStyle/>
          <a:p>
            <a:pPr algn="ctr" defTabSz="685103"/>
            <a:endParaRPr kumimoji="1" lang="x-none" sz="1400">
              <a:solidFill>
                <a:srgbClr val="E1242A"/>
              </a:solidFill>
            </a:endParaRPr>
          </a:p>
        </p:txBody>
      </p:sp>
      <p:sp>
        <p:nvSpPr>
          <p:cNvPr id="27" name="スライド番号プレースホルダ 5">
            <a:extLst>
              <a:ext uri="{FF2B5EF4-FFF2-40B4-BE49-F238E27FC236}">
                <a16:creationId xmlns="" xmlns:a16="http://schemas.microsoft.com/office/drawing/2014/main" id="{854E474F-30B0-604E-9699-287AC57CAAFA}"/>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3185"/>
            <a:fld id="{E9B57936-92EF-4126-AE48-1D9D36D15E98}" type="slidenum">
              <a:rPr lang="ja-JP" altLang="en-US" smtClean="0">
                <a:solidFill>
                  <a:srgbClr val="34373F"/>
                </a:solidFill>
              </a:rPr>
              <a:pPr defTabSz="913185"/>
              <a:t>‹Nº›</a:t>
            </a:fld>
            <a:endParaRPr lang="ja-JP" altLang="en-US">
              <a:solidFill>
                <a:srgbClr val="34373F"/>
              </a:solidFill>
            </a:endParaRPr>
          </a:p>
        </p:txBody>
      </p:sp>
      <p:sp>
        <p:nvSpPr>
          <p:cNvPr id="28" name="Text Placeholder 6">
            <a:extLst>
              <a:ext uri="{FF2B5EF4-FFF2-40B4-BE49-F238E27FC236}">
                <a16:creationId xmlns="" xmlns:a16="http://schemas.microsoft.com/office/drawing/2014/main" id="{C9681050-C142-4F4F-B3C6-6F52F3C55CD6}"/>
              </a:ext>
            </a:extLst>
          </p:cNvPr>
          <p:cNvSpPr>
            <a:spLocks noGrp="1"/>
          </p:cNvSpPr>
          <p:nvPr>
            <p:ph type="body" sz="quarter" idx="16" hasCustomPrompt="1"/>
          </p:nvPr>
        </p:nvSpPr>
        <p:spPr>
          <a:xfrm>
            <a:off x="454559" y="4892253"/>
            <a:ext cx="5226261" cy="154210"/>
          </a:xfrm>
          <a:prstGeom prst="rect">
            <a:avLst/>
          </a:prstGeom>
        </p:spPr>
        <p:txBody>
          <a:bodyPr wrap="none" tIns="0" rIns="0" bIns="53959" numCol="1" anchor="ctr">
            <a:noAutofit/>
          </a:bodyPr>
          <a:lstStyle>
            <a:lvl1pPr marL="0" indent="0">
              <a:lnSpc>
                <a:spcPts val="1200"/>
              </a:lnSpc>
              <a:spcBef>
                <a:spcPts val="0"/>
              </a:spcBef>
              <a:spcAft>
                <a:spcPts val="450"/>
              </a:spcAft>
              <a:buFont typeface="Arial" panose="020B0604020202020204" pitchFamily="34" charset="0"/>
              <a:buNone/>
              <a:defRPr sz="600" b="0">
                <a:solidFill>
                  <a:schemeClr val="accent3"/>
                </a:solidFill>
              </a:defRPr>
            </a:lvl1pPr>
            <a:lvl2pPr marL="342434" indent="0">
              <a:lnSpc>
                <a:spcPts val="1350"/>
              </a:lnSpc>
              <a:spcBef>
                <a:spcPts val="0"/>
              </a:spcBef>
              <a:buNone/>
              <a:defRPr sz="1100"/>
            </a:lvl2pPr>
            <a:lvl3pPr marL="684915" indent="0">
              <a:lnSpc>
                <a:spcPts val="1350"/>
              </a:lnSpc>
              <a:spcBef>
                <a:spcPts val="0"/>
              </a:spcBef>
              <a:buNone/>
              <a:defRPr sz="1100"/>
            </a:lvl3pPr>
            <a:lvl4pPr marL="1027368" indent="0">
              <a:lnSpc>
                <a:spcPts val="1350"/>
              </a:lnSpc>
              <a:spcBef>
                <a:spcPts val="0"/>
              </a:spcBef>
              <a:buNone/>
              <a:defRPr sz="1100"/>
            </a:lvl4pPr>
            <a:lvl5pPr marL="1369824" indent="0">
              <a:lnSpc>
                <a:spcPts val="1350"/>
              </a:lnSpc>
              <a:spcBef>
                <a:spcPts val="0"/>
              </a:spcBef>
              <a:buNone/>
              <a:defRPr sz="1100"/>
            </a:lvl5pPr>
          </a:lstStyle>
          <a:p>
            <a:pPr lvl="0"/>
            <a:r>
              <a:rPr lang="en-US"/>
              <a:t>Private and confidential. For internal use only.</a:t>
            </a:r>
          </a:p>
        </p:txBody>
      </p:sp>
      <p:sp>
        <p:nvSpPr>
          <p:cNvPr id="22" name="Text Placeholder 2">
            <a:extLst>
              <a:ext uri="{FF2B5EF4-FFF2-40B4-BE49-F238E27FC236}">
                <a16:creationId xmlns="" xmlns:a16="http://schemas.microsoft.com/office/drawing/2014/main" id="{110504E2-40F0-054E-8424-D247EF2CA216}"/>
              </a:ext>
            </a:extLst>
          </p:cNvPr>
          <p:cNvSpPr>
            <a:spLocks noGrp="1"/>
          </p:cNvSpPr>
          <p:nvPr>
            <p:ph type="body" sz="quarter" idx="20" hasCustomPrompt="1"/>
          </p:nvPr>
        </p:nvSpPr>
        <p:spPr>
          <a:xfrm>
            <a:off x="233363" y="1118532"/>
            <a:ext cx="8677275" cy="1098718"/>
          </a:xfrm>
        </p:spPr>
        <p:txBody>
          <a:bodyPr tIns="0" rIns="0" bIns="0" numCol="1" spcCol="94418">
            <a:noAutofit/>
          </a:bodyPr>
          <a:lstStyle>
            <a:lvl1pPr marL="0" indent="0">
              <a:lnSpc>
                <a:spcPct val="100000"/>
              </a:lnSpc>
              <a:spcBef>
                <a:spcPts val="0"/>
              </a:spcBef>
              <a:buNone/>
              <a:defRPr sz="1200" b="1"/>
            </a:lvl1pPr>
            <a:lvl2pPr marL="342434" indent="0">
              <a:buNone/>
              <a:defRPr sz="1400" b="1"/>
            </a:lvl2pPr>
            <a:lvl3pPr marL="684915" indent="0">
              <a:buNone/>
              <a:defRPr sz="1400" b="1"/>
            </a:lvl3pPr>
            <a:lvl4pPr marL="1027368" indent="0">
              <a:buNone/>
              <a:defRPr sz="1400" b="1"/>
            </a:lvl4pPr>
            <a:lvl5pPr marL="1369824" indent="0">
              <a:buNone/>
              <a:defRPr sz="1400" b="1"/>
            </a:lvl5pPr>
          </a:lstStyle>
          <a:p>
            <a:pPr lvl="0"/>
            <a:r>
              <a:rPr lang="en-US"/>
              <a:t>This is your Primary Text.</a:t>
            </a:r>
            <a:endParaRPr lang="x-none"/>
          </a:p>
        </p:txBody>
      </p:sp>
      <p:sp>
        <p:nvSpPr>
          <p:cNvPr id="25" name="Text Placeholder 6">
            <a:extLst>
              <a:ext uri="{FF2B5EF4-FFF2-40B4-BE49-F238E27FC236}">
                <a16:creationId xmlns="" xmlns:a16="http://schemas.microsoft.com/office/drawing/2014/main" id="{073E75F2-7FFB-DC4C-8964-799372FCF583}"/>
              </a:ext>
            </a:extLst>
          </p:cNvPr>
          <p:cNvSpPr>
            <a:spLocks noGrp="1"/>
          </p:cNvSpPr>
          <p:nvPr>
            <p:ph type="body" sz="quarter" idx="21" hasCustomPrompt="1"/>
          </p:nvPr>
        </p:nvSpPr>
        <p:spPr>
          <a:xfrm>
            <a:off x="233363" y="820327"/>
            <a:ext cx="8677275" cy="204590"/>
          </a:xfrm>
        </p:spPr>
        <p:txBody>
          <a:bodyPr tIns="0" rIns="0" bIns="0" numCol="1">
            <a:noAutofit/>
          </a:bodyPr>
          <a:lstStyle>
            <a:lvl1pPr marL="0" indent="0">
              <a:lnSpc>
                <a:spcPct val="100000"/>
              </a:lnSpc>
              <a:spcBef>
                <a:spcPts val="0"/>
              </a:spcBef>
              <a:spcAft>
                <a:spcPts val="450"/>
              </a:spcAft>
              <a:buNone/>
              <a:defRPr sz="1500" b="1">
                <a:solidFill>
                  <a:schemeClr val="accent1"/>
                </a:solidFill>
              </a:defRPr>
            </a:lvl1pPr>
            <a:lvl2pPr marL="342434" indent="0">
              <a:lnSpc>
                <a:spcPts val="1350"/>
              </a:lnSpc>
              <a:spcBef>
                <a:spcPts val="0"/>
              </a:spcBef>
              <a:buNone/>
              <a:defRPr sz="1100"/>
            </a:lvl2pPr>
            <a:lvl3pPr marL="684915" indent="0">
              <a:lnSpc>
                <a:spcPts val="1350"/>
              </a:lnSpc>
              <a:spcBef>
                <a:spcPts val="0"/>
              </a:spcBef>
              <a:buNone/>
              <a:defRPr sz="1100"/>
            </a:lvl3pPr>
            <a:lvl4pPr marL="1027368" indent="0">
              <a:lnSpc>
                <a:spcPts val="1350"/>
              </a:lnSpc>
              <a:spcBef>
                <a:spcPts val="0"/>
              </a:spcBef>
              <a:buNone/>
              <a:defRPr sz="1100"/>
            </a:lvl4pPr>
            <a:lvl5pPr marL="1369824" indent="0">
              <a:lnSpc>
                <a:spcPts val="1350"/>
              </a:lnSpc>
              <a:spcBef>
                <a:spcPts val="0"/>
              </a:spcBef>
              <a:buNone/>
              <a:defRPr sz="1100"/>
            </a:lvl5pPr>
          </a:lstStyle>
          <a:p>
            <a:pPr lvl="0"/>
            <a:r>
              <a:rPr lang="en-US"/>
              <a:t>This is your Primary Title</a:t>
            </a:r>
          </a:p>
        </p:txBody>
      </p:sp>
    </p:spTree>
    <p:extLst>
      <p:ext uri="{BB962C8B-B14F-4D97-AF65-F5344CB8AC3E}">
        <p14:creationId xmlns:p14="http://schemas.microsoft.com/office/powerpoint/2010/main" val="166358259"/>
      </p:ext>
    </p:extLst>
  </p:cSld>
  <p:clrMapOvr>
    <a:masterClrMapping/>
  </p:clrMapOvr>
  <p:transition spd="slow">
    <p:push dir="u"/>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Advanced 2/3 Image">
    <p:spTree>
      <p:nvGrpSpPr>
        <p:cNvPr id="1" name=""/>
        <p:cNvGrpSpPr/>
        <p:nvPr/>
      </p:nvGrpSpPr>
      <p:grpSpPr>
        <a:xfrm>
          <a:off x="0" y="0"/>
          <a:ext cx="0" cy="0"/>
          <a:chOff x="0" y="0"/>
          <a:chExt cx="0" cy="0"/>
        </a:xfrm>
      </p:grpSpPr>
      <p:sp>
        <p:nvSpPr>
          <p:cNvPr id="13" name="Picture Placeholder 9">
            <a:extLst>
              <a:ext uri="{FF2B5EF4-FFF2-40B4-BE49-F238E27FC236}">
                <a16:creationId xmlns="" xmlns:a16="http://schemas.microsoft.com/office/drawing/2014/main" id="{B3311DE3-EC35-4C49-805E-57AB2D90E99E}"/>
              </a:ext>
            </a:extLst>
          </p:cNvPr>
          <p:cNvSpPr>
            <a:spLocks noGrp="1"/>
          </p:cNvSpPr>
          <p:nvPr>
            <p:ph type="pic" sz="quarter" idx="10" hasCustomPrompt="1"/>
          </p:nvPr>
        </p:nvSpPr>
        <p:spPr>
          <a:xfrm>
            <a:off x="3158057" y="820325"/>
            <a:ext cx="5991267" cy="3992181"/>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88356" h="5135028">
                <a:moveTo>
                  <a:pt x="0" y="0"/>
                </a:moveTo>
                <a:lnTo>
                  <a:pt x="7988281" y="7569"/>
                </a:lnTo>
                <a:cubicBezTo>
                  <a:pt x="7989186" y="2154376"/>
                  <a:pt x="7981645" y="2988221"/>
                  <a:pt x="7982550" y="5135028"/>
                </a:cubicBezTo>
                <a:lnTo>
                  <a:pt x="596656" y="5124807"/>
                </a:lnTo>
                <a:cubicBezTo>
                  <a:pt x="276484" y="5124807"/>
                  <a:pt x="16934" y="4865257"/>
                  <a:pt x="16934" y="4545085"/>
                </a:cubicBezTo>
                <a:cubicBezTo>
                  <a:pt x="11289" y="3022648"/>
                  <a:pt x="5645" y="1522437"/>
                  <a:pt x="0" y="0"/>
                </a:cubicBezTo>
                <a:close/>
              </a:path>
            </a:pathLst>
          </a:custGeom>
          <a:noFill/>
        </p:spPr>
        <p:txBody>
          <a:bodyPr>
            <a:normAutofit/>
          </a:bodyPr>
          <a:lstStyle>
            <a:lvl1pPr marL="0" indent="0">
              <a:buNone/>
              <a:defRPr sz="1100">
                <a:solidFill>
                  <a:schemeClr val="tx1"/>
                </a:solidFill>
              </a:defRPr>
            </a:lvl1pPr>
          </a:lstStyle>
          <a:p>
            <a:r>
              <a:rPr lang="x-none"/>
              <a:t>Insert Photo</a:t>
            </a:r>
          </a:p>
        </p:txBody>
      </p:sp>
      <p:sp>
        <p:nvSpPr>
          <p:cNvPr id="7" name="Text Placeholder 6">
            <a:extLst>
              <a:ext uri="{FF2B5EF4-FFF2-40B4-BE49-F238E27FC236}">
                <a16:creationId xmlns="" xmlns:a16="http://schemas.microsoft.com/office/drawing/2014/main" id="{65925D82-457F-D84D-B8DF-D8ADFD7E71DF}"/>
              </a:ext>
            </a:extLst>
          </p:cNvPr>
          <p:cNvSpPr>
            <a:spLocks noGrp="1"/>
          </p:cNvSpPr>
          <p:nvPr>
            <p:ph type="body" sz="quarter" idx="14" hasCustomPrompt="1"/>
          </p:nvPr>
        </p:nvSpPr>
        <p:spPr>
          <a:xfrm>
            <a:off x="233367" y="2383723"/>
            <a:ext cx="2813975" cy="204590"/>
          </a:xfrm>
          <a:prstGeom prst="rect">
            <a:avLst/>
          </a:prstGeom>
        </p:spPr>
        <p:txBody>
          <a:bodyPr tIns="0" rIns="0" bIns="0" numCol="1">
            <a:noAutofit/>
          </a:bodyPr>
          <a:lstStyle>
            <a:lvl1pPr marL="0" indent="0">
              <a:lnSpc>
                <a:spcPct val="100000"/>
              </a:lnSpc>
              <a:spcBef>
                <a:spcPts val="0"/>
              </a:spcBef>
              <a:spcAft>
                <a:spcPts val="450"/>
              </a:spcAft>
              <a:buNone/>
              <a:defRPr sz="1400" b="1">
                <a:solidFill>
                  <a:schemeClr val="accent1"/>
                </a:solidFill>
              </a:defRPr>
            </a:lvl1pPr>
            <a:lvl2pPr marL="342434" indent="0">
              <a:lnSpc>
                <a:spcPts val="1350"/>
              </a:lnSpc>
              <a:spcBef>
                <a:spcPts val="0"/>
              </a:spcBef>
              <a:buNone/>
              <a:defRPr sz="1100"/>
            </a:lvl2pPr>
            <a:lvl3pPr marL="684915" indent="0">
              <a:lnSpc>
                <a:spcPts val="1350"/>
              </a:lnSpc>
              <a:spcBef>
                <a:spcPts val="0"/>
              </a:spcBef>
              <a:buNone/>
              <a:defRPr sz="1100"/>
            </a:lvl3pPr>
            <a:lvl4pPr marL="1027368" indent="0">
              <a:lnSpc>
                <a:spcPts val="1350"/>
              </a:lnSpc>
              <a:spcBef>
                <a:spcPts val="0"/>
              </a:spcBef>
              <a:buNone/>
              <a:defRPr sz="1100"/>
            </a:lvl4pPr>
            <a:lvl5pPr marL="1369824" indent="0">
              <a:lnSpc>
                <a:spcPts val="1350"/>
              </a:lnSpc>
              <a:spcBef>
                <a:spcPts val="0"/>
              </a:spcBef>
              <a:buNone/>
              <a:defRPr sz="1100"/>
            </a:lvl5pPr>
          </a:lstStyle>
          <a:p>
            <a:pPr lvl="0"/>
            <a:r>
              <a:rPr lang="en-US"/>
              <a:t>This is your Secondary Title</a:t>
            </a:r>
          </a:p>
        </p:txBody>
      </p:sp>
      <p:sp>
        <p:nvSpPr>
          <p:cNvPr id="12" name="Text Placeholder 6">
            <a:extLst>
              <a:ext uri="{FF2B5EF4-FFF2-40B4-BE49-F238E27FC236}">
                <a16:creationId xmlns="" xmlns:a16="http://schemas.microsoft.com/office/drawing/2014/main" id="{FD2406EE-A554-5348-AE6D-4D8B343E6201}"/>
              </a:ext>
            </a:extLst>
          </p:cNvPr>
          <p:cNvSpPr>
            <a:spLocks noGrp="1"/>
          </p:cNvSpPr>
          <p:nvPr>
            <p:ph type="body" sz="quarter" idx="15" hasCustomPrompt="1"/>
          </p:nvPr>
        </p:nvSpPr>
        <p:spPr>
          <a:xfrm>
            <a:off x="233367" y="2681929"/>
            <a:ext cx="2813975" cy="2130578"/>
          </a:xfrm>
          <a:prstGeom prst="rect">
            <a:avLst/>
          </a:prstGeom>
        </p:spPr>
        <p:txBody>
          <a:bodyPr tIns="0" rIns="0" bIns="0" numCol="1">
            <a:noAutofit/>
          </a:bodyPr>
          <a:lstStyle>
            <a:lvl1pPr marL="128465" indent="-128465">
              <a:lnSpc>
                <a:spcPct val="100000"/>
              </a:lnSpc>
              <a:spcBef>
                <a:spcPts val="0"/>
              </a:spcBef>
              <a:spcAft>
                <a:spcPts val="450"/>
              </a:spcAft>
              <a:buFont typeface="Arial" panose="020B0604020202020204" pitchFamily="34" charset="0"/>
              <a:buChar char="•"/>
              <a:defRPr sz="1100" b="0">
                <a:solidFill>
                  <a:schemeClr val="tx1"/>
                </a:solidFill>
              </a:defRPr>
            </a:lvl1pPr>
            <a:lvl2pPr marL="342434" indent="0">
              <a:lnSpc>
                <a:spcPts val="1350"/>
              </a:lnSpc>
              <a:spcBef>
                <a:spcPts val="0"/>
              </a:spcBef>
              <a:buNone/>
              <a:defRPr sz="1100"/>
            </a:lvl2pPr>
            <a:lvl3pPr marL="684915" indent="0">
              <a:lnSpc>
                <a:spcPts val="1350"/>
              </a:lnSpc>
              <a:spcBef>
                <a:spcPts val="0"/>
              </a:spcBef>
              <a:buNone/>
              <a:defRPr sz="1100"/>
            </a:lvl3pPr>
            <a:lvl4pPr marL="1027368" indent="0">
              <a:lnSpc>
                <a:spcPts val="1350"/>
              </a:lnSpc>
              <a:spcBef>
                <a:spcPts val="0"/>
              </a:spcBef>
              <a:buNone/>
              <a:defRPr sz="1100"/>
            </a:lvl4pPr>
            <a:lvl5pPr marL="1369824" indent="0">
              <a:lnSpc>
                <a:spcPts val="1350"/>
              </a:lnSpc>
              <a:spcBef>
                <a:spcPts val="0"/>
              </a:spcBef>
              <a:buNone/>
              <a:defRPr sz="1100"/>
            </a:lvl5pPr>
          </a:lstStyle>
          <a:p>
            <a:pPr lvl="0"/>
            <a:r>
              <a:rPr lang="en-US"/>
              <a:t>This is your Secondary text. </a:t>
            </a:r>
          </a:p>
        </p:txBody>
      </p:sp>
      <p:sp>
        <p:nvSpPr>
          <p:cNvPr id="20" name="Footer Placeholder 8">
            <a:extLst>
              <a:ext uri="{FF2B5EF4-FFF2-40B4-BE49-F238E27FC236}">
                <a16:creationId xmlns="" xmlns:a16="http://schemas.microsoft.com/office/drawing/2014/main" id="{E4ACE247-6DA5-F044-A880-12BDFE14907B}"/>
              </a:ext>
            </a:extLst>
          </p:cNvPr>
          <p:cNvSpPr>
            <a:spLocks noGrp="1"/>
          </p:cNvSpPr>
          <p:nvPr>
            <p:ph type="ftr" sz="quarter" idx="3"/>
          </p:nvPr>
        </p:nvSpPr>
        <p:spPr>
          <a:xfrm>
            <a:off x="5824538" y="4892251"/>
            <a:ext cx="3086100" cy="147098"/>
          </a:xfrm>
          <a:prstGeom prst="rect">
            <a:avLst/>
          </a:prstGeom>
        </p:spPr>
        <p:txBody>
          <a:bodyPr vert="horz" lIns="68519" tIns="34289" rIns="0" bIns="34289" rtlCol="0" anchor="ctr"/>
          <a:lstStyle>
            <a:lvl1pPr algn="r">
              <a:defRPr sz="600" b="1" spc="75" baseline="0">
                <a:solidFill>
                  <a:schemeClr val="tx1"/>
                </a:solidFill>
              </a:defRPr>
            </a:lvl1pPr>
          </a:lstStyle>
          <a:p>
            <a:r>
              <a:rPr lang="x-none">
                <a:solidFill>
                  <a:srgbClr val="34373F"/>
                </a:solidFill>
              </a:rPr>
              <a:t> </a:t>
            </a:r>
          </a:p>
        </p:txBody>
      </p:sp>
      <p:pic>
        <p:nvPicPr>
          <p:cNvPr id="14" name="Picture 13" descr="Takeda">
            <a:extLst>
              <a:ext uri="{FF2B5EF4-FFF2-40B4-BE49-F238E27FC236}">
                <a16:creationId xmlns="" xmlns:a16="http://schemas.microsoft.com/office/drawing/2014/main" id="{1397373C-4723-444D-99E3-0FBCAFDAD4F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09748" y="-1211"/>
            <a:ext cx="1272174" cy="705585"/>
          </a:xfrm>
          <a:prstGeom prst="rect">
            <a:avLst/>
          </a:prstGeom>
        </p:spPr>
      </p:pic>
      <p:sp>
        <p:nvSpPr>
          <p:cNvPr id="22" name="タイトル プレースホルダ 1">
            <a:extLst>
              <a:ext uri="{FF2B5EF4-FFF2-40B4-BE49-F238E27FC236}">
                <a16:creationId xmlns="" xmlns:a16="http://schemas.microsoft.com/office/drawing/2014/main" id="{1545CFCD-ABA6-1349-9917-1DDD2762CB59}"/>
              </a:ext>
            </a:extLst>
          </p:cNvPr>
          <p:cNvSpPr>
            <a:spLocks noGrp="1"/>
          </p:cNvSpPr>
          <p:nvPr>
            <p:ph type="title" hasCustomPrompt="1"/>
          </p:nvPr>
        </p:nvSpPr>
        <p:spPr>
          <a:xfrm>
            <a:off x="454559" y="121208"/>
            <a:ext cx="7455190" cy="51435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1" name="Rectangle 20">
            <a:extLst>
              <a:ext uri="{FF2B5EF4-FFF2-40B4-BE49-F238E27FC236}">
                <a16:creationId xmlns="" xmlns:a16="http://schemas.microsoft.com/office/drawing/2014/main" id="{97730F84-B57E-C441-B81C-A0677388FA64}"/>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19" tIns="34289" rIns="68519" bIns="34289" rtlCol="0" anchor="ctr"/>
          <a:lstStyle/>
          <a:p>
            <a:pPr algn="ctr" defTabSz="685103"/>
            <a:endParaRPr kumimoji="1" lang="x-none" sz="1400">
              <a:solidFill>
                <a:srgbClr val="E1242A"/>
              </a:solidFill>
            </a:endParaRPr>
          </a:p>
        </p:txBody>
      </p:sp>
      <p:sp>
        <p:nvSpPr>
          <p:cNvPr id="25" name="スライド番号プレースホルダ 5">
            <a:extLst>
              <a:ext uri="{FF2B5EF4-FFF2-40B4-BE49-F238E27FC236}">
                <a16:creationId xmlns="" xmlns:a16="http://schemas.microsoft.com/office/drawing/2014/main" id="{78815F79-70B9-A343-88C1-1B41F15106A1}"/>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3185"/>
            <a:fld id="{E9B57936-92EF-4126-AE48-1D9D36D15E98}" type="slidenum">
              <a:rPr lang="ja-JP" altLang="en-US" smtClean="0">
                <a:solidFill>
                  <a:srgbClr val="34373F"/>
                </a:solidFill>
              </a:rPr>
              <a:pPr defTabSz="913185"/>
              <a:t>‹Nº›</a:t>
            </a:fld>
            <a:endParaRPr lang="ja-JP" altLang="en-US">
              <a:solidFill>
                <a:srgbClr val="34373F"/>
              </a:solidFill>
            </a:endParaRPr>
          </a:p>
        </p:txBody>
      </p:sp>
      <p:sp>
        <p:nvSpPr>
          <p:cNvPr id="26" name="Text Placeholder 6">
            <a:extLst>
              <a:ext uri="{FF2B5EF4-FFF2-40B4-BE49-F238E27FC236}">
                <a16:creationId xmlns="" xmlns:a16="http://schemas.microsoft.com/office/drawing/2014/main" id="{6ACFB15D-3880-FB46-8B5A-E057FE4C9B56}"/>
              </a:ext>
            </a:extLst>
          </p:cNvPr>
          <p:cNvSpPr>
            <a:spLocks noGrp="1"/>
          </p:cNvSpPr>
          <p:nvPr>
            <p:ph type="body" sz="quarter" idx="16" hasCustomPrompt="1"/>
          </p:nvPr>
        </p:nvSpPr>
        <p:spPr>
          <a:xfrm>
            <a:off x="454559" y="4892253"/>
            <a:ext cx="5226261" cy="154210"/>
          </a:xfrm>
          <a:prstGeom prst="rect">
            <a:avLst/>
          </a:prstGeom>
        </p:spPr>
        <p:txBody>
          <a:bodyPr wrap="none" tIns="0" rIns="0" bIns="53959" numCol="1" anchor="ctr">
            <a:noAutofit/>
          </a:bodyPr>
          <a:lstStyle>
            <a:lvl1pPr marL="0" indent="0">
              <a:lnSpc>
                <a:spcPts val="1200"/>
              </a:lnSpc>
              <a:spcBef>
                <a:spcPts val="0"/>
              </a:spcBef>
              <a:spcAft>
                <a:spcPts val="450"/>
              </a:spcAft>
              <a:buFont typeface="Arial" panose="020B0604020202020204" pitchFamily="34" charset="0"/>
              <a:buNone/>
              <a:defRPr sz="600" b="0">
                <a:solidFill>
                  <a:schemeClr val="accent3"/>
                </a:solidFill>
              </a:defRPr>
            </a:lvl1pPr>
            <a:lvl2pPr marL="342434" indent="0">
              <a:lnSpc>
                <a:spcPts val="1350"/>
              </a:lnSpc>
              <a:spcBef>
                <a:spcPts val="0"/>
              </a:spcBef>
              <a:buNone/>
              <a:defRPr sz="1100"/>
            </a:lvl2pPr>
            <a:lvl3pPr marL="684915" indent="0">
              <a:lnSpc>
                <a:spcPts val="1350"/>
              </a:lnSpc>
              <a:spcBef>
                <a:spcPts val="0"/>
              </a:spcBef>
              <a:buNone/>
              <a:defRPr sz="1100"/>
            </a:lvl3pPr>
            <a:lvl4pPr marL="1027368" indent="0">
              <a:lnSpc>
                <a:spcPts val="1350"/>
              </a:lnSpc>
              <a:spcBef>
                <a:spcPts val="0"/>
              </a:spcBef>
              <a:buNone/>
              <a:defRPr sz="1100"/>
            </a:lvl4pPr>
            <a:lvl5pPr marL="1369824" indent="0">
              <a:lnSpc>
                <a:spcPts val="1350"/>
              </a:lnSpc>
              <a:spcBef>
                <a:spcPts val="0"/>
              </a:spcBef>
              <a:buNone/>
              <a:defRPr sz="1100"/>
            </a:lvl5pPr>
          </a:lstStyle>
          <a:p>
            <a:pPr lvl="0"/>
            <a:r>
              <a:rPr lang="en-US"/>
              <a:t>Private and confidential. For internal use only.</a:t>
            </a:r>
          </a:p>
        </p:txBody>
      </p:sp>
      <p:sp>
        <p:nvSpPr>
          <p:cNvPr id="17" name="Text Placeholder 2">
            <a:extLst>
              <a:ext uri="{FF2B5EF4-FFF2-40B4-BE49-F238E27FC236}">
                <a16:creationId xmlns="" xmlns:a16="http://schemas.microsoft.com/office/drawing/2014/main" id="{EF3CD883-F623-E54C-A27A-38B7EB957052}"/>
              </a:ext>
            </a:extLst>
          </p:cNvPr>
          <p:cNvSpPr>
            <a:spLocks noGrp="1"/>
          </p:cNvSpPr>
          <p:nvPr>
            <p:ph type="body" sz="quarter" idx="20" hasCustomPrompt="1"/>
          </p:nvPr>
        </p:nvSpPr>
        <p:spPr>
          <a:xfrm>
            <a:off x="233363" y="1118532"/>
            <a:ext cx="2813974" cy="1098718"/>
          </a:xfrm>
        </p:spPr>
        <p:txBody>
          <a:bodyPr tIns="0" rIns="0" bIns="0" numCol="1" spcCol="94418">
            <a:noAutofit/>
          </a:bodyPr>
          <a:lstStyle>
            <a:lvl1pPr marL="0" indent="0">
              <a:lnSpc>
                <a:spcPct val="100000"/>
              </a:lnSpc>
              <a:spcBef>
                <a:spcPts val="0"/>
              </a:spcBef>
              <a:buNone/>
              <a:defRPr sz="1200" b="1"/>
            </a:lvl1pPr>
            <a:lvl2pPr marL="342434" indent="0">
              <a:buNone/>
              <a:defRPr sz="1400" b="1"/>
            </a:lvl2pPr>
            <a:lvl3pPr marL="684915" indent="0">
              <a:buNone/>
              <a:defRPr sz="1400" b="1"/>
            </a:lvl3pPr>
            <a:lvl4pPr marL="1027368" indent="0">
              <a:buNone/>
              <a:defRPr sz="1400" b="1"/>
            </a:lvl4pPr>
            <a:lvl5pPr marL="1369824" indent="0">
              <a:buNone/>
              <a:defRPr sz="1400" b="1"/>
            </a:lvl5pPr>
          </a:lstStyle>
          <a:p>
            <a:pPr lvl="0"/>
            <a:r>
              <a:rPr lang="en-US"/>
              <a:t>This is your Primary Text.</a:t>
            </a:r>
            <a:endParaRPr lang="x-none"/>
          </a:p>
        </p:txBody>
      </p:sp>
      <p:sp>
        <p:nvSpPr>
          <p:cNvPr id="18" name="Text Placeholder 6">
            <a:extLst>
              <a:ext uri="{FF2B5EF4-FFF2-40B4-BE49-F238E27FC236}">
                <a16:creationId xmlns="" xmlns:a16="http://schemas.microsoft.com/office/drawing/2014/main" id="{B2D601E3-CC68-7845-AAF4-3AD141198B4E}"/>
              </a:ext>
            </a:extLst>
          </p:cNvPr>
          <p:cNvSpPr>
            <a:spLocks noGrp="1"/>
          </p:cNvSpPr>
          <p:nvPr>
            <p:ph type="body" sz="quarter" idx="21" hasCustomPrompt="1"/>
          </p:nvPr>
        </p:nvSpPr>
        <p:spPr>
          <a:xfrm>
            <a:off x="233363" y="820327"/>
            <a:ext cx="2813974" cy="204590"/>
          </a:xfrm>
        </p:spPr>
        <p:txBody>
          <a:bodyPr tIns="0" rIns="0" bIns="0" numCol="1">
            <a:noAutofit/>
          </a:bodyPr>
          <a:lstStyle>
            <a:lvl1pPr marL="0" indent="0">
              <a:lnSpc>
                <a:spcPct val="100000"/>
              </a:lnSpc>
              <a:spcBef>
                <a:spcPts val="0"/>
              </a:spcBef>
              <a:spcAft>
                <a:spcPts val="450"/>
              </a:spcAft>
              <a:buNone/>
              <a:defRPr sz="1500" b="1">
                <a:solidFill>
                  <a:schemeClr val="accent1"/>
                </a:solidFill>
              </a:defRPr>
            </a:lvl1pPr>
            <a:lvl2pPr marL="342434" indent="0">
              <a:lnSpc>
                <a:spcPts val="1350"/>
              </a:lnSpc>
              <a:spcBef>
                <a:spcPts val="0"/>
              </a:spcBef>
              <a:buNone/>
              <a:defRPr sz="1100"/>
            </a:lvl2pPr>
            <a:lvl3pPr marL="684915" indent="0">
              <a:lnSpc>
                <a:spcPts val="1350"/>
              </a:lnSpc>
              <a:spcBef>
                <a:spcPts val="0"/>
              </a:spcBef>
              <a:buNone/>
              <a:defRPr sz="1100"/>
            </a:lvl3pPr>
            <a:lvl4pPr marL="1027368" indent="0">
              <a:lnSpc>
                <a:spcPts val="1350"/>
              </a:lnSpc>
              <a:spcBef>
                <a:spcPts val="0"/>
              </a:spcBef>
              <a:buNone/>
              <a:defRPr sz="1100"/>
            </a:lvl4pPr>
            <a:lvl5pPr marL="1369824" indent="0">
              <a:lnSpc>
                <a:spcPts val="1350"/>
              </a:lnSpc>
              <a:spcBef>
                <a:spcPts val="0"/>
              </a:spcBef>
              <a:buNone/>
              <a:defRPr sz="1100"/>
            </a:lvl5pPr>
          </a:lstStyle>
          <a:p>
            <a:pPr lvl="0"/>
            <a:r>
              <a:rPr lang="en-US"/>
              <a:t>This is your Primary Title</a:t>
            </a:r>
          </a:p>
        </p:txBody>
      </p:sp>
    </p:spTree>
    <p:extLst>
      <p:ext uri="{BB962C8B-B14F-4D97-AF65-F5344CB8AC3E}">
        <p14:creationId xmlns:p14="http://schemas.microsoft.com/office/powerpoint/2010/main" val="848837734"/>
      </p:ext>
    </p:extLst>
  </p:cSld>
  <p:clrMapOvr>
    <a:masterClrMapping/>
  </p:clrMapOvr>
  <p:transition spd="slow">
    <p:push dir="u"/>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Advanced 1/2 Image (Full Bleed)">
    <p:spTree>
      <p:nvGrpSpPr>
        <p:cNvPr id="1" name=""/>
        <p:cNvGrpSpPr/>
        <p:nvPr/>
      </p:nvGrpSpPr>
      <p:grpSpPr>
        <a:xfrm>
          <a:off x="0" y="0"/>
          <a:ext cx="0" cy="0"/>
          <a:chOff x="0" y="0"/>
          <a:chExt cx="0" cy="0"/>
        </a:xfrm>
      </p:grpSpPr>
      <p:sp>
        <p:nvSpPr>
          <p:cNvPr id="13" name="Picture Placeholder 9">
            <a:extLst>
              <a:ext uri="{FF2B5EF4-FFF2-40B4-BE49-F238E27FC236}">
                <a16:creationId xmlns="" xmlns:a16="http://schemas.microsoft.com/office/drawing/2014/main" id="{DA0F537B-2380-C640-8119-936AD7786464}"/>
              </a:ext>
            </a:extLst>
          </p:cNvPr>
          <p:cNvSpPr>
            <a:spLocks noGrp="1"/>
          </p:cNvSpPr>
          <p:nvPr>
            <p:ph type="pic" sz="quarter" idx="18" hasCustomPrompt="1"/>
          </p:nvPr>
        </p:nvSpPr>
        <p:spPr>
          <a:xfrm>
            <a:off x="4639091" y="-4119"/>
            <a:ext cx="4518288" cy="5147621"/>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4384"/>
              <a:gd name="connsiteY0" fmla="*/ 0 h 6857810"/>
              <a:gd name="connsiteX1" fmla="*/ 6015601 w 6024384"/>
              <a:gd name="connsiteY1" fmla="*/ 1730351 h 6857810"/>
              <a:gd name="connsiteX2" fmla="*/ 6024384 w 6024384"/>
              <a:gd name="connsiteY2" fmla="*/ 6857810 h 6857810"/>
              <a:gd name="connsiteX3" fmla="*/ 583404 w 6024384"/>
              <a:gd name="connsiteY3" fmla="*/ 6847589 h 6857810"/>
              <a:gd name="connsiteX4" fmla="*/ 3682 w 6024384"/>
              <a:gd name="connsiteY4" fmla="*/ 6267867 h 6857810"/>
              <a:gd name="connsiteX5" fmla="*/ 0 w 6024384"/>
              <a:gd name="connsiteY5" fmla="*/ 0 h 6857810"/>
              <a:gd name="connsiteX0" fmla="*/ 0 w 6024384"/>
              <a:gd name="connsiteY0" fmla="*/ 5684 h 6863494"/>
              <a:gd name="connsiteX1" fmla="*/ 6002349 w 6024384"/>
              <a:gd name="connsiteY1" fmla="*/ 0 h 6863494"/>
              <a:gd name="connsiteX2" fmla="*/ 6024384 w 6024384"/>
              <a:gd name="connsiteY2" fmla="*/ 6863494 h 6863494"/>
              <a:gd name="connsiteX3" fmla="*/ 583404 w 6024384"/>
              <a:gd name="connsiteY3" fmla="*/ 6853273 h 6863494"/>
              <a:gd name="connsiteX4" fmla="*/ 3682 w 6024384"/>
              <a:gd name="connsiteY4" fmla="*/ 6273551 h 6863494"/>
              <a:gd name="connsiteX5" fmla="*/ 0 w 6024384"/>
              <a:gd name="connsiteY5" fmla="*/ 5684 h 6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24384" h="6863494">
                <a:moveTo>
                  <a:pt x="0" y="5684"/>
                </a:moveTo>
                <a:lnTo>
                  <a:pt x="6002349" y="0"/>
                </a:lnTo>
                <a:cubicBezTo>
                  <a:pt x="6003254" y="2146807"/>
                  <a:pt x="6023479" y="4716687"/>
                  <a:pt x="6024384" y="6863494"/>
                </a:cubicBezTo>
                <a:lnTo>
                  <a:pt x="583404" y="6853273"/>
                </a:lnTo>
                <a:cubicBezTo>
                  <a:pt x="263232" y="6853273"/>
                  <a:pt x="3682" y="6593723"/>
                  <a:pt x="3682" y="6273551"/>
                </a:cubicBezTo>
                <a:cubicBezTo>
                  <a:pt x="-1963" y="4751114"/>
                  <a:pt x="5645" y="1528121"/>
                  <a:pt x="0" y="5684"/>
                </a:cubicBezTo>
                <a:close/>
              </a:path>
            </a:pathLst>
          </a:custGeom>
          <a:noFill/>
        </p:spPr>
        <p:txBody>
          <a:bodyPr>
            <a:normAutofit/>
          </a:bodyPr>
          <a:lstStyle>
            <a:lvl1pPr marL="0" indent="0">
              <a:buNone/>
              <a:defRPr sz="1100">
                <a:solidFill>
                  <a:schemeClr val="tx1"/>
                </a:solidFill>
              </a:defRPr>
            </a:lvl1pPr>
          </a:lstStyle>
          <a:p>
            <a:r>
              <a:rPr lang="x-none"/>
              <a:t>Insert Photo</a:t>
            </a:r>
          </a:p>
        </p:txBody>
      </p:sp>
      <p:sp>
        <p:nvSpPr>
          <p:cNvPr id="7" name="Text Placeholder 6">
            <a:extLst>
              <a:ext uri="{FF2B5EF4-FFF2-40B4-BE49-F238E27FC236}">
                <a16:creationId xmlns="" xmlns:a16="http://schemas.microsoft.com/office/drawing/2014/main" id="{65925D82-457F-D84D-B8DF-D8ADFD7E71DF}"/>
              </a:ext>
            </a:extLst>
          </p:cNvPr>
          <p:cNvSpPr>
            <a:spLocks noGrp="1"/>
          </p:cNvSpPr>
          <p:nvPr>
            <p:ph type="body" sz="quarter" idx="14" hasCustomPrompt="1"/>
          </p:nvPr>
        </p:nvSpPr>
        <p:spPr>
          <a:xfrm>
            <a:off x="233362" y="2383723"/>
            <a:ext cx="4281488" cy="204590"/>
          </a:xfrm>
          <a:prstGeom prst="rect">
            <a:avLst/>
          </a:prstGeom>
        </p:spPr>
        <p:txBody>
          <a:bodyPr tIns="0" rIns="0" bIns="0" numCol="1">
            <a:noAutofit/>
          </a:bodyPr>
          <a:lstStyle>
            <a:lvl1pPr marL="0" indent="0">
              <a:lnSpc>
                <a:spcPct val="100000"/>
              </a:lnSpc>
              <a:spcBef>
                <a:spcPts val="0"/>
              </a:spcBef>
              <a:spcAft>
                <a:spcPts val="450"/>
              </a:spcAft>
              <a:buNone/>
              <a:defRPr sz="1400" b="1">
                <a:solidFill>
                  <a:schemeClr val="accent1"/>
                </a:solidFill>
              </a:defRPr>
            </a:lvl1pPr>
            <a:lvl2pPr marL="342434" indent="0">
              <a:lnSpc>
                <a:spcPts val="1350"/>
              </a:lnSpc>
              <a:spcBef>
                <a:spcPts val="0"/>
              </a:spcBef>
              <a:buNone/>
              <a:defRPr sz="1100"/>
            </a:lvl2pPr>
            <a:lvl3pPr marL="684915" indent="0">
              <a:lnSpc>
                <a:spcPts val="1350"/>
              </a:lnSpc>
              <a:spcBef>
                <a:spcPts val="0"/>
              </a:spcBef>
              <a:buNone/>
              <a:defRPr sz="1100"/>
            </a:lvl3pPr>
            <a:lvl4pPr marL="1027368" indent="0">
              <a:lnSpc>
                <a:spcPts val="1350"/>
              </a:lnSpc>
              <a:spcBef>
                <a:spcPts val="0"/>
              </a:spcBef>
              <a:buNone/>
              <a:defRPr sz="1100"/>
            </a:lvl4pPr>
            <a:lvl5pPr marL="1369824" indent="0">
              <a:lnSpc>
                <a:spcPts val="1350"/>
              </a:lnSpc>
              <a:spcBef>
                <a:spcPts val="0"/>
              </a:spcBef>
              <a:buNone/>
              <a:defRPr sz="1100"/>
            </a:lvl5pPr>
          </a:lstStyle>
          <a:p>
            <a:pPr lvl="0"/>
            <a:r>
              <a:rPr lang="en-US"/>
              <a:t>This is your Secondary Title</a:t>
            </a:r>
          </a:p>
        </p:txBody>
      </p:sp>
      <p:sp>
        <p:nvSpPr>
          <p:cNvPr id="12" name="Text Placeholder 6">
            <a:extLst>
              <a:ext uri="{FF2B5EF4-FFF2-40B4-BE49-F238E27FC236}">
                <a16:creationId xmlns="" xmlns:a16="http://schemas.microsoft.com/office/drawing/2014/main" id="{FD2406EE-A554-5348-AE6D-4D8B343E6201}"/>
              </a:ext>
            </a:extLst>
          </p:cNvPr>
          <p:cNvSpPr>
            <a:spLocks noGrp="1"/>
          </p:cNvSpPr>
          <p:nvPr>
            <p:ph type="body" sz="quarter" idx="15" hasCustomPrompt="1"/>
          </p:nvPr>
        </p:nvSpPr>
        <p:spPr>
          <a:xfrm>
            <a:off x="233362" y="2681930"/>
            <a:ext cx="4281488" cy="2144715"/>
          </a:xfrm>
          <a:prstGeom prst="rect">
            <a:avLst/>
          </a:prstGeom>
        </p:spPr>
        <p:txBody>
          <a:bodyPr tIns="0" rIns="0" bIns="0" numCol="1">
            <a:noAutofit/>
          </a:bodyPr>
          <a:lstStyle>
            <a:lvl1pPr marL="128465" indent="-128465">
              <a:lnSpc>
                <a:spcPct val="100000"/>
              </a:lnSpc>
              <a:spcBef>
                <a:spcPts val="0"/>
              </a:spcBef>
              <a:spcAft>
                <a:spcPts val="450"/>
              </a:spcAft>
              <a:buFont typeface="Arial" panose="020B0604020202020204" pitchFamily="34" charset="0"/>
              <a:buChar char="•"/>
              <a:defRPr sz="1100" b="0">
                <a:solidFill>
                  <a:schemeClr val="tx1"/>
                </a:solidFill>
              </a:defRPr>
            </a:lvl1pPr>
            <a:lvl2pPr marL="342434" indent="0">
              <a:lnSpc>
                <a:spcPts val="1350"/>
              </a:lnSpc>
              <a:spcBef>
                <a:spcPts val="0"/>
              </a:spcBef>
              <a:buNone/>
              <a:defRPr sz="1100"/>
            </a:lvl2pPr>
            <a:lvl3pPr marL="684915" indent="0">
              <a:lnSpc>
                <a:spcPts val="1350"/>
              </a:lnSpc>
              <a:spcBef>
                <a:spcPts val="0"/>
              </a:spcBef>
              <a:buNone/>
              <a:defRPr sz="1100"/>
            </a:lvl3pPr>
            <a:lvl4pPr marL="1027368" indent="0">
              <a:lnSpc>
                <a:spcPts val="1350"/>
              </a:lnSpc>
              <a:spcBef>
                <a:spcPts val="0"/>
              </a:spcBef>
              <a:buNone/>
              <a:defRPr sz="1100"/>
            </a:lvl4pPr>
            <a:lvl5pPr marL="1369824" indent="0">
              <a:lnSpc>
                <a:spcPts val="1350"/>
              </a:lnSpc>
              <a:spcBef>
                <a:spcPts val="0"/>
              </a:spcBef>
              <a:buNone/>
              <a:defRPr sz="1100"/>
            </a:lvl5pPr>
          </a:lstStyle>
          <a:p>
            <a:pPr lvl="0"/>
            <a:r>
              <a:rPr lang="en-US"/>
              <a:t>This is your Secondary text. </a:t>
            </a:r>
          </a:p>
        </p:txBody>
      </p:sp>
      <p:sp>
        <p:nvSpPr>
          <p:cNvPr id="17" name="タイトル プレースホルダ 1">
            <a:extLst>
              <a:ext uri="{FF2B5EF4-FFF2-40B4-BE49-F238E27FC236}">
                <a16:creationId xmlns="" xmlns:a16="http://schemas.microsoft.com/office/drawing/2014/main" id="{86D6FEA8-06E4-474A-8491-CD1DDAE7D0D7}"/>
              </a:ext>
            </a:extLst>
          </p:cNvPr>
          <p:cNvSpPr>
            <a:spLocks noGrp="1"/>
          </p:cNvSpPr>
          <p:nvPr>
            <p:ph type="title" hasCustomPrompt="1"/>
          </p:nvPr>
        </p:nvSpPr>
        <p:spPr>
          <a:xfrm>
            <a:off x="454559" y="121208"/>
            <a:ext cx="4060292" cy="51435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 xmlns:a16="http://schemas.microsoft.com/office/drawing/2014/main" id="{CEDBCF76-3461-2245-8BB1-FA50AE27F6CA}"/>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19" tIns="34289" rIns="68519" bIns="34289" rtlCol="0" anchor="ctr"/>
          <a:lstStyle/>
          <a:p>
            <a:pPr algn="ctr" defTabSz="685103"/>
            <a:endParaRPr kumimoji="1" lang="x-none" sz="1400">
              <a:solidFill>
                <a:srgbClr val="E1242A"/>
              </a:solidFill>
            </a:endParaRPr>
          </a:p>
        </p:txBody>
      </p:sp>
      <p:sp>
        <p:nvSpPr>
          <p:cNvPr id="22" name="スライド番号プレースホルダ 5">
            <a:extLst>
              <a:ext uri="{FF2B5EF4-FFF2-40B4-BE49-F238E27FC236}">
                <a16:creationId xmlns="" xmlns:a16="http://schemas.microsoft.com/office/drawing/2014/main" id="{FB98B4FE-9AC1-D142-89B5-4D3791685BC1}"/>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3185"/>
            <a:fld id="{E9B57936-92EF-4126-AE48-1D9D36D15E98}" type="slidenum">
              <a:rPr lang="ja-JP" altLang="en-US" smtClean="0">
                <a:solidFill>
                  <a:srgbClr val="34373F"/>
                </a:solidFill>
              </a:rPr>
              <a:pPr defTabSz="913185"/>
              <a:t>‹Nº›</a:t>
            </a:fld>
            <a:endParaRPr lang="ja-JP" altLang="en-US">
              <a:solidFill>
                <a:srgbClr val="34373F"/>
              </a:solidFill>
            </a:endParaRPr>
          </a:p>
        </p:txBody>
      </p:sp>
      <p:sp>
        <p:nvSpPr>
          <p:cNvPr id="23" name="Text Placeholder 6">
            <a:extLst>
              <a:ext uri="{FF2B5EF4-FFF2-40B4-BE49-F238E27FC236}">
                <a16:creationId xmlns="" xmlns:a16="http://schemas.microsoft.com/office/drawing/2014/main" id="{7D5A74AA-F0D3-9243-967D-FEA6F7A20BC7}"/>
              </a:ext>
            </a:extLst>
          </p:cNvPr>
          <p:cNvSpPr>
            <a:spLocks noGrp="1"/>
          </p:cNvSpPr>
          <p:nvPr>
            <p:ph type="body" sz="quarter" idx="16" hasCustomPrompt="1"/>
          </p:nvPr>
        </p:nvSpPr>
        <p:spPr>
          <a:xfrm>
            <a:off x="454558" y="4892253"/>
            <a:ext cx="4060292" cy="154210"/>
          </a:xfrm>
          <a:prstGeom prst="rect">
            <a:avLst/>
          </a:prstGeom>
        </p:spPr>
        <p:txBody>
          <a:bodyPr wrap="none" tIns="0" rIns="0" bIns="53959" numCol="1" anchor="ctr">
            <a:noAutofit/>
          </a:bodyPr>
          <a:lstStyle>
            <a:lvl1pPr marL="0" indent="0">
              <a:lnSpc>
                <a:spcPts val="1200"/>
              </a:lnSpc>
              <a:spcBef>
                <a:spcPts val="0"/>
              </a:spcBef>
              <a:spcAft>
                <a:spcPts val="450"/>
              </a:spcAft>
              <a:buFont typeface="Arial" panose="020B0604020202020204" pitchFamily="34" charset="0"/>
              <a:buNone/>
              <a:defRPr sz="600" b="0">
                <a:solidFill>
                  <a:schemeClr val="accent3"/>
                </a:solidFill>
              </a:defRPr>
            </a:lvl1pPr>
            <a:lvl2pPr marL="342434" indent="0">
              <a:lnSpc>
                <a:spcPts val="1350"/>
              </a:lnSpc>
              <a:spcBef>
                <a:spcPts val="0"/>
              </a:spcBef>
              <a:buNone/>
              <a:defRPr sz="1100"/>
            </a:lvl2pPr>
            <a:lvl3pPr marL="684915" indent="0">
              <a:lnSpc>
                <a:spcPts val="1350"/>
              </a:lnSpc>
              <a:spcBef>
                <a:spcPts val="0"/>
              </a:spcBef>
              <a:buNone/>
              <a:defRPr sz="1100"/>
            </a:lvl3pPr>
            <a:lvl4pPr marL="1027368" indent="0">
              <a:lnSpc>
                <a:spcPts val="1350"/>
              </a:lnSpc>
              <a:spcBef>
                <a:spcPts val="0"/>
              </a:spcBef>
              <a:buNone/>
              <a:defRPr sz="1100"/>
            </a:lvl4pPr>
            <a:lvl5pPr marL="1369824" indent="0">
              <a:lnSpc>
                <a:spcPts val="1350"/>
              </a:lnSpc>
              <a:spcBef>
                <a:spcPts val="0"/>
              </a:spcBef>
              <a:buNone/>
              <a:defRPr sz="1100"/>
            </a:lvl5pPr>
          </a:lstStyle>
          <a:p>
            <a:pPr lvl="0"/>
            <a:r>
              <a:rPr lang="en-US"/>
              <a:t>Private and confidential. For internal use only.</a:t>
            </a:r>
          </a:p>
        </p:txBody>
      </p:sp>
      <p:sp>
        <p:nvSpPr>
          <p:cNvPr id="19" name="Text Placeholder 2">
            <a:extLst>
              <a:ext uri="{FF2B5EF4-FFF2-40B4-BE49-F238E27FC236}">
                <a16:creationId xmlns="" xmlns:a16="http://schemas.microsoft.com/office/drawing/2014/main" id="{D16C870C-B0F9-5A43-81FD-66BD75CC33C7}"/>
              </a:ext>
            </a:extLst>
          </p:cNvPr>
          <p:cNvSpPr>
            <a:spLocks noGrp="1"/>
          </p:cNvSpPr>
          <p:nvPr>
            <p:ph type="body" sz="quarter" idx="20" hasCustomPrompt="1"/>
          </p:nvPr>
        </p:nvSpPr>
        <p:spPr>
          <a:xfrm>
            <a:off x="233367" y="1118532"/>
            <a:ext cx="4278665" cy="1098718"/>
          </a:xfrm>
        </p:spPr>
        <p:txBody>
          <a:bodyPr tIns="0" rIns="0" bIns="0" numCol="1" spcCol="94418">
            <a:noAutofit/>
          </a:bodyPr>
          <a:lstStyle>
            <a:lvl1pPr marL="0" indent="0">
              <a:lnSpc>
                <a:spcPct val="100000"/>
              </a:lnSpc>
              <a:spcBef>
                <a:spcPts val="0"/>
              </a:spcBef>
              <a:buNone/>
              <a:defRPr sz="1200" b="1"/>
            </a:lvl1pPr>
            <a:lvl2pPr marL="342434" indent="0">
              <a:buNone/>
              <a:defRPr sz="1400" b="1"/>
            </a:lvl2pPr>
            <a:lvl3pPr marL="684915" indent="0">
              <a:buNone/>
              <a:defRPr sz="1400" b="1"/>
            </a:lvl3pPr>
            <a:lvl4pPr marL="1027368" indent="0">
              <a:buNone/>
              <a:defRPr sz="1400" b="1"/>
            </a:lvl4pPr>
            <a:lvl5pPr marL="1369824" indent="0">
              <a:buNone/>
              <a:defRPr sz="1400" b="1"/>
            </a:lvl5pPr>
          </a:lstStyle>
          <a:p>
            <a:pPr lvl="0"/>
            <a:r>
              <a:rPr lang="en-US"/>
              <a:t>This is your Primary Text.</a:t>
            </a:r>
            <a:endParaRPr lang="x-none"/>
          </a:p>
        </p:txBody>
      </p:sp>
      <p:sp>
        <p:nvSpPr>
          <p:cNvPr id="20" name="Text Placeholder 6">
            <a:extLst>
              <a:ext uri="{FF2B5EF4-FFF2-40B4-BE49-F238E27FC236}">
                <a16:creationId xmlns="" xmlns:a16="http://schemas.microsoft.com/office/drawing/2014/main" id="{C64E591A-1A88-9244-AC81-5B42BFE347C0}"/>
              </a:ext>
            </a:extLst>
          </p:cNvPr>
          <p:cNvSpPr>
            <a:spLocks noGrp="1"/>
          </p:cNvSpPr>
          <p:nvPr>
            <p:ph type="body" sz="quarter" idx="21" hasCustomPrompt="1"/>
          </p:nvPr>
        </p:nvSpPr>
        <p:spPr>
          <a:xfrm>
            <a:off x="233367" y="820327"/>
            <a:ext cx="4278665" cy="204590"/>
          </a:xfrm>
        </p:spPr>
        <p:txBody>
          <a:bodyPr tIns="0" rIns="0" bIns="0" numCol="1">
            <a:noAutofit/>
          </a:bodyPr>
          <a:lstStyle>
            <a:lvl1pPr marL="0" indent="0">
              <a:lnSpc>
                <a:spcPct val="100000"/>
              </a:lnSpc>
              <a:spcBef>
                <a:spcPts val="0"/>
              </a:spcBef>
              <a:spcAft>
                <a:spcPts val="450"/>
              </a:spcAft>
              <a:buNone/>
              <a:defRPr sz="1500" b="1">
                <a:solidFill>
                  <a:schemeClr val="accent1"/>
                </a:solidFill>
              </a:defRPr>
            </a:lvl1pPr>
            <a:lvl2pPr marL="342434" indent="0">
              <a:lnSpc>
                <a:spcPts val="1350"/>
              </a:lnSpc>
              <a:spcBef>
                <a:spcPts val="0"/>
              </a:spcBef>
              <a:buNone/>
              <a:defRPr sz="1100"/>
            </a:lvl2pPr>
            <a:lvl3pPr marL="684915" indent="0">
              <a:lnSpc>
                <a:spcPts val="1350"/>
              </a:lnSpc>
              <a:spcBef>
                <a:spcPts val="0"/>
              </a:spcBef>
              <a:buNone/>
              <a:defRPr sz="1100"/>
            </a:lvl3pPr>
            <a:lvl4pPr marL="1027368" indent="0">
              <a:lnSpc>
                <a:spcPts val="1350"/>
              </a:lnSpc>
              <a:spcBef>
                <a:spcPts val="0"/>
              </a:spcBef>
              <a:buNone/>
              <a:defRPr sz="1100"/>
            </a:lvl4pPr>
            <a:lvl5pPr marL="1369824" indent="0">
              <a:lnSpc>
                <a:spcPts val="1350"/>
              </a:lnSpc>
              <a:spcBef>
                <a:spcPts val="0"/>
              </a:spcBef>
              <a:buNone/>
              <a:defRPr sz="1100"/>
            </a:lvl5pPr>
          </a:lstStyle>
          <a:p>
            <a:pPr lvl="0"/>
            <a:r>
              <a:rPr lang="en-US"/>
              <a:t>This is your Primary Title</a:t>
            </a:r>
          </a:p>
        </p:txBody>
      </p:sp>
    </p:spTree>
    <p:extLst>
      <p:ext uri="{BB962C8B-B14F-4D97-AF65-F5344CB8AC3E}">
        <p14:creationId xmlns:p14="http://schemas.microsoft.com/office/powerpoint/2010/main" val="1233400686"/>
      </p:ext>
    </p:extLst>
  </p:cSld>
  <p:clrMapOvr>
    <a:masterClrMapping/>
  </p:clrMapOvr>
  <p:transition spd="slow">
    <p:push dir="u"/>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792291" y="3600451"/>
            <a:ext cx="5486400" cy="425054"/>
          </a:xfrm>
        </p:spPr>
        <p:txBody>
          <a:bodyPr anchor="b"/>
          <a:lstStyle>
            <a:lvl1pPr algn="l">
              <a:defRPr sz="2000" b="1"/>
            </a:lvl1pPr>
          </a:lstStyle>
          <a:p>
            <a:r>
              <a:rPr lang="es-ES"/>
              <a:t>Haga clic para modificar el estilo de título del patrón</a:t>
            </a:r>
          </a:p>
        </p:txBody>
      </p:sp>
      <p:sp>
        <p:nvSpPr>
          <p:cNvPr id="3" name="2 Marcador de posición de imagen"/>
          <p:cNvSpPr>
            <a:spLocks noGrp="1"/>
          </p:cNvSpPr>
          <p:nvPr>
            <p:ph type="pic" idx="1"/>
          </p:nvPr>
        </p:nvSpPr>
        <p:spPr>
          <a:xfrm>
            <a:off x="1792291" y="459581"/>
            <a:ext cx="5486400" cy="3086100"/>
          </a:xfrm>
        </p:spPr>
        <p:txBody>
          <a:bodyPr rtlCol="0">
            <a:normAutofit/>
          </a:bodyPr>
          <a:lstStyle>
            <a:lvl1pPr marL="0" indent="0">
              <a:buNone/>
              <a:defRPr sz="3200"/>
            </a:lvl1pPr>
            <a:lvl2pPr marL="448575" indent="0">
              <a:buNone/>
              <a:defRPr sz="2800"/>
            </a:lvl2pPr>
            <a:lvl3pPr marL="897136" indent="0">
              <a:buNone/>
              <a:defRPr sz="2400"/>
            </a:lvl3pPr>
            <a:lvl4pPr marL="1345700" indent="0">
              <a:buNone/>
              <a:defRPr sz="2000"/>
            </a:lvl4pPr>
            <a:lvl5pPr marL="1794279" indent="0">
              <a:buNone/>
              <a:defRPr sz="2000"/>
            </a:lvl5pPr>
            <a:lvl6pPr marL="2242845" indent="0">
              <a:buNone/>
              <a:defRPr sz="2000"/>
            </a:lvl6pPr>
            <a:lvl7pPr marL="2691413" indent="0">
              <a:buNone/>
              <a:defRPr sz="2000"/>
            </a:lvl7pPr>
            <a:lvl8pPr marL="3139987" indent="0">
              <a:buNone/>
              <a:defRPr sz="2000"/>
            </a:lvl8pPr>
            <a:lvl9pPr marL="3588554" indent="0">
              <a:buNone/>
              <a:defRPr sz="2000"/>
            </a:lvl9pPr>
          </a:lstStyle>
          <a:p>
            <a:pPr lvl="0"/>
            <a:endParaRPr lang="es-ES" noProof="0"/>
          </a:p>
        </p:txBody>
      </p:sp>
      <p:sp>
        <p:nvSpPr>
          <p:cNvPr id="4" name="3 Marcador de texto"/>
          <p:cNvSpPr>
            <a:spLocks noGrp="1"/>
          </p:cNvSpPr>
          <p:nvPr>
            <p:ph type="body" sz="half" idx="2"/>
          </p:nvPr>
        </p:nvSpPr>
        <p:spPr>
          <a:xfrm>
            <a:off x="1792291" y="4025565"/>
            <a:ext cx="5486400" cy="603647"/>
          </a:xfrm>
        </p:spPr>
        <p:txBody>
          <a:bodyPr/>
          <a:lstStyle>
            <a:lvl1pPr marL="0" indent="0">
              <a:buNone/>
              <a:defRPr sz="1400"/>
            </a:lvl1pPr>
            <a:lvl2pPr marL="448575" indent="0">
              <a:buNone/>
              <a:defRPr sz="1200"/>
            </a:lvl2pPr>
            <a:lvl3pPr marL="897136" indent="0">
              <a:buNone/>
              <a:defRPr sz="1000"/>
            </a:lvl3pPr>
            <a:lvl4pPr marL="1345700" indent="0">
              <a:buNone/>
              <a:defRPr sz="900"/>
            </a:lvl4pPr>
            <a:lvl5pPr marL="1794279" indent="0">
              <a:buNone/>
              <a:defRPr sz="900"/>
            </a:lvl5pPr>
            <a:lvl6pPr marL="2242845" indent="0">
              <a:buNone/>
              <a:defRPr sz="900"/>
            </a:lvl6pPr>
            <a:lvl7pPr marL="2691413" indent="0">
              <a:buNone/>
              <a:defRPr sz="900"/>
            </a:lvl7pPr>
            <a:lvl8pPr marL="3139987" indent="0">
              <a:buNone/>
              <a:defRPr sz="900"/>
            </a:lvl8pPr>
            <a:lvl9pPr marL="3588554" indent="0">
              <a:buNone/>
              <a:defRPr sz="900"/>
            </a:lvl9pPr>
          </a:lstStyle>
          <a:p>
            <a:pPr lvl="0"/>
            <a:r>
              <a:rPr lang="es-ES"/>
              <a:t>Haga clic para modificar el estilo de texto del patrón</a:t>
            </a:r>
          </a:p>
        </p:txBody>
      </p:sp>
      <p:sp>
        <p:nvSpPr>
          <p:cNvPr id="5" name="3 Marcador de fecha"/>
          <p:cNvSpPr>
            <a:spLocks noGrp="1"/>
          </p:cNvSpPr>
          <p:nvPr>
            <p:ph type="dt" sz="half" idx="10"/>
          </p:nvPr>
        </p:nvSpPr>
        <p:spPr>
          <a:xfrm>
            <a:off x="457201" y="4767357"/>
            <a:ext cx="2133600" cy="273844"/>
          </a:xfrm>
          <a:prstGeom prst="rect">
            <a:avLst/>
          </a:prstGeom>
        </p:spPr>
        <p:txBody>
          <a:bodyPr lIns="89953" tIns="44976" rIns="89953" bIns="44976"/>
          <a:lstStyle>
            <a:lvl1pPr>
              <a:defRPr b="1"/>
            </a:lvl1pPr>
          </a:lstStyle>
          <a:p>
            <a:pPr defTabSz="897136">
              <a:defRPr/>
            </a:pPr>
            <a:fld id="{A493F893-D7CD-4E05-A7AF-B7C9FEA08782}" type="datetimeFigureOut">
              <a:rPr lang="es-ES">
                <a:solidFill>
                  <a:prstClr val="black"/>
                </a:solidFill>
              </a:rPr>
              <a:pPr defTabSz="897136">
                <a:defRPr/>
              </a:pPr>
              <a:t>07/08/2024</a:t>
            </a:fld>
            <a:endParaRPr lang="es-ES">
              <a:solidFill>
                <a:prstClr val="black"/>
              </a:solidFill>
            </a:endParaRPr>
          </a:p>
        </p:txBody>
      </p:sp>
      <p:sp>
        <p:nvSpPr>
          <p:cNvPr id="6" name="4 Marcador de pie de página"/>
          <p:cNvSpPr>
            <a:spLocks noGrp="1"/>
          </p:cNvSpPr>
          <p:nvPr>
            <p:ph type="ftr" sz="quarter" idx="11"/>
          </p:nvPr>
        </p:nvSpPr>
        <p:spPr/>
        <p:txBody>
          <a:bodyPr/>
          <a:lstStyle>
            <a:lvl1pPr>
              <a:defRPr b="1"/>
            </a:lvl1pPr>
          </a:lstStyle>
          <a:p>
            <a:pPr>
              <a:defRPr/>
            </a:pPr>
            <a:endParaRPr lang="es-ES"/>
          </a:p>
        </p:txBody>
      </p:sp>
      <p:sp>
        <p:nvSpPr>
          <p:cNvPr id="7" name="5 Marcador de número de diapositiva"/>
          <p:cNvSpPr>
            <a:spLocks noGrp="1"/>
          </p:cNvSpPr>
          <p:nvPr>
            <p:ph type="sldNum" sz="quarter" idx="12"/>
          </p:nvPr>
        </p:nvSpPr>
        <p:spPr/>
        <p:txBody>
          <a:bodyPr/>
          <a:lstStyle>
            <a:lvl1pPr>
              <a:defRPr b="1"/>
            </a:lvl1pPr>
          </a:lstStyle>
          <a:p>
            <a:pPr>
              <a:defRPr/>
            </a:pPr>
            <a:fld id="{31563E84-710B-4F8D-94D6-27592425B836}" type="slidenum">
              <a:rPr lang="es-ES"/>
              <a:pPr>
                <a:defRPr/>
              </a:pPr>
              <a:t>‹Nº›</a:t>
            </a:fld>
            <a:endParaRPr lang="es-ES"/>
          </a:p>
        </p:txBody>
      </p:sp>
    </p:spTree>
    <p:extLst>
      <p:ext uri="{BB962C8B-B14F-4D97-AF65-F5344CB8AC3E}">
        <p14:creationId xmlns:p14="http://schemas.microsoft.com/office/powerpoint/2010/main" val="2242811706"/>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Advanced 1/3 Image">
    <p:spTree>
      <p:nvGrpSpPr>
        <p:cNvPr id="1" name=""/>
        <p:cNvGrpSpPr/>
        <p:nvPr/>
      </p:nvGrpSpPr>
      <p:grpSpPr>
        <a:xfrm>
          <a:off x="0" y="0"/>
          <a:ext cx="0" cy="0"/>
          <a:chOff x="0" y="0"/>
          <a:chExt cx="0" cy="0"/>
        </a:xfrm>
      </p:grpSpPr>
      <p:sp>
        <p:nvSpPr>
          <p:cNvPr id="7" name="Text Placeholder 6">
            <a:extLst>
              <a:ext uri="{FF2B5EF4-FFF2-40B4-BE49-F238E27FC236}">
                <a16:creationId xmlns="" xmlns:a16="http://schemas.microsoft.com/office/drawing/2014/main" id="{65925D82-457F-D84D-B8DF-D8ADFD7E71DF}"/>
              </a:ext>
            </a:extLst>
          </p:cNvPr>
          <p:cNvSpPr>
            <a:spLocks noGrp="1"/>
          </p:cNvSpPr>
          <p:nvPr>
            <p:ph type="body" sz="quarter" idx="14" hasCustomPrompt="1"/>
          </p:nvPr>
        </p:nvSpPr>
        <p:spPr>
          <a:xfrm>
            <a:off x="233362" y="2383723"/>
            <a:ext cx="5745032" cy="204590"/>
          </a:xfrm>
          <a:prstGeom prst="rect">
            <a:avLst/>
          </a:prstGeom>
        </p:spPr>
        <p:txBody>
          <a:bodyPr tIns="0" rIns="0" bIns="0" numCol="1">
            <a:noAutofit/>
          </a:bodyPr>
          <a:lstStyle>
            <a:lvl1pPr marL="0" indent="0">
              <a:lnSpc>
                <a:spcPct val="100000"/>
              </a:lnSpc>
              <a:spcBef>
                <a:spcPts val="0"/>
              </a:spcBef>
              <a:spcAft>
                <a:spcPts val="450"/>
              </a:spcAft>
              <a:buNone/>
              <a:defRPr sz="1400" b="1">
                <a:solidFill>
                  <a:schemeClr val="accent1"/>
                </a:solidFill>
              </a:defRPr>
            </a:lvl1pPr>
            <a:lvl2pPr marL="342434" indent="0">
              <a:lnSpc>
                <a:spcPts val="1350"/>
              </a:lnSpc>
              <a:spcBef>
                <a:spcPts val="0"/>
              </a:spcBef>
              <a:buNone/>
              <a:defRPr sz="1100"/>
            </a:lvl2pPr>
            <a:lvl3pPr marL="684915" indent="0">
              <a:lnSpc>
                <a:spcPts val="1350"/>
              </a:lnSpc>
              <a:spcBef>
                <a:spcPts val="0"/>
              </a:spcBef>
              <a:buNone/>
              <a:defRPr sz="1100"/>
            </a:lvl3pPr>
            <a:lvl4pPr marL="1027368" indent="0">
              <a:lnSpc>
                <a:spcPts val="1350"/>
              </a:lnSpc>
              <a:spcBef>
                <a:spcPts val="0"/>
              </a:spcBef>
              <a:buNone/>
              <a:defRPr sz="1100"/>
            </a:lvl4pPr>
            <a:lvl5pPr marL="1369824" indent="0">
              <a:lnSpc>
                <a:spcPts val="1350"/>
              </a:lnSpc>
              <a:spcBef>
                <a:spcPts val="0"/>
              </a:spcBef>
              <a:buNone/>
              <a:defRPr sz="1100"/>
            </a:lvl5pPr>
          </a:lstStyle>
          <a:p>
            <a:pPr lvl="0"/>
            <a:r>
              <a:rPr lang="en-US"/>
              <a:t>This is your Secondary Title</a:t>
            </a:r>
          </a:p>
        </p:txBody>
      </p:sp>
      <p:sp>
        <p:nvSpPr>
          <p:cNvPr id="12" name="Text Placeholder 6">
            <a:extLst>
              <a:ext uri="{FF2B5EF4-FFF2-40B4-BE49-F238E27FC236}">
                <a16:creationId xmlns="" xmlns:a16="http://schemas.microsoft.com/office/drawing/2014/main" id="{FD2406EE-A554-5348-AE6D-4D8B343E6201}"/>
              </a:ext>
            </a:extLst>
          </p:cNvPr>
          <p:cNvSpPr>
            <a:spLocks noGrp="1"/>
          </p:cNvSpPr>
          <p:nvPr>
            <p:ph type="body" sz="quarter" idx="15" hasCustomPrompt="1"/>
          </p:nvPr>
        </p:nvSpPr>
        <p:spPr>
          <a:xfrm>
            <a:off x="233364" y="2681928"/>
            <a:ext cx="5747855" cy="2144716"/>
          </a:xfrm>
          <a:prstGeom prst="rect">
            <a:avLst/>
          </a:prstGeom>
        </p:spPr>
        <p:txBody>
          <a:bodyPr tIns="0" rIns="0" bIns="0" numCol="2" spcCol="94418">
            <a:noAutofit/>
          </a:bodyPr>
          <a:lstStyle>
            <a:lvl1pPr marL="128465" indent="-128465">
              <a:lnSpc>
                <a:spcPct val="100000"/>
              </a:lnSpc>
              <a:spcBef>
                <a:spcPts val="0"/>
              </a:spcBef>
              <a:spcAft>
                <a:spcPts val="450"/>
              </a:spcAft>
              <a:buFont typeface="Arial" panose="020B0604020202020204" pitchFamily="34" charset="0"/>
              <a:buChar char="•"/>
              <a:defRPr sz="1100" b="0">
                <a:solidFill>
                  <a:schemeClr val="tx1"/>
                </a:solidFill>
              </a:defRPr>
            </a:lvl1pPr>
            <a:lvl2pPr marL="342434" indent="0">
              <a:lnSpc>
                <a:spcPts val="1350"/>
              </a:lnSpc>
              <a:spcBef>
                <a:spcPts val="0"/>
              </a:spcBef>
              <a:buNone/>
              <a:defRPr sz="1100"/>
            </a:lvl2pPr>
            <a:lvl3pPr marL="684915" indent="0">
              <a:lnSpc>
                <a:spcPts val="1350"/>
              </a:lnSpc>
              <a:spcBef>
                <a:spcPts val="0"/>
              </a:spcBef>
              <a:buNone/>
              <a:defRPr sz="1100"/>
            </a:lvl3pPr>
            <a:lvl4pPr marL="1027368" indent="0">
              <a:lnSpc>
                <a:spcPts val="1350"/>
              </a:lnSpc>
              <a:spcBef>
                <a:spcPts val="0"/>
              </a:spcBef>
              <a:buNone/>
              <a:defRPr sz="1100"/>
            </a:lvl4pPr>
            <a:lvl5pPr marL="1369824" indent="0">
              <a:lnSpc>
                <a:spcPts val="1350"/>
              </a:lnSpc>
              <a:spcBef>
                <a:spcPts val="0"/>
              </a:spcBef>
              <a:buNone/>
              <a:defRPr sz="1100"/>
            </a:lvl5pPr>
          </a:lstStyle>
          <a:p>
            <a:pPr lvl="0"/>
            <a:r>
              <a:rPr lang="en-US"/>
              <a:t>This is your Secondary text.</a:t>
            </a:r>
          </a:p>
        </p:txBody>
      </p:sp>
      <p:sp>
        <p:nvSpPr>
          <p:cNvPr id="11" name="Picture Placeholder 9">
            <a:extLst>
              <a:ext uri="{FF2B5EF4-FFF2-40B4-BE49-F238E27FC236}">
                <a16:creationId xmlns="" xmlns:a16="http://schemas.microsoft.com/office/drawing/2014/main" id="{B54C5EE8-C42D-B549-B4D4-C0F00D68A42B}"/>
              </a:ext>
            </a:extLst>
          </p:cNvPr>
          <p:cNvSpPr>
            <a:spLocks noGrp="1"/>
          </p:cNvSpPr>
          <p:nvPr>
            <p:ph type="pic" sz="quarter" idx="18" hasCustomPrompt="1"/>
          </p:nvPr>
        </p:nvSpPr>
        <p:spPr>
          <a:xfrm>
            <a:off x="6102722" y="820325"/>
            <a:ext cx="3052125" cy="3998652"/>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9500" h="5131753">
                <a:moveTo>
                  <a:pt x="0" y="6946"/>
                </a:moveTo>
                <a:lnTo>
                  <a:pt x="4069425" y="0"/>
                </a:lnTo>
                <a:cubicBezTo>
                  <a:pt x="4070330" y="2146807"/>
                  <a:pt x="4062788" y="2966138"/>
                  <a:pt x="4063693" y="5112945"/>
                </a:cubicBezTo>
                <a:lnTo>
                  <a:pt x="596656" y="5131753"/>
                </a:lnTo>
                <a:cubicBezTo>
                  <a:pt x="276484" y="5131753"/>
                  <a:pt x="16934" y="4872203"/>
                  <a:pt x="16934" y="4552031"/>
                </a:cubicBezTo>
                <a:cubicBezTo>
                  <a:pt x="11289" y="3029594"/>
                  <a:pt x="5645" y="1529383"/>
                  <a:pt x="0" y="6946"/>
                </a:cubicBezTo>
                <a:close/>
              </a:path>
            </a:pathLst>
          </a:custGeom>
          <a:noFill/>
        </p:spPr>
        <p:txBody>
          <a:bodyPr>
            <a:normAutofit/>
          </a:bodyPr>
          <a:lstStyle>
            <a:lvl1pPr marL="0" indent="0">
              <a:buNone/>
              <a:defRPr sz="1100">
                <a:solidFill>
                  <a:schemeClr val="tx1"/>
                </a:solidFill>
              </a:defRPr>
            </a:lvl1pPr>
          </a:lstStyle>
          <a:p>
            <a:r>
              <a:rPr lang="x-none"/>
              <a:t>Insert Photo</a:t>
            </a:r>
          </a:p>
        </p:txBody>
      </p:sp>
      <p:pic>
        <p:nvPicPr>
          <p:cNvPr id="14" name="Picture 13" descr="Takeda">
            <a:extLst>
              <a:ext uri="{FF2B5EF4-FFF2-40B4-BE49-F238E27FC236}">
                <a16:creationId xmlns="" xmlns:a16="http://schemas.microsoft.com/office/drawing/2014/main" id="{334C6D4B-D00D-0346-BC97-8DCE371C28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09748" y="-1211"/>
            <a:ext cx="1272174" cy="705585"/>
          </a:xfrm>
          <a:prstGeom prst="rect">
            <a:avLst/>
          </a:prstGeom>
        </p:spPr>
      </p:pic>
      <p:sp>
        <p:nvSpPr>
          <p:cNvPr id="17" name="タイトル プレースホルダ 1">
            <a:extLst>
              <a:ext uri="{FF2B5EF4-FFF2-40B4-BE49-F238E27FC236}">
                <a16:creationId xmlns="" xmlns:a16="http://schemas.microsoft.com/office/drawing/2014/main" id="{CCEDFD04-9A53-9241-851E-1D01DC555ACC}"/>
              </a:ext>
            </a:extLst>
          </p:cNvPr>
          <p:cNvSpPr>
            <a:spLocks noGrp="1"/>
          </p:cNvSpPr>
          <p:nvPr>
            <p:ph type="title" hasCustomPrompt="1"/>
          </p:nvPr>
        </p:nvSpPr>
        <p:spPr>
          <a:xfrm>
            <a:off x="454559" y="121208"/>
            <a:ext cx="7455190" cy="51435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Footer Placeholder 8">
            <a:extLst>
              <a:ext uri="{FF2B5EF4-FFF2-40B4-BE49-F238E27FC236}">
                <a16:creationId xmlns="" xmlns:a16="http://schemas.microsoft.com/office/drawing/2014/main" id="{1E1D8887-7EAE-1A40-9285-7C632FEAA8BF}"/>
              </a:ext>
            </a:extLst>
          </p:cNvPr>
          <p:cNvSpPr>
            <a:spLocks noGrp="1"/>
          </p:cNvSpPr>
          <p:nvPr>
            <p:ph type="ftr" sz="quarter" idx="3"/>
          </p:nvPr>
        </p:nvSpPr>
        <p:spPr>
          <a:xfrm>
            <a:off x="5824538" y="4892251"/>
            <a:ext cx="3086100" cy="147098"/>
          </a:xfrm>
          <a:prstGeom prst="rect">
            <a:avLst/>
          </a:prstGeom>
        </p:spPr>
        <p:txBody>
          <a:bodyPr vert="horz" lIns="68519" tIns="34289" rIns="0" bIns="34289" rtlCol="0" anchor="ctr"/>
          <a:lstStyle>
            <a:lvl1pPr algn="r">
              <a:defRPr sz="600" b="1" spc="75" baseline="0">
                <a:solidFill>
                  <a:schemeClr val="tx1"/>
                </a:solidFill>
              </a:defRPr>
            </a:lvl1pPr>
          </a:lstStyle>
          <a:p>
            <a:r>
              <a:rPr lang="x-none">
                <a:solidFill>
                  <a:srgbClr val="34373F"/>
                </a:solidFill>
              </a:rPr>
              <a:t> </a:t>
            </a:r>
          </a:p>
        </p:txBody>
      </p:sp>
      <p:sp>
        <p:nvSpPr>
          <p:cNvPr id="23" name="Rectangle 22">
            <a:extLst>
              <a:ext uri="{FF2B5EF4-FFF2-40B4-BE49-F238E27FC236}">
                <a16:creationId xmlns="" xmlns:a16="http://schemas.microsoft.com/office/drawing/2014/main" id="{365B3EBD-E4F5-8E40-B07A-C04F3B1E7F2C}"/>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19" tIns="34289" rIns="68519" bIns="34289" rtlCol="0" anchor="ctr"/>
          <a:lstStyle/>
          <a:p>
            <a:pPr algn="ctr" defTabSz="685103"/>
            <a:endParaRPr kumimoji="1" lang="x-none" sz="1400">
              <a:solidFill>
                <a:srgbClr val="E1242A"/>
              </a:solidFill>
            </a:endParaRPr>
          </a:p>
        </p:txBody>
      </p:sp>
      <p:sp>
        <p:nvSpPr>
          <p:cNvPr id="26" name="スライド番号プレースホルダ 5">
            <a:extLst>
              <a:ext uri="{FF2B5EF4-FFF2-40B4-BE49-F238E27FC236}">
                <a16:creationId xmlns="" xmlns:a16="http://schemas.microsoft.com/office/drawing/2014/main" id="{3D5D14EF-A351-224D-8142-E1BEE44BBC99}"/>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3185"/>
            <a:fld id="{E9B57936-92EF-4126-AE48-1D9D36D15E98}" type="slidenum">
              <a:rPr lang="ja-JP" altLang="en-US" smtClean="0">
                <a:solidFill>
                  <a:srgbClr val="34373F"/>
                </a:solidFill>
              </a:rPr>
              <a:pPr defTabSz="913185"/>
              <a:t>‹Nº›</a:t>
            </a:fld>
            <a:endParaRPr lang="ja-JP" altLang="en-US">
              <a:solidFill>
                <a:srgbClr val="34373F"/>
              </a:solidFill>
            </a:endParaRPr>
          </a:p>
        </p:txBody>
      </p:sp>
      <p:sp>
        <p:nvSpPr>
          <p:cNvPr id="27" name="Text Placeholder 6">
            <a:extLst>
              <a:ext uri="{FF2B5EF4-FFF2-40B4-BE49-F238E27FC236}">
                <a16:creationId xmlns="" xmlns:a16="http://schemas.microsoft.com/office/drawing/2014/main" id="{4D0A49B6-0BCC-C545-BF97-504B63062FEC}"/>
              </a:ext>
            </a:extLst>
          </p:cNvPr>
          <p:cNvSpPr>
            <a:spLocks noGrp="1"/>
          </p:cNvSpPr>
          <p:nvPr>
            <p:ph type="body" sz="quarter" idx="16" hasCustomPrompt="1"/>
          </p:nvPr>
        </p:nvSpPr>
        <p:spPr>
          <a:xfrm>
            <a:off x="454559" y="4892253"/>
            <a:ext cx="5226261" cy="154210"/>
          </a:xfrm>
          <a:prstGeom prst="rect">
            <a:avLst/>
          </a:prstGeom>
        </p:spPr>
        <p:txBody>
          <a:bodyPr wrap="none" tIns="0" rIns="0" bIns="53959" numCol="1" anchor="ctr">
            <a:noAutofit/>
          </a:bodyPr>
          <a:lstStyle>
            <a:lvl1pPr marL="0" indent="0">
              <a:lnSpc>
                <a:spcPts val="1200"/>
              </a:lnSpc>
              <a:spcBef>
                <a:spcPts val="0"/>
              </a:spcBef>
              <a:spcAft>
                <a:spcPts val="450"/>
              </a:spcAft>
              <a:buFont typeface="Arial" panose="020B0604020202020204" pitchFamily="34" charset="0"/>
              <a:buNone/>
              <a:defRPr sz="600" b="0">
                <a:solidFill>
                  <a:schemeClr val="accent3"/>
                </a:solidFill>
              </a:defRPr>
            </a:lvl1pPr>
            <a:lvl2pPr marL="342434" indent="0">
              <a:lnSpc>
                <a:spcPts val="1350"/>
              </a:lnSpc>
              <a:spcBef>
                <a:spcPts val="0"/>
              </a:spcBef>
              <a:buNone/>
              <a:defRPr sz="1100"/>
            </a:lvl2pPr>
            <a:lvl3pPr marL="684915" indent="0">
              <a:lnSpc>
                <a:spcPts val="1350"/>
              </a:lnSpc>
              <a:spcBef>
                <a:spcPts val="0"/>
              </a:spcBef>
              <a:buNone/>
              <a:defRPr sz="1100"/>
            </a:lvl3pPr>
            <a:lvl4pPr marL="1027368" indent="0">
              <a:lnSpc>
                <a:spcPts val="1350"/>
              </a:lnSpc>
              <a:spcBef>
                <a:spcPts val="0"/>
              </a:spcBef>
              <a:buNone/>
              <a:defRPr sz="1100"/>
            </a:lvl4pPr>
            <a:lvl5pPr marL="1369824" indent="0">
              <a:lnSpc>
                <a:spcPts val="1350"/>
              </a:lnSpc>
              <a:spcBef>
                <a:spcPts val="0"/>
              </a:spcBef>
              <a:buNone/>
              <a:defRPr sz="1100"/>
            </a:lvl5pPr>
          </a:lstStyle>
          <a:p>
            <a:pPr lvl="0"/>
            <a:r>
              <a:rPr lang="en-US"/>
              <a:t>Private and confidential. For internal use only.</a:t>
            </a:r>
          </a:p>
        </p:txBody>
      </p:sp>
      <p:sp>
        <p:nvSpPr>
          <p:cNvPr id="15" name="Text Placeholder 2">
            <a:extLst>
              <a:ext uri="{FF2B5EF4-FFF2-40B4-BE49-F238E27FC236}">
                <a16:creationId xmlns="" xmlns:a16="http://schemas.microsoft.com/office/drawing/2014/main" id="{D82FCE78-36AB-904B-98A8-CE3FFB1555E3}"/>
              </a:ext>
            </a:extLst>
          </p:cNvPr>
          <p:cNvSpPr>
            <a:spLocks noGrp="1"/>
          </p:cNvSpPr>
          <p:nvPr>
            <p:ph type="body" sz="quarter" idx="20" hasCustomPrompt="1"/>
          </p:nvPr>
        </p:nvSpPr>
        <p:spPr>
          <a:xfrm>
            <a:off x="233366" y="1118532"/>
            <a:ext cx="5745031" cy="1098718"/>
          </a:xfrm>
        </p:spPr>
        <p:txBody>
          <a:bodyPr tIns="0" rIns="0" bIns="0" numCol="1" spcCol="94418">
            <a:noAutofit/>
          </a:bodyPr>
          <a:lstStyle>
            <a:lvl1pPr marL="0" indent="0">
              <a:lnSpc>
                <a:spcPct val="100000"/>
              </a:lnSpc>
              <a:spcBef>
                <a:spcPts val="0"/>
              </a:spcBef>
              <a:buNone/>
              <a:defRPr sz="1200" b="1"/>
            </a:lvl1pPr>
            <a:lvl2pPr marL="342434" indent="0">
              <a:buNone/>
              <a:defRPr sz="1400" b="1"/>
            </a:lvl2pPr>
            <a:lvl3pPr marL="684915" indent="0">
              <a:buNone/>
              <a:defRPr sz="1400" b="1"/>
            </a:lvl3pPr>
            <a:lvl4pPr marL="1027368" indent="0">
              <a:buNone/>
              <a:defRPr sz="1400" b="1"/>
            </a:lvl4pPr>
            <a:lvl5pPr marL="1369824" indent="0">
              <a:buNone/>
              <a:defRPr sz="1400" b="1"/>
            </a:lvl5pPr>
          </a:lstStyle>
          <a:p>
            <a:pPr lvl="0"/>
            <a:r>
              <a:rPr lang="en-US"/>
              <a:t>This is your Primary Text.</a:t>
            </a:r>
            <a:endParaRPr lang="x-none"/>
          </a:p>
        </p:txBody>
      </p:sp>
      <p:sp>
        <p:nvSpPr>
          <p:cNvPr id="18" name="Text Placeholder 6">
            <a:extLst>
              <a:ext uri="{FF2B5EF4-FFF2-40B4-BE49-F238E27FC236}">
                <a16:creationId xmlns="" xmlns:a16="http://schemas.microsoft.com/office/drawing/2014/main" id="{72ECF95F-F25E-8248-A0F3-BB1749A1B406}"/>
              </a:ext>
            </a:extLst>
          </p:cNvPr>
          <p:cNvSpPr>
            <a:spLocks noGrp="1"/>
          </p:cNvSpPr>
          <p:nvPr>
            <p:ph type="body" sz="quarter" idx="21" hasCustomPrompt="1"/>
          </p:nvPr>
        </p:nvSpPr>
        <p:spPr>
          <a:xfrm>
            <a:off x="233366" y="820327"/>
            <a:ext cx="5745031" cy="204590"/>
          </a:xfrm>
        </p:spPr>
        <p:txBody>
          <a:bodyPr tIns="0" rIns="0" bIns="0" numCol="1">
            <a:noAutofit/>
          </a:bodyPr>
          <a:lstStyle>
            <a:lvl1pPr marL="0" indent="0">
              <a:lnSpc>
                <a:spcPct val="100000"/>
              </a:lnSpc>
              <a:spcBef>
                <a:spcPts val="0"/>
              </a:spcBef>
              <a:spcAft>
                <a:spcPts val="450"/>
              </a:spcAft>
              <a:buNone/>
              <a:defRPr sz="1500" b="1">
                <a:solidFill>
                  <a:schemeClr val="accent1"/>
                </a:solidFill>
              </a:defRPr>
            </a:lvl1pPr>
            <a:lvl2pPr marL="342434" indent="0">
              <a:lnSpc>
                <a:spcPts val="1350"/>
              </a:lnSpc>
              <a:spcBef>
                <a:spcPts val="0"/>
              </a:spcBef>
              <a:buNone/>
              <a:defRPr sz="1100"/>
            </a:lvl2pPr>
            <a:lvl3pPr marL="684915" indent="0">
              <a:lnSpc>
                <a:spcPts val="1350"/>
              </a:lnSpc>
              <a:spcBef>
                <a:spcPts val="0"/>
              </a:spcBef>
              <a:buNone/>
              <a:defRPr sz="1100"/>
            </a:lvl3pPr>
            <a:lvl4pPr marL="1027368" indent="0">
              <a:lnSpc>
                <a:spcPts val="1350"/>
              </a:lnSpc>
              <a:spcBef>
                <a:spcPts val="0"/>
              </a:spcBef>
              <a:buNone/>
              <a:defRPr sz="1100"/>
            </a:lvl4pPr>
            <a:lvl5pPr marL="1369824" indent="0">
              <a:lnSpc>
                <a:spcPts val="1350"/>
              </a:lnSpc>
              <a:spcBef>
                <a:spcPts val="0"/>
              </a:spcBef>
              <a:buNone/>
              <a:defRPr sz="1100"/>
            </a:lvl5pPr>
          </a:lstStyle>
          <a:p>
            <a:pPr lvl="0"/>
            <a:r>
              <a:rPr lang="en-US"/>
              <a:t>This is your Primary Title</a:t>
            </a:r>
          </a:p>
        </p:txBody>
      </p:sp>
    </p:spTree>
    <p:extLst>
      <p:ext uri="{BB962C8B-B14F-4D97-AF65-F5344CB8AC3E}">
        <p14:creationId xmlns:p14="http://schemas.microsoft.com/office/powerpoint/2010/main" val="3888788327"/>
      </p:ext>
    </p:extLst>
  </p:cSld>
  <p:clrMapOvr>
    <a:masterClrMapping/>
  </p:clrMapOvr>
  <p:transition spd="slow">
    <p:push dir="u"/>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Advanced 1/3 Image (Full Bleed)">
    <p:spTree>
      <p:nvGrpSpPr>
        <p:cNvPr id="1" name=""/>
        <p:cNvGrpSpPr/>
        <p:nvPr/>
      </p:nvGrpSpPr>
      <p:grpSpPr>
        <a:xfrm>
          <a:off x="0" y="0"/>
          <a:ext cx="0" cy="0"/>
          <a:chOff x="0" y="0"/>
          <a:chExt cx="0" cy="0"/>
        </a:xfrm>
      </p:grpSpPr>
      <p:sp>
        <p:nvSpPr>
          <p:cNvPr id="7" name="Text Placeholder 6">
            <a:extLst>
              <a:ext uri="{FF2B5EF4-FFF2-40B4-BE49-F238E27FC236}">
                <a16:creationId xmlns="" xmlns:a16="http://schemas.microsoft.com/office/drawing/2014/main" id="{65925D82-457F-D84D-B8DF-D8ADFD7E71DF}"/>
              </a:ext>
            </a:extLst>
          </p:cNvPr>
          <p:cNvSpPr>
            <a:spLocks noGrp="1"/>
          </p:cNvSpPr>
          <p:nvPr>
            <p:ph type="body" sz="quarter" idx="14" hasCustomPrompt="1"/>
          </p:nvPr>
        </p:nvSpPr>
        <p:spPr>
          <a:xfrm>
            <a:off x="233362" y="2383723"/>
            <a:ext cx="4281488" cy="204590"/>
          </a:xfrm>
          <a:prstGeom prst="rect">
            <a:avLst/>
          </a:prstGeom>
        </p:spPr>
        <p:txBody>
          <a:bodyPr tIns="0" rIns="0" bIns="0" numCol="1">
            <a:noAutofit/>
          </a:bodyPr>
          <a:lstStyle>
            <a:lvl1pPr marL="0" indent="0">
              <a:lnSpc>
                <a:spcPct val="100000"/>
              </a:lnSpc>
              <a:spcBef>
                <a:spcPts val="0"/>
              </a:spcBef>
              <a:spcAft>
                <a:spcPts val="450"/>
              </a:spcAft>
              <a:buNone/>
              <a:defRPr sz="1400" b="1">
                <a:solidFill>
                  <a:schemeClr val="accent1"/>
                </a:solidFill>
              </a:defRPr>
            </a:lvl1pPr>
            <a:lvl2pPr marL="342434" indent="0">
              <a:lnSpc>
                <a:spcPts val="1350"/>
              </a:lnSpc>
              <a:spcBef>
                <a:spcPts val="0"/>
              </a:spcBef>
              <a:buNone/>
              <a:defRPr sz="1100"/>
            </a:lvl2pPr>
            <a:lvl3pPr marL="684915" indent="0">
              <a:lnSpc>
                <a:spcPts val="1350"/>
              </a:lnSpc>
              <a:spcBef>
                <a:spcPts val="0"/>
              </a:spcBef>
              <a:buNone/>
              <a:defRPr sz="1100"/>
            </a:lvl3pPr>
            <a:lvl4pPr marL="1027368" indent="0">
              <a:lnSpc>
                <a:spcPts val="1350"/>
              </a:lnSpc>
              <a:spcBef>
                <a:spcPts val="0"/>
              </a:spcBef>
              <a:buNone/>
              <a:defRPr sz="1100"/>
            </a:lvl4pPr>
            <a:lvl5pPr marL="1369824" indent="0">
              <a:lnSpc>
                <a:spcPts val="1350"/>
              </a:lnSpc>
              <a:spcBef>
                <a:spcPts val="0"/>
              </a:spcBef>
              <a:buNone/>
              <a:defRPr sz="1100"/>
            </a:lvl5pPr>
          </a:lstStyle>
          <a:p>
            <a:pPr lvl="0"/>
            <a:r>
              <a:rPr lang="en-US"/>
              <a:t>This is your Secondary Title</a:t>
            </a:r>
          </a:p>
        </p:txBody>
      </p:sp>
      <p:sp>
        <p:nvSpPr>
          <p:cNvPr id="12" name="Text Placeholder 6">
            <a:extLst>
              <a:ext uri="{FF2B5EF4-FFF2-40B4-BE49-F238E27FC236}">
                <a16:creationId xmlns="" xmlns:a16="http://schemas.microsoft.com/office/drawing/2014/main" id="{FD2406EE-A554-5348-AE6D-4D8B343E6201}"/>
              </a:ext>
            </a:extLst>
          </p:cNvPr>
          <p:cNvSpPr>
            <a:spLocks noGrp="1"/>
          </p:cNvSpPr>
          <p:nvPr>
            <p:ph type="body" sz="quarter" idx="15" hasCustomPrompt="1"/>
          </p:nvPr>
        </p:nvSpPr>
        <p:spPr>
          <a:xfrm>
            <a:off x="233364" y="2681928"/>
            <a:ext cx="5747855" cy="2144716"/>
          </a:xfrm>
          <a:prstGeom prst="rect">
            <a:avLst/>
          </a:prstGeom>
        </p:spPr>
        <p:txBody>
          <a:bodyPr tIns="0" rIns="0" bIns="0" numCol="2" spcCol="94418">
            <a:noAutofit/>
          </a:bodyPr>
          <a:lstStyle>
            <a:lvl1pPr marL="128465" indent="-128465">
              <a:lnSpc>
                <a:spcPct val="100000"/>
              </a:lnSpc>
              <a:spcBef>
                <a:spcPts val="0"/>
              </a:spcBef>
              <a:spcAft>
                <a:spcPts val="450"/>
              </a:spcAft>
              <a:buFont typeface="Arial" panose="020B0604020202020204" pitchFamily="34" charset="0"/>
              <a:buChar char="•"/>
              <a:defRPr sz="1100" b="0">
                <a:solidFill>
                  <a:schemeClr val="tx1"/>
                </a:solidFill>
              </a:defRPr>
            </a:lvl1pPr>
            <a:lvl2pPr marL="342434" indent="0">
              <a:lnSpc>
                <a:spcPts val="1350"/>
              </a:lnSpc>
              <a:spcBef>
                <a:spcPts val="0"/>
              </a:spcBef>
              <a:buNone/>
              <a:defRPr sz="1100"/>
            </a:lvl2pPr>
            <a:lvl3pPr marL="684915" indent="0">
              <a:lnSpc>
                <a:spcPts val="1350"/>
              </a:lnSpc>
              <a:spcBef>
                <a:spcPts val="0"/>
              </a:spcBef>
              <a:buNone/>
              <a:defRPr sz="1100"/>
            </a:lvl3pPr>
            <a:lvl4pPr marL="1027368" indent="0">
              <a:lnSpc>
                <a:spcPts val="1350"/>
              </a:lnSpc>
              <a:spcBef>
                <a:spcPts val="0"/>
              </a:spcBef>
              <a:buNone/>
              <a:defRPr sz="1100"/>
            </a:lvl4pPr>
            <a:lvl5pPr marL="1369824" indent="0">
              <a:lnSpc>
                <a:spcPts val="1350"/>
              </a:lnSpc>
              <a:spcBef>
                <a:spcPts val="0"/>
              </a:spcBef>
              <a:buNone/>
              <a:defRPr sz="1100"/>
            </a:lvl5pPr>
          </a:lstStyle>
          <a:p>
            <a:pPr lvl="0"/>
            <a:r>
              <a:rPr lang="en-US"/>
              <a:t>This is your Secondary text.</a:t>
            </a:r>
          </a:p>
        </p:txBody>
      </p:sp>
      <p:sp>
        <p:nvSpPr>
          <p:cNvPr id="11" name="Picture Placeholder 9">
            <a:extLst>
              <a:ext uri="{FF2B5EF4-FFF2-40B4-BE49-F238E27FC236}">
                <a16:creationId xmlns="" xmlns:a16="http://schemas.microsoft.com/office/drawing/2014/main" id="{B54C5EE8-C42D-B549-B4D4-C0F00D68A42B}"/>
              </a:ext>
            </a:extLst>
          </p:cNvPr>
          <p:cNvSpPr>
            <a:spLocks noGrp="1"/>
          </p:cNvSpPr>
          <p:nvPr>
            <p:ph type="pic" sz="quarter" idx="18" hasCustomPrompt="1"/>
          </p:nvPr>
        </p:nvSpPr>
        <p:spPr>
          <a:xfrm>
            <a:off x="6092782" y="-1034"/>
            <a:ext cx="3057710" cy="5145632"/>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 name="connsiteX0" fmla="*/ 0 w 4082753"/>
              <a:gd name="connsiteY0" fmla="*/ 2 h 6874096"/>
              <a:gd name="connsiteX1" fmla="*/ 4082678 w 4082753"/>
              <a:gd name="connsiteY1" fmla="*/ 1742343 h 6874096"/>
              <a:gd name="connsiteX2" fmla="*/ 4076946 w 4082753"/>
              <a:gd name="connsiteY2" fmla="*/ 6855288 h 6874096"/>
              <a:gd name="connsiteX3" fmla="*/ 609909 w 4082753"/>
              <a:gd name="connsiteY3" fmla="*/ 6874096 h 6874096"/>
              <a:gd name="connsiteX4" fmla="*/ 30187 w 4082753"/>
              <a:gd name="connsiteY4" fmla="*/ 6294374 h 6874096"/>
              <a:gd name="connsiteX5" fmla="*/ 0 w 4082753"/>
              <a:gd name="connsiteY5" fmla="*/ 2 h 6874096"/>
              <a:gd name="connsiteX0" fmla="*/ 0 w 4095958"/>
              <a:gd name="connsiteY0" fmla="*/ 6946 h 6881040"/>
              <a:gd name="connsiteX1" fmla="*/ 4095930 w 4095958"/>
              <a:gd name="connsiteY1" fmla="*/ 0 h 6881040"/>
              <a:gd name="connsiteX2" fmla="*/ 4076946 w 4095958"/>
              <a:gd name="connsiteY2" fmla="*/ 6862232 h 6881040"/>
              <a:gd name="connsiteX3" fmla="*/ 609909 w 4095958"/>
              <a:gd name="connsiteY3" fmla="*/ 6881040 h 6881040"/>
              <a:gd name="connsiteX4" fmla="*/ 30187 w 4095958"/>
              <a:gd name="connsiteY4" fmla="*/ 6301318 h 6881040"/>
              <a:gd name="connsiteX5" fmla="*/ 0 w 4095958"/>
              <a:gd name="connsiteY5" fmla="*/ 6946 h 6881040"/>
              <a:gd name="connsiteX0" fmla="*/ 0 w 4076946"/>
              <a:gd name="connsiteY0" fmla="*/ 0 h 6874094"/>
              <a:gd name="connsiteX1" fmla="*/ 3870643 w 4076946"/>
              <a:gd name="connsiteY1" fmla="*/ 191837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0 h 6874094"/>
              <a:gd name="connsiteX1" fmla="*/ 4069426 w 4076946"/>
              <a:gd name="connsiteY1" fmla="*/ 19559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99710 h 6854535"/>
              <a:gd name="connsiteX1" fmla="*/ 4069426 w 4076946"/>
              <a:gd name="connsiteY1" fmla="*/ 0 h 6854535"/>
              <a:gd name="connsiteX2" fmla="*/ 4076946 w 4076946"/>
              <a:gd name="connsiteY2" fmla="*/ 6835727 h 6854535"/>
              <a:gd name="connsiteX3" fmla="*/ 609909 w 4076946"/>
              <a:gd name="connsiteY3" fmla="*/ 6854535 h 6854535"/>
              <a:gd name="connsiteX4" fmla="*/ 30187 w 4076946"/>
              <a:gd name="connsiteY4" fmla="*/ 6274813 h 6854535"/>
              <a:gd name="connsiteX5" fmla="*/ 0 w 4076946"/>
              <a:gd name="connsiteY5" fmla="*/ 99710 h 6854535"/>
              <a:gd name="connsiteX0" fmla="*/ 0 w 4076946"/>
              <a:gd name="connsiteY0" fmla="*/ 0 h 6860842"/>
              <a:gd name="connsiteX1" fmla="*/ 4069426 w 4076946"/>
              <a:gd name="connsiteY1" fmla="*/ 6307 h 6860842"/>
              <a:gd name="connsiteX2" fmla="*/ 4076946 w 4076946"/>
              <a:gd name="connsiteY2" fmla="*/ 6842034 h 6860842"/>
              <a:gd name="connsiteX3" fmla="*/ 609909 w 4076946"/>
              <a:gd name="connsiteY3" fmla="*/ 6860842 h 6860842"/>
              <a:gd name="connsiteX4" fmla="*/ 30187 w 4076946"/>
              <a:gd name="connsiteY4" fmla="*/ 6281120 h 6860842"/>
              <a:gd name="connsiteX5" fmla="*/ 0 w 4076946"/>
              <a:gd name="connsiteY5" fmla="*/ 0 h 686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76946" h="6860842">
                <a:moveTo>
                  <a:pt x="0" y="0"/>
                </a:moveTo>
                <a:lnTo>
                  <a:pt x="4069426" y="6307"/>
                </a:lnTo>
                <a:cubicBezTo>
                  <a:pt x="4070331" y="2153114"/>
                  <a:pt x="4076041" y="4695227"/>
                  <a:pt x="4076946" y="6842034"/>
                </a:cubicBezTo>
                <a:lnTo>
                  <a:pt x="609909" y="6860842"/>
                </a:lnTo>
                <a:cubicBezTo>
                  <a:pt x="289737" y="6860842"/>
                  <a:pt x="30187" y="6601292"/>
                  <a:pt x="30187" y="6281120"/>
                </a:cubicBezTo>
                <a:cubicBezTo>
                  <a:pt x="24542" y="4758683"/>
                  <a:pt x="5645" y="1522437"/>
                  <a:pt x="0" y="0"/>
                </a:cubicBezTo>
                <a:close/>
              </a:path>
            </a:pathLst>
          </a:custGeom>
          <a:noFill/>
        </p:spPr>
        <p:txBody>
          <a:bodyPr>
            <a:normAutofit/>
          </a:bodyPr>
          <a:lstStyle>
            <a:lvl1pPr marL="0" indent="0">
              <a:buNone/>
              <a:defRPr sz="1100">
                <a:solidFill>
                  <a:schemeClr val="tx1"/>
                </a:solidFill>
              </a:defRPr>
            </a:lvl1pPr>
          </a:lstStyle>
          <a:p>
            <a:r>
              <a:rPr lang="x-none"/>
              <a:t>Insert Photo</a:t>
            </a:r>
          </a:p>
        </p:txBody>
      </p:sp>
      <p:sp>
        <p:nvSpPr>
          <p:cNvPr id="17" name="タイトル プレースホルダ 1">
            <a:extLst>
              <a:ext uri="{FF2B5EF4-FFF2-40B4-BE49-F238E27FC236}">
                <a16:creationId xmlns="" xmlns:a16="http://schemas.microsoft.com/office/drawing/2014/main" id="{6FB24DD6-99CB-CE43-A787-C9F60DC95F8F}"/>
              </a:ext>
            </a:extLst>
          </p:cNvPr>
          <p:cNvSpPr>
            <a:spLocks noGrp="1"/>
          </p:cNvSpPr>
          <p:nvPr>
            <p:ph type="title" hasCustomPrompt="1"/>
          </p:nvPr>
        </p:nvSpPr>
        <p:spPr>
          <a:xfrm>
            <a:off x="454563" y="121208"/>
            <a:ext cx="5526659" cy="51435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 xmlns:a16="http://schemas.microsoft.com/office/drawing/2014/main" id="{77130E5B-E573-584B-8C83-F8409492B14B}"/>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19" tIns="34289" rIns="68519" bIns="34289" rtlCol="0" anchor="ctr"/>
          <a:lstStyle/>
          <a:p>
            <a:pPr algn="ctr" defTabSz="685103"/>
            <a:endParaRPr kumimoji="1" lang="x-none" sz="1400">
              <a:solidFill>
                <a:srgbClr val="E1242A"/>
              </a:solidFill>
            </a:endParaRPr>
          </a:p>
        </p:txBody>
      </p:sp>
      <p:sp>
        <p:nvSpPr>
          <p:cNvPr id="21" name="スライド番号プレースホルダ 5">
            <a:extLst>
              <a:ext uri="{FF2B5EF4-FFF2-40B4-BE49-F238E27FC236}">
                <a16:creationId xmlns="" xmlns:a16="http://schemas.microsoft.com/office/drawing/2014/main" id="{C55CC856-2ADD-F44F-96B6-03734457CCF1}"/>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3185"/>
            <a:fld id="{E9B57936-92EF-4126-AE48-1D9D36D15E98}" type="slidenum">
              <a:rPr lang="ja-JP" altLang="en-US" smtClean="0">
                <a:solidFill>
                  <a:srgbClr val="34373F"/>
                </a:solidFill>
              </a:rPr>
              <a:pPr defTabSz="913185"/>
              <a:t>‹Nº›</a:t>
            </a:fld>
            <a:endParaRPr lang="ja-JP" altLang="en-US">
              <a:solidFill>
                <a:srgbClr val="34373F"/>
              </a:solidFill>
            </a:endParaRPr>
          </a:p>
        </p:txBody>
      </p:sp>
      <p:sp>
        <p:nvSpPr>
          <p:cNvPr id="22" name="Text Placeholder 6">
            <a:extLst>
              <a:ext uri="{FF2B5EF4-FFF2-40B4-BE49-F238E27FC236}">
                <a16:creationId xmlns="" xmlns:a16="http://schemas.microsoft.com/office/drawing/2014/main" id="{DB94AACD-56D4-F146-AFC0-5CBE6630C5AA}"/>
              </a:ext>
            </a:extLst>
          </p:cNvPr>
          <p:cNvSpPr>
            <a:spLocks noGrp="1"/>
          </p:cNvSpPr>
          <p:nvPr>
            <p:ph type="body" sz="quarter" idx="16" hasCustomPrompt="1"/>
          </p:nvPr>
        </p:nvSpPr>
        <p:spPr>
          <a:xfrm>
            <a:off x="454559" y="4892253"/>
            <a:ext cx="5226261" cy="154210"/>
          </a:xfrm>
          <a:prstGeom prst="rect">
            <a:avLst/>
          </a:prstGeom>
        </p:spPr>
        <p:txBody>
          <a:bodyPr wrap="none" tIns="0" rIns="0" bIns="53959" numCol="1" anchor="ctr">
            <a:noAutofit/>
          </a:bodyPr>
          <a:lstStyle>
            <a:lvl1pPr marL="0" indent="0">
              <a:lnSpc>
                <a:spcPts val="1200"/>
              </a:lnSpc>
              <a:spcBef>
                <a:spcPts val="0"/>
              </a:spcBef>
              <a:spcAft>
                <a:spcPts val="450"/>
              </a:spcAft>
              <a:buFont typeface="Arial" panose="020B0604020202020204" pitchFamily="34" charset="0"/>
              <a:buNone/>
              <a:defRPr sz="600" b="0">
                <a:solidFill>
                  <a:schemeClr val="accent3"/>
                </a:solidFill>
              </a:defRPr>
            </a:lvl1pPr>
            <a:lvl2pPr marL="342434" indent="0">
              <a:lnSpc>
                <a:spcPts val="1350"/>
              </a:lnSpc>
              <a:spcBef>
                <a:spcPts val="0"/>
              </a:spcBef>
              <a:buNone/>
              <a:defRPr sz="1100"/>
            </a:lvl2pPr>
            <a:lvl3pPr marL="684915" indent="0">
              <a:lnSpc>
                <a:spcPts val="1350"/>
              </a:lnSpc>
              <a:spcBef>
                <a:spcPts val="0"/>
              </a:spcBef>
              <a:buNone/>
              <a:defRPr sz="1100"/>
            </a:lvl3pPr>
            <a:lvl4pPr marL="1027368" indent="0">
              <a:lnSpc>
                <a:spcPts val="1350"/>
              </a:lnSpc>
              <a:spcBef>
                <a:spcPts val="0"/>
              </a:spcBef>
              <a:buNone/>
              <a:defRPr sz="1100"/>
            </a:lvl4pPr>
            <a:lvl5pPr marL="1369824" indent="0">
              <a:lnSpc>
                <a:spcPts val="1350"/>
              </a:lnSpc>
              <a:spcBef>
                <a:spcPts val="0"/>
              </a:spcBef>
              <a:buNone/>
              <a:defRPr sz="1100"/>
            </a:lvl5pPr>
          </a:lstStyle>
          <a:p>
            <a:pPr lvl="0"/>
            <a:r>
              <a:rPr lang="en-US"/>
              <a:t>Private and confidential. For internal use only.</a:t>
            </a:r>
          </a:p>
        </p:txBody>
      </p:sp>
      <p:sp>
        <p:nvSpPr>
          <p:cNvPr id="19" name="Text Placeholder 2">
            <a:extLst>
              <a:ext uri="{FF2B5EF4-FFF2-40B4-BE49-F238E27FC236}">
                <a16:creationId xmlns="" xmlns:a16="http://schemas.microsoft.com/office/drawing/2014/main" id="{73A8AA34-7C7D-A24F-AF24-5158DD2AB0ED}"/>
              </a:ext>
            </a:extLst>
          </p:cNvPr>
          <p:cNvSpPr>
            <a:spLocks noGrp="1"/>
          </p:cNvSpPr>
          <p:nvPr>
            <p:ph type="body" sz="quarter" idx="20" hasCustomPrompt="1"/>
          </p:nvPr>
        </p:nvSpPr>
        <p:spPr>
          <a:xfrm>
            <a:off x="233365" y="1118532"/>
            <a:ext cx="5745032" cy="1098718"/>
          </a:xfrm>
        </p:spPr>
        <p:txBody>
          <a:bodyPr tIns="0" rIns="0" bIns="0" numCol="1" spcCol="94418">
            <a:noAutofit/>
          </a:bodyPr>
          <a:lstStyle>
            <a:lvl1pPr marL="0" indent="0">
              <a:lnSpc>
                <a:spcPct val="100000"/>
              </a:lnSpc>
              <a:spcBef>
                <a:spcPts val="0"/>
              </a:spcBef>
              <a:buNone/>
              <a:defRPr sz="1200" b="1"/>
            </a:lvl1pPr>
            <a:lvl2pPr marL="342434" indent="0">
              <a:buNone/>
              <a:defRPr sz="1400" b="1"/>
            </a:lvl2pPr>
            <a:lvl3pPr marL="684915" indent="0">
              <a:buNone/>
              <a:defRPr sz="1400" b="1"/>
            </a:lvl3pPr>
            <a:lvl4pPr marL="1027368" indent="0">
              <a:buNone/>
              <a:defRPr sz="1400" b="1"/>
            </a:lvl4pPr>
            <a:lvl5pPr marL="1369824" indent="0">
              <a:buNone/>
              <a:defRPr sz="1400" b="1"/>
            </a:lvl5pPr>
          </a:lstStyle>
          <a:p>
            <a:pPr lvl="0"/>
            <a:r>
              <a:rPr lang="en-US"/>
              <a:t>This is your Primary Text.</a:t>
            </a:r>
            <a:endParaRPr lang="x-none"/>
          </a:p>
        </p:txBody>
      </p:sp>
      <p:sp>
        <p:nvSpPr>
          <p:cNvPr id="20" name="Text Placeholder 6">
            <a:extLst>
              <a:ext uri="{FF2B5EF4-FFF2-40B4-BE49-F238E27FC236}">
                <a16:creationId xmlns="" xmlns:a16="http://schemas.microsoft.com/office/drawing/2014/main" id="{8F4B55CE-CF3E-7E44-A66A-599621CA5C5F}"/>
              </a:ext>
            </a:extLst>
          </p:cNvPr>
          <p:cNvSpPr>
            <a:spLocks noGrp="1"/>
          </p:cNvSpPr>
          <p:nvPr>
            <p:ph type="body" sz="quarter" idx="21" hasCustomPrompt="1"/>
          </p:nvPr>
        </p:nvSpPr>
        <p:spPr>
          <a:xfrm>
            <a:off x="233362" y="820327"/>
            <a:ext cx="5745032" cy="204590"/>
          </a:xfrm>
        </p:spPr>
        <p:txBody>
          <a:bodyPr tIns="0" rIns="0" bIns="0" numCol="1">
            <a:noAutofit/>
          </a:bodyPr>
          <a:lstStyle>
            <a:lvl1pPr marL="0" indent="0">
              <a:lnSpc>
                <a:spcPct val="100000"/>
              </a:lnSpc>
              <a:spcBef>
                <a:spcPts val="0"/>
              </a:spcBef>
              <a:spcAft>
                <a:spcPts val="450"/>
              </a:spcAft>
              <a:buNone/>
              <a:defRPr sz="1500" b="1">
                <a:solidFill>
                  <a:schemeClr val="accent1"/>
                </a:solidFill>
              </a:defRPr>
            </a:lvl1pPr>
            <a:lvl2pPr marL="342434" indent="0">
              <a:lnSpc>
                <a:spcPts val="1350"/>
              </a:lnSpc>
              <a:spcBef>
                <a:spcPts val="0"/>
              </a:spcBef>
              <a:buNone/>
              <a:defRPr sz="1100"/>
            </a:lvl2pPr>
            <a:lvl3pPr marL="684915" indent="0">
              <a:lnSpc>
                <a:spcPts val="1350"/>
              </a:lnSpc>
              <a:spcBef>
                <a:spcPts val="0"/>
              </a:spcBef>
              <a:buNone/>
              <a:defRPr sz="1100"/>
            </a:lvl3pPr>
            <a:lvl4pPr marL="1027368" indent="0">
              <a:lnSpc>
                <a:spcPts val="1350"/>
              </a:lnSpc>
              <a:spcBef>
                <a:spcPts val="0"/>
              </a:spcBef>
              <a:buNone/>
              <a:defRPr sz="1100"/>
            </a:lvl4pPr>
            <a:lvl5pPr marL="1369824" indent="0">
              <a:lnSpc>
                <a:spcPts val="1350"/>
              </a:lnSpc>
              <a:spcBef>
                <a:spcPts val="0"/>
              </a:spcBef>
              <a:buNone/>
              <a:defRPr sz="1100"/>
            </a:lvl5pPr>
          </a:lstStyle>
          <a:p>
            <a:pPr lvl="0"/>
            <a:r>
              <a:rPr lang="en-US"/>
              <a:t>This is your Primary Title</a:t>
            </a:r>
          </a:p>
        </p:txBody>
      </p:sp>
    </p:spTree>
    <p:extLst>
      <p:ext uri="{BB962C8B-B14F-4D97-AF65-F5344CB8AC3E}">
        <p14:creationId xmlns:p14="http://schemas.microsoft.com/office/powerpoint/2010/main" val="1451696397"/>
      </p:ext>
    </p:extLst>
  </p:cSld>
  <p:clrMapOvr>
    <a:masterClrMapping/>
  </p:clrMapOvr>
  <p:transition spd="slow">
    <p:push dir="u"/>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Advanced Image 4-Column">
    <p:spTree>
      <p:nvGrpSpPr>
        <p:cNvPr id="1" name=""/>
        <p:cNvGrpSpPr/>
        <p:nvPr/>
      </p:nvGrpSpPr>
      <p:grpSpPr>
        <a:xfrm>
          <a:off x="0" y="0"/>
          <a:ext cx="0" cy="0"/>
          <a:chOff x="0" y="0"/>
          <a:chExt cx="0" cy="0"/>
        </a:xfrm>
      </p:grpSpPr>
      <p:sp>
        <p:nvSpPr>
          <p:cNvPr id="22" name="Picture Placeholder 9">
            <a:extLst>
              <a:ext uri="{FF2B5EF4-FFF2-40B4-BE49-F238E27FC236}">
                <a16:creationId xmlns="" xmlns:a16="http://schemas.microsoft.com/office/drawing/2014/main" id="{21DF8897-54F9-C24F-8261-0C5418827A6D}"/>
              </a:ext>
            </a:extLst>
          </p:cNvPr>
          <p:cNvSpPr>
            <a:spLocks noGrp="1"/>
          </p:cNvSpPr>
          <p:nvPr>
            <p:ph type="pic" sz="quarter" idx="10" hasCustomPrompt="1"/>
          </p:nvPr>
        </p:nvSpPr>
        <p:spPr>
          <a:xfrm>
            <a:off x="6833094" y="2307256"/>
            <a:ext cx="2079031" cy="2354227"/>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marR="0" indent="0" algn="l" defTabSz="684916"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1100">
                <a:solidFill>
                  <a:schemeClr val="tx1"/>
                </a:solidFill>
              </a:defRPr>
            </a:lvl1pPr>
          </a:lstStyle>
          <a:p>
            <a:pPr marL="0" marR="0" lvl="0" indent="0" algn="l" defTabSz="684916"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x-none"/>
              <a:t>Insert Picture/Text Block</a:t>
            </a:r>
          </a:p>
          <a:p>
            <a:endParaRPr lang="x-none"/>
          </a:p>
        </p:txBody>
      </p:sp>
      <p:sp>
        <p:nvSpPr>
          <p:cNvPr id="23" name="Picture Placeholder 9">
            <a:extLst>
              <a:ext uri="{FF2B5EF4-FFF2-40B4-BE49-F238E27FC236}">
                <a16:creationId xmlns="" xmlns:a16="http://schemas.microsoft.com/office/drawing/2014/main" id="{8D6B3691-FCAC-8A46-AA30-DEB2A719C7B2}"/>
              </a:ext>
            </a:extLst>
          </p:cNvPr>
          <p:cNvSpPr>
            <a:spLocks noGrp="1"/>
          </p:cNvSpPr>
          <p:nvPr>
            <p:ph type="pic" sz="quarter" idx="18" hasCustomPrompt="1"/>
          </p:nvPr>
        </p:nvSpPr>
        <p:spPr>
          <a:xfrm>
            <a:off x="233543" y="2307256"/>
            <a:ext cx="2079031" cy="2354227"/>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100">
                <a:solidFill>
                  <a:schemeClr val="tx1"/>
                </a:solidFill>
              </a:defRPr>
            </a:lvl1pPr>
          </a:lstStyle>
          <a:p>
            <a:r>
              <a:rPr lang="x-none"/>
              <a:t>Insert Picture/Text Block</a:t>
            </a:r>
          </a:p>
        </p:txBody>
      </p:sp>
      <p:sp>
        <p:nvSpPr>
          <p:cNvPr id="24" name="Picture Placeholder 9">
            <a:extLst>
              <a:ext uri="{FF2B5EF4-FFF2-40B4-BE49-F238E27FC236}">
                <a16:creationId xmlns="" xmlns:a16="http://schemas.microsoft.com/office/drawing/2014/main" id="{AA8F528A-C9DE-0B46-881A-43E0F9B6F677}"/>
              </a:ext>
            </a:extLst>
          </p:cNvPr>
          <p:cNvSpPr>
            <a:spLocks noGrp="1"/>
          </p:cNvSpPr>
          <p:nvPr>
            <p:ph type="pic" sz="quarter" idx="19" hasCustomPrompt="1"/>
          </p:nvPr>
        </p:nvSpPr>
        <p:spPr>
          <a:xfrm>
            <a:off x="2433371" y="2307256"/>
            <a:ext cx="2079031" cy="2354227"/>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100">
                <a:solidFill>
                  <a:schemeClr val="tx1"/>
                </a:solidFill>
              </a:defRPr>
            </a:lvl1pPr>
          </a:lstStyle>
          <a:p>
            <a:r>
              <a:rPr lang="x-none"/>
              <a:t>Insert Picture/Text Block</a:t>
            </a:r>
          </a:p>
        </p:txBody>
      </p:sp>
      <p:sp>
        <p:nvSpPr>
          <p:cNvPr id="25" name="Picture Placeholder 9">
            <a:extLst>
              <a:ext uri="{FF2B5EF4-FFF2-40B4-BE49-F238E27FC236}">
                <a16:creationId xmlns="" xmlns:a16="http://schemas.microsoft.com/office/drawing/2014/main" id="{E01CF285-75D7-154A-ACF2-9393FB0B38D0}"/>
              </a:ext>
            </a:extLst>
          </p:cNvPr>
          <p:cNvSpPr>
            <a:spLocks noGrp="1"/>
          </p:cNvSpPr>
          <p:nvPr>
            <p:ph type="pic" sz="quarter" idx="20" hasCustomPrompt="1"/>
          </p:nvPr>
        </p:nvSpPr>
        <p:spPr>
          <a:xfrm>
            <a:off x="4633220" y="2307256"/>
            <a:ext cx="2079031" cy="2354227"/>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100">
                <a:solidFill>
                  <a:schemeClr val="tx1"/>
                </a:solidFill>
              </a:defRPr>
            </a:lvl1pPr>
          </a:lstStyle>
          <a:p>
            <a:r>
              <a:rPr lang="en-US"/>
              <a:t>Insert Picture/Text Block</a:t>
            </a:r>
          </a:p>
          <a:p>
            <a:endParaRPr lang="en-US"/>
          </a:p>
          <a:p>
            <a:endParaRPr lang="x-none"/>
          </a:p>
        </p:txBody>
      </p:sp>
      <p:pic>
        <p:nvPicPr>
          <p:cNvPr id="14" name="Picture 13" descr="Takeda">
            <a:extLst>
              <a:ext uri="{FF2B5EF4-FFF2-40B4-BE49-F238E27FC236}">
                <a16:creationId xmlns="" xmlns:a16="http://schemas.microsoft.com/office/drawing/2014/main" id="{47FD433F-488A-9D46-BDF0-87D0F082AE4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09748" y="-1211"/>
            <a:ext cx="1272174" cy="705585"/>
          </a:xfrm>
          <a:prstGeom prst="rect">
            <a:avLst/>
          </a:prstGeom>
        </p:spPr>
      </p:pic>
      <p:sp>
        <p:nvSpPr>
          <p:cNvPr id="18" name="タイトル プレースホルダ 1">
            <a:extLst>
              <a:ext uri="{FF2B5EF4-FFF2-40B4-BE49-F238E27FC236}">
                <a16:creationId xmlns="" xmlns:a16="http://schemas.microsoft.com/office/drawing/2014/main" id="{4FBB8310-69E6-7C4E-A4B1-C022B6FEE2CE}"/>
              </a:ext>
            </a:extLst>
          </p:cNvPr>
          <p:cNvSpPr>
            <a:spLocks noGrp="1"/>
          </p:cNvSpPr>
          <p:nvPr>
            <p:ph type="title" hasCustomPrompt="1"/>
          </p:nvPr>
        </p:nvSpPr>
        <p:spPr>
          <a:xfrm>
            <a:off x="454559" y="121208"/>
            <a:ext cx="7455190" cy="51435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 xmlns:a16="http://schemas.microsoft.com/office/drawing/2014/main" id="{4EF39473-C435-3C4E-9C7B-048D52C3CC92}"/>
              </a:ext>
            </a:extLst>
          </p:cNvPr>
          <p:cNvSpPr>
            <a:spLocks noGrp="1"/>
          </p:cNvSpPr>
          <p:nvPr>
            <p:ph type="ftr" sz="quarter" idx="3"/>
          </p:nvPr>
        </p:nvSpPr>
        <p:spPr>
          <a:xfrm>
            <a:off x="5824538" y="4892251"/>
            <a:ext cx="3086100" cy="147098"/>
          </a:xfrm>
          <a:prstGeom prst="rect">
            <a:avLst/>
          </a:prstGeom>
        </p:spPr>
        <p:txBody>
          <a:bodyPr vert="horz" lIns="68519" tIns="34289" rIns="0" bIns="34289" rtlCol="0" anchor="ctr"/>
          <a:lstStyle>
            <a:lvl1pPr algn="r">
              <a:defRPr sz="600" b="1" spc="75" baseline="0">
                <a:solidFill>
                  <a:schemeClr val="tx1"/>
                </a:solidFill>
              </a:defRPr>
            </a:lvl1pPr>
          </a:lstStyle>
          <a:p>
            <a:r>
              <a:rPr lang="en-US">
                <a:solidFill>
                  <a:srgbClr val="34373F"/>
                </a:solidFill>
              </a:rPr>
              <a:t> </a:t>
            </a:r>
            <a:endParaRPr lang="x-none">
              <a:solidFill>
                <a:srgbClr val="34373F"/>
              </a:solidFill>
            </a:endParaRPr>
          </a:p>
        </p:txBody>
      </p:sp>
      <p:sp>
        <p:nvSpPr>
          <p:cNvPr id="21" name="Rectangle 20">
            <a:extLst>
              <a:ext uri="{FF2B5EF4-FFF2-40B4-BE49-F238E27FC236}">
                <a16:creationId xmlns="" xmlns:a16="http://schemas.microsoft.com/office/drawing/2014/main" id="{0FEF9AE6-D84E-9F43-9506-6676EC51B210}"/>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19" tIns="34289" rIns="68519" bIns="34289" rtlCol="0" anchor="ctr"/>
          <a:lstStyle/>
          <a:p>
            <a:pPr algn="ctr" defTabSz="685103"/>
            <a:endParaRPr kumimoji="1" lang="x-none" sz="1400">
              <a:solidFill>
                <a:srgbClr val="E1242A"/>
              </a:solidFill>
            </a:endParaRPr>
          </a:p>
        </p:txBody>
      </p:sp>
      <p:sp>
        <p:nvSpPr>
          <p:cNvPr id="28" name="スライド番号プレースホルダ 5">
            <a:extLst>
              <a:ext uri="{FF2B5EF4-FFF2-40B4-BE49-F238E27FC236}">
                <a16:creationId xmlns="" xmlns:a16="http://schemas.microsoft.com/office/drawing/2014/main" id="{F964ADE6-9B0D-EC45-959C-FEEA5CDDFBA9}"/>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3185"/>
            <a:fld id="{E9B57936-92EF-4126-AE48-1D9D36D15E98}" type="slidenum">
              <a:rPr lang="ja-JP" altLang="en-US" smtClean="0">
                <a:solidFill>
                  <a:srgbClr val="34373F"/>
                </a:solidFill>
              </a:rPr>
              <a:pPr defTabSz="913185"/>
              <a:t>‹Nº›</a:t>
            </a:fld>
            <a:endParaRPr lang="ja-JP" altLang="en-US">
              <a:solidFill>
                <a:srgbClr val="34373F"/>
              </a:solidFill>
            </a:endParaRPr>
          </a:p>
        </p:txBody>
      </p:sp>
      <p:sp>
        <p:nvSpPr>
          <p:cNvPr id="29" name="Text Placeholder 6">
            <a:extLst>
              <a:ext uri="{FF2B5EF4-FFF2-40B4-BE49-F238E27FC236}">
                <a16:creationId xmlns="" xmlns:a16="http://schemas.microsoft.com/office/drawing/2014/main" id="{870D8562-3CE7-7044-9BB0-2068A81BF5CB}"/>
              </a:ext>
            </a:extLst>
          </p:cNvPr>
          <p:cNvSpPr>
            <a:spLocks noGrp="1"/>
          </p:cNvSpPr>
          <p:nvPr>
            <p:ph type="body" sz="quarter" idx="16" hasCustomPrompt="1"/>
          </p:nvPr>
        </p:nvSpPr>
        <p:spPr>
          <a:xfrm>
            <a:off x="454559" y="4892253"/>
            <a:ext cx="5226261" cy="154210"/>
          </a:xfrm>
          <a:prstGeom prst="rect">
            <a:avLst/>
          </a:prstGeom>
        </p:spPr>
        <p:txBody>
          <a:bodyPr wrap="none" tIns="0" rIns="0" bIns="53959" numCol="1" anchor="ctr">
            <a:noAutofit/>
          </a:bodyPr>
          <a:lstStyle>
            <a:lvl1pPr marL="0" indent="0">
              <a:lnSpc>
                <a:spcPts val="1200"/>
              </a:lnSpc>
              <a:spcBef>
                <a:spcPts val="0"/>
              </a:spcBef>
              <a:spcAft>
                <a:spcPts val="450"/>
              </a:spcAft>
              <a:buFont typeface="Arial" panose="020B0604020202020204" pitchFamily="34" charset="0"/>
              <a:buNone/>
              <a:defRPr sz="600" b="0">
                <a:solidFill>
                  <a:schemeClr val="accent3"/>
                </a:solidFill>
              </a:defRPr>
            </a:lvl1pPr>
            <a:lvl2pPr marL="342434" indent="0">
              <a:lnSpc>
                <a:spcPts val="1350"/>
              </a:lnSpc>
              <a:spcBef>
                <a:spcPts val="0"/>
              </a:spcBef>
              <a:buNone/>
              <a:defRPr sz="1100"/>
            </a:lvl2pPr>
            <a:lvl3pPr marL="684915" indent="0">
              <a:lnSpc>
                <a:spcPts val="1350"/>
              </a:lnSpc>
              <a:spcBef>
                <a:spcPts val="0"/>
              </a:spcBef>
              <a:buNone/>
              <a:defRPr sz="1100"/>
            </a:lvl3pPr>
            <a:lvl4pPr marL="1027368" indent="0">
              <a:lnSpc>
                <a:spcPts val="1350"/>
              </a:lnSpc>
              <a:spcBef>
                <a:spcPts val="0"/>
              </a:spcBef>
              <a:buNone/>
              <a:defRPr sz="1100"/>
            </a:lvl4pPr>
            <a:lvl5pPr marL="1369824" indent="0">
              <a:lnSpc>
                <a:spcPts val="1350"/>
              </a:lnSpc>
              <a:spcBef>
                <a:spcPts val="0"/>
              </a:spcBef>
              <a:buNone/>
              <a:defRPr sz="1100"/>
            </a:lvl5pPr>
          </a:lstStyle>
          <a:p>
            <a:pPr lvl="0"/>
            <a:r>
              <a:rPr lang="en-US"/>
              <a:t>Private and confidential. For internal use only.</a:t>
            </a:r>
          </a:p>
        </p:txBody>
      </p:sp>
      <p:sp>
        <p:nvSpPr>
          <p:cNvPr id="19" name="Text Placeholder 2">
            <a:extLst>
              <a:ext uri="{FF2B5EF4-FFF2-40B4-BE49-F238E27FC236}">
                <a16:creationId xmlns="" xmlns:a16="http://schemas.microsoft.com/office/drawing/2014/main" id="{099C450B-0755-7D4A-9672-E700D6F2E50A}"/>
              </a:ext>
            </a:extLst>
          </p:cNvPr>
          <p:cNvSpPr>
            <a:spLocks noGrp="1"/>
          </p:cNvSpPr>
          <p:nvPr>
            <p:ph type="body" sz="quarter" idx="21" hasCustomPrompt="1"/>
          </p:nvPr>
        </p:nvSpPr>
        <p:spPr>
          <a:xfrm>
            <a:off x="233365" y="1118532"/>
            <a:ext cx="8677274" cy="1098718"/>
          </a:xfrm>
        </p:spPr>
        <p:txBody>
          <a:bodyPr tIns="0" rIns="0" bIns="0" numCol="1" spcCol="94418">
            <a:noAutofit/>
          </a:bodyPr>
          <a:lstStyle>
            <a:lvl1pPr marL="0" indent="0">
              <a:lnSpc>
                <a:spcPct val="100000"/>
              </a:lnSpc>
              <a:spcBef>
                <a:spcPts val="0"/>
              </a:spcBef>
              <a:buNone/>
              <a:defRPr sz="1200" b="1"/>
            </a:lvl1pPr>
            <a:lvl2pPr marL="342434" indent="0">
              <a:buNone/>
              <a:defRPr sz="1400" b="1"/>
            </a:lvl2pPr>
            <a:lvl3pPr marL="684915" indent="0">
              <a:buNone/>
              <a:defRPr sz="1400" b="1"/>
            </a:lvl3pPr>
            <a:lvl4pPr marL="1027368" indent="0">
              <a:buNone/>
              <a:defRPr sz="1400" b="1"/>
            </a:lvl4pPr>
            <a:lvl5pPr marL="1369824" indent="0">
              <a:buNone/>
              <a:defRPr sz="1400" b="1"/>
            </a:lvl5pPr>
          </a:lstStyle>
          <a:p>
            <a:pPr lvl="0"/>
            <a:r>
              <a:rPr lang="en-US"/>
              <a:t>This is your Primary Text.</a:t>
            </a:r>
            <a:endParaRPr lang="x-none"/>
          </a:p>
        </p:txBody>
      </p:sp>
      <p:sp>
        <p:nvSpPr>
          <p:cNvPr id="20" name="Text Placeholder 6">
            <a:extLst>
              <a:ext uri="{FF2B5EF4-FFF2-40B4-BE49-F238E27FC236}">
                <a16:creationId xmlns="" xmlns:a16="http://schemas.microsoft.com/office/drawing/2014/main" id="{705B1BEB-AC9F-9643-A446-ABE1DDB96144}"/>
              </a:ext>
            </a:extLst>
          </p:cNvPr>
          <p:cNvSpPr>
            <a:spLocks noGrp="1"/>
          </p:cNvSpPr>
          <p:nvPr>
            <p:ph type="body" sz="quarter" idx="22" hasCustomPrompt="1"/>
          </p:nvPr>
        </p:nvSpPr>
        <p:spPr>
          <a:xfrm>
            <a:off x="233362" y="820327"/>
            <a:ext cx="8677274" cy="204590"/>
          </a:xfrm>
        </p:spPr>
        <p:txBody>
          <a:bodyPr tIns="0" rIns="0" bIns="0" numCol="1">
            <a:noAutofit/>
          </a:bodyPr>
          <a:lstStyle>
            <a:lvl1pPr marL="0" indent="0">
              <a:lnSpc>
                <a:spcPct val="100000"/>
              </a:lnSpc>
              <a:spcBef>
                <a:spcPts val="0"/>
              </a:spcBef>
              <a:spcAft>
                <a:spcPts val="450"/>
              </a:spcAft>
              <a:buNone/>
              <a:defRPr sz="1500" b="1">
                <a:solidFill>
                  <a:schemeClr val="accent1"/>
                </a:solidFill>
              </a:defRPr>
            </a:lvl1pPr>
            <a:lvl2pPr marL="342434" indent="0">
              <a:lnSpc>
                <a:spcPts val="1350"/>
              </a:lnSpc>
              <a:spcBef>
                <a:spcPts val="0"/>
              </a:spcBef>
              <a:buNone/>
              <a:defRPr sz="1100"/>
            </a:lvl2pPr>
            <a:lvl3pPr marL="684915" indent="0">
              <a:lnSpc>
                <a:spcPts val="1350"/>
              </a:lnSpc>
              <a:spcBef>
                <a:spcPts val="0"/>
              </a:spcBef>
              <a:buNone/>
              <a:defRPr sz="1100"/>
            </a:lvl3pPr>
            <a:lvl4pPr marL="1027368" indent="0">
              <a:lnSpc>
                <a:spcPts val="1350"/>
              </a:lnSpc>
              <a:spcBef>
                <a:spcPts val="0"/>
              </a:spcBef>
              <a:buNone/>
              <a:defRPr sz="1100"/>
            </a:lvl4pPr>
            <a:lvl5pPr marL="1369824" indent="0">
              <a:lnSpc>
                <a:spcPts val="1350"/>
              </a:lnSpc>
              <a:spcBef>
                <a:spcPts val="0"/>
              </a:spcBef>
              <a:buNone/>
              <a:defRPr sz="1100"/>
            </a:lvl5pPr>
          </a:lstStyle>
          <a:p>
            <a:pPr lvl="0"/>
            <a:r>
              <a:rPr lang="en-US"/>
              <a:t>This is your Primary Title</a:t>
            </a:r>
          </a:p>
        </p:txBody>
      </p:sp>
    </p:spTree>
    <p:extLst>
      <p:ext uri="{BB962C8B-B14F-4D97-AF65-F5344CB8AC3E}">
        <p14:creationId xmlns:p14="http://schemas.microsoft.com/office/powerpoint/2010/main" val="251561064"/>
      </p:ext>
    </p:extLst>
  </p:cSld>
  <p:clrMapOvr>
    <a:masterClrMapping/>
  </p:clrMapOvr>
  <p:transition spd="slow">
    <p:push dir="u"/>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Advanced Chart Full Width">
    <p:spTree>
      <p:nvGrpSpPr>
        <p:cNvPr id="1" name=""/>
        <p:cNvGrpSpPr/>
        <p:nvPr/>
      </p:nvGrpSpPr>
      <p:grpSpPr>
        <a:xfrm>
          <a:off x="0" y="0"/>
          <a:ext cx="0" cy="0"/>
          <a:chOff x="0" y="0"/>
          <a:chExt cx="0" cy="0"/>
        </a:xfrm>
      </p:grpSpPr>
      <p:sp>
        <p:nvSpPr>
          <p:cNvPr id="8" name="Chart Placeholder 7">
            <a:extLst>
              <a:ext uri="{FF2B5EF4-FFF2-40B4-BE49-F238E27FC236}">
                <a16:creationId xmlns="" xmlns:a16="http://schemas.microsoft.com/office/drawing/2014/main" id="{A6D4E593-FDCC-D14E-9C5E-5F309E415C26}"/>
              </a:ext>
            </a:extLst>
          </p:cNvPr>
          <p:cNvSpPr>
            <a:spLocks noGrp="1"/>
          </p:cNvSpPr>
          <p:nvPr>
            <p:ph type="chart" sz="quarter" idx="21" hasCustomPrompt="1"/>
          </p:nvPr>
        </p:nvSpPr>
        <p:spPr>
          <a:xfrm>
            <a:off x="231917" y="2307216"/>
            <a:ext cx="8678721" cy="2505292"/>
          </a:xfrm>
          <a:prstGeom prst="rect">
            <a:avLst/>
          </a:prstGeom>
        </p:spPr>
        <p:txBody>
          <a:bodyPr>
            <a:normAutofit/>
          </a:bodyPr>
          <a:lstStyle>
            <a:lvl1pPr marL="0" indent="0">
              <a:buNone/>
              <a:defRPr sz="1100"/>
            </a:lvl1pPr>
          </a:lstStyle>
          <a:p>
            <a:r>
              <a:rPr lang="x-none"/>
              <a:t>Insert Chart</a:t>
            </a:r>
          </a:p>
        </p:txBody>
      </p:sp>
      <p:pic>
        <p:nvPicPr>
          <p:cNvPr id="11" name="Picture 10" descr="Takeda">
            <a:extLst>
              <a:ext uri="{FF2B5EF4-FFF2-40B4-BE49-F238E27FC236}">
                <a16:creationId xmlns="" xmlns:a16="http://schemas.microsoft.com/office/drawing/2014/main" id="{7EBA21A8-EE4B-6E4B-A794-3FEA5B1599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09748" y="-1211"/>
            <a:ext cx="1272174" cy="705585"/>
          </a:xfrm>
          <a:prstGeom prst="rect">
            <a:avLst/>
          </a:prstGeom>
        </p:spPr>
      </p:pic>
      <p:sp>
        <p:nvSpPr>
          <p:cNvPr id="12" name="タイトル プレースホルダ 1">
            <a:extLst>
              <a:ext uri="{FF2B5EF4-FFF2-40B4-BE49-F238E27FC236}">
                <a16:creationId xmlns="" xmlns:a16="http://schemas.microsoft.com/office/drawing/2014/main" id="{75E45CD2-2EBD-AE47-837E-9F752C565F73}"/>
              </a:ext>
            </a:extLst>
          </p:cNvPr>
          <p:cNvSpPr>
            <a:spLocks noGrp="1"/>
          </p:cNvSpPr>
          <p:nvPr>
            <p:ph type="title" hasCustomPrompt="1"/>
          </p:nvPr>
        </p:nvSpPr>
        <p:spPr>
          <a:xfrm>
            <a:off x="454559" y="121208"/>
            <a:ext cx="7455190" cy="51435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 xmlns:a16="http://schemas.microsoft.com/office/drawing/2014/main" id="{2DC26CE8-1DEF-EE42-861C-B0406E8DC23D}"/>
              </a:ext>
            </a:extLst>
          </p:cNvPr>
          <p:cNvSpPr>
            <a:spLocks noGrp="1"/>
          </p:cNvSpPr>
          <p:nvPr>
            <p:ph type="ftr" sz="quarter" idx="3"/>
          </p:nvPr>
        </p:nvSpPr>
        <p:spPr>
          <a:xfrm>
            <a:off x="5824538" y="4892251"/>
            <a:ext cx="3086100" cy="147098"/>
          </a:xfrm>
          <a:prstGeom prst="rect">
            <a:avLst/>
          </a:prstGeom>
        </p:spPr>
        <p:txBody>
          <a:bodyPr vert="horz" lIns="68519" tIns="34289" rIns="0" bIns="34289" rtlCol="0" anchor="ctr"/>
          <a:lstStyle>
            <a:lvl1pPr algn="r">
              <a:defRPr sz="600" b="1" spc="75" baseline="0">
                <a:solidFill>
                  <a:schemeClr val="tx1"/>
                </a:solidFill>
              </a:defRPr>
            </a:lvl1pPr>
          </a:lstStyle>
          <a:p>
            <a:r>
              <a:rPr lang="x-none">
                <a:solidFill>
                  <a:srgbClr val="34373F"/>
                </a:solidFill>
              </a:rPr>
              <a:t> </a:t>
            </a:r>
          </a:p>
        </p:txBody>
      </p:sp>
      <p:sp>
        <p:nvSpPr>
          <p:cNvPr id="20" name="Rectangle 19">
            <a:extLst>
              <a:ext uri="{FF2B5EF4-FFF2-40B4-BE49-F238E27FC236}">
                <a16:creationId xmlns="" xmlns:a16="http://schemas.microsoft.com/office/drawing/2014/main" id="{4436966D-3DF0-4D41-9D26-4860D147F807}"/>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19" tIns="34289" rIns="68519" bIns="34289" rtlCol="0" anchor="ctr"/>
          <a:lstStyle/>
          <a:p>
            <a:pPr algn="ctr" defTabSz="685103"/>
            <a:endParaRPr kumimoji="1" lang="x-none" sz="1400">
              <a:solidFill>
                <a:srgbClr val="E1242A"/>
              </a:solidFill>
            </a:endParaRPr>
          </a:p>
        </p:txBody>
      </p:sp>
      <p:sp>
        <p:nvSpPr>
          <p:cNvPr id="23" name="スライド番号プレースホルダ 5">
            <a:extLst>
              <a:ext uri="{FF2B5EF4-FFF2-40B4-BE49-F238E27FC236}">
                <a16:creationId xmlns="" xmlns:a16="http://schemas.microsoft.com/office/drawing/2014/main" id="{600920FB-2D44-F645-865D-89FFECB09573}"/>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3185"/>
            <a:fld id="{E9B57936-92EF-4126-AE48-1D9D36D15E98}" type="slidenum">
              <a:rPr lang="ja-JP" altLang="en-US" smtClean="0">
                <a:solidFill>
                  <a:srgbClr val="34373F"/>
                </a:solidFill>
              </a:rPr>
              <a:pPr defTabSz="913185"/>
              <a:t>‹Nº›</a:t>
            </a:fld>
            <a:endParaRPr lang="ja-JP" altLang="en-US">
              <a:solidFill>
                <a:srgbClr val="34373F"/>
              </a:solidFill>
            </a:endParaRPr>
          </a:p>
        </p:txBody>
      </p:sp>
      <p:sp>
        <p:nvSpPr>
          <p:cNvPr id="24" name="Text Placeholder 6">
            <a:extLst>
              <a:ext uri="{FF2B5EF4-FFF2-40B4-BE49-F238E27FC236}">
                <a16:creationId xmlns="" xmlns:a16="http://schemas.microsoft.com/office/drawing/2014/main" id="{07DE8F7E-1418-1C4C-A62B-2385714992F7}"/>
              </a:ext>
            </a:extLst>
          </p:cNvPr>
          <p:cNvSpPr>
            <a:spLocks noGrp="1"/>
          </p:cNvSpPr>
          <p:nvPr>
            <p:ph type="body" sz="quarter" idx="16" hasCustomPrompt="1"/>
          </p:nvPr>
        </p:nvSpPr>
        <p:spPr>
          <a:xfrm>
            <a:off x="454559" y="4892253"/>
            <a:ext cx="5226261" cy="154210"/>
          </a:xfrm>
          <a:prstGeom prst="rect">
            <a:avLst/>
          </a:prstGeom>
        </p:spPr>
        <p:txBody>
          <a:bodyPr wrap="none" tIns="0" rIns="0" bIns="53959" numCol="1" anchor="ctr">
            <a:noAutofit/>
          </a:bodyPr>
          <a:lstStyle>
            <a:lvl1pPr marL="0" indent="0">
              <a:lnSpc>
                <a:spcPts val="1200"/>
              </a:lnSpc>
              <a:spcBef>
                <a:spcPts val="0"/>
              </a:spcBef>
              <a:spcAft>
                <a:spcPts val="450"/>
              </a:spcAft>
              <a:buFont typeface="Arial" panose="020B0604020202020204" pitchFamily="34" charset="0"/>
              <a:buNone/>
              <a:defRPr sz="600" b="0">
                <a:solidFill>
                  <a:schemeClr val="accent3"/>
                </a:solidFill>
              </a:defRPr>
            </a:lvl1pPr>
            <a:lvl2pPr marL="342434" indent="0">
              <a:lnSpc>
                <a:spcPts val="1350"/>
              </a:lnSpc>
              <a:spcBef>
                <a:spcPts val="0"/>
              </a:spcBef>
              <a:buNone/>
              <a:defRPr sz="1100"/>
            </a:lvl2pPr>
            <a:lvl3pPr marL="684915" indent="0">
              <a:lnSpc>
                <a:spcPts val="1350"/>
              </a:lnSpc>
              <a:spcBef>
                <a:spcPts val="0"/>
              </a:spcBef>
              <a:buNone/>
              <a:defRPr sz="1100"/>
            </a:lvl3pPr>
            <a:lvl4pPr marL="1027368" indent="0">
              <a:lnSpc>
                <a:spcPts val="1350"/>
              </a:lnSpc>
              <a:spcBef>
                <a:spcPts val="0"/>
              </a:spcBef>
              <a:buNone/>
              <a:defRPr sz="1100"/>
            </a:lvl4pPr>
            <a:lvl5pPr marL="1369824" indent="0">
              <a:lnSpc>
                <a:spcPts val="1350"/>
              </a:lnSpc>
              <a:spcBef>
                <a:spcPts val="0"/>
              </a:spcBef>
              <a:buNone/>
              <a:defRPr sz="1100"/>
            </a:lvl5pPr>
          </a:lstStyle>
          <a:p>
            <a:pPr lvl="0"/>
            <a:r>
              <a:rPr lang="en-US"/>
              <a:t>Private and confidential. For internal use only.</a:t>
            </a:r>
          </a:p>
        </p:txBody>
      </p:sp>
      <p:sp>
        <p:nvSpPr>
          <p:cNvPr id="14" name="Text Placeholder 2">
            <a:extLst>
              <a:ext uri="{FF2B5EF4-FFF2-40B4-BE49-F238E27FC236}">
                <a16:creationId xmlns="" xmlns:a16="http://schemas.microsoft.com/office/drawing/2014/main" id="{628A960D-6A45-6744-9BDB-7070B443CC64}"/>
              </a:ext>
            </a:extLst>
          </p:cNvPr>
          <p:cNvSpPr>
            <a:spLocks noGrp="1"/>
          </p:cNvSpPr>
          <p:nvPr>
            <p:ph type="body" sz="quarter" idx="20" hasCustomPrompt="1"/>
          </p:nvPr>
        </p:nvSpPr>
        <p:spPr>
          <a:xfrm>
            <a:off x="233365" y="1118532"/>
            <a:ext cx="8677274" cy="1098718"/>
          </a:xfrm>
        </p:spPr>
        <p:txBody>
          <a:bodyPr tIns="0" rIns="0" bIns="0" numCol="1" spcCol="94418">
            <a:noAutofit/>
          </a:bodyPr>
          <a:lstStyle>
            <a:lvl1pPr marL="0" indent="0">
              <a:lnSpc>
                <a:spcPct val="100000"/>
              </a:lnSpc>
              <a:spcBef>
                <a:spcPts val="0"/>
              </a:spcBef>
              <a:buNone/>
              <a:defRPr sz="1200" b="1"/>
            </a:lvl1pPr>
            <a:lvl2pPr marL="342434" indent="0">
              <a:buNone/>
              <a:defRPr sz="1400" b="1"/>
            </a:lvl2pPr>
            <a:lvl3pPr marL="684915" indent="0">
              <a:buNone/>
              <a:defRPr sz="1400" b="1"/>
            </a:lvl3pPr>
            <a:lvl4pPr marL="1027368" indent="0">
              <a:buNone/>
              <a:defRPr sz="1400" b="1"/>
            </a:lvl4pPr>
            <a:lvl5pPr marL="1369824" indent="0">
              <a:buNone/>
              <a:defRPr sz="1400" b="1"/>
            </a:lvl5pPr>
          </a:lstStyle>
          <a:p>
            <a:pPr lvl="0"/>
            <a:r>
              <a:rPr lang="en-US"/>
              <a:t>This is your Primary Text.</a:t>
            </a:r>
            <a:endParaRPr lang="x-none"/>
          </a:p>
        </p:txBody>
      </p:sp>
      <p:sp>
        <p:nvSpPr>
          <p:cNvPr id="15" name="Text Placeholder 6">
            <a:extLst>
              <a:ext uri="{FF2B5EF4-FFF2-40B4-BE49-F238E27FC236}">
                <a16:creationId xmlns="" xmlns:a16="http://schemas.microsoft.com/office/drawing/2014/main" id="{21493179-5EA4-604B-A9DF-BDA818F0166A}"/>
              </a:ext>
            </a:extLst>
          </p:cNvPr>
          <p:cNvSpPr>
            <a:spLocks noGrp="1"/>
          </p:cNvSpPr>
          <p:nvPr>
            <p:ph type="body" sz="quarter" idx="22" hasCustomPrompt="1"/>
          </p:nvPr>
        </p:nvSpPr>
        <p:spPr>
          <a:xfrm>
            <a:off x="233362" y="820327"/>
            <a:ext cx="8677274" cy="204590"/>
          </a:xfrm>
        </p:spPr>
        <p:txBody>
          <a:bodyPr tIns="0" rIns="0" bIns="0" numCol="1">
            <a:noAutofit/>
          </a:bodyPr>
          <a:lstStyle>
            <a:lvl1pPr marL="0" indent="0">
              <a:lnSpc>
                <a:spcPct val="100000"/>
              </a:lnSpc>
              <a:spcBef>
                <a:spcPts val="0"/>
              </a:spcBef>
              <a:spcAft>
                <a:spcPts val="450"/>
              </a:spcAft>
              <a:buNone/>
              <a:defRPr sz="1500" b="1">
                <a:solidFill>
                  <a:schemeClr val="accent1"/>
                </a:solidFill>
              </a:defRPr>
            </a:lvl1pPr>
            <a:lvl2pPr marL="342434" indent="0">
              <a:lnSpc>
                <a:spcPts val="1350"/>
              </a:lnSpc>
              <a:spcBef>
                <a:spcPts val="0"/>
              </a:spcBef>
              <a:buNone/>
              <a:defRPr sz="1100"/>
            </a:lvl2pPr>
            <a:lvl3pPr marL="684915" indent="0">
              <a:lnSpc>
                <a:spcPts val="1350"/>
              </a:lnSpc>
              <a:spcBef>
                <a:spcPts val="0"/>
              </a:spcBef>
              <a:buNone/>
              <a:defRPr sz="1100"/>
            </a:lvl3pPr>
            <a:lvl4pPr marL="1027368" indent="0">
              <a:lnSpc>
                <a:spcPts val="1350"/>
              </a:lnSpc>
              <a:spcBef>
                <a:spcPts val="0"/>
              </a:spcBef>
              <a:buNone/>
              <a:defRPr sz="1100"/>
            </a:lvl4pPr>
            <a:lvl5pPr marL="1369824" indent="0">
              <a:lnSpc>
                <a:spcPts val="1350"/>
              </a:lnSpc>
              <a:spcBef>
                <a:spcPts val="0"/>
              </a:spcBef>
              <a:buNone/>
              <a:defRPr sz="1100"/>
            </a:lvl5pPr>
          </a:lstStyle>
          <a:p>
            <a:pPr lvl="0"/>
            <a:r>
              <a:rPr lang="en-US"/>
              <a:t>This is your Primary Title</a:t>
            </a:r>
          </a:p>
        </p:txBody>
      </p:sp>
    </p:spTree>
    <p:extLst>
      <p:ext uri="{BB962C8B-B14F-4D97-AF65-F5344CB8AC3E}">
        <p14:creationId xmlns:p14="http://schemas.microsoft.com/office/powerpoint/2010/main" val="1430759579"/>
      </p:ext>
    </p:extLst>
  </p:cSld>
  <p:clrMapOvr>
    <a:masterClrMapping/>
  </p:clrMapOvr>
  <p:transition spd="slow">
    <p:push dir="u"/>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Advanced Chart 2/3">
    <p:spTree>
      <p:nvGrpSpPr>
        <p:cNvPr id="1" name=""/>
        <p:cNvGrpSpPr/>
        <p:nvPr/>
      </p:nvGrpSpPr>
      <p:grpSpPr>
        <a:xfrm>
          <a:off x="0" y="0"/>
          <a:ext cx="0" cy="0"/>
          <a:chOff x="0" y="0"/>
          <a:chExt cx="0" cy="0"/>
        </a:xfrm>
      </p:grpSpPr>
      <p:sp>
        <p:nvSpPr>
          <p:cNvPr id="8" name="Chart Placeholder 7">
            <a:extLst>
              <a:ext uri="{FF2B5EF4-FFF2-40B4-BE49-F238E27FC236}">
                <a16:creationId xmlns="" xmlns:a16="http://schemas.microsoft.com/office/drawing/2014/main" id="{A6D4E593-FDCC-D14E-9C5E-5F309E415C26}"/>
              </a:ext>
            </a:extLst>
          </p:cNvPr>
          <p:cNvSpPr>
            <a:spLocks noGrp="1"/>
          </p:cNvSpPr>
          <p:nvPr>
            <p:ph type="chart" sz="quarter" idx="21" hasCustomPrompt="1"/>
          </p:nvPr>
        </p:nvSpPr>
        <p:spPr>
          <a:xfrm>
            <a:off x="3170429" y="820325"/>
            <a:ext cx="5740219" cy="3992181"/>
          </a:xfrm>
          <a:prstGeom prst="rect">
            <a:avLst/>
          </a:prstGeom>
        </p:spPr>
        <p:txBody>
          <a:bodyPr>
            <a:normAutofit/>
          </a:bodyPr>
          <a:lstStyle>
            <a:lvl1pPr marL="0" indent="0">
              <a:buNone/>
              <a:defRPr sz="1100"/>
            </a:lvl1pPr>
          </a:lstStyle>
          <a:p>
            <a:r>
              <a:rPr lang="x-none"/>
              <a:t>Insert Chart</a:t>
            </a:r>
          </a:p>
        </p:txBody>
      </p:sp>
      <p:sp>
        <p:nvSpPr>
          <p:cNvPr id="9" name="Text Placeholder 6">
            <a:extLst>
              <a:ext uri="{FF2B5EF4-FFF2-40B4-BE49-F238E27FC236}">
                <a16:creationId xmlns="" xmlns:a16="http://schemas.microsoft.com/office/drawing/2014/main" id="{EF65D74B-37DA-0D46-8B56-9B362C84E6B9}"/>
              </a:ext>
            </a:extLst>
          </p:cNvPr>
          <p:cNvSpPr>
            <a:spLocks noGrp="1"/>
          </p:cNvSpPr>
          <p:nvPr>
            <p:ph type="body" sz="quarter" idx="14" hasCustomPrompt="1"/>
          </p:nvPr>
        </p:nvSpPr>
        <p:spPr>
          <a:xfrm>
            <a:off x="233367" y="2383723"/>
            <a:ext cx="2813975" cy="204590"/>
          </a:xfrm>
          <a:prstGeom prst="rect">
            <a:avLst/>
          </a:prstGeom>
        </p:spPr>
        <p:txBody>
          <a:bodyPr tIns="0" rIns="0" bIns="0" numCol="1">
            <a:noAutofit/>
          </a:bodyPr>
          <a:lstStyle>
            <a:lvl1pPr marL="0" indent="0">
              <a:lnSpc>
                <a:spcPct val="100000"/>
              </a:lnSpc>
              <a:spcBef>
                <a:spcPts val="0"/>
              </a:spcBef>
              <a:spcAft>
                <a:spcPts val="450"/>
              </a:spcAft>
              <a:buNone/>
              <a:defRPr sz="1400" b="1">
                <a:solidFill>
                  <a:schemeClr val="accent1"/>
                </a:solidFill>
              </a:defRPr>
            </a:lvl1pPr>
            <a:lvl2pPr marL="342434" indent="0">
              <a:lnSpc>
                <a:spcPts val="1350"/>
              </a:lnSpc>
              <a:spcBef>
                <a:spcPts val="0"/>
              </a:spcBef>
              <a:buNone/>
              <a:defRPr sz="1100"/>
            </a:lvl2pPr>
            <a:lvl3pPr marL="684915" indent="0">
              <a:lnSpc>
                <a:spcPts val="1350"/>
              </a:lnSpc>
              <a:spcBef>
                <a:spcPts val="0"/>
              </a:spcBef>
              <a:buNone/>
              <a:defRPr sz="1100"/>
            </a:lvl3pPr>
            <a:lvl4pPr marL="1027368" indent="0">
              <a:lnSpc>
                <a:spcPts val="1350"/>
              </a:lnSpc>
              <a:spcBef>
                <a:spcPts val="0"/>
              </a:spcBef>
              <a:buNone/>
              <a:defRPr sz="1100"/>
            </a:lvl4pPr>
            <a:lvl5pPr marL="1369824" indent="0">
              <a:lnSpc>
                <a:spcPts val="1350"/>
              </a:lnSpc>
              <a:spcBef>
                <a:spcPts val="0"/>
              </a:spcBef>
              <a:buNone/>
              <a:defRPr sz="1100"/>
            </a:lvl5pPr>
          </a:lstStyle>
          <a:p>
            <a:pPr lvl="0"/>
            <a:r>
              <a:rPr lang="en-US"/>
              <a:t>This is your Secondary Title</a:t>
            </a:r>
          </a:p>
        </p:txBody>
      </p:sp>
      <p:sp>
        <p:nvSpPr>
          <p:cNvPr id="10" name="Text Placeholder 6">
            <a:extLst>
              <a:ext uri="{FF2B5EF4-FFF2-40B4-BE49-F238E27FC236}">
                <a16:creationId xmlns="" xmlns:a16="http://schemas.microsoft.com/office/drawing/2014/main" id="{BF5F6A26-5AAA-884F-A319-DE9881530AA7}"/>
              </a:ext>
            </a:extLst>
          </p:cNvPr>
          <p:cNvSpPr>
            <a:spLocks noGrp="1"/>
          </p:cNvSpPr>
          <p:nvPr>
            <p:ph type="body" sz="quarter" idx="15" hasCustomPrompt="1"/>
          </p:nvPr>
        </p:nvSpPr>
        <p:spPr>
          <a:xfrm>
            <a:off x="233367" y="2681929"/>
            <a:ext cx="2813975" cy="2130578"/>
          </a:xfrm>
          <a:prstGeom prst="rect">
            <a:avLst/>
          </a:prstGeom>
        </p:spPr>
        <p:txBody>
          <a:bodyPr tIns="0" rIns="0" bIns="0" numCol="1">
            <a:noAutofit/>
          </a:bodyPr>
          <a:lstStyle>
            <a:lvl1pPr marL="128465" indent="-128465">
              <a:lnSpc>
                <a:spcPct val="100000"/>
              </a:lnSpc>
              <a:spcBef>
                <a:spcPts val="0"/>
              </a:spcBef>
              <a:spcAft>
                <a:spcPts val="450"/>
              </a:spcAft>
              <a:buFont typeface="Arial" panose="020B0604020202020204" pitchFamily="34" charset="0"/>
              <a:buChar char="•"/>
              <a:defRPr sz="1100" b="0">
                <a:solidFill>
                  <a:schemeClr val="tx1"/>
                </a:solidFill>
              </a:defRPr>
            </a:lvl1pPr>
            <a:lvl2pPr marL="342434" indent="0">
              <a:lnSpc>
                <a:spcPts val="1350"/>
              </a:lnSpc>
              <a:spcBef>
                <a:spcPts val="0"/>
              </a:spcBef>
              <a:buNone/>
              <a:defRPr sz="1100"/>
            </a:lvl2pPr>
            <a:lvl3pPr marL="684915" indent="0">
              <a:lnSpc>
                <a:spcPts val="1350"/>
              </a:lnSpc>
              <a:spcBef>
                <a:spcPts val="0"/>
              </a:spcBef>
              <a:buNone/>
              <a:defRPr sz="1100"/>
            </a:lvl3pPr>
            <a:lvl4pPr marL="1027368" indent="0">
              <a:lnSpc>
                <a:spcPts val="1350"/>
              </a:lnSpc>
              <a:spcBef>
                <a:spcPts val="0"/>
              </a:spcBef>
              <a:buNone/>
              <a:defRPr sz="1100"/>
            </a:lvl4pPr>
            <a:lvl5pPr marL="1369824" indent="0">
              <a:lnSpc>
                <a:spcPts val="1350"/>
              </a:lnSpc>
              <a:spcBef>
                <a:spcPts val="0"/>
              </a:spcBef>
              <a:buNone/>
              <a:defRPr sz="1100"/>
            </a:lvl5pPr>
          </a:lstStyle>
          <a:p>
            <a:pPr lvl="0"/>
            <a:r>
              <a:rPr lang="en-US"/>
              <a:t>This is your Secondary text.</a:t>
            </a:r>
          </a:p>
        </p:txBody>
      </p:sp>
      <p:pic>
        <p:nvPicPr>
          <p:cNvPr id="12" name="Picture 11" descr="Takeda">
            <a:extLst>
              <a:ext uri="{FF2B5EF4-FFF2-40B4-BE49-F238E27FC236}">
                <a16:creationId xmlns="" xmlns:a16="http://schemas.microsoft.com/office/drawing/2014/main" id="{5D7AA9CA-E651-9E48-B0F3-BDDA45B353E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09748" y="-1211"/>
            <a:ext cx="1272174" cy="705585"/>
          </a:xfrm>
          <a:prstGeom prst="rect">
            <a:avLst/>
          </a:prstGeom>
        </p:spPr>
      </p:pic>
      <p:sp>
        <p:nvSpPr>
          <p:cNvPr id="13" name="タイトル プレースホルダ 1">
            <a:extLst>
              <a:ext uri="{FF2B5EF4-FFF2-40B4-BE49-F238E27FC236}">
                <a16:creationId xmlns="" xmlns:a16="http://schemas.microsoft.com/office/drawing/2014/main" id="{2256F400-EDA8-7F44-BF13-278518497C9E}"/>
              </a:ext>
            </a:extLst>
          </p:cNvPr>
          <p:cNvSpPr>
            <a:spLocks noGrp="1"/>
          </p:cNvSpPr>
          <p:nvPr>
            <p:ph type="title" hasCustomPrompt="1"/>
          </p:nvPr>
        </p:nvSpPr>
        <p:spPr>
          <a:xfrm>
            <a:off x="454559" y="121208"/>
            <a:ext cx="7455190" cy="51435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5" name="Footer Placeholder 8">
            <a:extLst>
              <a:ext uri="{FF2B5EF4-FFF2-40B4-BE49-F238E27FC236}">
                <a16:creationId xmlns="" xmlns:a16="http://schemas.microsoft.com/office/drawing/2014/main" id="{7136781B-A49B-0A42-B748-01C379A12FF6}"/>
              </a:ext>
            </a:extLst>
          </p:cNvPr>
          <p:cNvSpPr>
            <a:spLocks noGrp="1"/>
          </p:cNvSpPr>
          <p:nvPr>
            <p:ph type="ftr" sz="quarter" idx="3"/>
          </p:nvPr>
        </p:nvSpPr>
        <p:spPr>
          <a:xfrm>
            <a:off x="5824538" y="4892251"/>
            <a:ext cx="3086100" cy="147098"/>
          </a:xfrm>
          <a:prstGeom prst="rect">
            <a:avLst/>
          </a:prstGeom>
        </p:spPr>
        <p:txBody>
          <a:bodyPr vert="horz" lIns="68519" tIns="34289" rIns="0" bIns="34289" rtlCol="0" anchor="ctr"/>
          <a:lstStyle>
            <a:lvl1pPr algn="r">
              <a:defRPr sz="600" b="1" spc="75" baseline="0">
                <a:solidFill>
                  <a:schemeClr val="tx1"/>
                </a:solidFill>
              </a:defRPr>
            </a:lvl1pPr>
          </a:lstStyle>
          <a:p>
            <a:r>
              <a:rPr lang="x-none">
                <a:solidFill>
                  <a:srgbClr val="34373F"/>
                </a:solidFill>
              </a:rPr>
              <a:t> </a:t>
            </a:r>
          </a:p>
        </p:txBody>
      </p:sp>
      <p:sp>
        <p:nvSpPr>
          <p:cNvPr id="21" name="Rectangle 20">
            <a:extLst>
              <a:ext uri="{FF2B5EF4-FFF2-40B4-BE49-F238E27FC236}">
                <a16:creationId xmlns="" xmlns:a16="http://schemas.microsoft.com/office/drawing/2014/main" id="{EAC2B0AC-7801-6C42-BA03-0669DC118159}"/>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19" tIns="34289" rIns="68519" bIns="34289" rtlCol="0" anchor="ctr"/>
          <a:lstStyle/>
          <a:p>
            <a:pPr algn="ctr" defTabSz="685103"/>
            <a:endParaRPr kumimoji="1" lang="x-none" sz="1400">
              <a:solidFill>
                <a:srgbClr val="E1242A"/>
              </a:solidFill>
            </a:endParaRPr>
          </a:p>
        </p:txBody>
      </p:sp>
      <p:sp>
        <p:nvSpPr>
          <p:cNvPr id="24" name="スライド番号プレースホルダ 5">
            <a:extLst>
              <a:ext uri="{FF2B5EF4-FFF2-40B4-BE49-F238E27FC236}">
                <a16:creationId xmlns="" xmlns:a16="http://schemas.microsoft.com/office/drawing/2014/main" id="{71FCF96E-3BB8-0745-B029-6B6BE4291274}"/>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3185"/>
            <a:fld id="{E9B57936-92EF-4126-AE48-1D9D36D15E98}" type="slidenum">
              <a:rPr lang="ja-JP" altLang="en-US" smtClean="0">
                <a:solidFill>
                  <a:srgbClr val="34373F"/>
                </a:solidFill>
              </a:rPr>
              <a:pPr defTabSz="913185"/>
              <a:t>‹Nº›</a:t>
            </a:fld>
            <a:endParaRPr lang="ja-JP" altLang="en-US">
              <a:solidFill>
                <a:srgbClr val="34373F"/>
              </a:solidFill>
            </a:endParaRPr>
          </a:p>
        </p:txBody>
      </p:sp>
      <p:sp>
        <p:nvSpPr>
          <p:cNvPr id="25" name="Text Placeholder 6">
            <a:extLst>
              <a:ext uri="{FF2B5EF4-FFF2-40B4-BE49-F238E27FC236}">
                <a16:creationId xmlns="" xmlns:a16="http://schemas.microsoft.com/office/drawing/2014/main" id="{875659DC-941F-AA40-8336-C3B1BF32BAD6}"/>
              </a:ext>
            </a:extLst>
          </p:cNvPr>
          <p:cNvSpPr>
            <a:spLocks noGrp="1"/>
          </p:cNvSpPr>
          <p:nvPr>
            <p:ph type="body" sz="quarter" idx="16" hasCustomPrompt="1"/>
          </p:nvPr>
        </p:nvSpPr>
        <p:spPr>
          <a:xfrm>
            <a:off x="454559" y="4892253"/>
            <a:ext cx="5226261" cy="154210"/>
          </a:xfrm>
          <a:prstGeom prst="rect">
            <a:avLst/>
          </a:prstGeom>
        </p:spPr>
        <p:txBody>
          <a:bodyPr wrap="none" tIns="0" rIns="0" bIns="53959" numCol="1" anchor="ctr">
            <a:noAutofit/>
          </a:bodyPr>
          <a:lstStyle>
            <a:lvl1pPr marL="0" indent="0">
              <a:lnSpc>
                <a:spcPts val="1200"/>
              </a:lnSpc>
              <a:spcBef>
                <a:spcPts val="0"/>
              </a:spcBef>
              <a:spcAft>
                <a:spcPts val="450"/>
              </a:spcAft>
              <a:buFont typeface="Arial" panose="020B0604020202020204" pitchFamily="34" charset="0"/>
              <a:buNone/>
              <a:defRPr sz="600" b="0">
                <a:solidFill>
                  <a:schemeClr val="accent3"/>
                </a:solidFill>
              </a:defRPr>
            </a:lvl1pPr>
            <a:lvl2pPr marL="342434" indent="0">
              <a:lnSpc>
                <a:spcPts val="1350"/>
              </a:lnSpc>
              <a:spcBef>
                <a:spcPts val="0"/>
              </a:spcBef>
              <a:buNone/>
              <a:defRPr sz="1100"/>
            </a:lvl2pPr>
            <a:lvl3pPr marL="684915" indent="0">
              <a:lnSpc>
                <a:spcPts val="1350"/>
              </a:lnSpc>
              <a:spcBef>
                <a:spcPts val="0"/>
              </a:spcBef>
              <a:buNone/>
              <a:defRPr sz="1100"/>
            </a:lvl3pPr>
            <a:lvl4pPr marL="1027368" indent="0">
              <a:lnSpc>
                <a:spcPts val="1350"/>
              </a:lnSpc>
              <a:spcBef>
                <a:spcPts val="0"/>
              </a:spcBef>
              <a:buNone/>
              <a:defRPr sz="1100"/>
            </a:lvl4pPr>
            <a:lvl5pPr marL="1369824" indent="0">
              <a:lnSpc>
                <a:spcPts val="1350"/>
              </a:lnSpc>
              <a:spcBef>
                <a:spcPts val="0"/>
              </a:spcBef>
              <a:buNone/>
              <a:defRPr sz="1100"/>
            </a:lvl5pPr>
          </a:lstStyle>
          <a:p>
            <a:pPr lvl="0"/>
            <a:r>
              <a:rPr lang="en-US"/>
              <a:t>Private and confidential. For internal use only.</a:t>
            </a:r>
          </a:p>
        </p:txBody>
      </p:sp>
      <p:sp>
        <p:nvSpPr>
          <p:cNvPr id="17" name="Text Placeholder 2">
            <a:extLst>
              <a:ext uri="{FF2B5EF4-FFF2-40B4-BE49-F238E27FC236}">
                <a16:creationId xmlns="" xmlns:a16="http://schemas.microsoft.com/office/drawing/2014/main" id="{45375A5A-6A84-7145-B49C-982F84619406}"/>
              </a:ext>
            </a:extLst>
          </p:cNvPr>
          <p:cNvSpPr>
            <a:spLocks noGrp="1"/>
          </p:cNvSpPr>
          <p:nvPr>
            <p:ph type="body" sz="quarter" idx="20" hasCustomPrompt="1"/>
          </p:nvPr>
        </p:nvSpPr>
        <p:spPr>
          <a:xfrm>
            <a:off x="233363" y="1118532"/>
            <a:ext cx="2813974" cy="1098718"/>
          </a:xfrm>
        </p:spPr>
        <p:txBody>
          <a:bodyPr tIns="0" rIns="0" bIns="0" numCol="1" spcCol="94418">
            <a:noAutofit/>
          </a:bodyPr>
          <a:lstStyle>
            <a:lvl1pPr marL="0" indent="0">
              <a:lnSpc>
                <a:spcPct val="100000"/>
              </a:lnSpc>
              <a:spcBef>
                <a:spcPts val="0"/>
              </a:spcBef>
              <a:buNone/>
              <a:defRPr sz="1200" b="1"/>
            </a:lvl1pPr>
            <a:lvl2pPr marL="342434" indent="0">
              <a:buNone/>
              <a:defRPr sz="1400" b="1"/>
            </a:lvl2pPr>
            <a:lvl3pPr marL="684915" indent="0">
              <a:buNone/>
              <a:defRPr sz="1400" b="1"/>
            </a:lvl3pPr>
            <a:lvl4pPr marL="1027368" indent="0">
              <a:buNone/>
              <a:defRPr sz="1400" b="1"/>
            </a:lvl4pPr>
            <a:lvl5pPr marL="1369824" indent="0">
              <a:buNone/>
              <a:defRPr sz="1400" b="1"/>
            </a:lvl5pPr>
          </a:lstStyle>
          <a:p>
            <a:pPr lvl="0"/>
            <a:r>
              <a:rPr lang="en-US"/>
              <a:t>This is your Primary Text.</a:t>
            </a:r>
            <a:endParaRPr lang="x-none"/>
          </a:p>
        </p:txBody>
      </p:sp>
      <p:sp>
        <p:nvSpPr>
          <p:cNvPr id="18" name="Text Placeholder 6">
            <a:extLst>
              <a:ext uri="{FF2B5EF4-FFF2-40B4-BE49-F238E27FC236}">
                <a16:creationId xmlns="" xmlns:a16="http://schemas.microsoft.com/office/drawing/2014/main" id="{5F7E9041-544E-3547-AC30-65F55E91E1ED}"/>
              </a:ext>
            </a:extLst>
          </p:cNvPr>
          <p:cNvSpPr>
            <a:spLocks noGrp="1"/>
          </p:cNvSpPr>
          <p:nvPr>
            <p:ph type="body" sz="quarter" idx="22" hasCustomPrompt="1"/>
          </p:nvPr>
        </p:nvSpPr>
        <p:spPr>
          <a:xfrm>
            <a:off x="233363" y="820327"/>
            <a:ext cx="2813974" cy="204590"/>
          </a:xfrm>
        </p:spPr>
        <p:txBody>
          <a:bodyPr tIns="0" rIns="0" bIns="0" numCol="1">
            <a:noAutofit/>
          </a:bodyPr>
          <a:lstStyle>
            <a:lvl1pPr marL="0" indent="0">
              <a:lnSpc>
                <a:spcPct val="100000"/>
              </a:lnSpc>
              <a:spcBef>
                <a:spcPts val="0"/>
              </a:spcBef>
              <a:spcAft>
                <a:spcPts val="450"/>
              </a:spcAft>
              <a:buNone/>
              <a:defRPr sz="1500" b="1">
                <a:solidFill>
                  <a:schemeClr val="accent1"/>
                </a:solidFill>
              </a:defRPr>
            </a:lvl1pPr>
            <a:lvl2pPr marL="342434" indent="0">
              <a:lnSpc>
                <a:spcPts val="1350"/>
              </a:lnSpc>
              <a:spcBef>
                <a:spcPts val="0"/>
              </a:spcBef>
              <a:buNone/>
              <a:defRPr sz="1100"/>
            </a:lvl2pPr>
            <a:lvl3pPr marL="684915" indent="0">
              <a:lnSpc>
                <a:spcPts val="1350"/>
              </a:lnSpc>
              <a:spcBef>
                <a:spcPts val="0"/>
              </a:spcBef>
              <a:buNone/>
              <a:defRPr sz="1100"/>
            </a:lvl3pPr>
            <a:lvl4pPr marL="1027368" indent="0">
              <a:lnSpc>
                <a:spcPts val="1350"/>
              </a:lnSpc>
              <a:spcBef>
                <a:spcPts val="0"/>
              </a:spcBef>
              <a:buNone/>
              <a:defRPr sz="1100"/>
            </a:lvl4pPr>
            <a:lvl5pPr marL="1369824" indent="0">
              <a:lnSpc>
                <a:spcPts val="1350"/>
              </a:lnSpc>
              <a:spcBef>
                <a:spcPts val="0"/>
              </a:spcBef>
              <a:buNone/>
              <a:defRPr sz="1100"/>
            </a:lvl5pPr>
          </a:lstStyle>
          <a:p>
            <a:pPr lvl="0"/>
            <a:r>
              <a:rPr lang="en-US"/>
              <a:t>This is your Primary Title</a:t>
            </a:r>
          </a:p>
        </p:txBody>
      </p:sp>
    </p:spTree>
    <p:extLst>
      <p:ext uri="{BB962C8B-B14F-4D97-AF65-F5344CB8AC3E}">
        <p14:creationId xmlns:p14="http://schemas.microsoft.com/office/powerpoint/2010/main" val="4257015603"/>
      </p:ext>
    </p:extLst>
  </p:cSld>
  <p:clrMapOvr>
    <a:masterClrMapping/>
  </p:clrMapOvr>
  <p:transition spd="slow">
    <p:push dir="u"/>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Advanced Chart 2 Column">
    <p:spTree>
      <p:nvGrpSpPr>
        <p:cNvPr id="1" name=""/>
        <p:cNvGrpSpPr/>
        <p:nvPr/>
      </p:nvGrpSpPr>
      <p:grpSpPr>
        <a:xfrm>
          <a:off x="0" y="0"/>
          <a:ext cx="0" cy="0"/>
          <a:chOff x="0" y="0"/>
          <a:chExt cx="0" cy="0"/>
        </a:xfrm>
      </p:grpSpPr>
      <p:sp>
        <p:nvSpPr>
          <p:cNvPr id="8" name="Chart Placeholder 7">
            <a:extLst>
              <a:ext uri="{FF2B5EF4-FFF2-40B4-BE49-F238E27FC236}">
                <a16:creationId xmlns="" xmlns:a16="http://schemas.microsoft.com/office/drawing/2014/main" id="{A6D4E593-FDCC-D14E-9C5E-5F309E415C26}"/>
              </a:ext>
            </a:extLst>
          </p:cNvPr>
          <p:cNvSpPr>
            <a:spLocks noGrp="1"/>
          </p:cNvSpPr>
          <p:nvPr>
            <p:ph type="chart" sz="quarter" idx="21" hasCustomPrompt="1"/>
          </p:nvPr>
        </p:nvSpPr>
        <p:spPr>
          <a:xfrm>
            <a:off x="231917" y="2307216"/>
            <a:ext cx="4281488" cy="2505292"/>
          </a:xfrm>
          <a:prstGeom prst="rect">
            <a:avLst/>
          </a:prstGeom>
        </p:spPr>
        <p:txBody>
          <a:bodyPr>
            <a:normAutofit/>
          </a:bodyPr>
          <a:lstStyle>
            <a:lvl1pPr marL="0" indent="0">
              <a:buNone/>
              <a:defRPr sz="1100"/>
            </a:lvl1pPr>
          </a:lstStyle>
          <a:p>
            <a:r>
              <a:rPr lang="x-none"/>
              <a:t>Insert Chart</a:t>
            </a:r>
          </a:p>
        </p:txBody>
      </p:sp>
      <p:sp>
        <p:nvSpPr>
          <p:cNvPr id="9" name="Chart Placeholder 7">
            <a:extLst>
              <a:ext uri="{FF2B5EF4-FFF2-40B4-BE49-F238E27FC236}">
                <a16:creationId xmlns="" xmlns:a16="http://schemas.microsoft.com/office/drawing/2014/main" id="{F1FC7466-185A-8B44-ABF0-5410C1127700}"/>
              </a:ext>
            </a:extLst>
          </p:cNvPr>
          <p:cNvSpPr>
            <a:spLocks noGrp="1"/>
          </p:cNvSpPr>
          <p:nvPr>
            <p:ph type="chart" sz="quarter" idx="22" hasCustomPrompt="1"/>
          </p:nvPr>
        </p:nvSpPr>
        <p:spPr>
          <a:xfrm>
            <a:off x="4654627" y="2307216"/>
            <a:ext cx="4281488" cy="2505292"/>
          </a:xfrm>
          <a:prstGeom prst="rect">
            <a:avLst/>
          </a:prstGeom>
        </p:spPr>
        <p:txBody>
          <a:bodyPr>
            <a:normAutofit/>
          </a:bodyPr>
          <a:lstStyle>
            <a:lvl1pPr marL="0" indent="0">
              <a:buNone/>
              <a:defRPr sz="1100"/>
            </a:lvl1pPr>
          </a:lstStyle>
          <a:p>
            <a:r>
              <a:rPr lang="x-none"/>
              <a:t>Insert Chart</a:t>
            </a:r>
          </a:p>
        </p:txBody>
      </p:sp>
      <p:pic>
        <p:nvPicPr>
          <p:cNvPr id="10" name="Picture 9" descr="Takeda">
            <a:extLst>
              <a:ext uri="{FF2B5EF4-FFF2-40B4-BE49-F238E27FC236}">
                <a16:creationId xmlns="" xmlns:a16="http://schemas.microsoft.com/office/drawing/2014/main" id="{F183604A-2112-D443-8B35-2DFEE7121A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09748" y="-1211"/>
            <a:ext cx="1272174" cy="705585"/>
          </a:xfrm>
          <a:prstGeom prst="rect">
            <a:avLst/>
          </a:prstGeom>
        </p:spPr>
      </p:pic>
      <p:sp>
        <p:nvSpPr>
          <p:cNvPr id="12" name="タイトル プレースホルダ 1">
            <a:extLst>
              <a:ext uri="{FF2B5EF4-FFF2-40B4-BE49-F238E27FC236}">
                <a16:creationId xmlns="" xmlns:a16="http://schemas.microsoft.com/office/drawing/2014/main" id="{906CE02B-33D8-B048-A73D-781A3402C2B1}"/>
              </a:ext>
            </a:extLst>
          </p:cNvPr>
          <p:cNvSpPr>
            <a:spLocks noGrp="1"/>
          </p:cNvSpPr>
          <p:nvPr>
            <p:ph type="title" hasCustomPrompt="1"/>
          </p:nvPr>
        </p:nvSpPr>
        <p:spPr>
          <a:xfrm>
            <a:off x="454559" y="121208"/>
            <a:ext cx="7455190" cy="51435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4" name="Footer Placeholder 8">
            <a:extLst>
              <a:ext uri="{FF2B5EF4-FFF2-40B4-BE49-F238E27FC236}">
                <a16:creationId xmlns="" xmlns:a16="http://schemas.microsoft.com/office/drawing/2014/main" id="{C2587943-8F51-3542-B7BE-5781719445F9}"/>
              </a:ext>
            </a:extLst>
          </p:cNvPr>
          <p:cNvSpPr>
            <a:spLocks noGrp="1"/>
          </p:cNvSpPr>
          <p:nvPr>
            <p:ph type="ftr" sz="quarter" idx="3"/>
          </p:nvPr>
        </p:nvSpPr>
        <p:spPr>
          <a:xfrm>
            <a:off x="5824538" y="4892251"/>
            <a:ext cx="3086100" cy="147098"/>
          </a:xfrm>
          <a:prstGeom prst="rect">
            <a:avLst/>
          </a:prstGeom>
        </p:spPr>
        <p:txBody>
          <a:bodyPr vert="horz" lIns="68519" tIns="34289" rIns="0" bIns="34289" rtlCol="0" anchor="ctr"/>
          <a:lstStyle>
            <a:lvl1pPr algn="r">
              <a:defRPr sz="600" b="1" spc="75" baseline="0">
                <a:solidFill>
                  <a:schemeClr val="tx1"/>
                </a:solidFill>
              </a:defRPr>
            </a:lvl1pPr>
          </a:lstStyle>
          <a:p>
            <a:r>
              <a:rPr lang="x-none">
                <a:solidFill>
                  <a:srgbClr val="34373F"/>
                </a:solidFill>
              </a:rPr>
              <a:t> </a:t>
            </a:r>
          </a:p>
        </p:txBody>
      </p:sp>
      <p:sp>
        <p:nvSpPr>
          <p:cNvPr id="17" name="Rectangle 16">
            <a:extLst>
              <a:ext uri="{FF2B5EF4-FFF2-40B4-BE49-F238E27FC236}">
                <a16:creationId xmlns="" xmlns:a16="http://schemas.microsoft.com/office/drawing/2014/main" id="{B679FB0B-7616-F04F-9B4C-586869A82E96}"/>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19" tIns="34289" rIns="68519" bIns="34289" rtlCol="0" anchor="ctr"/>
          <a:lstStyle/>
          <a:p>
            <a:pPr algn="ctr" defTabSz="685103"/>
            <a:endParaRPr kumimoji="1" lang="x-none" sz="1400">
              <a:solidFill>
                <a:srgbClr val="E1242A"/>
              </a:solidFill>
            </a:endParaRPr>
          </a:p>
        </p:txBody>
      </p:sp>
      <p:sp>
        <p:nvSpPr>
          <p:cNvPr id="22" name="スライド番号プレースホルダ 5">
            <a:extLst>
              <a:ext uri="{FF2B5EF4-FFF2-40B4-BE49-F238E27FC236}">
                <a16:creationId xmlns="" xmlns:a16="http://schemas.microsoft.com/office/drawing/2014/main" id="{8AFBB1AB-19B7-1347-93F8-D14235DD2317}"/>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3185"/>
            <a:fld id="{E9B57936-92EF-4126-AE48-1D9D36D15E98}" type="slidenum">
              <a:rPr lang="ja-JP" altLang="en-US" smtClean="0">
                <a:solidFill>
                  <a:srgbClr val="34373F"/>
                </a:solidFill>
              </a:rPr>
              <a:pPr defTabSz="913185"/>
              <a:t>‹Nº›</a:t>
            </a:fld>
            <a:endParaRPr lang="ja-JP" altLang="en-US">
              <a:solidFill>
                <a:srgbClr val="34373F"/>
              </a:solidFill>
            </a:endParaRPr>
          </a:p>
        </p:txBody>
      </p:sp>
      <p:sp>
        <p:nvSpPr>
          <p:cNvPr id="23" name="Text Placeholder 6">
            <a:extLst>
              <a:ext uri="{FF2B5EF4-FFF2-40B4-BE49-F238E27FC236}">
                <a16:creationId xmlns="" xmlns:a16="http://schemas.microsoft.com/office/drawing/2014/main" id="{1C168495-CA79-E440-A93B-B87B36748352}"/>
              </a:ext>
            </a:extLst>
          </p:cNvPr>
          <p:cNvSpPr>
            <a:spLocks noGrp="1"/>
          </p:cNvSpPr>
          <p:nvPr>
            <p:ph type="body" sz="quarter" idx="16" hasCustomPrompt="1"/>
          </p:nvPr>
        </p:nvSpPr>
        <p:spPr>
          <a:xfrm>
            <a:off x="454559" y="4892253"/>
            <a:ext cx="5226261" cy="154210"/>
          </a:xfrm>
          <a:prstGeom prst="rect">
            <a:avLst/>
          </a:prstGeom>
        </p:spPr>
        <p:txBody>
          <a:bodyPr wrap="none" tIns="0" rIns="0" bIns="53959" numCol="1" anchor="ctr">
            <a:noAutofit/>
          </a:bodyPr>
          <a:lstStyle>
            <a:lvl1pPr marL="0" indent="0">
              <a:lnSpc>
                <a:spcPts val="1200"/>
              </a:lnSpc>
              <a:spcBef>
                <a:spcPts val="0"/>
              </a:spcBef>
              <a:spcAft>
                <a:spcPts val="450"/>
              </a:spcAft>
              <a:buFont typeface="Arial" panose="020B0604020202020204" pitchFamily="34" charset="0"/>
              <a:buNone/>
              <a:defRPr sz="600" b="0">
                <a:solidFill>
                  <a:schemeClr val="accent3"/>
                </a:solidFill>
              </a:defRPr>
            </a:lvl1pPr>
            <a:lvl2pPr marL="342434" indent="0">
              <a:lnSpc>
                <a:spcPts val="1350"/>
              </a:lnSpc>
              <a:spcBef>
                <a:spcPts val="0"/>
              </a:spcBef>
              <a:buNone/>
              <a:defRPr sz="1100"/>
            </a:lvl2pPr>
            <a:lvl3pPr marL="684915" indent="0">
              <a:lnSpc>
                <a:spcPts val="1350"/>
              </a:lnSpc>
              <a:spcBef>
                <a:spcPts val="0"/>
              </a:spcBef>
              <a:buNone/>
              <a:defRPr sz="1100"/>
            </a:lvl3pPr>
            <a:lvl4pPr marL="1027368" indent="0">
              <a:lnSpc>
                <a:spcPts val="1350"/>
              </a:lnSpc>
              <a:spcBef>
                <a:spcPts val="0"/>
              </a:spcBef>
              <a:buNone/>
              <a:defRPr sz="1100"/>
            </a:lvl4pPr>
            <a:lvl5pPr marL="1369824" indent="0">
              <a:lnSpc>
                <a:spcPts val="1350"/>
              </a:lnSpc>
              <a:spcBef>
                <a:spcPts val="0"/>
              </a:spcBef>
              <a:buNone/>
              <a:defRPr sz="1100"/>
            </a:lvl5pPr>
          </a:lstStyle>
          <a:p>
            <a:pPr lvl="0"/>
            <a:r>
              <a:rPr lang="en-US"/>
              <a:t>Private and confidential. For internal use only.</a:t>
            </a:r>
          </a:p>
        </p:txBody>
      </p:sp>
      <p:sp>
        <p:nvSpPr>
          <p:cNvPr id="15" name="Text Placeholder 2">
            <a:extLst>
              <a:ext uri="{FF2B5EF4-FFF2-40B4-BE49-F238E27FC236}">
                <a16:creationId xmlns="" xmlns:a16="http://schemas.microsoft.com/office/drawing/2014/main" id="{F6F06E4B-A978-4E46-AE6C-67B54F7E34D5}"/>
              </a:ext>
            </a:extLst>
          </p:cNvPr>
          <p:cNvSpPr>
            <a:spLocks noGrp="1"/>
          </p:cNvSpPr>
          <p:nvPr>
            <p:ph type="body" sz="quarter" idx="20" hasCustomPrompt="1"/>
          </p:nvPr>
        </p:nvSpPr>
        <p:spPr>
          <a:xfrm>
            <a:off x="233364" y="1118532"/>
            <a:ext cx="8702752" cy="1098718"/>
          </a:xfrm>
        </p:spPr>
        <p:txBody>
          <a:bodyPr tIns="0" rIns="0" bIns="0" numCol="2" spcCol="94418">
            <a:noAutofit/>
          </a:bodyPr>
          <a:lstStyle>
            <a:lvl1pPr marL="0" indent="0">
              <a:lnSpc>
                <a:spcPct val="100000"/>
              </a:lnSpc>
              <a:spcBef>
                <a:spcPts val="0"/>
              </a:spcBef>
              <a:buNone/>
              <a:defRPr sz="1200" b="1"/>
            </a:lvl1pPr>
            <a:lvl2pPr marL="342434" indent="0">
              <a:buNone/>
              <a:defRPr sz="1400" b="1"/>
            </a:lvl2pPr>
            <a:lvl3pPr marL="684915" indent="0">
              <a:buNone/>
              <a:defRPr sz="1400" b="1"/>
            </a:lvl3pPr>
            <a:lvl4pPr marL="1027368" indent="0">
              <a:buNone/>
              <a:defRPr sz="1400" b="1"/>
            </a:lvl4pPr>
            <a:lvl5pPr marL="1369824" indent="0">
              <a:buNone/>
              <a:defRPr sz="1400" b="1"/>
            </a:lvl5pPr>
          </a:lstStyle>
          <a:p>
            <a:pPr lvl="0"/>
            <a:r>
              <a:rPr lang="en-US"/>
              <a:t>This is your Primary Text.</a:t>
            </a:r>
            <a:endParaRPr lang="x-none"/>
          </a:p>
        </p:txBody>
      </p:sp>
      <p:sp>
        <p:nvSpPr>
          <p:cNvPr id="18" name="Text Placeholder 6">
            <a:extLst>
              <a:ext uri="{FF2B5EF4-FFF2-40B4-BE49-F238E27FC236}">
                <a16:creationId xmlns="" xmlns:a16="http://schemas.microsoft.com/office/drawing/2014/main" id="{3FF373A1-4E48-6C48-A075-153436CF76DC}"/>
              </a:ext>
            </a:extLst>
          </p:cNvPr>
          <p:cNvSpPr>
            <a:spLocks noGrp="1"/>
          </p:cNvSpPr>
          <p:nvPr>
            <p:ph type="body" sz="quarter" idx="23" hasCustomPrompt="1"/>
          </p:nvPr>
        </p:nvSpPr>
        <p:spPr>
          <a:xfrm>
            <a:off x="233364" y="820327"/>
            <a:ext cx="8702752" cy="204590"/>
          </a:xfrm>
        </p:spPr>
        <p:txBody>
          <a:bodyPr tIns="0" rIns="0" bIns="0" numCol="1">
            <a:noAutofit/>
          </a:bodyPr>
          <a:lstStyle>
            <a:lvl1pPr marL="0" indent="0">
              <a:lnSpc>
                <a:spcPct val="100000"/>
              </a:lnSpc>
              <a:spcBef>
                <a:spcPts val="0"/>
              </a:spcBef>
              <a:spcAft>
                <a:spcPts val="450"/>
              </a:spcAft>
              <a:buNone/>
              <a:defRPr sz="1500" b="1">
                <a:solidFill>
                  <a:schemeClr val="accent1"/>
                </a:solidFill>
              </a:defRPr>
            </a:lvl1pPr>
            <a:lvl2pPr marL="342434" indent="0">
              <a:lnSpc>
                <a:spcPts val="1350"/>
              </a:lnSpc>
              <a:spcBef>
                <a:spcPts val="0"/>
              </a:spcBef>
              <a:buNone/>
              <a:defRPr sz="1100"/>
            </a:lvl2pPr>
            <a:lvl3pPr marL="684915" indent="0">
              <a:lnSpc>
                <a:spcPts val="1350"/>
              </a:lnSpc>
              <a:spcBef>
                <a:spcPts val="0"/>
              </a:spcBef>
              <a:buNone/>
              <a:defRPr sz="1100"/>
            </a:lvl3pPr>
            <a:lvl4pPr marL="1027368" indent="0">
              <a:lnSpc>
                <a:spcPts val="1350"/>
              </a:lnSpc>
              <a:spcBef>
                <a:spcPts val="0"/>
              </a:spcBef>
              <a:buNone/>
              <a:defRPr sz="1100"/>
            </a:lvl4pPr>
            <a:lvl5pPr marL="1369824" indent="0">
              <a:lnSpc>
                <a:spcPts val="1350"/>
              </a:lnSpc>
              <a:spcBef>
                <a:spcPts val="0"/>
              </a:spcBef>
              <a:buNone/>
              <a:defRPr sz="1100"/>
            </a:lvl5pPr>
          </a:lstStyle>
          <a:p>
            <a:pPr lvl="0"/>
            <a:r>
              <a:rPr lang="en-US"/>
              <a:t>This is your Primary Title</a:t>
            </a:r>
          </a:p>
        </p:txBody>
      </p:sp>
    </p:spTree>
    <p:extLst>
      <p:ext uri="{BB962C8B-B14F-4D97-AF65-F5344CB8AC3E}">
        <p14:creationId xmlns:p14="http://schemas.microsoft.com/office/powerpoint/2010/main" val="1176112055"/>
      </p:ext>
    </p:extLst>
  </p:cSld>
  <p:clrMapOvr>
    <a:masterClrMapping/>
  </p:clrMapOvr>
  <p:transition spd="slow">
    <p:push dir="u"/>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Advanced Chart 3 Column">
    <p:spTree>
      <p:nvGrpSpPr>
        <p:cNvPr id="1" name=""/>
        <p:cNvGrpSpPr/>
        <p:nvPr/>
      </p:nvGrpSpPr>
      <p:grpSpPr>
        <a:xfrm>
          <a:off x="0" y="0"/>
          <a:ext cx="0" cy="0"/>
          <a:chOff x="0" y="0"/>
          <a:chExt cx="0" cy="0"/>
        </a:xfrm>
      </p:grpSpPr>
      <p:sp>
        <p:nvSpPr>
          <p:cNvPr id="8" name="Chart Placeholder 7">
            <a:extLst>
              <a:ext uri="{FF2B5EF4-FFF2-40B4-BE49-F238E27FC236}">
                <a16:creationId xmlns="" xmlns:a16="http://schemas.microsoft.com/office/drawing/2014/main" id="{A6D4E593-FDCC-D14E-9C5E-5F309E415C26}"/>
              </a:ext>
            </a:extLst>
          </p:cNvPr>
          <p:cNvSpPr>
            <a:spLocks noGrp="1"/>
          </p:cNvSpPr>
          <p:nvPr>
            <p:ph type="chart" sz="quarter" idx="21" hasCustomPrompt="1"/>
          </p:nvPr>
        </p:nvSpPr>
        <p:spPr>
          <a:xfrm>
            <a:off x="231919" y="2307216"/>
            <a:ext cx="2818358" cy="2505292"/>
          </a:xfrm>
          <a:prstGeom prst="rect">
            <a:avLst/>
          </a:prstGeom>
        </p:spPr>
        <p:txBody>
          <a:bodyPr>
            <a:normAutofit/>
          </a:bodyPr>
          <a:lstStyle>
            <a:lvl1pPr marL="0" indent="0">
              <a:buNone/>
              <a:defRPr sz="1100"/>
            </a:lvl1pPr>
          </a:lstStyle>
          <a:p>
            <a:r>
              <a:rPr lang="x-none"/>
              <a:t>Insert Chart</a:t>
            </a:r>
          </a:p>
        </p:txBody>
      </p:sp>
      <p:sp>
        <p:nvSpPr>
          <p:cNvPr id="10" name="Chart Placeholder 7">
            <a:extLst>
              <a:ext uri="{FF2B5EF4-FFF2-40B4-BE49-F238E27FC236}">
                <a16:creationId xmlns="" xmlns:a16="http://schemas.microsoft.com/office/drawing/2014/main" id="{8D9BD23C-1777-C442-B4B0-BADF450483EA}"/>
              </a:ext>
            </a:extLst>
          </p:cNvPr>
          <p:cNvSpPr>
            <a:spLocks noGrp="1"/>
          </p:cNvSpPr>
          <p:nvPr>
            <p:ph type="chart" sz="quarter" idx="22" hasCustomPrompt="1"/>
          </p:nvPr>
        </p:nvSpPr>
        <p:spPr>
          <a:xfrm>
            <a:off x="3162823" y="2307216"/>
            <a:ext cx="2818358" cy="2505292"/>
          </a:xfrm>
          <a:prstGeom prst="rect">
            <a:avLst/>
          </a:prstGeom>
        </p:spPr>
        <p:txBody>
          <a:bodyPr>
            <a:normAutofit/>
          </a:bodyPr>
          <a:lstStyle>
            <a:lvl1pPr marL="0" indent="0">
              <a:buNone/>
              <a:defRPr sz="1100"/>
            </a:lvl1pPr>
          </a:lstStyle>
          <a:p>
            <a:r>
              <a:rPr lang="x-none"/>
              <a:t>Insert Chart</a:t>
            </a:r>
          </a:p>
        </p:txBody>
      </p:sp>
      <p:sp>
        <p:nvSpPr>
          <p:cNvPr id="11" name="Chart Placeholder 7">
            <a:extLst>
              <a:ext uri="{FF2B5EF4-FFF2-40B4-BE49-F238E27FC236}">
                <a16:creationId xmlns="" xmlns:a16="http://schemas.microsoft.com/office/drawing/2014/main" id="{2D7D413C-2FF1-204A-83C6-B7426603B7C2}"/>
              </a:ext>
            </a:extLst>
          </p:cNvPr>
          <p:cNvSpPr>
            <a:spLocks noGrp="1"/>
          </p:cNvSpPr>
          <p:nvPr>
            <p:ph type="chart" sz="quarter" idx="23" hasCustomPrompt="1"/>
          </p:nvPr>
        </p:nvSpPr>
        <p:spPr>
          <a:xfrm>
            <a:off x="6092281" y="2307216"/>
            <a:ext cx="2818358" cy="2505292"/>
          </a:xfrm>
          <a:prstGeom prst="rect">
            <a:avLst/>
          </a:prstGeom>
        </p:spPr>
        <p:txBody>
          <a:bodyPr>
            <a:normAutofit/>
          </a:bodyPr>
          <a:lstStyle>
            <a:lvl1pPr marL="0" indent="0">
              <a:buNone/>
              <a:defRPr sz="1100"/>
            </a:lvl1pPr>
          </a:lstStyle>
          <a:p>
            <a:r>
              <a:rPr lang="x-none"/>
              <a:t>Insert Chart</a:t>
            </a:r>
          </a:p>
        </p:txBody>
      </p:sp>
      <p:pic>
        <p:nvPicPr>
          <p:cNvPr id="13" name="Picture 12" descr="Takeda">
            <a:extLst>
              <a:ext uri="{FF2B5EF4-FFF2-40B4-BE49-F238E27FC236}">
                <a16:creationId xmlns="" xmlns:a16="http://schemas.microsoft.com/office/drawing/2014/main" id="{0C4979BF-EBB2-214C-8087-7AC4B2163D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09748" y="-1211"/>
            <a:ext cx="1272174" cy="705585"/>
          </a:xfrm>
          <a:prstGeom prst="rect">
            <a:avLst/>
          </a:prstGeom>
        </p:spPr>
      </p:pic>
      <p:sp>
        <p:nvSpPr>
          <p:cNvPr id="17" name="タイトル プレースホルダ 1">
            <a:extLst>
              <a:ext uri="{FF2B5EF4-FFF2-40B4-BE49-F238E27FC236}">
                <a16:creationId xmlns="" xmlns:a16="http://schemas.microsoft.com/office/drawing/2014/main" id="{2FFB1535-D35E-D242-B225-DDF1C53BB8D4}"/>
              </a:ext>
            </a:extLst>
          </p:cNvPr>
          <p:cNvSpPr>
            <a:spLocks noGrp="1"/>
          </p:cNvSpPr>
          <p:nvPr>
            <p:ph type="title" hasCustomPrompt="1"/>
          </p:nvPr>
        </p:nvSpPr>
        <p:spPr>
          <a:xfrm>
            <a:off x="454559" y="121208"/>
            <a:ext cx="7455190" cy="51435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9" name="Footer Placeholder 8">
            <a:extLst>
              <a:ext uri="{FF2B5EF4-FFF2-40B4-BE49-F238E27FC236}">
                <a16:creationId xmlns="" xmlns:a16="http://schemas.microsoft.com/office/drawing/2014/main" id="{47DB5E3C-7053-3645-A234-760F5ED1236A}"/>
              </a:ext>
            </a:extLst>
          </p:cNvPr>
          <p:cNvSpPr>
            <a:spLocks noGrp="1"/>
          </p:cNvSpPr>
          <p:nvPr>
            <p:ph type="ftr" sz="quarter" idx="3"/>
          </p:nvPr>
        </p:nvSpPr>
        <p:spPr>
          <a:xfrm>
            <a:off x="5824538" y="4892251"/>
            <a:ext cx="3086100" cy="147098"/>
          </a:xfrm>
          <a:prstGeom prst="rect">
            <a:avLst/>
          </a:prstGeom>
        </p:spPr>
        <p:txBody>
          <a:bodyPr vert="horz" lIns="68519" tIns="34289" rIns="0" bIns="34289" rtlCol="0" anchor="ctr"/>
          <a:lstStyle>
            <a:lvl1pPr algn="r">
              <a:defRPr sz="600" b="1" spc="75" baseline="0">
                <a:solidFill>
                  <a:schemeClr val="tx1"/>
                </a:solidFill>
              </a:defRPr>
            </a:lvl1pPr>
          </a:lstStyle>
          <a:p>
            <a:r>
              <a:rPr lang="x-none">
                <a:solidFill>
                  <a:srgbClr val="34373F"/>
                </a:solidFill>
              </a:rPr>
              <a:t> </a:t>
            </a:r>
          </a:p>
        </p:txBody>
      </p:sp>
      <p:sp>
        <p:nvSpPr>
          <p:cNvPr id="22" name="Rectangle 21">
            <a:extLst>
              <a:ext uri="{FF2B5EF4-FFF2-40B4-BE49-F238E27FC236}">
                <a16:creationId xmlns="" xmlns:a16="http://schemas.microsoft.com/office/drawing/2014/main" id="{DEFC8CB7-67E9-8A46-B53F-F34ACE18BE87}"/>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19" tIns="34289" rIns="68519" bIns="34289" rtlCol="0" anchor="ctr"/>
          <a:lstStyle/>
          <a:p>
            <a:pPr algn="ctr" defTabSz="685103"/>
            <a:endParaRPr kumimoji="1" lang="x-none" sz="1400">
              <a:solidFill>
                <a:srgbClr val="E1242A"/>
              </a:solidFill>
            </a:endParaRPr>
          </a:p>
        </p:txBody>
      </p:sp>
      <p:sp>
        <p:nvSpPr>
          <p:cNvPr id="25" name="スライド番号プレースホルダ 5">
            <a:extLst>
              <a:ext uri="{FF2B5EF4-FFF2-40B4-BE49-F238E27FC236}">
                <a16:creationId xmlns="" xmlns:a16="http://schemas.microsoft.com/office/drawing/2014/main" id="{5EB1023E-4E73-AD49-83B0-D7B458250C6F}"/>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3185"/>
            <a:fld id="{E9B57936-92EF-4126-AE48-1D9D36D15E98}" type="slidenum">
              <a:rPr lang="ja-JP" altLang="en-US" smtClean="0">
                <a:solidFill>
                  <a:srgbClr val="34373F"/>
                </a:solidFill>
              </a:rPr>
              <a:pPr defTabSz="913185"/>
              <a:t>‹Nº›</a:t>
            </a:fld>
            <a:endParaRPr lang="ja-JP" altLang="en-US">
              <a:solidFill>
                <a:srgbClr val="34373F"/>
              </a:solidFill>
            </a:endParaRPr>
          </a:p>
        </p:txBody>
      </p:sp>
      <p:sp>
        <p:nvSpPr>
          <p:cNvPr id="26" name="Text Placeholder 6">
            <a:extLst>
              <a:ext uri="{FF2B5EF4-FFF2-40B4-BE49-F238E27FC236}">
                <a16:creationId xmlns="" xmlns:a16="http://schemas.microsoft.com/office/drawing/2014/main" id="{4942DB0C-137A-4E4C-B926-77CEECC512A8}"/>
              </a:ext>
            </a:extLst>
          </p:cNvPr>
          <p:cNvSpPr>
            <a:spLocks noGrp="1"/>
          </p:cNvSpPr>
          <p:nvPr>
            <p:ph type="body" sz="quarter" idx="16" hasCustomPrompt="1"/>
          </p:nvPr>
        </p:nvSpPr>
        <p:spPr>
          <a:xfrm>
            <a:off x="454559" y="4892253"/>
            <a:ext cx="5226261" cy="154210"/>
          </a:xfrm>
          <a:prstGeom prst="rect">
            <a:avLst/>
          </a:prstGeom>
        </p:spPr>
        <p:txBody>
          <a:bodyPr wrap="none" tIns="0" rIns="0" bIns="53959" numCol="1" anchor="ctr">
            <a:noAutofit/>
          </a:bodyPr>
          <a:lstStyle>
            <a:lvl1pPr marL="0" indent="0">
              <a:lnSpc>
                <a:spcPts val="1200"/>
              </a:lnSpc>
              <a:spcBef>
                <a:spcPts val="0"/>
              </a:spcBef>
              <a:spcAft>
                <a:spcPts val="450"/>
              </a:spcAft>
              <a:buFont typeface="Arial" panose="020B0604020202020204" pitchFamily="34" charset="0"/>
              <a:buNone/>
              <a:defRPr sz="600" b="0">
                <a:solidFill>
                  <a:schemeClr val="accent3"/>
                </a:solidFill>
              </a:defRPr>
            </a:lvl1pPr>
            <a:lvl2pPr marL="342434" indent="0">
              <a:lnSpc>
                <a:spcPts val="1350"/>
              </a:lnSpc>
              <a:spcBef>
                <a:spcPts val="0"/>
              </a:spcBef>
              <a:buNone/>
              <a:defRPr sz="1100"/>
            </a:lvl2pPr>
            <a:lvl3pPr marL="684915" indent="0">
              <a:lnSpc>
                <a:spcPts val="1350"/>
              </a:lnSpc>
              <a:spcBef>
                <a:spcPts val="0"/>
              </a:spcBef>
              <a:buNone/>
              <a:defRPr sz="1100"/>
            </a:lvl3pPr>
            <a:lvl4pPr marL="1027368" indent="0">
              <a:lnSpc>
                <a:spcPts val="1350"/>
              </a:lnSpc>
              <a:spcBef>
                <a:spcPts val="0"/>
              </a:spcBef>
              <a:buNone/>
              <a:defRPr sz="1100"/>
            </a:lvl4pPr>
            <a:lvl5pPr marL="1369824" indent="0">
              <a:lnSpc>
                <a:spcPts val="1350"/>
              </a:lnSpc>
              <a:spcBef>
                <a:spcPts val="0"/>
              </a:spcBef>
              <a:buNone/>
              <a:defRPr sz="1100"/>
            </a:lvl5pPr>
          </a:lstStyle>
          <a:p>
            <a:pPr lvl="0"/>
            <a:r>
              <a:rPr lang="en-US"/>
              <a:t>Private and confidential. For internal use only.</a:t>
            </a:r>
          </a:p>
        </p:txBody>
      </p:sp>
      <p:sp>
        <p:nvSpPr>
          <p:cNvPr id="15" name="Text Placeholder 2">
            <a:extLst>
              <a:ext uri="{FF2B5EF4-FFF2-40B4-BE49-F238E27FC236}">
                <a16:creationId xmlns="" xmlns:a16="http://schemas.microsoft.com/office/drawing/2014/main" id="{AD1171B1-AEC6-164D-8FE0-E0B9353A55BF}"/>
              </a:ext>
            </a:extLst>
          </p:cNvPr>
          <p:cNvSpPr>
            <a:spLocks noGrp="1"/>
          </p:cNvSpPr>
          <p:nvPr>
            <p:ph type="body" sz="quarter" idx="20" hasCustomPrompt="1"/>
          </p:nvPr>
        </p:nvSpPr>
        <p:spPr>
          <a:xfrm>
            <a:off x="233365" y="1118532"/>
            <a:ext cx="8677274" cy="1098718"/>
          </a:xfrm>
        </p:spPr>
        <p:txBody>
          <a:bodyPr tIns="0" rIns="0" bIns="0" numCol="2" spcCol="94418">
            <a:noAutofit/>
          </a:bodyPr>
          <a:lstStyle>
            <a:lvl1pPr marL="0" indent="0">
              <a:lnSpc>
                <a:spcPct val="100000"/>
              </a:lnSpc>
              <a:spcBef>
                <a:spcPts val="0"/>
              </a:spcBef>
              <a:buNone/>
              <a:defRPr sz="1200" b="1"/>
            </a:lvl1pPr>
            <a:lvl2pPr marL="342434" indent="0">
              <a:buNone/>
              <a:defRPr sz="1400" b="1"/>
            </a:lvl2pPr>
            <a:lvl3pPr marL="684915" indent="0">
              <a:buNone/>
              <a:defRPr sz="1400" b="1"/>
            </a:lvl3pPr>
            <a:lvl4pPr marL="1027368" indent="0">
              <a:buNone/>
              <a:defRPr sz="1400" b="1"/>
            </a:lvl4pPr>
            <a:lvl5pPr marL="1369824" indent="0">
              <a:buNone/>
              <a:defRPr sz="1400" b="1"/>
            </a:lvl5pPr>
          </a:lstStyle>
          <a:p>
            <a:pPr lvl="0"/>
            <a:r>
              <a:rPr lang="en-US"/>
              <a:t>This is your Primary Text.</a:t>
            </a:r>
            <a:endParaRPr lang="x-none"/>
          </a:p>
        </p:txBody>
      </p:sp>
      <p:sp>
        <p:nvSpPr>
          <p:cNvPr id="18" name="Text Placeholder 6">
            <a:extLst>
              <a:ext uri="{FF2B5EF4-FFF2-40B4-BE49-F238E27FC236}">
                <a16:creationId xmlns="" xmlns:a16="http://schemas.microsoft.com/office/drawing/2014/main" id="{66C4AA1F-8B09-5544-9C70-388A6E2940C9}"/>
              </a:ext>
            </a:extLst>
          </p:cNvPr>
          <p:cNvSpPr>
            <a:spLocks noGrp="1"/>
          </p:cNvSpPr>
          <p:nvPr>
            <p:ph type="body" sz="quarter" idx="24" hasCustomPrompt="1"/>
          </p:nvPr>
        </p:nvSpPr>
        <p:spPr>
          <a:xfrm>
            <a:off x="233362" y="820327"/>
            <a:ext cx="8677274" cy="204590"/>
          </a:xfrm>
        </p:spPr>
        <p:txBody>
          <a:bodyPr tIns="0" rIns="0" bIns="0" numCol="1">
            <a:noAutofit/>
          </a:bodyPr>
          <a:lstStyle>
            <a:lvl1pPr marL="0" indent="0">
              <a:lnSpc>
                <a:spcPct val="100000"/>
              </a:lnSpc>
              <a:spcBef>
                <a:spcPts val="0"/>
              </a:spcBef>
              <a:spcAft>
                <a:spcPts val="450"/>
              </a:spcAft>
              <a:buNone/>
              <a:defRPr sz="1500" b="1">
                <a:solidFill>
                  <a:schemeClr val="accent1"/>
                </a:solidFill>
              </a:defRPr>
            </a:lvl1pPr>
            <a:lvl2pPr marL="342434" indent="0">
              <a:lnSpc>
                <a:spcPts val="1350"/>
              </a:lnSpc>
              <a:spcBef>
                <a:spcPts val="0"/>
              </a:spcBef>
              <a:buNone/>
              <a:defRPr sz="1100"/>
            </a:lvl2pPr>
            <a:lvl3pPr marL="684915" indent="0">
              <a:lnSpc>
                <a:spcPts val="1350"/>
              </a:lnSpc>
              <a:spcBef>
                <a:spcPts val="0"/>
              </a:spcBef>
              <a:buNone/>
              <a:defRPr sz="1100"/>
            </a:lvl3pPr>
            <a:lvl4pPr marL="1027368" indent="0">
              <a:lnSpc>
                <a:spcPts val="1350"/>
              </a:lnSpc>
              <a:spcBef>
                <a:spcPts val="0"/>
              </a:spcBef>
              <a:buNone/>
              <a:defRPr sz="1100"/>
            </a:lvl4pPr>
            <a:lvl5pPr marL="1369824" indent="0">
              <a:lnSpc>
                <a:spcPts val="1350"/>
              </a:lnSpc>
              <a:spcBef>
                <a:spcPts val="0"/>
              </a:spcBef>
              <a:buNone/>
              <a:defRPr sz="1100"/>
            </a:lvl5pPr>
          </a:lstStyle>
          <a:p>
            <a:pPr lvl="0"/>
            <a:r>
              <a:rPr lang="en-US"/>
              <a:t>This is your Primary Title</a:t>
            </a:r>
          </a:p>
        </p:txBody>
      </p:sp>
    </p:spTree>
    <p:extLst>
      <p:ext uri="{BB962C8B-B14F-4D97-AF65-F5344CB8AC3E}">
        <p14:creationId xmlns:p14="http://schemas.microsoft.com/office/powerpoint/2010/main" val="1594709940"/>
      </p:ext>
    </p:extLst>
  </p:cSld>
  <p:clrMapOvr>
    <a:masterClrMapping/>
  </p:clrMapOvr>
  <p:transition spd="slow">
    <p:push dir="u"/>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675D4F24-3AD1-7943-A1A9-EB84047B5123}"/>
              </a:ext>
            </a:extLst>
          </p:cNvPr>
          <p:cNvSpPr>
            <a:spLocks noGrp="1"/>
          </p:cNvSpPr>
          <p:nvPr>
            <p:ph type="body" sz="quarter" idx="13" hasCustomPrompt="1"/>
          </p:nvPr>
        </p:nvSpPr>
        <p:spPr>
          <a:xfrm>
            <a:off x="395289" y="926921"/>
            <a:ext cx="8343899" cy="3480567"/>
          </a:xfrm>
        </p:spPr>
        <p:txBody>
          <a:bodyPr/>
          <a:lstStyle>
            <a:lvl1pPr>
              <a:buClr>
                <a:srgbClr val="4C4948"/>
              </a:buClr>
              <a:defRPr>
                <a:solidFill>
                  <a:schemeClr val="tx2"/>
                </a:solidFill>
              </a:defRPr>
            </a:lvl1pPr>
            <a:lvl2pPr>
              <a:buClr>
                <a:srgbClr val="4C4948"/>
              </a:buClr>
              <a:defRPr>
                <a:solidFill>
                  <a:schemeClr val="tx2"/>
                </a:solidFill>
              </a:defRPr>
            </a:lvl2pPr>
            <a:lvl3pPr>
              <a:buClr>
                <a:srgbClr val="4C4948"/>
              </a:buClr>
              <a:defRPr>
                <a:solidFill>
                  <a:schemeClr val="tx2"/>
                </a:solidFill>
              </a:defRPr>
            </a:lvl3pPr>
            <a:lvl4pPr>
              <a:buClr>
                <a:srgbClr val="4C4948"/>
              </a:buClr>
              <a:defRPr>
                <a:solidFill>
                  <a:schemeClr val="tx2"/>
                </a:solidFill>
              </a:defRPr>
            </a:lvl4pPr>
            <a:lvl5pPr>
              <a:buClr>
                <a:srgbClr val="4C4948"/>
              </a:buClr>
              <a:defRPr>
                <a:solidFill>
                  <a:schemeClr val="tx2"/>
                </a:solidFill>
              </a:defRPr>
            </a:lvl5pPr>
          </a:lstStyle>
          <a:p>
            <a:pPr lvl="0"/>
            <a:r>
              <a:rPr lang="en-US"/>
              <a:t>Add your text her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 xmlns:a16="http://schemas.microsoft.com/office/drawing/2014/main" id="{FC71F690-8ECF-4851-9B1B-65F80621D3C2}"/>
              </a:ext>
            </a:extLst>
          </p:cNvPr>
          <p:cNvSpPr>
            <a:spLocks noGrp="1"/>
          </p:cNvSpPr>
          <p:nvPr>
            <p:ph type="body" sz="quarter" idx="14" hasCustomPrompt="1"/>
          </p:nvPr>
        </p:nvSpPr>
        <p:spPr>
          <a:xfrm>
            <a:off x="395289" y="4431382"/>
            <a:ext cx="7529513" cy="340727"/>
          </a:xfrm>
        </p:spPr>
        <p:txBody>
          <a:bodyPr bIns="0" anchor="b" anchorCtr="0">
            <a:noAutofit/>
          </a:bodyPr>
          <a:lstStyle>
            <a:lvl1pPr marL="0" indent="0">
              <a:spcBef>
                <a:spcPts val="0"/>
              </a:spcBef>
              <a:buFontTx/>
              <a:buNone/>
              <a:defRPr sz="700">
                <a:solidFill>
                  <a:srgbClr val="34373F"/>
                </a:solidFill>
              </a:defRPr>
            </a:lvl1pPr>
          </a:lstStyle>
          <a:p>
            <a:r>
              <a:rPr lang="en-US"/>
              <a:t>Footnotes.</a:t>
            </a:r>
          </a:p>
          <a:p>
            <a:r>
              <a:rPr lang="en-US"/>
              <a:t>Abbreviations.</a:t>
            </a:r>
          </a:p>
          <a:p>
            <a:r>
              <a:rPr lang="en-US"/>
              <a:t>References.</a:t>
            </a:r>
          </a:p>
        </p:txBody>
      </p:sp>
      <p:sp>
        <p:nvSpPr>
          <p:cNvPr id="5" name="Slide Number Placeholder 4">
            <a:extLst>
              <a:ext uri="{FF2B5EF4-FFF2-40B4-BE49-F238E27FC236}">
                <a16:creationId xmlns="" xmlns:a16="http://schemas.microsoft.com/office/drawing/2014/main" id="{D866840B-298E-4CFC-A58E-46D1C350B59F}"/>
              </a:ext>
            </a:extLst>
          </p:cNvPr>
          <p:cNvSpPr>
            <a:spLocks noGrp="1"/>
          </p:cNvSpPr>
          <p:nvPr>
            <p:ph type="sldNum" sz="quarter" idx="16"/>
          </p:nvPr>
        </p:nvSpPr>
        <p:spPr/>
        <p:txBody>
          <a:bodyPr/>
          <a:lstStyle/>
          <a:p>
            <a:fld id="{E9B57936-92EF-4126-AE48-1D9D36D15E98}" type="slidenum">
              <a:rPr lang="ja-JP" altLang="en-US" smtClean="0">
                <a:solidFill>
                  <a:srgbClr val="34373F"/>
                </a:solidFill>
              </a:rPr>
              <a:pPr/>
              <a:t>‹Nº›</a:t>
            </a:fld>
            <a:endParaRPr lang="ja-JP" altLang="en-US">
              <a:solidFill>
                <a:srgbClr val="34373F"/>
              </a:solidFill>
            </a:endParaRPr>
          </a:p>
        </p:txBody>
      </p:sp>
      <p:sp>
        <p:nvSpPr>
          <p:cNvPr id="8" name="Title 7">
            <a:extLst>
              <a:ext uri="{FF2B5EF4-FFF2-40B4-BE49-F238E27FC236}">
                <a16:creationId xmlns="" xmlns:a16="http://schemas.microsoft.com/office/drawing/2014/main" id="{8F0341E0-7C1E-44B6-B63F-9834CF4F1267}"/>
              </a:ext>
            </a:extLst>
          </p:cNvPr>
          <p:cNvSpPr>
            <a:spLocks noGrp="1"/>
          </p:cNvSpPr>
          <p:nvPr>
            <p:ph type="title"/>
          </p:nvPr>
        </p:nvSpPr>
        <p:spPr>
          <a:xfrm>
            <a:off x="395289" y="99585"/>
            <a:ext cx="7357234" cy="527957"/>
          </a:xfrm>
        </p:spPr>
        <p:txBody>
          <a:bodyPr bIns="0"/>
          <a:lstStyle/>
          <a:p>
            <a:r>
              <a:rPr lang="en-US"/>
              <a:t>Click to edit Master title style</a:t>
            </a:r>
          </a:p>
        </p:txBody>
      </p:sp>
      <p:sp>
        <p:nvSpPr>
          <p:cNvPr id="6" name="Footer Placeholder 5">
            <a:extLst>
              <a:ext uri="{FF2B5EF4-FFF2-40B4-BE49-F238E27FC236}">
                <a16:creationId xmlns="" xmlns:a16="http://schemas.microsoft.com/office/drawing/2014/main" id="{A139C958-1D42-46C5-9663-C1E0F49EEACC}"/>
              </a:ext>
            </a:extLst>
          </p:cNvPr>
          <p:cNvSpPr>
            <a:spLocks noGrp="1"/>
          </p:cNvSpPr>
          <p:nvPr>
            <p:ph type="ftr" sz="quarter" idx="17"/>
          </p:nvPr>
        </p:nvSpPr>
        <p:spPr/>
        <p:txBody>
          <a:bodyPr/>
          <a:lstStyle/>
          <a:p>
            <a:r>
              <a:rPr lang="en-GB" altLang="ja-JP">
                <a:solidFill>
                  <a:srgbClr val="34373F"/>
                </a:solidFill>
              </a:rPr>
              <a:t>Long-term efficacy and safety of Takeda’s dengue vaccine candidate (TAK-003) after 4.5 years of follow-up | TBC | Approval </a:t>
            </a:r>
            <a:r>
              <a:rPr lang="en-US" altLang="ja-JP">
                <a:solidFill>
                  <a:srgbClr val="34373F"/>
                </a:solidFill>
              </a:rPr>
              <a:t>date: March 2023</a:t>
            </a:r>
            <a:endParaRPr lang="ja-JP" altLang="en-US" sz="200">
              <a:solidFill>
                <a:srgbClr val="34373F"/>
              </a:solidFill>
            </a:endParaRPr>
          </a:p>
        </p:txBody>
      </p:sp>
    </p:spTree>
    <p:extLst>
      <p:ext uri="{BB962C8B-B14F-4D97-AF65-F5344CB8AC3E}">
        <p14:creationId xmlns:p14="http://schemas.microsoft.com/office/powerpoint/2010/main" val="2154592638"/>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1_SAG/OE Title only">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C1AE710-910A-45E8-987A-33B7FB043BE5}"/>
              </a:ext>
            </a:extLst>
          </p:cNvPr>
          <p:cNvSpPr>
            <a:spLocks noGrp="1"/>
          </p:cNvSpPr>
          <p:nvPr>
            <p:ph type="title"/>
          </p:nvPr>
        </p:nvSpPr>
        <p:spPr>
          <a:xfrm>
            <a:off x="454558" y="121208"/>
            <a:ext cx="8330390" cy="514351"/>
          </a:xfrm>
        </p:spPr>
        <p:txBody>
          <a:bodyPr>
            <a:normAutofit/>
          </a:bodyPr>
          <a:lstStyle>
            <a:lvl1pPr>
              <a:lnSpc>
                <a:spcPct val="100000"/>
              </a:lnSpc>
              <a:defRPr sz="2100"/>
            </a:lvl1pPr>
          </a:lstStyle>
          <a:p>
            <a:r>
              <a:rPr lang="en-US"/>
              <a:t>Click to edit Master title style</a:t>
            </a:r>
            <a:endParaRPr lang="en-GB"/>
          </a:p>
        </p:txBody>
      </p:sp>
      <p:sp>
        <p:nvSpPr>
          <p:cNvPr id="4" name="Rectangle 3">
            <a:extLst>
              <a:ext uri="{FF2B5EF4-FFF2-40B4-BE49-F238E27FC236}">
                <a16:creationId xmlns="" xmlns:a16="http://schemas.microsoft.com/office/drawing/2014/main" id="{8230ECF3-B977-4019-87B2-D64E68C02BAD}"/>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19" tIns="34289" rIns="68519" bIns="34289" rtlCol="0" anchor="ctr"/>
          <a:lstStyle/>
          <a:p>
            <a:pPr algn="ctr" defTabSz="685103"/>
            <a:endParaRPr kumimoji="1" lang="x-none" sz="1400">
              <a:solidFill>
                <a:srgbClr val="E1242A"/>
              </a:solidFill>
            </a:endParaRPr>
          </a:p>
        </p:txBody>
      </p:sp>
      <p:sp>
        <p:nvSpPr>
          <p:cNvPr id="7" name="Slide Number Placeholder 2">
            <a:extLst>
              <a:ext uri="{FF2B5EF4-FFF2-40B4-BE49-F238E27FC236}">
                <a16:creationId xmlns="" xmlns:a16="http://schemas.microsoft.com/office/drawing/2014/main" id="{3ECFC6FE-29FD-4627-9DF7-EBE2B7531CED}"/>
              </a:ext>
            </a:extLst>
          </p:cNvPr>
          <p:cNvSpPr>
            <a:spLocks noGrp="1"/>
          </p:cNvSpPr>
          <p:nvPr>
            <p:ph type="sldNum" sz="quarter" idx="4"/>
          </p:nvPr>
        </p:nvSpPr>
        <p:spPr>
          <a:xfrm>
            <a:off x="8844587" y="26391"/>
            <a:ext cx="309438" cy="274272"/>
          </a:xfrm>
          <a:prstGeom prst="rect">
            <a:avLst/>
          </a:prstGeom>
        </p:spPr>
        <p:txBody>
          <a:bodyPr anchor="ctr"/>
          <a:lstStyle>
            <a:lvl1pPr algn="ctr">
              <a:defRPr sz="900" b="1">
                <a:solidFill>
                  <a:srgbClr val="FF0000"/>
                </a:solidFill>
                <a:latin typeface="+mj-lt"/>
              </a:defRPr>
            </a:lvl1pPr>
          </a:lstStyle>
          <a:p>
            <a:pPr defTabSz="913185"/>
            <a:fld id="{E9B57936-92EF-4126-AE48-1D9D36D15E98}" type="slidenum">
              <a:rPr lang="ja-JP" altLang="en-US" smtClean="0"/>
              <a:pPr defTabSz="913185"/>
              <a:t>‹Nº›</a:t>
            </a:fld>
            <a:endParaRPr lang="ja-JP" altLang="en-US"/>
          </a:p>
        </p:txBody>
      </p:sp>
      <p:pic>
        <p:nvPicPr>
          <p:cNvPr id="5" name="Picture 4" descr="Takeda">
            <a:extLst>
              <a:ext uri="{FF2B5EF4-FFF2-40B4-BE49-F238E27FC236}">
                <a16:creationId xmlns="" xmlns:a16="http://schemas.microsoft.com/office/drawing/2014/main" id="{AB86B1F6-5D85-CD4E-A0A7-44787B0FAB6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31882" y="4724106"/>
            <a:ext cx="841292" cy="466606"/>
          </a:xfrm>
          <a:prstGeom prst="rect">
            <a:avLst/>
          </a:prstGeom>
        </p:spPr>
      </p:pic>
      <p:sp>
        <p:nvSpPr>
          <p:cNvPr id="8" name="TextBox 7">
            <a:extLst>
              <a:ext uri="{FF2B5EF4-FFF2-40B4-BE49-F238E27FC236}">
                <a16:creationId xmlns="" xmlns:a16="http://schemas.microsoft.com/office/drawing/2014/main" id="{F1C45704-C894-D1E7-70F3-E96451E02933}"/>
              </a:ext>
            </a:extLst>
          </p:cNvPr>
          <p:cNvSpPr txBox="1"/>
          <p:nvPr userDrawn="1"/>
        </p:nvSpPr>
        <p:spPr>
          <a:xfrm>
            <a:off x="391354" y="4953683"/>
            <a:ext cx="1474202" cy="161583"/>
          </a:xfrm>
          <a:prstGeom prst="rect">
            <a:avLst/>
          </a:prstGeom>
          <a:noFill/>
        </p:spPr>
        <p:txBody>
          <a:bodyPr wrap="none" lIns="68519" tIns="34289" rIns="68519" bIns="34289" rtlCol="0">
            <a:spAutoFit/>
          </a:bodyPr>
          <a:lstStyle/>
          <a:p>
            <a:pPr defTabSz="685103">
              <a:defRPr/>
            </a:pPr>
            <a:r>
              <a:rPr lang="en-US" sz="600">
                <a:solidFill>
                  <a:srgbClr val="34373F"/>
                </a:solidFill>
              </a:rPr>
              <a:t>Private and confidential. Do not distribute.</a:t>
            </a:r>
          </a:p>
        </p:txBody>
      </p:sp>
    </p:spTree>
    <p:extLst>
      <p:ext uri="{BB962C8B-B14F-4D97-AF65-F5344CB8AC3E}">
        <p14:creationId xmlns:p14="http://schemas.microsoft.com/office/powerpoint/2010/main" val="1908977044"/>
      </p:ext>
    </p:extLst>
  </p:cSld>
  <p:clrMapOvr>
    <a:masterClrMapping/>
  </p:clrMapOvr>
  <p:transition spd="slow">
    <p:push dir="u"/>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2134FC21-AE04-4050-80E6-D9DCA4B50C9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 xmlns:a16="http://schemas.microsoft.com/office/drawing/2014/main" id="{51885F7E-EF45-48F7-9E54-C6806D0E9638}"/>
              </a:ext>
            </a:extLst>
          </p:cNvPr>
          <p:cNvSpPr>
            <a:spLocks noGrp="1"/>
          </p:cNvSpPr>
          <p:nvPr>
            <p:ph sz="half" idx="1"/>
          </p:nvPr>
        </p:nvSpPr>
        <p:spPr>
          <a:xfrm>
            <a:off x="628650" y="1369218"/>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 xmlns:a16="http://schemas.microsoft.com/office/drawing/2014/main" id="{7724501F-6ED5-4112-B037-D3E9F8CF2C81}"/>
              </a:ext>
            </a:extLst>
          </p:cNvPr>
          <p:cNvSpPr>
            <a:spLocks noGrp="1"/>
          </p:cNvSpPr>
          <p:nvPr>
            <p:ph sz="half" idx="2"/>
          </p:nvPr>
        </p:nvSpPr>
        <p:spPr>
          <a:xfrm>
            <a:off x="4629150" y="1369218"/>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 xmlns:a16="http://schemas.microsoft.com/office/drawing/2014/main" id="{E861E48C-176E-4E60-8CB3-5425169963CD}"/>
              </a:ext>
            </a:extLst>
          </p:cNvPr>
          <p:cNvSpPr>
            <a:spLocks noGrp="1"/>
          </p:cNvSpPr>
          <p:nvPr>
            <p:ph type="dt" sz="half" idx="10"/>
          </p:nvPr>
        </p:nvSpPr>
        <p:spPr/>
        <p:txBody>
          <a:bodyPr lIns="68519" tIns="34289" rIns="68519" bIns="34289"/>
          <a:lstStyle/>
          <a:p>
            <a:pPr defTabSz="685103"/>
            <a:fld id="{EED1C14C-A143-42F5-B247-D0E800131009}" type="datetimeFigureOut">
              <a:rPr lang="en-US" sz="1400" smtClean="0">
                <a:solidFill>
                  <a:srgbClr val="34373F"/>
                </a:solidFill>
              </a:rPr>
              <a:pPr defTabSz="685103"/>
              <a:t>8/7/2024</a:t>
            </a:fld>
            <a:endParaRPr lang="en-US" sz="1400">
              <a:solidFill>
                <a:srgbClr val="34373F"/>
              </a:solidFill>
            </a:endParaRPr>
          </a:p>
        </p:txBody>
      </p:sp>
      <p:sp>
        <p:nvSpPr>
          <p:cNvPr id="6" name="Footer Placeholder 5">
            <a:extLst>
              <a:ext uri="{FF2B5EF4-FFF2-40B4-BE49-F238E27FC236}">
                <a16:creationId xmlns="" xmlns:a16="http://schemas.microsoft.com/office/drawing/2014/main" id="{5852202B-C929-4B39-AF47-D17C38F868E8}"/>
              </a:ext>
            </a:extLst>
          </p:cNvPr>
          <p:cNvSpPr>
            <a:spLocks noGrp="1"/>
          </p:cNvSpPr>
          <p:nvPr>
            <p:ph type="ftr" sz="quarter" idx="11"/>
          </p:nvPr>
        </p:nvSpPr>
        <p:spPr/>
        <p:txBody>
          <a:bodyPr/>
          <a:lstStyle/>
          <a:p>
            <a:endParaRPr lang="en-US">
              <a:solidFill>
                <a:srgbClr val="34373F"/>
              </a:solidFill>
            </a:endParaRPr>
          </a:p>
        </p:txBody>
      </p:sp>
      <p:sp>
        <p:nvSpPr>
          <p:cNvPr id="7" name="Slide Number Placeholder 6">
            <a:extLst>
              <a:ext uri="{FF2B5EF4-FFF2-40B4-BE49-F238E27FC236}">
                <a16:creationId xmlns="" xmlns:a16="http://schemas.microsoft.com/office/drawing/2014/main" id="{7DEEEBF3-930A-4A23-810D-C1880E7A6D29}"/>
              </a:ext>
            </a:extLst>
          </p:cNvPr>
          <p:cNvSpPr>
            <a:spLocks noGrp="1"/>
          </p:cNvSpPr>
          <p:nvPr>
            <p:ph type="sldNum" sz="quarter" idx="12"/>
          </p:nvPr>
        </p:nvSpPr>
        <p:spPr/>
        <p:txBody>
          <a:bodyPr/>
          <a:lstStyle/>
          <a:p>
            <a:fld id="{5B03D32D-F1BC-4E9C-97E1-36CFF5B22341}" type="slidenum">
              <a:rPr lang="en-US" smtClean="0">
                <a:solidFill>
                  <a:srgbClr val="34373F"/>
                </a:solidFill>
              </a:rPr>
              <a:pPr/>
              <a:t>‹Nº›</a:t>
            </a:fld>
            <a:endParaRPr lang="en-US">
              <a:solidFill>
                <a:srgbClr val="34373F"/>
              </a:solidFill>
            </a:endParaRPr>
          </a:p>
        </p:txBody>
      </p:sp>
    </p:spTree>
    <p:extLst>
      <p:ext uri="{BB962C8B-B14F-4D97-AF65-F5344CB8AC3E}">
        <p14:creationId xmlns:p14="http://schemas.microsoft.com/office/powerpoint/2010/main" val="265497254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texto vertical"/>
          <p:cNvSpPr>
            <a:spLocks noGrp="1"/>
          </p:cNvSpPr>
          <p:nvPr>
            <p:ph type="body" orient="vert" idx="1"/>
          </p:nvPr>
        </p:nvSpPr>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fecha"/>
          <p:cNvSpPr>
            <a:spLocks noGrp="1"/>
          </p:cNvSpPr>
          <p:nvPr>
            <p:ph type="dt" sz="half" idx="10"/>
          </p:nvPr>
        </p:nvSpPr>
        <p:spPr>
          <a:xfrm>
            <a:off x="457201" y="4767357"/>
            <a:ext cx="2133600" cy="273844"/>
          </a:xfrm>
          <a:prstGeom prst="rect">
            <a:avLst/>
          </a:prstGeom>
        </p:spPr>
        <p:txBody>
          <a:bodyPr lIns="89953" tIns="44976" rIns="89953" bIns="44976"/>
          <a:lstStyle>
            <a:lvl1pPr>
              <a:defRPr b="1"/>
            </a:lvl1pPr>
          </a:lstStyle>
          <a:p>
            <a:pPr defTabSz="897136">
              <a:defRPr/>
            </a:pPr>
            <a:fld id="{8DDBBA3F-9E5D-4BC6-920C-9FE491A5326B}" type="datetimeFigureOut">
              <a:rPr lang="es-ES">
                <a:solidFill>
                  <a:prstClr val="black"/>
                </a:solidFill>
              </a:rPr>
              <a:pPr defTabSz="897136">
                <a:defRPr/>
              </a:pPr>
              <a:t>07/08/2024</a:t>
            </a:fld>
            <a:endParaRPr lang="es-ES">
              <a:solidFill>
                <a:prstClr val="black"/>
              </a:solidFill>
            </a:endParaRPr>
          </a:p>
        </p:txBody>
      </p:sp>
      <p:sp>
        <p:nvSpPr>
          <p:cNvPr id="5" name="4 Marcador de pie de página"/>
          <p:cNvSpPr>
            <a:spLocks noGrp="1"/>
          </p:cNvSpPr>
          <p:nvPr>
            <p:ph type="ftr" sz="quarter" idx="11"/>
          </p:nvPr>
        </p:nvSpPr>
        <p:spPr/>
        <p:txBody>
          <a:bodyPr/>
          <a:lstStyle>
            <a:lvl1pPr>
              <a:defRPr b="1"/>
            </a:lvl1pPr>
          </a:lstStyle>
          <a:p>
            <a:pPr>
              <a:defRPr/>
            </a:pPr>
            <a:endParaRPr lang="es-ES"/>
          </a:p>
        </p:txBody>
      </p:sp>
      <p:sp>
        <p:nvSpPr>
          <p:cNvPr id="6" name="5 Marcador de número de diapositiva"/>
          <p:cNvSpPr>
            <a:spLocks noGrp="1"/>
          </p:cNvSpPr>
          <p:nvPr>
            <p:ph type="sldNum" sz="quarter" idx="12"/>
          </p:nvPr>
        </p:nvSpPr>
        <p:spPr/>
        <p:txBody>
          <a:bodyPr/>
          <a:lstStyle>
            <a:lvl1pPr>
              <a:defRPr b="1"/>
            </a:lvl1pPr>
          </a:lstStyle>
          <a:p>
            <a:pPr>
              <a:defRPr/>
            </a:pPr>
            <a:fld id="{8DF4B2DE-53DE-4CE0-AB89-BBC05A729ABB}" type="slidenum">
              <a:rPr lang="es-ES"/>
              <a:pPr>
                <a:defRPr/>
              </a:pPr>
              <a:t>‹Nº›</a:t>
            </a:fld>
            <a:endParaRPr lang="es-ES"/>
          </a:p>
        </p:txBody>
      </p:sp>
    </p:spTree>
    <p:extLst>
      <p:ext uri="{BB962C8B-B14F-4D97-AF65-F5344CB8AC3E}">
        <p14:creationId xmlns:p14="http://schemas.microsoft.com/office/powerpoint/2010/main" val="4171005276"/>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userDrawn="1">
  <p:cSld name="4_Title Image 2 a">
    <p:spTree>
      <p:nvGrpSpPr>
        <p:cNvPr id="1" name=""/>
        <p:cNvGrpSpPr/>
        <p:nvPr/>
      </p:nvGrpSpPr>
      <p:grpSpPr>
        <a:xfrm>
          <a:off x="0" y="0"/>
          <a:ext cx="0" cy="0"/>
          <a:chOff x="0" y="0"/>
          <a:chExt cx="0" cy="0"/>
        </a:xfrm>
      </p:grpSpPr>
      <p:sp>
        <p:nvSpPr>
          <p:cNvPr id="19" name="Rectangle 6">
            <a:extLst>
              <a:ext uri="{FF2B5EF4-FFF2-40B4-BE49-F238E27FC236}">
                <a16:creationId xmlns="" xmlns:a16="http://schemas.microsoft.com/office/drawing/2014/main" id="{18D4B9FA-39D5-DC46-AEE9-0F3C6ECD9555}"/>
              </a:ext>
            </a:extLst>
          </p:cNvPr>
          <p:cNvSpPr/>
          <p:nvPr userDrawn="1"/>
        </p:nvSpPr>
        <p:spPr>
          <a:xfrm>
            <a:off x="0" y="3105000"/>
            <a:ext cx="107504" cy="1485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19" tIns="34289" rIns="68519" bIns="34289" anchor="ctr"/>
          <a:lstStyle/>
          <a:p>
            <a:pPr algn="ctr" defTabSz="685103"/>
            <a:endParaRPr lang="en-US" altLang="en-US" sz="1400">
              <a:solidFill>
                <a:srgbClr val="FFFFFF"/>
              </a:solidFill>
            </a:endParaRPr>
          </a:p>
        </p:txBody>
      </p:sp>
      <p:sp>
        <p:nvSpPr>
          <p:cNvPr id="21" name="Title 1">
            <a:extLst>
              <a:ext uri="{FF2B5EF4-FFF2-40B4-BE49-F238E27FC236}">
                <a16:creationId xmlns="" xmlns:a16="http://schemas.microsoft.com/office/drawing/2014/main" id="{BBB8651D-A822-B447-BA6F-5B2ACD54EA33}"/>
              </a:ext>
            </a:extLst>
          </p:cNvPr>
          <p:cNvSpPr>
            <a:spLocks noGrp="1"/>
          </p:cNvSpPr>
          <p:nvPr>
            <p:ph type="ctrTitle" hasCustomPrompt="1"/>
          </p:nvPr>
        </p:nvSpPr>
        <p:spPr>
          <a:xfrm>
            <a:off x="733674" y="3034435"/>
            <a:ext cx="5638528" cy="671442"/>
          </a:xfrm>
        </p:spPr>
        <p:txBody>
          <a:bodyPr wrap="square" tIns="0" rIns="0" bIns="0" anchor="t" anchorCtr="0">
            <a:noAutofit/>
          </a:bodyPr>
          <a:lstStyle>
            <a:lvl1pPr>
              <a:lnSpc>
                <a:spcPts val="2835"/>
              </a:lnSpc>
              <a:defRPr sz="2100" b="0" i="0" baseline="0">
                <a:solidFill>
                  <a:schemeClr val="accent2"/>
                </a:solidFill>
                <a:latin typeface="Calibri" pitchFamily="34" charset="0"/>
                <a:ea typeface="メイリオ" pitchFamily="50" charset="-128"/>
                <a:cs typeface="Calibri" pitchFamily="34" charset="0"/>
              </a:defRPr>
            </a:lvl1pPr>
          </a:lstStyle>
          <a:p>
            <a:r>
              <a:rPr lang="en-GB"/>
              <a:t>Click to enter Presentation Title</a:t>
            </a:r>
          </a:p>
        </p:txBody>
      </p:sp>
      <p:pic>
        <p:nvPicPr>
          <p:cNvPr id="11" name="Picture 12" descr="Takeda_Logo_Pos_RGB.emf">
            <a:extLst>
              <a:ext uri="{FF2B5EF4-FFF2-40B4-BE49-F238E27FC236}">
                <a16:creationId xmlns="" xmlns:a16="http://schemas.microsoft.com/office/drawing/2014/main" id="{287FB422-2240-1A4C-BD02-01CE8911C0A9}"/>
              </a:ext>
            </a:extLst>
          </p:cNvPr>
          <p:cNvPicPr>
            <a:picLocks noChangeAspect="1"/>
          </p:cNvPicPr>
          <p:nvPr userDrawn="1"/>
        </p:nvPicPr>
        <p:blipFill>
          <a:blip r:embed="rId2" cstate="print"/>
          <a:stretch>
            <a:fillRect/>
          </a:stretch>
        </p:blipFill>
        <p:spPr bwMode="auto">
          <a:xfrm>
            <a:off x="7328593" y="3107923"/>
            <a:ext cx="1062884" cy="357458"/>
          </a:xfrm>
          <a:prstGeom prst="rect">
            <a:avLst/>
          </a:prstGeom>
          <a:noFill/>
          <a:ln w="9525">
            <a:noFill/>
            <a:miter lim="800000"/>
            <a:headEnd/>
            <a:tailEnd/>
          </a:ln>
        </p:spPr>
      </p:pic>
      <p:pic>
        <p:nvPicPr>
          <p:cNvPr id="12" name="Bild 5">
            <a:extLst>
              <a:ext uri="{FF2B5EF4-FFF2-40B4-BE49-F238E27FC236}">
                <a16:creationId xmlns="" xmlns:a16="http://schemas.microsoft.com/office/drawing/2014/main" id="{211B8A58-0EB0-6348-B49B-AE3B0CAC21F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6977822" y="4536439"/>
            <a:ext cx="1410603" cy="81740"/>
          </a:xfrm>
          <a:prstGeom prst="rect">
            <a:avLst/>
          </a:prstGeom>
          <a:noFill/>
          <a:ln w="9525">
            <a:noFill/>
            <a:miter lim="800000"/>
            <a:headEnd/>
            <a:tailEnd/>
          </a:ln>
        </p:spPr>
      </p:pic>
      <p:sp>
        <p:nvSpPr>
          <p:cNvPr id="13" name="Text Placeholder 8">
            <a:extLst>
              <a:ext uri="{FF2B5EF4-FFF2-40B4-BE49-F238E27FC236}">
                <a16:creationId xmlns="" xmlns:a16="http://schemas.microsoft.com/office/drawing/2014/main" id="{10C6B0C8-EB17-EC48-8410-BE88116D3ACD}"/>
              </a:ext>
            </a:extLst>
          </p:cNvPr>
          <p:cNvSpPr>
            <a:spLocks noGrp="1"/>
          </p:cNvSpPr>
          <p:nvPr>
            <p:ph type="body" sz="quarter" idx="13" hasCustomPrompt="1"/>
          </p:nvPr>
        </p:nvSpPr>
        <p:spPr>
          <a:xfrm>
            <a:off x="733672" y="3748422"/>
            <a:ext cx="4227248" cy="216694"/>
          </a:xfrm>
        </p:spPr>
        <p:txBody>
          <a:bodyPr>
            <a:noAutofit/>
          </a:bodyPr>
          <a:lstStyle>
            <a:lvl1pPr marL="0" indent="0">
              <a:buNone/>
              <a:defRPr sz="1200"/>
            </a:lvl1pPr>
          </a:lstStyle>
          <a:p>
            <a:r>
              <a:rPr lang="en-US"/>
              <a:t>Date</a:t>
            </a:r>
          </a:p>
        </p:txBody>
      </p:sp>
      <p:sp>
        <p:nvSpPr>
          <p:cNvPr id="14" name="Text Placeholder 17">
            <a:extLst>
              <a:ext uri="{FF2B5EF4-FFF2-40B4-BE49-F238E27FC236}">
                <a16:creationId xmlns="" xmlns:a16="http://schemas.microsoft.com/office/drawing/2014/main" id="{F36B06DC-7895-8244-8724-6CDF07B1B8EC}"/>
              </a:ext>
            </a:extLst>
          </p:cNvPr>
          <p:cNvSpPr>
            <a:spLocks noGrp="1"/>
          </p:cNvSpPr>
          <p:nvPr>
            <p:ph type="body" sz="quarter" idx="11" hasCustomPrompt="1"/>
          </p:nvPr>
        </p:nvSpPr>
        <p:spPr>
          <a:xfrm>
            <a:off x="733672" y="4197965"/>
            <a:ext cx="4227248" cy="200025"/>
          </a:xfrm>
        </p:spPr>
        <p:txBody>
          <a:bodyPr>
            <a:noAutofit/>
          </a:bodyPr>
          <a:lstStyle>
            <a:lvl1pPr marL="0" indent="0">
              <a:buNone/>
              <a:defRPr sz="1200">
                <a:solidFill>
                  <a:schemeClr val="accent2"/>
                </a:solidFill>
              </a:defRPr>
            </a:lvl1pPr>
          </a:lstStyle>
          <a:p>
            <a:r>
              <a:rPr lang="en-US"/>
              <a:t>Department</a:t>
            </a:r>
          </a:p>
        </p:txBody>
      </p:sp>
      <p:sp>
        <p:nvSpPr>
          <p:cNvPr id="15" name="Text Placeholder 19">
            <a:extLst>
              <a:ext uri="{FF2B5EF4-FFF2-40B4-BE49-F238E27FC236}">
                <a16:creationId xmlns="" xmlns:a16="http://schemas.microsoft.com/office/drawing/2014/main" id="{6BDF6E0C-07EA-D14B-9328-D8C625F573A5}"/>
              </a:ext>
            </a:extLst>
          </p:cNvPr>
          <p:cNvSpPr>
            <a:spLocks noGrp="1"/>
          </p:cNvSpPr>
          <p:nvPr>
            <p:ph type="body" sz="quarter" idx="14" hasCustomPrompt="1"/>
          </p:nvPr>
        </p:nvSpPr>
        <p:spPr>
          <a:xfrm>
            <a:off x="733672" y="3981526"/>
            <a:ext cx="4227248" cy="200025"/>
          </a:xfrm>
        </p:spPr>
        <p:txBody>
          <a:bodyPr>
            <a:noAutofit/>
          </a:bodyPr>
          <a:lstStyle>
            <a:lvl1pPr marL="0" indent="0">
              <a:buNone/>
              <a:defRPr sz="1200"/>
            </a:lvl1pPr>
          </a:lstStyle>
          <a:p>
            <a:r>
              <a:rPr lang="en-US"/>
              <a:t>Name, Job Title</a:t>
            </a:r>
          </a:p>
        </p:txBody>
      </p:sp>
      <p:sp>
        <p:nvSpPr>
          <p:cNvPr id="18" name="Text Placeholder 10">
            <a:extLst>
              <a:ext uri="{FF2B5EF4-FFF2-40B4-BE49-F238E27FC236}">
                <a16:creationId xmlns="" xmlns:a16="http://schemas.microsoft.com/office/drawing/2014/main" id="{2BFEAA57-D4CD-4347-85B4-8B2085F33AA1}"/>
              </a:ext>
            </a:extLst>
          </p:cNvPr>
          <p:cNvSpPr>
            <a:spLocks noGrp="1"/>
          </p:cNvSpPr>
          <p:nvPr>
            <p:ph type="body" sz="quarter" idx="16"/>
          </p:nvPr>
        </p:nvSpPr>
        <p:spPr>
          <a:xfrm>
            <a:off x="733672" y="4414403"/>
            <a:ext cx="4227248" cy="200025"/>
          </a:xfrm>
        </p:spPr>
        <p:txBody>
          <a:bodyPr>
            <a:noAutofit/>
          </a:bodyPr>
          <a:lstStyle>
            <a:lvl1pPr marL="0" indent="0">
              <a:buNone/>
              <a:defRPr sz="1200">
                <a:solidFill>
                  <a:schemeClr val="accent2"/>
                </a:solidFill>
              </a:defRPr>
            </a:lvl1pPr>
          </a:lstStyle>
          <a:p>
            <a:pPr lvl="0"/>
            <a:r>
              <a:rPr lang="en-US">
                <a:solidFill>
                  <a:schemeClr val="accent2"/>
                </a:solidFill>
              </a:rPr>
              <a:t>Click to edit Master text styles</a:t>
            </a:r>
          </a:p>
        </p:txBody>
      </p:sp>
      <p:sp>
        <p:nvSpPr>
          <p:cNvPr id="20" name="Picture Placeholder 3">
            <a:extLst>
              <a:ext uri="{FF2B5EF4-FFF2-40B4-BE49-F238E27FC236}">
                <a16:creationId xmlns="" xmlns:a16="http://schemas.microsoft.com/office/drawing/2014/main" id="{902F3095-EA6E-F94A-AF04-18ED691DEB75}"/>
              </a:ext>
            </a:extLst>
          </p:cNvPr>
          <p:cNvSpPr>
            <a:spLocks noGrp="1"/>
          </p:cNvSpPr>
          <p:nvPr>
            <p:ph type="pic" sz="quarter" idx="17"/>
          </p:nvPr>
        </p:nvSpPr>
        <p:spPr>
          <a:xfrm>
            <a:off x="0" y="4763"/>
            <a:ext cx="9144000" cy="2571750"/>
          </a:xfrm>
        </p:spPr>
        <p:txBody>
          <a:bodyPr/>
          <a:lstStyle/>
          <a:p>
            <a:r>
              <a:rPr lang="en-US"/>
              <a:t>Click icon to add picture</a:t>
            </a:r>
          </a:p>
        </p:txBody>
      </p:sp>
      <p:pic>
        <p:nvPicPr>
          <p:cNvPr id="16" name="Picture 2" descr="http://www.thesailmarinabay.com/photos/SingaporeSkyline5.jpg">
            <a:extLst>
              <a:ext uri="{FF2B5EF4-FFF2-40B4-BE49-F238E27FC236}">
                <a16:creationId xmlns="" xmlns:a16="http://schemas.microsoft.com/office/drawing/2014/main" id="{622C6984-93D4-4DFC-8EA5-CB8A1479B62E}"/>
              </a:ext>
            </a:extLst>
          </p:cNvPr>
          <p:cNvPicPr>
            <a:picLocks noChangeAspect="1" noChangeArrowheads="1"/>
          </p:cNvPicPr>
          <p:nvPr userDrawn="1"/>
        </p:nvPicPr>
        <p:blipFill rotWithShape="1">
          <a:blip r:embed="rId4" cstate="print">
            <a:extLst>
              <a:ext uri="{28A0092B-C50C-407E-A947-70E740481C1C}">
                <a14:useLocalDpi xmlns:a14="http://schemas.microsoft.com/office/drawing/2010/main" val="0"/>
              </a:ext>
            </a:extLst>
          </a:blip>
          <a:srcRect t="35949" r="2186" b="22946"/>
          <a:stretch/>
        </p:blipFill>
        <p:spPr bwMode="auto">
          <a:xfrm>
            <a:off x="1" y="3"/>
            <a:ext cx="9144000" cy="25620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94233235"/>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Page 1">
    <p:spTree>
      <p:nvGrpSpPr>
        <p:cNvPr id="1" name=""/>
        <p:cNvGrpSpPr/>
        <p:nvPr/>
      </p:nvGrpSpPr>
      <p:grpSpPr>
        <a:xfrm>
          <a:off x="0" y="0"/>
          <a:ext cx="0" cy="0"/>
          <a:chOff x="0" y="0"/>
          <a:chExt cx="0" cy="0"/>
        </a:xfrm>
      </p:grpSpPr>
      <p:sp>
        <p:nvSpPr>
          <p:cNvPr id="6" name="Rectangle 6">
            <a:extLst>
              <a:ext uri="{FF2B5EF4-FFF2-40B4-BE49-F238E27FC236}">
                <a16:creationId xmlns="" xmlns:a16="http://schemas.microsoft.com/office/drawing/2014/main" id="{82B9CECE-7D8F-8C4A-AFC6-A963B1F05594}"/>
              </a:ext>
            </a:extLst>
          </p:cNvPr>
          <p:cNvSpPr/>
          <p:nvPr userDrawn="1"/>
        </p:nvSpPr>
        <p:spPr>
          <a:xfrm>
            <a:off x="0" y="45949"/>
            <a:ext cx="191386" cy="6367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26" tIns="34289" rIns="68526" bIns="34289" anchor="ctr"/>
          <a:lstStyle/>
          <a:p>
            <a:pPr algn="ctr" defTabSz="685188"/>
            <a:endParaRPr lang="en-US" altLang="en-US" sz="1400">
              <a:solidFill>
                <a:srgbClr val="E1242A"/>
              </a:solidFill>
            </a:endParaRPr>
          </a:p>
        </p:txBody>
      </p:sp>
      <p:sp>
        <p:nvSpPr>
          <p:cNvPr id="10" name="Picture Placeholder 9">
            <a:extLst>
              <a:ext uri="{FF2B5EF4-FFF2-40B4-BE49-F238E27FC236}">
                <a16:creationId xmlns="" xmlns:a16="http://schemas.microsoft.com/office/drawing/2014/main" id="{91E79114-5B74-9547-8292-DAB8965D43FD}"/>
              </a:ext>
            </a:extLst>
          </p:cNvPr>
          <p:cNvSpPr>
            <a:spLocks noGrp="1"/>
          </p:cNvSpPr>
          <p:nvPr>
            <p:ph type="pic" sz="quarter" idx="10"/>
          </p:nvPr>
        </p:nvSpPr>
        <p:spPr>
          <a:xfrm>
            <a:off x="561756" y="381"/>
            <a:ext cx="8594519" cy="2571371"/>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2246">
                <a:moveTo>
                  <a:pt x="0" y="1652"/>
                </a:moveTo>
                <a:lnTo>
                  <a:pt x="11459359" y="0"/>
                </a:lnTo>
                <a:cubicBezTo>
                  <a:pt x="11456406" y="1115201"/>
                  <a:pt x="11441877" y="2245391"/>
                  <a:pt x="11438924" y="3360592"/>
                </a:cubicBezTo>
                <a:lnTo>
                  <a:pt x="579722" y="3362246"/>
                </a:lnTo>
                <a:cubicBezTo>
                  <a:pt x="259550" y="3362246"/>
                  <a:pt x="0" y="3102696"/>
                  <a:pt x="0" y="2782524"/>
                </a:cubicBezTo>
                <a:lnTo>
                  <a:pt x="0" y="1652"/>
                </a:lnTo>
                <a:close/>
              </a:path>
            </a:pathLst>
          </a:custGeom>
          <a:noFill/>
        </p:spPr>
        <p:txBody>
          <a:bodyPr/>
          <a:lstStyle>
            <a:lvl1pPr marL="0" indent="0">
              <a:buNone/>
              <a:defRPr sz="1800">
                <a:solidFill>
                  <a:schemeClr val="bg1"/>
                </a:solidFill>
              </a:defRPr>
            </a:lvl1pPr>
          </a:lstStyle>
          <a:p>
            <a:r>
              <a:rPr lang="es-ES"/>
              <a:t>Haga clic en el icono para agregar una imagen</a:t>
            </a:r>
            <a:endParaRPr lang="x-none"/>
          </a:p>
        </p:txBody>
      </p:sp>
      <p:pic>
        <p:nvPicPr>
          <p:cNvPr id="18" name="Picture 17" descr="Takeda">
            <a:extLst>
              <a:ext uri="{FF2B5EF4-FFF2-40B4-BE49-F238E27FC236}">
                <a16:creationId xmlns="" xmlns:a16="http://schemas.microsoft.com/office/drawing/2014/main" id="{5F9376FC-2A9F-C644-AD88-C6E1B65B4D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342923" y="2522100"/>
            <a:ext cx="1688783" cy="936649"/>
          </a:xfrm>
          <a:prstGeom prst="rect">
            <a:avLst/>
          </a:prstGeom>
        </p:spPr>
      </p:pic>
      <p:sp>
        <p:nvSpPr>
          <p:cNvPr id="15" name="Title 1">
            <a:extLst>
              <a:ext uri="{FF2B5EF4-FFF2-40B4-BE49-F238E27FC236}">
                <a16:creationId xmlns="" xmlns:a16="http://schemas.microsoft.com/office/drawing/2014/main" id="{9F5E8E0A-41D4-8346-9248-0B9AAC71238D}"/>
              </a:ext>
            </a:extLst>
          </p:cNvPr>
          <p:cNvSpPr>
            <a:spLocks noGrp="1"/>
          </p:cNvSpPr>
          <p:nvPr>
            <p:ph type="ctrTitle" hasCustomPrompt="1"/>
          </p:nvPr>
        </p:nvSpPr>
        <p:spPr>
          <a:xfrm>
            <a:off x="896055" y="2967638"/>
            <a:ext cx="5774753" cy="761761"/>
          </a:xfrm>
          <a:prstGeom prst="rect">
            <a:avLst/>
          </a:prstGeom>
        </p:spPr>
        <p:txBody>
          <a:bodyPr wrap="square" lIns="0" tIns="0" rIns="0" bIns="0" anchor="t" anchorCtr="0">
            <a:normAutofit/>
          </a:bodyPr>
          <a:lstStyle>
            <a:lvl1pPr>
              <a:lnSpc>
                <a:spcPts val="2850"/>
              </a:lnSpc>
              <a:defRPr sz="27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a:t>
            </a:r>
            <a:br>
              <a:rPr lang="en-GB"/>
            </a:br>
            <a:r>
              <a:rPr lang="en-GB"/>
              <a:t>Title</a:t>
            </a:r>
          </a:p>
        </p:txBody>
      </p:sp>
      <p:sp>
        <p:nvSpPr>
          <p:cNvPr id="17" name="Rectangle 16">
            <a:extLst>
              <a:ext uri="{FF2B5EF4-FFF2-40B4-BE49-F238E27FC236}">
                <a16:creationId xmlns="" xmlns:a16="http://schemas.microsoft.com/office/drawing/2014/main" id="{F5A63B8E-5554-A04E-B4C5-97ECEE58B6CC}"/>
              </a:ext>
            </a:extLst>
          </p:cNvPr>
          <p:cNvSpPr/>
          <p:nvPr userDrawn="1"/>
        </p:nvSpPr>
        <p:spPr>
          <a:xfrm>
            <a:off x="561754" y="2823048"/>
            <a:ext cx="72900" cy="20303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26" tIns="34289" rIns="68526" bIns="34289" anchor="ctr"/>
          <a:lstStyle/>
          <a:p>
            <a:pPr algn="ctr" defTabSz="685188"/>
            <a:endParaRPr lang="en-US" altLang="en-US" sz="1400">
              <a:solidFill>
                <a:srgbClr val="FFFFFF"/>
              </a:solidFill>
            </a:endParaRPr>
          </a:p>
        </p:txBody>
      </p:sp>
      <p:pic>
        <p:nvPicPr>
          <p:cNvPr id="21" name="Picture 20">
            <a:extLst>
              <a:ext uri="{FF2B5EF4-FFF2-40B4-BE49-F238E27FC236}">
                <a16:creationId xmlns="" xmlns:a16="http://schemas.microsoft.com/office/drawing/2014/main" id="{C2637423-F180-3943-B758-C8CCFA816E0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178941" y="4768494"/>
            <a:ext cx="1468934" cy="88097"/>
          </a:xfrm>
          <a:prstGeom prst="rect">
            <a:avLst/>
          </a:prstGeom>
        </p:spPr>
      </p:pic>
      <p:sp>
        <p:nvSpPr>
          <p:cNvPr id="23" name="Text Placeholder 2">
            <a:extLst>
              <a:ext uri="{FF2B5EF4-FFF2-40B4-BE49-F238E27FC236}">
                <a16:creationId xmlns="" xmlns:a16="http://schemas.microsoft.com/office/drawing/2014/main" id="{F7327E43-4F43-914D-BE65-DB0ADB5A5E11}"/>
              </a:ext>
            </a:extLst>
          </p:cNvPr>
          <p:cNvSpPr>
            <a:spLocks noGrp="1"/>
          </p:cNvSpPr>
          <p:nvPr>
            <p:ph type="body" sz="quarter" idx="23" hasCustomPrompt="1"/>
          </p:nvPr>
        </p:nvSpPr>
        <p:spPr>
          <a:xfrm>
            <a:off x="896055" y="3942060"/>
            <a:ext cx="5774753" cy="175501"/>
          </a:xfrm>
          <a:prstGeom prst="rect">
            <a:avLst/>
          </a:prstGeom>
        </p:spPr>
        <p:txBody>
          <a:bodyPr lIns="0" tIns="0" rIns="0" bIns="0">
            <a:noAutofit/>
          </a:bodyPr>
          <a:lstStyle>
            <a:lvl1pPr marL="0" indent="0">
              <a:buNone/>
              <a:defRPr sz="1100" b="0" i="0">
                <a:solidFill>
                  <a:schemeClr val="tx1"/>
                </a:solidFill>
                <a:latin typeface="Calibri" panose="020F0502020204030204" pitchFamily="34" charset="0"/>
                <a:cs typeface="Calibri" panose="020F0502020204030204" pitchFamily="34" charset="0"/>
              </a:defRPr>
            </a:lvl1pPr>
            <a:lvl2pPr marL="342479" indent="0">
              <a:buNone/>
              <a:defRPr sz="1100">
                <a:solidFill>
                  <a:schemeClr val="tx1"/>
                </a:solidFill>
              </a:defRPr>
            </a:lvl2pPr>
            <a:lvl3pPr marL="685000" indent="0">
              <a:buNone/>
              <a:defRPr sz="1100">
                <a:solidFill>
                  <a:schemeClr val="tx1"/>
                </a:solidFill>
              </a:defRPr>
            </a:lvl3pPr>
            <a:lvl4pPr marL="1027496" indent="0">
              <a:buNone/>
              <a:defRPr sz="1100">
                <a:solidFill>
                  <a:schemeClr val="tx1"/>
                </a:solidFill>
              </a:defRPr>
            </a:lvl4pPr>
            <a:lvl5pPr marL="1369994" indent="0">
              <a:buNone/>
              <a:defRPr sz="1100">
                <a:solidFill>
                  <a:schemeClr val="tx1"/>
                </a:solidFill>
              </a:defRPr>
            </a:lvl5pPr>
          </a:lstStyle>
          <a:p>
            <a:pPr lvl="0"/>
            <a:r>
              <a:rPr lang="en-US"/>
              <a:t>Title of Position</a:t>
            </a:r>
          </a:p>
        </p:txBody>
      </p:sp>
      <p:sp>
        <p:nvSpPr>
          <p:cNvPr id="24" name="Text Placeholder 2">
            <a:extLst>
              <a:ext uri="{FF2B5EF4-FFF2-40B4-BE49-F238E27FC236}">
                <a16:creationId xmlns="" xmlns:a16="http://schemas.microsoft.com/office/drawing/2014/main" id="{4A23AA60-6137-8841-B2ED-51B2F2E5C1BB}"/>
              </a:ext>
            </a:extLst>
          </p:cNvPr>
          <p:cNvSpPr>
            <a:spLocks noGrp="1"/>
          </p:cNvSpPr>
          <p:nvPr>
            <p:ph type="body" sz="quarter" idx="24" hasCustomPrompt="1"/>
          </p:nvPr>
        </p:nvSpPr>
        <p:spPr>
          <a:xfrm>
            <a:off x="896055" y="4136320"/>
            <a:ext cx="5774753" cy="175501"/>
          </a:xfrm>
          <a:prstGeom prst="rect">
            <a:avLst/>
          </a:prstGeom>
        </p:spPr>
        <p:txBody>
          <a:bodyPr lIns="0" tIns="0" rIns="0" bIns="0">
            <a:noAutofit/>
          </a:bodyPr>
          <a:lstStyle>
            <a:lvl1pPr marL="0" indent="0">
              <a:buNone/>
              <a:defRPr sz="1100" b="0" i="0">
                <a:solidFill>
                  <a:schemeClr val="tx1"/>
                </a:solidFill>
                <a:latin typeface="Calibri" panose="020F0502020204030204" pitchFamily="34" charset="0"/>
                <a:cs typeface="Calibri" panose="020F0502020204030204" pitchFamily="34" charset="0"/>
              </a:defRPr>
            </a:lvl1pPr>
            <a:lvl2pPr marL="342479" indent="0">
              <a:buNone/>
              <a:defRPr sz="1100">
                <a:solidFill>
                  <a:schemeClr val="tx1"/>
                </a:solidFill>
              </a:defRPr>
            </a:lvl2pPr>
            <a:lvl3pPr marL="685000" indent="0">
              <a:buNone/>
              <a:defRPr sz="1100">
                <a:solidFill>
                  <a:schemeClr val="tx1"/>
                </a:solidFill>
              </a:defRPr>
            </a:lvl3pPr>
            <a:lvl4pPr marL="1027496" indent="0">
              <a:buNone/>
              <a:defRPr sz="1100">
                <a:solidFill>
                  <a:schemeClr val="tx1"/>
                </a:solidFill>
              </a:defRPr>
            </a:lvl4pPr>
            <a:lvl5pPr marL="1369994" indent="0">
              <a:buNone/>
              <a:defRPr sz="1100">
                <a:solidFill>
                  <a:schemeClr val="tx1"/>
                </a:solidFill>
              </a:defRPr>
            </a:lvl5pPr>
          </a:lstStyle>
          <a:p>
            <a:pPr lvl="0"/>
            <a:r>
              <a:rPr lang="en-US"/>
              <a:t>Department</a:t>
            </a:r>
          </a:p>
        </p:txBody>
      </p:sp>
      <p:sp>
        <p:nvSpPr>
          <p:cNvPr id="25" name="Text Placeholder 2">
            <a:extLst>
              <a:ext uri="{FF2B5EF4-FFF2-40B4-BE49-F238E27FC236}">
                <a16:creationId xmlns="" xmlns:a16="http://schemas.microsoft.com/office/drawing/2014/main" id="{BB4FEAB2-22C6-3446-B4D2-5B610A729BCC}"/>
              </a:ext>
            </a:extLst>
          </p:cNvPr>
          <p:cNvSpPr>
            <a:spLocks noGrp="1"/>
          </p:cNvSpPr>
          <p:nvPr>
            <p:ph type="body" sz="quarter" idx="25" hasCustomPrompt="1"/>
          </p:nvPr>
        </p:nvSpPr>
        <p:spPr>
          <a:xfrm>
            <a:off x="896055" y="4327185"/>
            <a:ext cx="5774753" cy="175501"/>
          </a:xfrm>
          <a:prstGeom prst="rect">
            <a:avLst/>
          </a:prstGeom>
        </p:spPr>
        <p:txBody>
          <a:bodyPr lIns="0" tIns="0" rIns="0" bIns="0">
            <a:noAutofit/>
          </a:bodyPr>
          <a:lstStyle>
            <a:lvl1pPr marL="0" indent="0">
              <a:buNone/>
              <a:defRPr sz="1100" b="0" i="0">
                <a:solidFill>
                  <a:schemeClr val="tx1"/>
                </a:solidFill>
                <a:latin typeface="Calibri" panose="020F0502020204030204" pitchFamily="34" charset="0"/>
                <a:cs typeface="Calibri" panose="020F0502020204030204" pitchFamily="34" charset="0"/>
              </a:defRPr>
            </a:lvl1pPr>
            <a:lvl2pPr marL="342479" indent="0">
              <a:buNone/>
              <a:defRPr sz="1100">
                <a:solidFill>
                  <a:schemeClr val="tx1"/>
                </a:solidFill>
              </a:defRPr>
            </a:lvl2pPr>
            <a:lvl3pPr marL="685000" indent="0">
              <a:buNone/>
              <a:defRPr sz="1100">
                <a:solidFill>
                  <a:schemeClr val="tx1"/>
                </a:solidFill>
              </a:defRPr>
            </a:lvl3pPr>
            <a:lvl4pPr marL="1027496" indent="0">
              <a:buNone/>
              <a:defRPr sz="1100">
                <a:solidFill>
                  <a:schemeClr val="tx1"/>
                </a:solidFill>
              </a:defRPr>
            </a:lvl4pPr>
            <a:lvl5pPr marL="1369994" indent="0">
              <a:buNone/>
              <a:defRPr sz="1100">
                <a:solidFill>
                  <a:schemeClr val="tx1"/>
                </a:solidFill>
              </a:defRPr>
            </a:lvl5pPr>
          </a:lstStyle>
          <a:p>
            <a:pPr lvl="0"/>
            <a:r>
              <a:rPr lang="en-US"/>
              <a:t>Date</a:t>
            </a:r>
          </a:p>
        </p:txBody>
      </p:sp>
      <p:sp>
        <p:nvSpPr>
          <p:cNvPr id="28" name="Text Placeholder 2">
            <a:extLst>
              <a:ext uri="{FF2B5EF4-FFF2-40B4-BE49-F238E27FC236}">
                <a16:creationId xmlns="" xmlns:a16="http://schemas.microsoft.com/office/drawing/2014/main" id="{4085F378-E668-A648-B7B1-8C76C309ED6D}"/>
              </a:ext>
            </a:extLst>
          </p:cNvPr>
          <p:cNvSpPr>
            <a:spLocks noGrp="1"/>
          </p:cNvSpPr>
          <p:nvPr>
            <p:ph type="body" sz="quarter" idx="26" hasCustomPrompt="1"/>
          </p:nvPr>
        </p:nvSpPr>
        <p:spPr>
          <a:xfrm>
            <a:off x="896055" y="3748169"/>
            <a:ext cx="5774753" cy="175501"/>
          </a:xfrm>
          <a:prstGeom prst="rect">
            <a:avLst/>
          </a:prstGeom>
        </p:spPr>
        <p:txBody>
          <a:bodyPr lIns="0" tIns="0" rIns="0" bIns="0">
            <a:noAutofit/>
          </a:bodyPr>
          <a:lstStyle>
            <a:lvl1pPr marL="0" indent="0">
              <a:buNone/>
              <a:defRPr sz="1100" b="0" i="0">
                <a:solidFill>
                  <a:schemeClr val="tx1"/>
                </a:solidFill>
                <a:latin typeface="Calibri" panose="020F0502020204030204" pitchFamily="34" charset="0"/>
                <a:cs typeface="Calibri" panose="020F0502020204030204" pitchFamily="34" charset="0"/>
              </a:defRPr>
            </a:lvl1pPr>
            <a:lvl2pPr marL="342479" indent="0">
              <a:buNone/>
              <a:defRPr sz="1100">
                <a:solidFill>
                  <a:schemeClr val="tx1"/>
                </a:solidFill>
              </a:defRPr>
            </a:lvl2pPr>
            <a:lvl3pPr marL="685000" indent="0">
              <a:buNone/>
              <a:defRPr sz="1100">
                <a:solidFill>
                  <a:schemeClr val="tx1"/>
                </a:solidFill>
              </a:defRPr>
            </a:lvl3pPr>
            <a:lvl4pPr marL="1027496" indent="0">
              <a:buNone/>
              <a:defRPr sz="1100">
                <a:solidFill>
                  <a:schemeClr val="tx1"/>
                </a:solidFill>
              </a:defRPr>
            </a:lvl4pPr>
            <a:lvl5pPr marL="1369994" indent="0">
              <a:buNone/>
              <a:defRPr sz="1100">
                <a:solidFill>
                  <a:schemeClr val="tx1"/>
                </a:solidFill>
              </a:defRPr>
            </a:lvl5pPr>
          </a:lstStyle>
          <a:p>
            <a:pPr lvl="0"/>
            <a:r>
              <a:rPr lang="en-US"/>
              <a:t>Presenter Name</a:t>
            </a:r>
          </a:p>
        </p:txBody>
      </p:sp>
      <p:sp>
        <p:nvSpPr>
          <p:cNvPr id="13" name="Text Placeholder 2">
            <a:extLst>
              <a:ext uri="{FF2B5EF4-FFF2-40B4-BE49-F238E27FC236}">
                <a16:creationId xmlns="" xmlns:a16="http://schemas.microsoft.com/office/drawing/2014/main" id="{C1E31EF6-BED5-C14F-94AD-4E5C55B85515}"/>
              </a:ext>
            </a:extLst>
          </p:cNvPr>
          <p:cNvSpPr>
            <a:spLocks noGrp="1"/>
          </p:cNvSpPr>
          <p:nvPr>
            <p:ph type="body" sz="quarter" idx="16" hasCustomPrompt="1"/>
          </p:nvPr>
        </p:nvSpPr>
        <p:spPr>
          <a:xfrm>
            <a:off x="896055" y="4520550"/>
            <a:ext cx="5774753" cy="175501"/>
          </a:xfrm>
        </p:spPr>
        <p:txBody>
          <a:bodyPr tIns="0" rIns="0" bIns="0" anchor="ctr" anchorCtr="0">
            <a:noAutofit/>
          </a:bodyPr>
          <a:lstStyle>
            <a:lvl1pPr marL="0" marR="0" indent="0" algn="l" defTabSz="685001"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600"/>
            </a:lvl1pPr>
            <a:lvl2pPr>
              <a:defRPr sz="600"/>
            </a:lvl2pPr>
            <a:lvl3pPr>
              <a:defRPr sz="600"/>
            </a:lvl3pPr>
            <a:lvl4pPr>
              <a:defRPr sz="600"/>
            </a:lvl4pPr>
            <a:lvl5pPr>
              <a:defRPr sz="600"/>
            </a:lvl5pPr>
          </a:lstStyle>
          <a:p>
            <a:pPr marL="0" marR="0" lvl="0" indent="0" algn="l" defTabSz="685001"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4216148374"/>
      </p:ext>
    </p:extLst>
  </p:cSld>
  <p:clrMapOvr>
    <a:masterClrMapping/>
  </p:clrMapOvr>
  <p:transition spd="slow">
    <p:push dir="u"/>
  </p:transition>
  <p:extLst mod="1">
    <p:ext uri="{DCECCB84-F9BA-43D5-87BE-67443E8EF086}">
      <p15:sldGuideLst xmlns:p15="http://schemas.microsoft.com/office/powerpoint/2012/main">
        <p15:guide id="1" orient="horz" pos="4065" userDrawn="1">
          <p15:clr>
            <a:srgbClr val="FBAE40"/>
          </p15:clr>
        </p15:guide>
        <p15:guide id="2" orient="horz" pos="2364" userDrawn="1">
          <p15:clr>
            <a:srgbClr val="FBAE40"/>
          </p15:clr>
        </p15:guide>
        <p15:guide id="3" orient="horz" pos="2160" userDrawn="1">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Page 2 ">
    <p:spTree>
      <p:nvGrpSpPr>
        <p:cNvPr id="1" name=""/>
        <p:cNvGrpSpPr/>
        <p:nvPr/>
      </p:nvGrpSpPr>
      <p:grpSpPr>
        <a:xfrm>
          <a:off x="0" y="0"/>
          <a:ext cx="0" cy="0"/>
          <a:chOff x="0" y="0"/>
          <a:chExt cx="0" cy="0"/>
        </a:xfrm>
      </p:grpSpPr>
      <p:sp>
        <p:nvSpPr>
          <p:cNvPr id="33" name="Title 1">
            <a:extLst>
              <a:ext uri="{FF2B5EF4-FFF2-40B4-BE49-F238E27FC236}">
                <a16:creationId xmlns="" xmlns:a16="http://schemas.microsoft.com/office/drawing/2014/main" id="{E02383DA-65B3-044E-9E1B-2CC00A0B1CC6}"/>
              </a:ext>
            </a:extLst>
          </p:cNvPr>
          <p:cNvSpPr>
            <a:spLocks noGrp="1"/>
          </p:cNvSpPr>
          <p:nvPr>
            <p:ph type="ctrTitle" hasCustomPrompt="1"/>
          </p:nvPr>
        </p:nvSpPr>
        <p:spPr>
          <a:xfrm>
            <a:off x="896050" y="1727309"/>
            <a:ext cx="3266048" cy="844477"/>
          </a:xfrm>
          <a:prstGeom prst="rect">
            <a:avLst/>
          </a:prstGeom>
        </p:spPr>
        <p:txBody>
          <a:bodyPr wrap="square" lIns="0" tIns="0" rIns="0" bIns="0" anchor="t" anchorCtr="0">
            <a:normAutofit/>
          </a:bodyPr>
          <a:lstStyle>
            <a:lvl1pPr>
              <a:lnSpc>
                <a:spcPts val="2850"/>
              </a:lnSpc>
              <a:defRPr sz="27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0" name="Picture Placeholder 3">
            <a:extLst>
              <a:ext uri="{FF2B5EF4-FFF2-40B4-BE49-F238E27FC236}">
                <a16:creationId xmlns="" xmlns:a16="http://schemas.microsoft.com/office/drawing/2014/main" id="{902F3095-EA6E-F94A-AF04-18ED691DEB75}"/>
              </a:ext>
            </a:extLst>
          </p:cNvPr>
          <p:cNvSpPr>
            <a:spLocks noGrp="1"/>
          </p:cNvSpPr>
          <p:nvPr>
            <p:ph type="pic" sz="quarter" idx="17"/>
          </p:nvPr>
        </p:nvSpPr>
        <p:spPr>
          <a:xfrm>
            <a:off x="4399887" y="282135"/>
            <a:ext cx="4744900" cy="4581401"/>
          </a:xfrm>
          <a:custGeom>
            <a:avLst/>
            <a:gdLst>
              <a:gd name="connsiteX0" fmla="*/ 0 w 6462532"/>
              <a:gd name="connsiteY0" fmla="*/ 3052818 h 6105636"/>
              <a:gd name="connsiteX1" fmla="*/ 3052818 w 6462532"/>
              <a:gd name="connsiteY1" fmla="*/ 0 h 6105636"/>
              <a:gd name="connsiteX2" fmla="*/ 3409714 w 6462532"/>
              <a:gd name="connsiteY2" fmla="*/ 0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309764"/>
              <a:gd name="connsiteY0" fmla="*/ 3060215 h 6113033"/>
              <a:gd name="connsiteX1" fmla="*/ 3052818 w 7309764"/>
              <a:gd name="connsiteY1" fmla="*/ 7397 h 6113033"/>
              <a:gd name="connsiteX2" fmla="*/ 6592752 w 7309764"/>
              <a:gd name="connsiteY2" fmla="*/ 53695 h 6113033"/>
              <a:gd name="connsiteX3" fmla="*/ 6462532 w 7309764"/>
              <a:gd name="connsiteY3" fmla="*/ 3060215 h 6113033"/>
              <a:gd name="connsiteX4" fmla="*/ 6462532 w 7309764"/>
              <a:gd name="connsiteY4" fmla="*/ 3060215 h 6113033"/>
              <a:gd name="connsiteX5" fmla="*/ 3409714 w 7309764"/>
              <a:gd name="connsiteY5" fmla="*/ 6113033 h 6113033"/>
              <a:gd name="connsiteX6" fmla="*/ 3052818 w 7309764"/>
              <a:gd name="connsiteY6" fmla="*/ 6113033 h 6113033"/>
              <a:gd name="connsiteX7" fmla="*/ 0 w 7309764"/>
              <a:gd name="connsiteY7" fmla="*/ 3060215 h 6113033"/>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6750471"/>
              <a:gd name="connsiteY0" fmla="*/ 3052818 h 6105636"/>
              <a:gd name="connsiteX1" fmla="*/ 3052818 w 6750471"/>
              <a:gd name="connsiteY1" fmla="*/ 0 h 6105636"/>
              <a:gd name="connsiteX2" fmla="*/ 6395982 w 6750471"/>
              <a:gd name="connsiteY2" fmla="*/ 11574 h 6105636"/>
              <a:gd name="connsiteX3" fmla="*/ 6462532 w 6750471"/>
              <a:gd name="connsiteY3" fmla="*/ 3052818 h 6105636"/>
              <a:gd name="connsiteX4" fmla="*/ 6462532 w 6750471"/>
              <a:gd name="connsiteY4" fmla="*/ 3052818 h 6105636"/>
              <a:gd name="connsiteX5" fmla="*/ 3409714 w 6750471"/>
              <a:gd name="connsiteY5" fmla="*/ 6105636 h 6105636"/>
              <a:gd name="connsiteX6" fmla="*/ 3052818 w 6750471"/>
              <a:gd name="connsiteY6" fmla="*/ 6105636 h 6105636"/>
              <a:gd name="connsiteX7" fmla="*/ 0 w 6750471"/>
              <a:gd name="connsiteY7" fmla="*/ 3052818 h 6105636"/>
              <a:gd name="connsiteX0" fmla="*/ 0 w 6462532"/>
              <a:gd name="connsiteY0" fmla="*/ 3052818 h 6105636"/>
              <a:gd name="connsiteX1" fmla="*/ 3052818 w 6462532"/>
              <a:gd name="connsiteY1" fmla="*/ 0 h 6105636"/>
              <a:gd name="connsiteX2" fmla="*/ 6395982 w 6462532"/>
              <a:gd name="connsiteY2" fmla="*/ 11574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6462532 w 6477004"/>
              <a:gd name="connsiteY4" fmla="*/ 3052819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5756477 w 6477004"/>
              <a:gd name="connsiteY4" fmla="*/ 3018095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3409714 w 6477004"/>
              <a:gd name="connsiteY4" fmla="*/ 6105637 h 6105637"/>
              <a:gd name="connsiteX5" fmla="*/ 3052818 w 6477004"/>
              <a:gd name="connsiteY5" fmla="*/ 6105637 h 6105637"/>
              <a:gd name="connsiteX6" fmla="*/ 0 w 6477004"/>
              <a:gd name="connsiteY6" fmla="*/ 3052819 h 6105637"/>
              <a:gd name="connsiteX0" fmla="*/ 0 w 6477004"/>
              <a:gd name="connsiteY0" fmla="*/ 3052819 h 6108535"/>
              <a:gd name="connsiteX1" fmla="*/ 3052818 w 6477004"/>
              <a:gd name="connsiteY1" fmla="*/ 1 h 6108535"/>
              <a:gd name="connsiteX2" fmla="*/ 6477004 w 6477004"/>
              <a:gd name="connsiteY2" fmla="*/ 0 h 6108535"/>
              <a:gd name="connsiteX3" fmla="*/ 6462532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477004"/>
              <a:gd name="connsiteY0" fmla="*/ 3052819 h 6108535"/>
              <a:gd name="connsiteX1" fmla="*/ 3052818 w 6477004"/>
              <a:gd name="connsiteY1" fmla="*/ 1 h 6108535"/>
              <a:gd name="connsiteX2" fmla="*/ 6477004 w 6477004"/>
              <a:gd name="connsiteY2" fmla="*/ 0 h 6108535"/>
              <a:gd name="connsiteX3" fmla="*/ 6323635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326533"/>
              <a:gd name="connsiteY0" fmla="*/ 3052819 h 6108535"/>
              <a:gd name="connsiteX1" fmla="*/ 3052818 w 6326533"/>
              <a:gd name="connsiteY1" fmla="*/ 1 h 6108535"/>
              <a:gd name="connsiteX2" fmla="*/ 6326533 w 6326533"/>
              <a:gd name="connsiteY2" fmla="*/ 0 h 6108535"/>
              <a:gd name="connsiteX3" fmla="*/ 6323635 w 6326533"/>
              <a:gd name="connsiteY3" fmla="*/ 6108535 h 6108535"/>
              <a:gd name="connsiteX4" fmla="*/ 3409714 w 6326533"/>
              <a:gd name="connsiteY4" fmla="*/ 6105637 h 6108535"/>
              <a:gd name="connsiteX5" fmla="*/ 3052818 w 6326533"/>
              <a:gd name="connsiteY5" fmla="*/ 6105637 h 6108535"/>
              <a:gd name="connsiteX6" fmla="*/ 0 w 6326533"/>
              <a:gd name="connsiteY6" fmla="*/ 3052819 h 61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26533" h="6108535">
                <a:moveTo>
                  <a:pt x="0" y="3052819"/>
                </a:moveTo>
                <a:cubicBezTo>
                  <a:pt x="0" y="1366794"/>
                  <a:pt x="1366793" y="1"/>
                  <a:pt x="3052818" y="1"/>
                </a:cubicBezTo>
                <a:lnTo>
                  <a:pt x="6326533" y="0"/>
                </a:lnTo>
                <a:lnTo>
                  <a:pt x="6323635" y="6108535"/>
                </a:lnTo>
                <a:lnTo>
                  <a:pt x="3409714" y="6105637"/>
                </a:lnTo>
                <a:lnTo>
                  <a:pt x="3052818" y="6105637"/>
                </a:lnTo>
                <a:cubicBezTo>
                  <a:pt x="1366793" y="6105637"/>
                  <a:pt x="0" y="4738844"/>
                  <a:pt x="0" y="3052819"/>
                </a:cubicBezTo>
                <a:close/>
              </a:path>
            </a:pathLst>
          </a:custGeom>
          <a:noFill/>
        </p:spPr>
        <p:txBody>
          <a:bodyPr>
            <a:normAutofit/>
          </a:bodyPr>
          <a:lstStyle>
            <a:lvl1pPr marL="0" indent="0">
              <a:buNone/>
              <a:defRPr sz="1800">
                <a:solidFill>
                  <a:schemeClr val="bg1"/>
                </a:solidFill>
              </a:defRPr>
            </a:lvl1pPr>
          </a:lstStyle>
          <a:p>
            <a:r>
              <a:rPr lang="es-ES"/>
              <a:t>Haga clic en el icono para agregar una imagen</a:t>
            </a:r>
            <a:endParaRPr lang="en-US"/>
          </a:p>
        </p:txBody>
      </p:sp>
      <p:pic>
        <p:nvPicPr>
          <p:cNvPr id="9" name="Picture 8" descr="Takeda">
            <a:extLst>
              <a:ext uri="{FF2B5EF4-FFF2-40B4-BE49-F238E27FC236}">
                <a16:creationId xmlns="" xmlns:a16="http://schemas.microsoft.com/office/drawing/2014/main" id="{F83AE827-0C93-0344-8F1E-82C9D7F8CD5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80824" y="-8227"/>
            <a:ext cx="1688783" cy="936649"/>
          </a:xfrm>
          <a:prstGeom prst="rect">
            <a:avLst/>
          </a:prstGeom>
        </p:spPr>
      </p:pic>
      <p:pic>
        <p:nvPicPr>
          <p:cNvPr id="19" name="Picture 18">
            <a:extLst>
              <a:ext uri="{FF2B5EF4-FFF2-40B4-BE49-F238E27FC236}">
                <a16:creationId xmlns="" xmlns:a16="http://schemas.microsoft.com/office/drawing/2014/main" id="{C219044E-3CA3-8043-AF11-ED42DE4ECFF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96047" y="4775476"/>
            <a:ext cx="1468934" cy="88097"/>
          </a:xfrm>
          <a:prstGeom prst="rect">
            <a:avLst/>
          </a:prstGeom>
        </p:spPr>
      </p:pic>
      <p:sp>
        <p:nvSpPr>
          <p:cNvPr id="28" name="Rectangle 27">
            <a:extLst>
              <a:ext uri="{FF2B5EF4-FFF2-40B4-BE49-F238E27FC236}">
                <a16:creationId xmlns="" xmlns:a16="http://schemas.microsoft.com/office/drawing/2014/main" id="{92F9C2FE-7E43-3948-92F0-0CEA804BDBFE}"/>
              </a:ext>
            </a:extLst>
          </p:cNvPr>
          <p:cNvSpPr/>
          <p:nvPr userDrawn="1"/>
        </p:nvSpPr>
        <p:spPr>
          <a:xfrm>
            <a:off x="561754" y="1582698"/>
            <a:ext cx="72900" cy="20303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26" tIns="34289" rIns="68526" bIns="34289" anchor="ctr"/>
          <a:lstStyle/>
          <a:p>
            <a:pPr algn="ctr" defTabSz="685188"/>
            <a:endParaRPr lang="en-US" altLang="en-US" sz="1400">
              <a:solidFill>
                <a:srgbClr val="FFFFFF"/>
              </a:solidFill>
            </a:endParaRPr>
          </a:p>
        </p:txBody>
      </p:sp>
      <p:sp>
        <p:nvSpPr>
          <p:cNvPr id="29" name="Text Placeholder 2">
            <a:extLst>
              <a:ext uri="{FF2B5EF4-FFF2-40B4-BE49-F238E27FC236}">
                <a16:creationId xmlns="" xmlns:a16="http://schemas.microsoft.com/office/drawing/2014/main" id="{8F239D86-1AC3-1D48-9675-22CEFBB263F8}"/>
              </a:ext>
            </a:extLst>
          </p:cNvPr>
          <p:cNvSpPr>
            <a:spLocks noGrp="1"/>
          </p:cNvSpPr>
          <p:nvPr>
            <p:ph type="body" sz="quarter" idx="27" hasCustomPrompt="1"/>
          </p:nvPr>
        </p:nvSpPr>
        <p:spPr>
          <a:xfrm>
            <a:off x="896048" y="2876957"/>
            <a:ext cx="3266049" cy="175501"/>
          </a:xfrm>
          <a:prstGeom prst="rect">
            <a:avLst/>
          </a:prstGeom>
        </p:spPr>
        <p:txBody>
          <a:bodyPr lIns="0" tIns="0" rIns="0" bIns="0">
            <a:noAutofit/>
          </a:bodyPr>
          <a:lstStyle>
            <a:lvl1pPr marL="0" indent="0">
              <a:buNone/>
              <a:defRPr sz="1100" b="0" i="0">
                <a:solidFill>
                  <a:schemeClr val="tx1"/>
                </a:solidFill>
                <a:latin typeface="Calibri" panose="020F0502020204030204" pitchFamily="34" charset="0"/>
                <a:cs typeface="Calibri" panose="020F0502020204030204" pitchFamily="34" charset="0"/>
              </a:defRPr>
            </a:lvl1pPr>
            <a:lvl2pPr marL="342479" indent="0">
              <a:buNone/>
              <a:defRPr sz="1100">
                <a:solidFill>
                  <a:schemeClr val="tx1"/>
                </a:solidFill>
              </a:defRPr>
            </a:lvl2pPr>
            <a:lvl3pPr marL="685000" indent="0">
              <a:buNone/>
              <a:defRPr sz="1100">
                <a:solidFill>
                  <a:schemeClr val="tx1"/>
                </a:solidFill>
              </a:defRPr>
            </a:lvl3pPr>
            <a:lvl4pPr marL="1027496" indent="0">
              <a:buNone/>
              <a:defRPr sz="1100">
                <a:solidFill>
                  <a:schemeClr val="tx1"/>
                </a:solidFill>
              </a:defRPr>
            </a:lvl4pPr>
            <a:lvl5pPr marL="1369994" indent="0">
              <a:buNone/>
              <a:defRPr sz="1100">
                <a:solidFill>
                  <a:schemeClr val="tx1"/>
                </a:solidFill>
              </a:defRPr>
            </a:lvl5pPr>
          </a:lstStyle>
          <a:p>
            <a:pPr lvl="0"/>
            <a:r>
              <a:rPr lang="en-US"/>
              <a:t>Title of Position</a:t>
            </a:r>
          </a:p>
        </p:txBody>
      </p:sp>
      <p:sp>
        <p:nvSpPr>
          <p:cNvPr id="30" name="Text Placeholder 2">
            <a:extLst>
              <a:ext uri="{FF2B5EF4-FFF2-40B4-BE49-F238E27FC236}">
                <a16:creationId xmlns="" xmlns:a16="http://schemas.microsoft.com/office/drawing/2014/main" id="{91BF6710-27B9-2444-8317-2C64F0D30847}"/>
              </a:ext>
            </a:extLst>
          </p:cNvPr>
          <p:cNvSpPr>
            <a:spLocks noGrp="1"/>
          </p:cNvSpPr>
          <p:nvPr>
            <p:ph type="body" sz="quarter" idx="28" hasCustomPrompt="1"/>
          </p:nvPr>
        </p:nvSpPr>
        <p:spPr>
          <a:xfrm>
            <a:off x="896048" y="3071241"/>
            <a:ext cx="3266049" cy="175501"/>
          </a:xfrm>
          <a:prstGeom prst="rect">
            <a:avLst/>
          </a:prstGeom>
        </p:spPr>
        <p:txBody>
          <a:bodyPr lIns="0" tIns="0" rIns="0" bIns="0">
            <a:noAutofit/>
          </a:bodyPr>
          <a:lstStyle>
            <a:lvl1pPr marL="0" indent="0">
              <a:buNone/>
              <a:defRPr sz="1100" b="0" i="0">
                <a:solidFill>
                  <a:schemeClr val="tx1"/>
                </a:solidFill>
                <a:latin typeface="Calibri" panose="020F0502020204030204" pitchFamily="34" charset="0"/>
                <a:cs typeface="Calibri" panose="020F0502020204030204" pitchFamily="34" charset="0"/>
              </a:defRPr>
            </a:lvl1pPr>
            <a:lvl2pPr marL="342479" indent="0">
              <a:buNone/>
              <a:defRPr sz="1100">
                <a:solidFill>
                  <a:schemeClr val="tx1"/>
                </a:solidFill>
              </a:defRPr>
            </a:lvl2pPr>
            <a:lvl3pPr marL="685000" indent="0">
              <a:buNone/>
              <a:defRPr sz="1100">
                <a:solidFill>
                  <a:schemeClr val="tx1"/>
                </a:solidFill>
              </a:defRPr>
            </a:lvl3pPr>
            <a:lvl4pPr marL="1027496" indent="0">
              <a:buNone/>
              <a:defRPr sz="1100">
                <a:solidFill>
                  <a:schemeClr val="tx1"/>
                </a:solidFill>
              </a:defRPr>
            </a:lvl4pPr>
            <a:lvl5pPr marL="1369994" indent="0">
              <a:buNone/>
              <a:defRPr sz="1100">
                <a:solidFill>
                  <a:schemeClr val="tx1"/>
                </a:solidFill>
              </a:defRPr>
            </a:lvl5pPr>
          </a:lstStyle>
          <a:p>
            <a:pPr lvl="0"/>
            <a:r>
              <a:rPr lang="en-US"/>
              <a:t>Department</a:t>
            </a:r>
          </a:p>
        </p:txBody>
      </p:sp>
      <p:sp>
        <p:nvSpPr>
          <p:cNvPr id="31" name="Text Placeholder 2">
            <a:extLst>
              <a:ext uri="{FF2B5EF4-FFF2-40B4-BE49-F238E27FC236}">
                <a16:creationId xmlns="" xmlns:a16="http://schemas.microsoft.com/office/drawing/2014/main" id="{669B2D41-B11D-9D45-B189-F838AC342B07}"/>
              </a:ext>
            </a:extLst>
          </p:cNvPr>
          <p:cNvSpPr>
            <a:spLocks noGrp="1"/>
          </p:cNvSpPr>
          <p:nvPr>
            <p:ph type="body" sz="quarter" idx="29" hasCustomPrompt="1"/>
          </p:nvPr>
        </p:nvSpPr>
        <p:spPr>
          <a:xfrm>
            <a:off x="896048" y="3262107"/>
            <a:ext cx="3266049" cy="175501"/>
          </a:xfrm>
          <a:prstGeom prst="rect">
            <a:avLst/>
          </a:prstGeom>
        </p:spPr>
        <p:txBody>
          <a:bodyPr lIns="0" tIns="0" rIns="0" bIns="0">
            <a:noAutofit/>
          </a:bodyPr>
          <a:lstStyle>
            <a:lvl1pPr marL="0" indent="0">
              <a:buNone/>
              <a:defRPr sz="1100" b="0" i="0">
                <a:solidFill>
                  <a:schemeClr val="tx1"/>
                </a:solidFill>
                <a:latin typeface="Calibri" panose="020F0502020204030204" pitchFamily="34" charset="0"/>
                <a:cs typeface="Calibri" panose="020F0502020204030204" pitchFamily="34" charset="0"/>
              </a:defRPr>
            </a:lvl1pPr>
            <a:lvl2pPr marL="342479" indent="0">
              <a:buNone/>
              <a:defRPr sz="1100">
                <a:solidFill>
                  <a:schemeClr val="tx1"/>
                </a:solidFill>
              </a:defRPr>
            </a:lvl2pPr>
            <a:lvl3pPr marL="685000" indent="0">
              <a:buNone/>
              <a:defRPr sz="1100">
                <a:solidFill>
                  <a:schemeClr val="tx1"/>
                </a:solidFill>
              </a:defRPr>
            </a:lvl3pPr>
            <a:lvl4pPr marL="1027496" indent="0">
              <a:buNone/>
              <a:defRPr sz="1100">
                <a:solidFill>
                  <a:schemeClr val="tx1"/>
                </a:solidFill>
              </a:defRPr>
            </a:lvl4pPr>
            <a:lvl5pPr marL="1369994" indent="0">
              <a:buNone/>
              <a:defRPr sz="1100">
                <a:solidFill>
                  <a:schemeClr val="tx1"/>
                </a:solidFill>
              </a:defRPr>
            </a:lvl5pPr>
          </a:lstStyle>
          <a:p>
            <a:pPr lvl="0"/>
            <a:r>
              <a:rPr lang="en-US"/>
              <a:t>Date</a:t>
            </a:r>
          </a:p>
        </p:txBody>
      </p:sp>
      <p:sp>
        <p:nvSpPr>
          <p:cNvPr id="32" name="Text Placeholder 2">
            <a:extLst>
              <a:ext uri="{FF2B5EF4-FFF2-40B4-BE49-F238E27FC236}">
                <a16:creationId xmlns="" xmlns:a16="http://schemas.microsoft.com/office/drawing/2014/main" id="{D7467C81-9D88-4140-B42C-28DFB5646475}"/>
              </a:ext>
            </a:extLst>
          </p:cNvPr>
          <p:cNvSpPr>
            <a:spLocks noGrp="1"/>
          </p:cNvSpPr>
          <p:nvPr>
            <p:ph type="body" sz="quarter" idx="30" hasCustomPrompt="1"/>
          </p:nvPr>
        </p:nvSpPr>
        <p:spPr>
          <a:xfrm>
            <a:off x="896048" y="2683090"/>
            <a:ext cx="3266049" cy="175501"/>
          </a:xfrm>
          <a:prstGeom prst="rect">
            <a:avLst/>
          </a:prstGeom>
        </p:spPr>
        <p:txBody>
          <a:bodyPr lIns="0" tIns="0" rIns="0" bIns="0">
            <a:noAutofit/>
          </a:bodyPr>
          <a:lstStyle>
            <a:lvl1pPr marL="0" indent="0">
              <a:buNone/>
              <a:defRPr sz="1100" b="0" i="0">
                <a:solidFill>
                  <a:schemeClr val="tx1"/>
                </a:solidFill>
                <a:latin typeface="Calibri" panose="020F0502020204030204" pitchFamily="34" charset="0"/>
                <a:cs typeface="Calibri" panose="020F0502020204030204" pitchFamily="34" charset="0"/>
              </a:defRPr>
            </a:lvl1pPr>
            <a:lvl2pPr marL="342479" indent="0">
              <a:buNone/>
              <a:defRPr sz="1100">
                <a:solidFill>
                  <a:schemeClr val="tx1"/>
                </a:solidFill>
              </a:defRPr>
            </a:lvl2pPr>
            <a:lvl3pPr marL="685000" indent="0">
              <a:buNone/>
              <a:defRPr sz="1100">
                <a:solidFill>
                  <a:schemeClr val="tx1"/>
                </a:solidFill>
              </a:defRPr>
            </a:lvl3pPr>
            <a:lvl4pPr marL="1027496" indent="0">
              <a:buNone/>
              <a:defRPr sz="1100">
                <a:solidFill>
                  <a:schemeClr val="tx1"/>
                </a:solidFill>
              </a:defRPr>
            </a:lvl4pPr>
            <a:lvl5pPr marL="1369994" indent="0">
              <a:buNone/>
              <a:defRPr sz="1100">
                <a:solidFill>
                  <a:schemeClr val="tx1"/>
                </a:solidFill>
              </a:defRPr>
            </a:lvl5pPr>
          </a:lstStyle>
          <a:p>
            <a:pPr lvl="0"/>
            <a:r>
              <a:rPr lang="en-US"/>
              <a:t>Presenter Name</a:t>
            </a:r>
          </a:p>
        </p:txBody>
      </p:sp>
    </p:spTree>
    <p:extLst>
      <p:ext uri="{BB962C8B-B14F-4D97-AF65-F5344CB8AC3E}">
        <p14:creationId xmlns:p14="http://schemas.microsoft.com/office/powerpoint/2010/main" val="2924842830"/>
      </p:ext>
    </p:extLst>
  </p:cSld>
  <p:clrMapOvr>
    <a:masterClrMapping/>
  </p:clrMapOvr>
  <p:transition spd="slow">
    <p:push dir="u"/>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_Title Page 2 ">
    <p:spTree>
      <p:nvGrpSpPr>
        <p:cNvPr id="1" name=""/>
        <p:cNvGrpSpPr/>
        <p:nvPr/>
      </p:nvGrpSpPr>
      <p:grpSpPr>
        <a:xfrm>
          <a:off x="0" y="0"/>
          <a:ext cx="0" cy="0"/>
          <a:chOff x="0" y="0"/>
          <a:chExt cx="0" cy="0"/>
        </a:xfrm>
      </p:grpSpPr>
      <p:sp>
        <p:nvSpPr>
          <p:cNvPr id="33" name="Title 1">
            <a:extLst>
              <a:ext uri="{FF2B5EF4-FFF2-40B4-BE49-F238E27FC236}">
                <a16:creationId xmlns="" xmlns:a16="http://schemas.microsoft.com/office/drawing/2014/main" id="{E02383DA-65B3-044E-9E1B-2CC00A0B1CC6}"/>
              </a:ext>
            </a:extLst>
          </p:cNvPr>
          <p:cNvSpPr>
            <a:spLocks noGrp="1"/>
          </p:cNvSpPr>
          <p:nvPr>
            <p:ph type="ctrTitle" hasCustomPrompt="1"/>
          </p:nvPr>
        </p:nvSpPr>
        <p:spPr>
          <a:xfrm>
            <a:off x="896049" y="1727309"/>
            <a:ext cx="5146613" cy="844477"/>
          </a:xfrm>
          <a:prstGeom prst="rect">
            <a:avLst/>
          </a:prstGeom>
        </p:spPr>
        <p:txBody>
          <a:bodyPr wrap="square" lIns="0" tIns="0" rIns="0" bIns="0" anchor="t" anchorCtr="0">
            <a:normAutofit/>
          </a:bodyPr>
          <a:lstStyle>
            <a:lvl1pPr>
              <a:lnSpc>
                <a:spcPts val="2850"/>
              </a:lnSpc>
              <a:defRPr sz="27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8" name="Rectangle 27">
            <a:extLst>
              <a:ext uri="{FF2B5EF4-FFF2-40B4-BE49-F238E27FC236}">
                <a16:creationId xmlns="" xmlns:a16="http://schemas.microsoft.com/office/drawing/2014/main" id="{92F9C2FE-7E43-3948-92F0-0CEA804BDBFE}"/>
              </a:ext>
            </a:extLst>
          </p:cNvPr>
          <p:cNvSpPr/>
          <p:nvPr userDrawn="1"/>
        </p:nvSpPr>
        <p:spPr>
          <a:xfrm>
            <a:off x="561754" y="1582698"/>
            <a:ext cx="72900" cy="20303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26" tIns="34289" rIns="68526" bIns="34289" anchor="ctr"/>
          <a:lstStyle/>
          <a:p>
            <a:pPr algn="ctr" defTabSz="685188"/>
            <a:endParaRPr lang="en-US" altLang="en-US" sz="1400">
              <a:solidFill>
                <a:srgbClr val="FFFFFF"/>
              </a:solidFill>
            </a:endParaRPr>
          </a:p>
        </p:txBody>
      </p:sp>
      <p:sp>
        <p:nvSpPr>
          <p:cNvPr id="29" name="Text Placeholder 2">
            <a:extLst>
              <a:ext uri="{FF2B5EF4-FFF2-40B4-BE49-F238E27FC236}">
                <a16:creationId xmlns="" xmlns:a16="http://schemas.microsoft.com/office/drawing/2014/main" id="{8F239D86-1AC3-1D48-9675-22CEFBB263F8}"/>
              </a:ext>
            </a:extLst>
          </p:cNvPr>
          <p:cNvSpPr>
            <a:spLocks noGrp="1"/>
          </p:cNvSpPr>
          <p:nvPr>
            <p:ph type="body" sz="quarter" idx="27" hasCustomPrompt="1"/>
          </p:nvPr>
        </p:nvSpPr>
        <p:spPr>
          <a:xfrm>
            <a:off x="896049" y="2876947"/>
            <a:ext cx="5146613" cy="197306"/>
          </a:xfrm>
          <a:prstGeom prst="rect">
            <a:avLst/>
          </a:prstGeom>
        </p:spPr>
        <p:txBody>
          <a:bodyPr lIns="0" tIns="0" rIns="0" bIns="0">
            <a:noAutofit/>
          </a:bodyPr>
          <a:lstStyle>
            <a:lvl1pPr marL="0" indent="0">
              <a:buNone/>
              <a:defRPr sz="1100" b="0" i="0">
                <a:solidFill>
                  <a:schemeClr val="tx1"/>
                </a:solidFill>
                <a:latin typeface="Calibri" panose="020F0502020204030204" pitchFamily="34" charset="0"/>
                <a:cs typeface="Calibri" panose="020F0502020204030204" pitchFamily="34" charset="0"/>
              </a:defRPr>
            </a:lvl1pPr>
            <a:lvl2pPr marL="342479" indent="0">
              <a:buNone/>
              <a:defRPr sz="1100">
                <a:solidFill>
                  <a:schemeClr val="tx1"/>
                </a:solidFill>
              </a:defRPr>
            </a:lvl2pPr>
            <a:lvl3pPr marL="685000" indent="0">
              <a:buNone/>
              <a:defRPr sz="1100">
                <a:solidFill>
                  <a:schemeClr val="tx1"/>
                </a:solidFill>
              </a:defRPr>
            </a:lvl3pPr>
            <a:lvl4pPr marL="1027496" indent="0">
              <a:buNone/>
              <a:defRPr sz="1100">
                <a:solidFill>
                  <a:schemeClr val="tx1"/>
                </a:solidFill>
              </a:defRPr>
            </a:lvl4pPr>
            <a:lvl5pPr marL="1369994" indent="0">
              <a:buNone/>
              <a:defRPr sz="1100">
                <a:solidFill>
                  <a:schemeClr val="tx1"/>
                </a:solidFill>
              </a:defRPr>
            </a:lvl5pPr>
          </a:lstStyle>
          <a:p>
            <a:pPr lvl="0"/>
            <a:r>
              <a:rPr lang="en-US"/>
              <a:t>Title of Position</a:t>
            </a:r>
          </a:p>
        </p:txBody>
      </p:sp>
      <p:sp>
        <p:nvSpPr>
          <p:cNvPr id="30" name="Text Placeholder 2">
            <a:extLst>
              <a:ext uri="{FF2B5EF4-FFF2-40B4-BE49-F238E27FC236}">
                <a16:creationId xmlns="" xmlns:a16="http://schemas.microsoft.com/office/drawing/2014/main" id="{91BF6710-27B9-2444-8317-2C64F0D30847}"/>
              </a:ext>
            </a:extLst>
          </p:cNvPr>
          <p:cNvSpPr>
            <a:spLocks noGrp="1"/>
          </p:cNvSpPr>
          <p:nvPr>
            <p:ph type="body" sz="quarter" idx="28" hasCustomPrompt="1"/>
          </p:nvPr>
        </p:nvSpPr>
        <p:spPr>
          <a:xfrm>
            <a:off x="896049" y="3071206"/>
            <a:ext cx="5146613" cy="197306"/>
          </a:xfrm>
          <a:prstGeom prst="rect">
            <a:avLst/>
          </a:prstGeom>
        </p:spPr>
        <p:txBody>
          <a:bodyPr lIns="0" tIns="0" rIns="0" bIns="0">
            <a:noAutofit/>
          </a:bodyPr>
          <a:lstStyle>
            <a:lvl1pPr marL="0" indent="0">
              <a:buNone/>
              <a:defRPr sz="1100" b="0" i="0">
                <a:solidFill>
                  <a:schemeClr val="tx1"/>
                </a:solidFill>
                <a:latin typeface="Calibri" panose="020F0502020204030204" pitchFamily="34" charset="0"/>
                <a:cs typeface="Calibri" panose="020F0502020204030204" pitchFamily="34" charset="0"/>
              </a:defRPr>
            </a:lvl1pPr>
            <a:lvl2pPr marL="342479" indent="0">
              <a:buNone/>
              <a:defRPr sz="1100">
                <a:solidFill>
                  <a:schemeClr val="tx1"/>
                </a:solidFill>
              </a:defRPr>
            </a:lvl2pPr>
            <a:lvl3pPr marL="685000" indent="0">
              <a:buNone/>
              <a:defRPr sz="1100">
                <a:solidFill>
                  <a:schemeClr val="tx1"/>
                </a:solidFill>
              </a:defRPr>
            </a:lvl3pPr>
            <a:lvl4pPr marL="1027496" indent="0">
              <a:buNone/>
              <a:defRPr sz="1100">
                <a:solidFill>
                  <a:schemeClr val="tx1"/>
                </a:solidFill>
              </a:defRPr>
            </a:lvl4pPr>
            <a:lvl5pPr marL="1369994" indent="0">
              <a:buNone/>
              <a:defRPr sz="1100">
                <a:solidFill>
                  <a:schemeClr val="tx1"/>
                </a:solidFill>
              </a:defRPr>
            </a:lvl5pPr>
          </a:lstStyle>
          <a:p>
            <a:pPr lvl="0"/>
            <a:r>
              <a:rPr lang="en-US"/>
              <a:t>Department</a:t>
            </a:r>
          </a:p>
        </p:txBody>
      </p:sp>
      <p:sp>
        <p:nvSpPr>
          <p:cNvPr id="31" name="Text Placeholder 2">
            <a:extLst>
              <a:ext uri="{FF2B5EF4-FFF2-40B4-BE49-F238E27FC236}">
                <a16:creationId xmlns="" xmlns:a16="http://schemas.microsoft.com/office/drawing/2014/main" id="{669B2D41-B11D-9D45-B189-F838AC342B07}"/>
              </a:ext>
            </a:extLst>
          </p:cNvPr>
          <p:cNvSpPr>
            <a:spLocks noGrp="1"/>
          </p:cNvSpPr>
          <p:nvPr>
            <p:ph type="body" sz="quarter" idx="29" hasCustomPrompt="1"/>
          </p:nvPr>
        </p:nvSpPr>
        <p:spPr>
          <a:xfrm>
            <a:off x="896049" y="3262072"/>
            <a:ext cx="5146613" cy="197306"/>
          </a:xfrm>
          <a:prstGeom prst="rect">
            <a:avLst/>
          </a:prstGeom>
        </p:spPr>
        <p:txBody>
          <a:bodyPr lIns="0" tIns="0" rIns="0" bIns="0">
            <a:noAutofit/>
          </a:bodyPr>
          <a:lstStyle>
            <a:lvl1pPr marL="0" indent="0">
              <a:buNone/>
              <a:defRPr sz="1100" b="0" i="0">
                <a:solidFill>
                  <a:schemeClr val="tx1"/>
                </a:solidFill>
                <a:latin typeface="Calibri" panose="020F0502020204030204" pitchFamily="34" charset="0"/>
                <a:cs typeface="Calibri" panose="020F0502020204030204" pitchFamily="34" charset="0"/>
              </a:defRPr>
            </a:lvl1pPr>
            <a:lvl2pPr marL="342479" indent="0">
              <a:buNone/>
              <a:defRPr sz="1100">
                <a:solidFill>
                  <a:schemeClr val="tx1"/>
                </a:solidFill>
              </a:defRPr>
            </a:lvl2pPr>
            <a:lvl3pPr marL="685000" indent="0">
              <a:buNone/>
              <a:defRPr sz="1100">
                <a:solidFill>
                  <a:schemeClr val="tx1"/>
                </a:solidFill>
              </a:defRPr>
            </a:lvl3pPr>
            <a:lvl4pPr marL="1027496" indent="0">
              <a:buNone/>
              <a:defRPr sz="1100">
                <a:solidFill>
                  <a:schemeClr val="tx1"/>
                </a:solidFill>
              </a:defRPr>
            </a:lvl4pPr>
            <a:lvl5pPr marL="1369994" indent="0">
              <a:buNone/>
              <a:defRPr sz="1100">
                <a:solidFill>
                  <a:schemeClr val="tx1"/>
                </a:solidFill>
              </a:defRPr>
            </a:lvl5pPr>
          </a:lstStyle>
          <a:p>
            <a:pPr lvl="0"/>
            <a:r>
              <a:rPr lang="en-US"/>
              <a:t>Date</a:t>
            </a:r>
          </a:p>
        </p:txBody>
      </p:sp>
      <p:sp>
        <p:nvSpPr>
          <p:cNvPr id="32" name="Text Placeholder 2">
            <a:extLst>
              <a:ext uri="{FF2B5EF4-FFF2-40B4-BE49-F238E27FC236}">
                <a16:creationId xmlns="" xmlns:a16="http://schemas.microsoft.com/office/drawing/2014/main" id="{D7467C81-9D88-4140-B42C-28DFB5646475}"/>
              </a:ext>
            </a:extLst>
          </p:cNvPr>
          <p:cNvSpPr>
            <a:spLocks noGrp="1"/>
          </p:cNvSpPr>
          <p:nvPr>
            <p:ph type="body" sz="quarter" idx="30" hasCustomPrompt="1"/>
          </p:nvPr>
        </p:nvSpPr>
        <p:spPr>
          <a:xfrm>
            <a:off x="896049" y="2683054"/>
            <a:ext cx="5146613" cy="197306"/>
          </a:xfrm>
          <a:prstGeom prst="rect">
            <a:avLst/>
          </a:prstGeom>
        </p:spPr>
        <p:txBody>
          <a:bodyPr lIns="0" tIns="0" rIns="0" bIns="0">
            <a:noAutofit/>
          </a:bodyPr>
          <a:lstStyle>
            <a:lvl1pPr marL="0" indent="0">
              <a:buNone/>
              <a:defRPr sz="1100" b="0" i="0">
                <a:solidFill>
                  <a:schemeClr val="tx1"/>
                </a:solidFill>
                <a:latin typeface="Calibri" panose="020F0502020204030204" pitchFamily="34" charset="0"/>
                <a:cs typeface="Calibri" panose="020F0502020204030204" pitchFamily="34" charset="0"/>
              </a:defRPr>
            </a:lvl1pPr>
            <a:lvl2pPr marL="342479" indent="0">
              <a:buNone/>
              <a:defRPr sz="1100">
                <a:solidFill>
                  <a:schemeClr val="tx1"/>
                </a:solidFill>
              </a:defRPr>
            </a:lvl2pPr>
            <a:lvl3pPr marL="685000" indent="0">
              <a:buNone/>
              <a:defRPr sz="1100">
                <a:solidFill>
                  <a:schemeClr val="tx1"/>
                </a:solidFill>
              </a:defRPr>
            </a:lvl3pPr>
            <a:lvl4pPr marL="1027496" indent="0">
              <a:buNone/>
              <a:defRPr sz="1100">
                <a:solidFill>
                  <a:schemeClr val="tx1"/>
                </a:solidFill>
              </a:defRPr>
            </a:lvl4pPr>
            <a:lvl5pPr marL="1369994" indent="0">
              <a:buNone/>
              <a:defRPr sz="1100">
                <a:solidFill>
                  <a:schemeClr val="tx1"/>
                </a:solidFill>
              </a:defRPr>
            </a:lvl5pPr>
          </a:lstStyle>
          <a:p>
            <a:pPr lvl="0"/>
            <a:r>
              <a:rPr lang="en-US"/>
              <a:t>Presenter Name</a:t>
            </a:r>
          </a:p>
        </p:txBody>
      </p:sp>
      <p:pic>
        <p:nvPicPr>
          <p:cNvPr id="12" name="Picture 11">
            <a:extLst>
              <a:ext uri="{FF2B5EF4-FFF2-40B4-BE49-F238E27FC236}">
                <a16:creationId xmlns="" xmlns:a16="http://schemas.microsoft.com/office/drawing/2014/main" id="{16819C41-2A79-B54D-9C44-C619DA694E6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178941" y="4768494"/>
            <a:ext cx="1468934" cy="88097"/>
          </a:xfrm>
          <a:prstGeom prst="rect">
            <a:avLst/>
          </a:prstGeom>
        </p:spPr>
      </p:pic>
      <p:pic>
        <p:nvPicPr>
          <p:cNvPr id="13" name="Picture 12">
            <a:extLst>
              <a:ext uri="{FF2B5EF4-FFF2-40B4-BE49-F238E27FC236}">
                <a16:creationId xmlns="" xmlns:a16="http://schemas.microsoft.com/office/drawing/2014/main" id="{3D2794BD-1A0D-7D48-855D-469111926BF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342923" y="-6445"/>
            <a:ext cx="1688783" cy="936649"/>
          </a:xfrm>
          <a:prstGeom prst="rect">
            <a:avLst/>
          </a:prstGeom>
        </p:spPr>
      </p:pic>
      <p:sp>
        <p:nvSpPr>
          <p:cNvPr id="14" name="Text Placeholder 2">
            <a:extLst>
              <a:ext uri="{FF2B5EF4-FFF2-40B4-BE49-F238E27FC236}">
                <a16:creationId xmlns="" xmlns:a16="http://schemas.microsoft.com/office/drawing/2014/main" id="{B9909778-A51F-784D-ACA4-EC5DBA48BE16}"/>
              </a:ext>
            </a:extLst>
          </p:cNvPr>
          <p:cNvSpPr>
            <a:spLocks noGrp="1"/>
          </p:cNvSpPr>
          <p:nvPr>
            <p:ph type="body" sz="quarter" idx="16" hasCustomPrompt="1"/>
          </p:nvPr>
        </p:nvSpPr>
        <p:spPr>
          <a:xfrm>
            <a:off x="896055" y="4740003"/>
            <a:ext cx="5774753" cy="175501"/>
          </a:xfrm>
        </p:spPr>
        <p:txBody>
          <a:bodyPr tIns="0" rIns="0" bIns="0" anchor="ctr" anchorCtr="0">
            <a:noAutofit/>
          </a:bodyPr>
          <a:lstStyle>
            <a:lvl1pPr marL="0" marR="0" indent="0" algn="l" defTabSz="685001"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600"/>
            </a:lvl1pPr>
            <a:lvl2pPr>
              <a:defRPr sz="600"/>
            </a:lvl2pPr>
            <a:lvl3pPr>
              <a:defRPr sz="600"/>
            </a:lvl3pPr>
            <a:lvl4pPr>
              <a:defRPr sz="600"/>
            </a:lvl4pPr>
            <a:lvl5pPr>
              <a:defRPr sz="600"/>
            </a:lvl5pPr>
          </a:lstStyle>
          <a:p>
            <a:pPr marL="0" marR="0" lvl="0" indent="0" algn="l" defTabSz="685001"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2032875108"/>
      </p:ext>
    </p:extLst>
  </p:cSld>
  <p:clrMapOvr>
    <a:masterClrMapping/>
  </p:clrMapOvr>
  <p:transition spd="slow">
    <p:push dir="u"/>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Standard 1-Column Text">
    <p:spTree>
      <p:nvGrpSpPr>
        <p:cNvPr id="1" name=""/>
        <p:cNvGrpSpPr/>
        <p:nvPr/>
      </p:nvGrpSpPr>
      <p:grpSpPr>
        <a:xfrm>
          <a:off x="0" y="0"/>
          <a:ext cx="0" cy="0"/>
          <a:chOff x="0" y="0"/>
          <a:chExt cx="0" cy="0"/>
        </a:xfrm>
      </p:grpSpPr>
      <p:sp>
        <p:nvSpPr>
          <p:cNvPr id="12" name="Text Placeholder 6">
            <a:extLst>
              <a:ext uri="{FF2B5EF4-FFF2-40B4-BE49-F238E27FC236}">
                <a16:creationId xmlns="" xmlns:a16="http://schemas.microsoft.com/office/drawing/2014/main" id="{FD2406EE-A554-5348-AE6D-4D8B343E6201}"/>
              </a:ext>
            </a:extLst>
          </p:cNvPr>
          <p:cNvSpPr>
            <a:spLocks noGrp="1"/>
          </p:cNvSpPr>
          <p:nvPr>
            <p:ph type="body" sz="quarter" idx="15" hasCustomPrompt="1"/>
          </p:nvPr>
        </p:nvSpPr>
        <p:spPr>
          <a:xfrm>
            <a:off x="233363" y="826793"/>
            <a:ext cx="8677275" cy="3996643"/>
          </a:xfrm>
          <a:prstGeom prst="rect">
            <a:avLst/>
          </a:prstGeom>
        </p:spPr>
        <p:txBody>
          <a:bodyPr tIns="0" rIns="0" bIns="0" numCol="1">
            <a:normAutofit/>
          </a:bodyPr>
          <a:lstStyle>
            <a:lvl1pPr marL="0" indent="0">
              <a:lnSpc>
                <a:spcPct val="100000"/>
              </a:lnSpc>
              <a:spcBef>
                <a:spcPts val="0"/>
              </a:spcBef>
              <a:spcAft>
                <a:spcPts val="450"/>
              </a:spcAft>
              <a:buFont typeface="Arial" panose="020B0604020202020204" pitchFamily="34" charset="0"/>
              <a:buNone/>
              <a:defRPr sz="1200" b="0">
                <a:solidFill>
                  <a:schemeClr val="tx1"/>
                </a:solidFill>
              </a:defRPr>
            </a:lvl1pPr>
            <a:lvl2pPr marL="342479" indent="0">
              <a:lnSpc>
                <a:spcPts val="1350"/>
              </a:lnSpc>
              <a:spcBef>
                <a:spcPts val="0"/>
              </a:spcBef>
              <a:buNone/>
              <a:defRPr sz="1100"/>
            </a:lvl2pPr>
            <a:lvl3pPr marL="685000" indent="0">
              <a:lnSpc>
                <a:spcPts val="1350"/>
              </a:lnSpc>
              <a:spcBef>
                <a:spcPts val="0"/>
              </a:spcBef>
              <a:buNone/>
              <a:defRPr sz="1100"/>
            </a:lvl3pPr>
            <a:lvl4pPr marL="1027496" indent="0">
              <a:lnSpc>
                <a:spcPts val="1350"/>
              </a:lnSpc>
              <a:spcBef>
                <a:spcPts val="0"/>
              </a:spcBef>
              <a:buNone/>
              <a:defRPr sz="1100"/>
            </a:lvl4pPr>
            <a:lvl5pPr marL="1369994" indent="0">
              <a:lnSpc>
                <a:spcPts val="1350"/>
              </a:lnSpc>
              <a:spcBef>
                <a:spcPts val="0"/>
              </a:spcBef>
              <a:buNone/>
              <a:defRPr sz="1100"/>
            </a:lvl5pPr>
          </a:lstStyle>
          <a:p>
            <a:pPr lvl="0"/>
            <a:r>
              <a:rPr lang="en-US"/>
              <a:t>This is a one-column layout. Click to add content</a:t>
            </a:r>
          </a:p>
        </p:txBody>
      </p:sp>
      <p:sp>
        <p:nvSpPr>
          <p:cNvPr id="19" name="Footer Placeholder 8">
            <a:extLst>
              <a:ext uri="{FF2B5EF4-FFF2-40B4-BE49-F238E27FC236}">
                <a16:creationId xmlns="" xmlns:a16="http://schemas.microsoft.com/office/drawing/2014/main" id="{CDA06C55-0643-C148-AAB1-C4BB26FD7B26}"/>
              </a:ext>
            </a:extLst>
          </p:cNvPr>
          <p:cNvSpPr>
            <a:spLocks noGrp="1"/>
          </p:cNvSpPr>
          <p:nvPr>
            <p:ph type="ftr" sz="quarter" idx="3"/>
          </p:nvPr>
        </p:nvSpPr>
        <p:spPr>
          <a:xfrm>
            <a:off x="5824538" y="4892251"/>
            <a:ext cx="3086100" cy="147098"/>
          </a:xfrm>
          <a:prstGeom prst="rect">
            <a:avLst/>
          </a:prstGeom>
        </p:spPr>
        <p:txBody>
          <a:bodyPr vert="horz" lIns="0" tIns="0" rIns="0" bIns="0" rtlCol="0" anchor="ctr"/>
          <a:lstStyle>
            <a:lvl1pPr algn="r">
              <a:defRPr sz="600" b="1" spc="75" baseline="0">
                <a:solidFill>
                  <a:schemeClr val="tx1"/>
                </a:solidFill>
              </a:defRPr>
            </a:lvl1pPr>
          </a:lstStyle>
          <a:p>
            <a:r>
              <a:rPr lang="x-none">
                <a:solidFill>
                  <a:srgbClr val="34373F"/>
                </a:solidFill>
              </a:rPr>
              <a:t> </a:t>
            </a:r>
          </a:p>
        </p:txBody>
      </p:sp>
      <p:pic>
        <p:nvPicPr>
          <p:cNvPr id="14" name="Picture 13" descr="Takeda">
            <a:extLst>
              <a:ext uri="{FF2B5EF4-FFF2-40B4-BE49-F238E27FC236}">
                <a16:creationId xmlns=""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09748" y="-1211"/>
            <a:ext cx="1272174" cy="705585"/>
          </a:xfrm>
          <a:prstGeom prst="rect">
            <a:avLst/>
          </a:prstGeom>
        </p:spPr>
      </p:pic>
      <p:sp>
        <p:nvSpPr>
          <p:cNvPr id="22" name="タイトル プレースホルダ 1">
            <a:extLst>
              <a:ext uri="{FF2B5EF4-FFF2-40B4-BE49-F238E27FC236}">
                <a16:creationId xmlns="" xmlns:a16="http://schemas.microsoft.com/office/drawing/2014/main" id="{86D2E5B8-9E2B-DB46-A55A-5F26569C4F99}"/>
              </a:ext>
            </a:extLst>
          </p:cNvPr>
          <p:cNvSpPr>
            <a:spLocks noGrp="1"/>
          </p:cNvSpPr>
          <p:nvPr>
            <p:ph type="title" hasCustomPrompt="1"/>
          </p:nvPr>
        </p:nvSpPr>
        <p:spPr>
          <a:xfrm>
            <a:off x="454559" y="121208"/>
            <a:ext cx="7455190" cy="51435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a:extLst>
              <a:ext uri="{FF2B5EF4-FFF2-40B4-BE49-F238E27FC236}">
                <a16:creationId xmlns="" xmlns:a16="http://schemas.microsoft.com/office/drawing/2014/main" id="{51A4825E-63A1-564F-BC3A-FBC167ECE5EB}"/>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3298"/>
            <a:fld id="{E9B57936-92EF-4126-AE48-1D9D36D15E98}" type="slidenum">
              <a:rPr lang="ja-JP" altLang="en-US" smtClean="0">
                <a:solidFill>
                  <a:srgbClr val="34373F"/>
                </a:solidFill>
              </a:rPr>
              <a:pPr defTabSz="913298"/>
              <a:t>‹Nº›</a:t>
            </a:fld>
            <a:endParaRPr lang="ja-JP" altLang="en-US">
              <a:solidFill>
                <a:srgbClr val="34373F"/>
              </a:solidFill>
            </a:endParaRPr>
          </a:p>
        </p:txBody>
      </p:sp>
      <p:sp>
        <p:nvSpPr>
          <p:cNvPr id="21" name="Rectangle 20">
            <a:extLst>
              <a:ext uri="{FF2B5EF4-FFF2-40B4-BE49-F238E27FC236}">
                <a16:creationId xmlns="" xmlns:a16="http://schemas.microsoft.com/office/drawing/2014/main" id="{FCF9CDB0-5730-E246-B31F-F5963CF8EFDC}"/>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26" tIns="34289" rIns="68526" bIns="34289" rtlCol="0" anchor="ctr"/>
          <a:lstStyle/>
          <a:p>
            <a:pPr algn="ctr" defTabSz="685188"/>
            <a:endParaRPr kumimoji="1" lang="x-none" sz="1400">
              <a:solidFill>
                <a:srgbClr val="E1242A"/>
              </a:solidFill>
            </a:endParaRPr>
          </a:p>
        </p:txBody>
      </p:sp>
      <p:sp>
        <p:nvSpPr>
          <p:cNvPr id="24" name="Text Placeholder 6">
            <a:extLst>
              <a:ext uri="{FF2B5EF4-FFF2-40B4-BE49-F238E27FC236}">
                <a16:creationId xmlns="" xmlns:a16="http://schemas.microsoft.com/office/drawing/2014/main" id="{44EB3013-FCB4-1B4E-A9F2-FD57CF727CCC}"/>
              </a:ext>
            </a:extLst>
          </p:cNvPr>
          <p:cNvSpPr>
            <a:spLocks noGrp="1"/>
          </p:cNvSpPr>
          <p:nvPr>
            <p:ph type="body" sz="quarter" idx="16" hasCustomPrompt="1"/>
          </p:nvPr>
        </p:nvSpPr>
        <p:spPr>
          <a:xfrm>
            <a:off x="454559" y="4892253"/>
            <a:ext cx="5226261" cy="154210"/>
          </a:xfrm>
          <a:prstGeom prst="rect">
            <a:avLst/>
          </a:prstGeom>
        </p:spPr>
        <p:txBody>
          <a:bodyPr wrap="none" tIns="0" rIns="0" bIns="53964" numCol="1" anchor="ctr">
            <a:noAutofit/>
          </a:bodyPr>
          <a:lstStyle>
            <a:lvl1pPr marL="0" indent="0">
              <a:lnSpc>
                <a:spcPts val="1200"/>
              </a:lnSpc>
              <a:spcBef>
                <a:spcPts val="0"/>
              </a:spcBef>
              <a:spcAft>
                <a:spcPts val="450"/>
              </a:spcAft>
              <a:buFont typeface="Arial" panose="020B0604020202020204" pitchFamily="34" charset="0"/>
              <a:buNone/>
              <a:defRPr sz="600" b="0">
                <a:solidFill>
                  <a:schemeClr val="accent3"/>
                </a:solidFill>
              </a:defRPr>
            </a:lvl1pPr>
            <a:lvl2pPr marL="342479" indent="0">
              <a:lnSpc>
                <a:spcPts val="1350"/>
              </a:lnSpc>
              <a:spcBef>
                <a:spcPts val="0"/>
              </a:spcBef>
              <a:buNone/>
              <a:defRPr sz="1100"/>
            </a:lvl2pPr>
            <a:lvl3pPr marL="685000" indent="0">
              <a:lnSpc>
                <a:spcPts val="1350"/>
              </a:lnSpc>
              <a:spcBef>
                <a:spcPts val="0"/>
              </a:spcBef>
              <a:buNone/>
              <a:defRPr sz="1100"/>
            </a:lvl3pPr>
            <a:lvl4pPr marL="1027496" indent="0">
              <a:lnSpc>
                <a:spcPts val="1350"/>
              </a:lnSpc>
              <a:spcBef>
                <a:spcPts val="0"/>
              </a:spcBef>
              <a:buNone/>
              <a:defRPr sz="1100"/>
            </a:lvl4pPr>
            <a:lvl5pPr marL="1369994" indent="0">
              <a:lnSpc>
                <a:spcPts val="1350"/>
              </a:lnSpc>
              <a:spcBef>
                <a:spcPts val="0"/>
              </a:spcBef>
              <a:buNone/>
              <a:defRPr sz="1100"/>
            </a:lvl5pPr>
          </a:lstStyle>
          <a:p>
            <a:pPr lvl="0"/>
            <a:r>
              <a:rPr lang="en-US"/>
              <a:t>Private and confidential. For internal use only.</a:t>
            </a:r>
          </a:p>
        </p:txBody>
      </p:sp>
    </p:spTree>
    <p:extLst>
      <p:ext uri="{BB962C8B-B14F-4D97-AF65-F5344CB8AC3E}">
        <p14:creationId xmlns:p14="http://schemas.microsoft.com/office/powerpoint/2010/main" val="2754589245"/>
      </p:ext>
    </p:extLst>
  </p:cSld>
  <p:clrMapOvr>
    <a:masterClrMapping/>
  </p:clrMapOvr>
  <p:transition spd="slow">
    <p:push dir="u"/>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tandard 2-Column Text">
    <p:spTree>
      <p:nvGrpSpPr>
        <p:cNvPr id="1" name=""/>
        <p:cNvGrpSpPr/>
        <p:nvPr/>
      </p:nvGrpSpPr>
      <p:grpSpPr>
        <a:xfrm>
          <a:off x="0" y="0"/>
          <a:ext cx="0" cy="0"/>
          <a:chOff x="0" y="0"/>
          <a:chExt cx="0" cy="0"/>
        </a:xfrm>
      </p:grpSpPr>
      <p:sp>
        <p:nvSpPr>
          <p:cNvPr id="12" name="Text Placeholder 6">
            <a:extLst>
              <a:ext uri="{FF2B5EF4-FFF2-40B4-BE49-F238E27FC236}">
                <a16:creationId xmlns="" xmlns:a16="http://schemas.microsoft.com/office/drawing/2014/main" id="{FD2406EE-A554-5348-AE6D-4D8B343E6201}"/>
              </a:ext>
            </a:extLst>
          </p:cNvPr>
          <p:cNvSpPr>
            <a:spLocks noGrp="1"/>
          </p:cNvSpPr>
          <p:nvPr>
            <p:ph type="body" sz="quarter" idx="15" hasCustomPrompt="1"/>
          </p:nvPr>
        </p:nvSpPr>
        <p:spPr>
          <a:xfrm>
            <a:off x="233363" y="826793"/>
            <a:ext cx="8677275" cy="3996643"/>
          </a:xfrm>
          <a:prstGeom prst="rect">
            <a:avLst/>
          </a:prstGeom>
        </p:spPr>
        <p:txBody>
          <a:bodyPr tIns="0" rIns="0" bIns="0" numCol="2" spcCol="404640">
            <a:normAutofit/>
          </a:bodyPr>
          <a:lstStyle>
            <a:lvl1pPr marL="0" indent="0">
              <a:lnSpc>
                <a:spcPct val="100000"/>
              </a:lnSpc>
              <a:spcBef>
                <a:spcPts val="0"/>
              </a:spcBef>
              <a:spcAft>
                <a:spcPts val="450"/>
              </a:spcAft>
              <a:buFont typeface="Arial" panose="020B0604020202020204" pitchFamily="34" charset="0"/>
              <a:buNone/>
              <a:defRPr sz="1200" b="0">
                <a:solidFill>
                  <a:schemeClr val="tx1"/>
                </a:solidFill>
              </a:defRPr>
            </a:lvl1pPr>
            <a:lvl2pPr marL="342479" indent="0">
              <a:lnSpc>
                <a:spcPts val="1350"/>
              </a:lnSpc>
              <a:spcBef>
                <a:spcPts val="0"/>
              </a:spcBef>
              <a:buNone/>
              <a:defRPr sz="1100"/>
            </a:lvl2pPr>
            <a:lvl3pPr marL="685000" indent="0">
              <a:lnSpc>
                <a:spcPts val="1350"/>
              </a:lnSpc>
              <a:spcBef>
                <a:spcPts val="0"/>
              </a:spcBef>
              <a:buNone/>
              <a:defRPr sz="1100"/>
            </a:lvl3pPr>
            <a:lvl4pPr marL="1027496" indent="0">
              <a:lnSpc>
                <a:spcPts val="1350"/>
              </a:lnSpc>
              <a:spcBef>
                <a:spcPts val="0"/>
              </a:spcBef>
              <a:buNone/>
              <a:defRPr sz="1100"/>
            </a:lvl4pPr>
            <a:lvl5pPr marL="1369994" indent="0">
              <a:lnSpc>
                <a:spcPts val="1350"/>
              </a:lnSpc>
              <a:spcBef>
                <a:spcPts val="0"/>
              </a:spcBef>
              <a:buNone/>
              <a:defRPr sz="1100"/>
            </a:lvl5pPr>
          </a:lstStyle>
          <a:p>
            <a:pPr lvl="0"/>
            <a:r>
              <a:rPr lang="en-US"/>
              <a:t>This is a two-column layout. Click to add content. </a:t>
            </a:r>
          </a:p>
        </p:txBody>
      </p:sp>
      <p:sp>
        <p:nvSpPr>
          <p:cNvPr id="19" name="Footer Placeholder 8">
            <a:extLst>
              <a:ext uri="{FF2B5EF4-FFF2-40B4-BE49-F238E27FC236}">
                <a16:creationId xmlns="" xmlns:a16="http://schemas.microsoft.com/office/drawing/2014/main" id="{CDA06C55-0643-C148-AAB1-C4BB26FD7B26}"/>
              </a:ext>
            </a:extLst>
          </p:cNvPr>
          <p:cNvSpPr>
            <a:spLocks noGrp="1"/>
          </p:cNvSpPr>
          <p:nvPr>
            <p:ph type="ftr" sz="quarter" idx="3"/>
          </p:nvPr>
        </p:nvSpPr>
        <p:spPr>
          <a:xfrm>
            <a:off x="5824538" y="4892251"/>
            <a:ext cx="3086100" cy="147098"/>
          </a:xfrm>
          <a:prstGeom prst="rect">
            <a:avLst/>
          </a:prstGeom>
        </p:spPr>
        <p:txBody>
          <a:bodyPr vert="horz" lIns="0" tIns="0" rIns="0" bIns="0" rtlCol="0" anchor="ctr"/>
          <a:lstStyle>
            <a:lvl1pPr algn="r">
              <a:defRPr sz="600" b="1" spc="75" baseline="0">
                <a:solidFill>
                  <a:schemeClr val="tx1"/>
                </a:solidFill>
              </a:defRPr>
            </a:lvl1pPr>
          </a:lstStyle>
          <a:p>
            <a:r>
              <a:rPr lang="x-none">
                <a:solidFill>
                  <a:srgbClr val="34373F"/>
                </a:solidFill>
              </a:rPr>
              <a:t> </a:t>
            </a:r>
          </a:p>
        </p:txBody>
      </p:sp>
      <p:pic>
        <p:nvPicPr>
          <p:cNvPr id="14" name="Picture 13" descr="Takeda">
            <a:extLst>
              <a:ext uri="{FF2B5EF4-FFF2-40B4-BE49-F238E27FC236}">
                <a16:creationId xmlns=""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09748" y="-1211"/>
            <a:ext cx="1272174" cy="705585"/>
          </a:xfrm>
          <a:prstGeom prst="rect">
            <a:avLst/>
          </a:prstGeom>
        </p:spPr>
      </p:pic>
      <p:sp>
        <p:nvSpPr>
          <p:cNvPr id="22" name="タイトル プレースホルダ 1">
            <a:extLst>
              <a:ext uri="{FF2B5EF4-FFF2-40B4-BE49-F238E27FC236}">
                <a16:creationId xmlns="" xmlns:a16="http://schemas.microsoft.com/office/drawing/2014/main" id="{86D2E5B8-9E2B-DB46-A55A-5F26569C4F99}"/>
              </a:ext>
            </a:extLst>
          </p:cNvPr>
          <p:cNvSpPr>
            <a:spLocks noGrp="1"/>
          </p:cNvSpPr>
          <p:nvPr>
            <p:ph type="title" hasCustomPrompt="1"/>
          </p:nvPr>
        </p:nvSpPr>
        <p:spPr>
          <a:xfrm>
            <a:off x="454559" y="121208"/>
            <a:ext cx="7455190" cy="514351"/>
          </a:xfrm>
          <a:prstGeom prst="rect">
            <a:avLst/>
          </a:prstGeom>
        </p:spPr>
        <p:txBody>
          <a:bodyPr vert="horz" lIns="0" tIns="0" rIns="0" bIns="0" rtlCol="0" anchor="ctr">
            <a:normAutofit/>
          </a:bodyPr>
          <a:lstStyle/>
          <a:p>
            <a:r>
              <a:rPr kumimoji="1" lang="en-US" altLang="ja-JP"/>
              <a:t>Two-column layout. Click to add title</a:t>
            </a:r>
            <a:endParaRPr kumimoji="1" lang="ja-JP" altLang="en-US"/>
          </a:p>
        </p:txBody>
      </p:sp>
      <p:sp>
        <p:nvSpPr>
          <p:cNvPr id="13" name="Rectangle 12">
            <a:extLst>
              <a:ext uri="{FF2B5EF4-FFF2-40B4-BE49-F238E27FC236}">
                <a16:creationId xmlns="" xmlns:a16="http://schemas.microsoft.com/office/drawing/2014/main" id="{F49634AC-7DDA-D44D-88DB-5850289DD643}"/>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26" tIns="34289" rIns="68526" bIns="34289" rtlCol="0" anchor="ctr"/>
          <a:lstStyle/>
          <a:p>
            <a:pPr algn="ctr" defTabSz="685188"/>
            <a:endParaRPr kumimoji="1" lang="x-none" sz="1400">
              <a:solidFill>
                <a:srgbClr val="E1242A"/>
              </a:solidFill>
            </a:endParaRPr>
          </a:p>
        </p:txBody>
      </p:sp>
      <p:sp>
        <p:nvSpPr>
          <p:cNvPr id="20" name="スライド番号プレースホルダ 5">
            <a:extLst>
              <a:ext uri="{FF2B5EF4-FFF2-40B4-BE49-F238E27FC236}">
                <a16:creationId xmlns="" xmlns:a16="http://schemas.microsoft.com/office/drawing/2014/main" id="{E22A984C-7436-8C4C-83C8-F2AD67592041}"/>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3298"/>
            <a:fld id="{E9B57936-92EF-4126-AE48-1D9D36D15E98}" type="slidenum">
              <a:rPr lang="ja-JP" altLang="en-US" smtClean="0">
                <a:solidFill>
                  <a:srgbClr val="34373F"/>
                </a:solidFill>
              </a:rPr>
              <a:pPr defTabSz="913298"/>
              <a:t>‹Nº›</a:t>
            </a:fld>
            <a:endParaRPr lang="ja-JP" altLang="en-US">
              <a:solidFill>
                <a:srgbClr val="34373F"/>
              </a:solidFill>
            </a:endParaRPr>
          </a:p>
        </p:txBody>
      </p:sp>
      <p:sp>
        <p:nvSpPr>
          <p:cNvPr id="21" name="Text Placeholder 6">
            <a:extLst>
              <a:ext uri="{FF2B5EF4-FFF2-40B4-BE49-F238E27FC236}">
                <a16:creationId xmlns="" xmlns:a16="http://schemas.microsoft.com/office/drawing/2014/main" id="{0A6720AD-4FA4-A146-AEEB-A4E558BAA3EA}"/>
              </a:ext>
            </a:extLst>
          </p:cNvPr>
          <p:cNvSpPr>
            <a:spLocks noGrp="1"/>
          </p:cNvSpPr>
          <p:nvPr>
            <p:ph type="body" sz="quarter" idx="16" hasCustomPrompt="1"/>
          </p:nvPr>
        </p:nvSpPr>
        <p:spPr>
          <a:xfrm>
            <a:off x="454559" y="4892253"/>
            <a:ext cx="5226261" cy="154210"/>
          </a:xfrm>
          <a:prstGeom prst="rect">
            <a:avLst/>
          </a:prstGeom>
        </p:spPr>
        <p:txBody>
          <a:bodyPr wrap="none" tIns="0" rIns="0" bIns="53964" numCol="1" anchor="ctr">
            <a:noAutofit/>
          </a:bodyPr>
          <a:lstStyle>
            <a:lvl1pPr marL="0" indent="0">
              <a:lnSpc>
                <a:spcPts val="1200"/>
              </a:lnSpc>
              <a:spcBef>
                <a:spcPts val="0"/>
              </a:spcBef>
              <a:spcAft>
                <a:spcPts val="450"/>
              </a:spcAft>
              <a:buFont typeface="Arial" panose="020B0604020202020204" pitchFamily="34" charset="0"/>
              <a:buNone/>
              <a:defRPr sz="600" b="0">
                <a:solidFill>
                  <a:schemeClr val="accent3"/>
                </a:solidFill>
              </a:defRPr>
            </a:lvl1pPr>
            <a:lvl2pPr marL="342479" indent="0">
              <a:lnSpc>
                <a:spcPts val="1350"/>
              </a:lnSpc>
              <a:spcBef>
                <a:spcPts val="0"/>
              </a:spcBef>
              <a:buNone/>
              <a:defRPr sz="1100"/>
            </a:lvl2pPr>
            <a:lvl3pPr marL="685000" indent="0">
              <a:lnSpc>
                <a:spcPts val="1350"/>
              </a:lnSpc>
              <a:spcBef>
                <a:spcPts val="0"/>
              </a:spcBef>
              <a:buNone/>
              <a:defRPr sz="1100"/>
            </a:lvl3pPr>
            <a:lvl4pPr marL="1027496" indent="0">
              <a:lnSpc>
                <a:spcPts val="1350"/>
              </a:lnSpc>
              <a:spcBef>
                <a:spcPts val="0"/>
              </a:spcBef>
              <a:buNone/>
              <a:defRPr sz="1100"/>
            </a:lvl4pPr>
            <a:lvl5pPr marL="1369994" indent="0">
              <a:lnSpc>
                <a:spcPts val="1350"/>
              </a:lnSpc>
              <a:spcBef>
                <a:spcPts val="0"/>
              </a:spcBef>
              <a:buNone/>
              <a:defRPr sz="1100"/>
            </a:lvl5pPr>
          </a:lstStyle>
          <a:p>
            <a:pPr lvl="0"/>
            <a:r>
              <a:rPr lang="en-US"/>
              <a:t>Private and confidential. For internal use only.</a:t>
            </a:r>
          </a:p>
        </p:txBody>
      </p:sp>
    </p:spTree>
    <p:extLst>
      <p:ext uri="{BB962C8B-B14F-4D97-AF65-F5344CB8AC3E}">
        <p14:creationId xmlns:p14="http://schemas.microsoft.com/office/powerpoint/2010/main" val="2974522049"/>
      </p:ext>
    </p:extLst>
  </p:cSld>
  <p:clrMapOvr>
    <a:masterClrMapping/>
  </p:clrMapOvr>
  <p:transition spd="slow">
    <p:push dir="u"/>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Title Page">
    <p:spTree>
      <p:nvGrpSpPr>
        <p:cNvPr id="1" name=""/>
        <p:cNvGrpSpPr/>
        <p:nvPr/>
      </p:nvGrpSpPr>
      <p:grpSpPr>
        <a:xfrm>
          <a:off x="0" y="0"/>
          <a:ext cx="0" cy="0"/>
          <a:chOff x="0" y="0"/>
          <a:chExt cx="0" cy="0"/>
        </a:xfrm>
      </p:grpSpPr>
      <p:sp>
        <p:nvSpPr>
          <p:cNvPr id="33" name="Title 1">
            <a:extLst>
              <a:ext uri="{FF2B5EF4-FFF2-40B4-BE49-F238E27FC236}">
                <a16:creationId xmlns="" xmlns:a16="http://schemas.microsoft.com/office/drawing/2014/main" id="{E02383DA-65B3-044E-9E1B-2CC00A0B1CC6}"/>
              </a:ext>
            </a:extLst>
          </p:cNvPr>
          <p:cNvSpPr>
            <a:spLocks noGrp="1"/>
          </p:cNvSpPr>
          <p:nvPr>
            <p:ph type="ctrTitle" hasCustomPrompt="1"/>
          </p:nvPr>
        </p:nvSpPr>
        <p:spPr>
          <a:xfrm>
            <a:off x="896050" y="1727272"/>
            <a:ext cx="3266048" cy="1709348"/>
          </a:xfrm>
          <a:prstGeom prst="rect">
            <a:avLst/>
          </a:prstGeom>
        </p:spPr>
        <p:txBody>
          <a:bodyPr wrap="square" lIns="0" tIns="0" rIns="0" bIns="0" anchor="ctr" anchorCtr="0">
            <a:normAutofit/>
          </a:bodyPr>
          <a:lstStyle>
            <a:lvl1pPr>
              <a:lnSpc>
                <a:spcPts val="2850"/>
              </a:lnSpc>
              <a:defRPr sz="27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section title</a:t>
            </a:r>
          </a:p>
        </p:txBody>
      </p:sp>
      <p:sp>
        <p:nvSpPr>
          <p:cNvPr id="28" name="Rectangle 27">
            <a:extLst>
              <a:ext uri="{FF2B5EF4-FFF2-40B4-BE49-F238E27FC236}">
                <a16:creationId xmlns="" xmlns:a16="http://schemas.microsoft.com/office/drawing/2014/main" id="{92F9C2FE-7E43-3948-92F0-0CEA804BDBFE}"/>
              </a:ext>
            </a:extLst>
          </p:cNvPr>
          <p:cNvSpPr/>
          <p:nvPr userDrawn="1"/>
        </p:nvSpPr>
        <p:spPr>
          <a:xfrm>
            <a:off x="561754" y="1582698"/>
            <a:ext cx="72900" cy="20303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26" tIns="34289" rIns="68526" bIns="34289" anchor="ctr"/>
          <a:lstStyle/>
          <a:p>
            <a:pPr algn="ctr" defTabSz="685188"/>
            <a:endParaRPr lang="en-US" altLang="en-US" sz="1400">
              <a:solidFill>
                <a:srgbClr val="FFFFFF"/>
              </a:solidFill>
            </a:endParaRPr>
          </a:p>
        </p:txBody>
      </p:sp>
      <p:sp>
        <p:nvSpPr>
          <p:cNvPr id="13" name="Picture Placeholder 9">
            <a:extLst>
              <a:ext uri="{FF2B5EF4-FFF2-40B4-BE49-F238E27FC236}">
                <a16:creationId xmlns="" xmlns:a16="http://schemas.microsoft.com/office/drawing/2014/main" id="{46656F8F-0621-5F47-BF80-4A4E365A2D91}"/>
              </a:ext>
            </a:extLst>
          </p:cNvPr>
          <p:cNvSpPr>
            <a:spLocks noGrp="1"/>
          </p:cNvSpPr>
          <p:nvPr>
            <p:ph type="pic" sz="quarter" idx="10"/>
          </p:nvPr>
        </p:nvSpPr>
        <p:spPr>
          <a:xfrm>
            <a:off x="4981942" y="0"/>
            <a:ext cx="4174367" cy="4812506"/>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158474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782524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0592">
                <a:moveTo>
                  <a:pt x="0" y="1652"/>
                </a:moveTo>
                <a:lnTo>
                  <a:pt x="11459359" y="0"/>
                </a:lnTo>
                <a:cubicBezTo>
                  <a:pt x="11456406" y="1115201"/>
                  <a:pt x="11441877" y="2245391"/>
                  <a:pt x="11438924" y="3360592"/>
                </a:cubicBezTo>
                <a:lnTo>
                  <a:pt x="1188396" y="3358591"/>
                </a:lnTo>
                <a:cubicBezTo>
                  <a:pt x="848612" y="3356903"/>
                  <a:pt x="0" y="3267167"/>
                  <a:pt x="0" y="2946995"/>
                </a:cubicBezTo>
                <a:lnTo>
                  <a:pt x="0" y="1652"/>
                </a:lnTo>
                <a:close/>
              </a:path>
            </a:pathLst>
          </a:custGeom>
          <a:noFill/>
        </p:spPr>
        <p:txBody>
          <a:bodyPr/>
          <a:lstStyle>
            <a:lvl1pPr marL="0" indent="0">
              <a:buNone/>
              <a:defRPr sz="1800">
                <a:solidFill>
                  <a:schemeClr val="bg1"/>
                </a:solidFill>
              </a:defRPr>
            </a:lvl1pPr>
          </a:lstStyle>
          <a:p>
            <a:r>
              <a:rPr lang="es-ES"/>
              <a:t>Haga clic en el icono para agregar una imagen</a:t>
            </a:r>
            <a:endParaRPr lang="x-none"/>
          </a:p>
        </p:txBody>
      </p:sp>
    </p:spTree>
    <p:extLst>
      <p:ext uri="{BB962C8B-B14F-4D97-AF65-F5344CB8AC3E}">
        <p14:creationId xmlns:p14="http://schemas.microsoft.com/office/powerpoint/2010/main" val="692479340"/>
      </p:ext>
    </p:extLst>
  </p:cSld>
  <p:clrMapOvr>
    <a:masterClrMapping/>
  </p:clrMapOvr>
  <p:transition spd="slow">
    <p:push dir="u"/>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30A5DA52-BBAF-EA48-AEC6-EA08F428CF57}"/>
              </a:ext>
            </a:extLst>
          </p:cNvPr>
          <p:cNvSpPr>
            <a:spLocks noGrp="1"/>
          </p:cNvSpPr>
          <p:nvPr>
            <p:ph type="body" sz="quarter" idx="10" hasCustomPrompt="1"/>
          </p:nvPr>
        </p:nvSpPr>
        <p:spPr>
          <a:xfrm>
            <a:off x="225030" y="278969"/>
            <a:ext cx="8693944" cy="4533537"/>
          </a:xfrm>
          <a:prstGeom prst="rect">
            <a:avLst/>
          </a:prstGeom>
        </p:spPr>
        <p:txBody>
          <a:bodyPr anchor="ctr" anchorCtr="0"/>
          <a:lstStyle>
            <a:lvl1pPr marL="0" indent="0" algn="ctr">
              <a:lnSpc>
                <a:spcPct val="100000"/>
              </a:lnSpc>
              <a:buNone/>
              <a:defRPr sz="2300"/>
            </a:lvl1pPr>
          </a:lstStyle>
          <a:p>
            <a:pPr lvl="0"/>
            <a:r>
              <a:rPr lang="en-US"/>
              <a:t>Blank slide</a:t>
            </a:r>
            <a:endParaRPr lang="x-none"/>
          </a:p>
        </p:txBody>
      </p:sp>
    </p:spTree>
    <p:extLst>
      <p:ext uri="{BB962C8B-B14F-4D97-AF65-F5344CB8AC3E}">
        <p14:creationId xmlns:p14="http://schemas.microsoft.com/office/powerpoint/2010/main" val="2998593466"/>
      </p:ext>
    </p:extLst>
  </p:cSld>
  <p:clrMapOvr>
    <a:masterClrMapping/>
  </p:clrMapOvr>
  <p:transition spd="slow">
    <p:push dir="u"/>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Advanced 3-Column Text">
    <p:spTree>
      <p:nvGrpSpPr>
        <p:cNvPr id="1" name=""/>
        <p:cNvGrpSpPr/>
        <p:nvPr/>
      </p:nvGrpSpPr>
      <p:grpSpPr>
        <a:xfrm>
          <a:off x="0" y="0"/>
          <a:ext cx="0" cy="0"/>
          <a:chOff x="0" y="0"/>
          <a:chExt cx="0" cy="0"/>
        </a:xfrm>
      </p:grpSpPr>
      <p:sp>
        <p:nvSpPr>
          <p:cNvPr id="7" name="Text Placeholder 6">
            <a:extLst>
              <a:ext uri="{FF2B5EF4-FFF2-40B4-BE49-F238E27FC236}">
                <a16:creationId xmlns="" xmlns:a16="http://schemas.microsoft.com/office/drawing/2014/main" id="{65925D82-457F-D84D-B8DF-D8ADFD7E71DF}"/>
              </a:ext>
            </a:extLst>
          </p:cNvPr>
          <p:cNvSpPr>
            <a:spLocks noGrp="1"/>
          </p:cNvSpPr>
          <p:nvPr>
            <p:ph type="body" sz="quarter" idx="14" hasCustomPrompt="1"/>
          </p:nvPr>
        </p:nvSpPr>
        <p:spPr>
          <a:xfrm>
            <a:off x="233362" y="2383723"/>
            <a:ext cx="4281488" cy="204590"/>
          </a:xfrm>
          <a:prstGeom prst="rect">
            <a:avLst/>
          </a:prstGeom>
        </p:spPr>
        <p:txBody>
          <a:bodyPr tIns="0" rIns="0" bIns="0" numCol="1">
            <a:noAutofit/>
          </a:bodyPr>
          <a:lstStyle>
            <a:lvl1pPr marL="0" indent="0">
              <a:lnSpc>
                <a:spcPct val="100000"/>
              </a:lnSpc>
              <a:spcBef>
                <a:spcPts val="0"/>
              </a:spcBef>
              <a:spcAft>
                <a:spcPts val="450"/>
              </a:spcAft>
              <a:buNone/>
              <a:defRPr sz="1400" b="1">
                <a:solidFill>
                  <a:schemeClr val="accent1"/>
                </a:solidFill>
              </a:defRPr>
            </a:lvl1pPr>
            <a:lvl2pPr marL="342479" indent="0">
              <a:lnSpc>
                <a:spcPts val="1350"/>
              </a:lnSpc>
              <a:spcBef>
                <a:spcPts val="0"/>
              </a:spcBef>
              <a:buNone/>
              <a:defRPr sz="1100"/>
            </a:lvl2pPr>
            <a:lvl3pPr marL="685000" indent="0">
              <a:lnSpc>
                <a:spcPts val="1350"/>
              </a:lnSpc>
              <a:spcBef>
                <a:spcPts val="0"/>
              </a:spcBef>
              <a:buNone/>
              <a:defRPr sz="1100"/>
            </a:lvl3pPr>
            <a:lvl4pPr marL="1027496" indent="0">
              <a:lnSpc>
                <a:spcPts val="1350"/>
              </a:lnSpc>
              <a:spcBef>
                <a:spcPts val="0"/>
              </a:spcBef>
              <a:buNone/>
              <a:defRPr sz="1100"/>
            </a:lvl4pPr>
            <a:lvl5pPr marL="1369994" indent="0">
              <a:lnSpc>
                <a:spcPts val="1350"/>
              </a:lnSpc>
              <a:spcBef>
                <a:spcPts val="0"/>
              </a:spcBef>
              <a:buNone/>
              <a:defRPr sz="1100"/>
            </a:lvl5pPr>
          </a:lstStyle>
          <a:p>
            <a:pPr lvl="0"/>
            <a:r>
              <a:rPr lang="en-US"/>
              <a:t>This is your Secondary Title</a:t>
            </a:r>
          </a:p>
        </p:txBody>
      </p:sp>
      <p:sp>
        <p:nvSpPr>
          <p:cNvPr id="12" name="Text Placeholder 6">
            <a:extLst>
              <a:ext uri="{FF2B5EF4-FFF2-40B4-BE49-F238E27FC236}">
                <a16:creationId xmlns="" xmlns:a16="http://schemas.microsoft.com/office/drawing/2014/main" id="{FD2406EE-A554-5348-AE6D-4D8B343E6201}"/>
              </a:ext>
            </a:extLst>
          </p:cNvPr>
          <p:cNvSpPr>
            <a:spLocks noGrp="1"/>
          </p:cNvSpPr>
          <p:nvPr>
            <p:ph type="body" sz="quarter" idx="15" hasCustomPrompt="1"/>
          </p:nvPr>
        </p:nvSpPr>
        <p:spPr>
          <a:xfrm>
            <a:off x="233363" y="2681929"/>
            <a:ext cx="2822659" cy="2130578"/>
          </a:xfrm>
          <a:prstGeom prst="rect">
            <a:avLst/>
          </a:prstGeom>
        </p:spPr>
        <p:txBody>
          <a:bodyPr tIns="0" rIns="0" bIns="0" numCol="1">
            <a:noAutofit/>
          </a:bodyPr>
          <a:lstStyle>
            <a:lvl1pPr marL="128480" indent="-128480">
              <a:lnSpc>
                <a:spcPct val="100000"/>
              </a:lnSpc>
              <a:spcBef>
                <a:spcPts val="0"/>
              </a:spcBef>
              <a:spcAft>
                <a:spcPts val="450"/>
              </a:spcAft>
              <a:buFont typeface="Arial" panose="020B0604020202020204" pitchFamily="34" charset="0"/>
              <a:buChar char="•"/>
              <a:defRPr sz="1100" b="0">
                <a:solidFill>
                  <a:schemeClr val="tx1"/>
                </a:solidFill>
              </a:defRPr>
            </a:lvl1pPr>
            <a:lvl2pPr marL="342479" indent="0">
              <a:lnSpc>
                <a:spcPts val="1350"/>
              </a:lnSpc>
              <a:spcBef>
                <a:spcPts val="0"/>
              </a:spcBef>
              <a:buNone/>
              <a:defRPr sz="1100"/>
            </a:lvl2pPr>
            <a:lvl3pPr marL="685000" indent="0">
              <a:lnSpc>
                <a:spcPts val="1350"/>
              </a:lnSpc>
              <a:spcBef>
                <a:spcPts val="0"/>
              </a:spcBef>
              <a:buNone/>
              <a:defRPr sz="1100"/>
            </a:lvl3pPr>
            <a:lvl4pPr marL="1027496" indent="0">
              <a:lnSpc>
                <a:spcPts val="1350"/>
              </a:lnSpc>
              <a:spcBef>
                <a:spcPts val="0"/>
              </a:spcBef>
              <a:buNone/>
              <a:defRPr sz="1100"/>
            </a:lvl4pPr>
            <a:lvl5pPr marL="1369994" indent="0">
              <a:lnSpc>
                <a:spcPts val="1350"/>
              </a:lnSpc>
              <a:spcBef>
                <a:spcPts val="0"/>
              </a:spcBef>
              <a:buNone/>
              <a:defRPr sz="1100"/>
            </a:lvl5pPr>
          </a:lstStyle>
          <a:p>
            <a:pPr lvl="0"/>
            <a:r>
              <a:rPr lang="en-US"/>
              <a:t>This is your Secondary text. </a:t>
            </a:r>
          </a:p>
        </p:txBody>
      </p:sp>
      <p:sp>
        <p:nvSpPr>
          <p:cNvPr id="17" name="Text Placeholder 6">
            <a:extLst>
              <a:ext uri="{FF2B5EF4-FFF2-40B4-BE49-F238E27FC236}">
                <a16:creationId xmlns="" xmlns:a16="http://schemas.microsoft.com/office/drawing/2014/main" id="{3BB454FD-9C16-FC47-B46E-6675394572BB}"/>
              </a:ext>
            </a:extLst>
          </p:cNvPr>
          <p:cNvSpPr>
            <a:spLocks noGrp="1"/>
          </p:cNvSpPr>
          <p:nvPr>
            <p:ph type="body" sz="quarter" idx="18" hasCustomPrompt="1"/>
          </p:nvPr>
        </p:nvSpPr>
        <p:spPr>
          <a:xfrm>
            <a:off x="3160331" y="2681929"/>
            <a:ext cx="2822659" cy="2130578"/>
          </a:xfrm>
          <a:prstGeom prst="rect">
            <a:avLst/>
          </a:prstGeom>
        </p:spPr>
        <p:txBody>
          <a:bodyPr tIns="0" rIns="0" bIns="0" numCol="1">
            <a:noAutofit/>
          </a:bodyPr>
          <a:lstStyle>
            <a:lvl1pPr marL="128480" indent="-128480">
              <a:lnSpc>
                <a:spcPct val="100000"/>
              </a:lnSpc>
              <a:spcBef>
                <a:spcPts val="0"/>
              </a:spcBef>
              <a:spcAft>
                <a:spcPts val="450"/>
              </a:spcAft>
              <a:buFont typeface="Arial" panose="020B0604020202020204" pitchFamily="34" charset="0"/>
              <a:buChar char="•"/>
              <a:defRPr sz="1100" b="0">
                <a:solidFill>
                  <a:schemeClr val="tx1"/>
                </a:solidFill>
              </a:defRPr>
            </a:lvl1pPr>
            <a:lvl2pPr marL="342479" indent="0">
              <a:lnSpc>
                <a:spcPts val="1350"/>
              </a:lnSpc>
              <a:spcBef>
                <a:spcPts val="0"/>
              </a:spcBef>
              <a:buNone/>
              <a:defRPr sz="1100"/>
            </a:lvl2pPr>
            <a:lvl3pPr marL="685000" indent="0">
              <a:lnSpc>
                <a:spcPts val="1350"/>
              </a:lnSpc>
              <a:spcBef>
                <a:spcPts val="0"/>
              </a:spcBef>
              <a:buNone/>
              <a:defRPr sz="1100"/>
            </a:lvl3pPr>
            <a:lvl4pPr marL="1027496" indent="0">
              <a:lnSpc>
                <a:spcPts val="1350"/>
              </a:lnSpc>
              <a:spcBef>
                <a:spcPts val="0"/>
              </a:spcBef>
              <a:buNone/>
              <a:defRPr sz="1100"/>
            </a:lvl4pPr>
            <a:lvl5pPr marL="1369994" indent="0">
              <a:lnSpc>
                <a:spcPts val="1350"/>
              </a:lnSpc>
              <a:spcBef>
                <a:spcPts val="0"/>
              </a:spcBef>
              <a:buNone/>
              <a:defRPr sz="1100"/>
            </a:lvl5pPr>
          </a:lstStyle>
          <a:p>
            <a:pPr lvl="0"/>
            <a:r>
              <a:rPr lang="en-US"/>
              <a:t>This is your Secondary text. </a:t>
            </a:r>
          </a:p>
        </p:txBody>
      </p:sp>
      <p:sp>
        <p:nvSpPr>
          <p:cNvPr id="18" name="Text Placeholder 6">
            <a:extLst>
              <a:ext uri="{FF2B5EF4-FFF2-40B4-BE49-F238E27FC236}">
                <a16:creationId xmlns="" xmlns:a16="http://schemas.microsoft.com/office/drawing/2014/main" id="{568F3A49-7287-1C4D-93C8-50E3C0B4F15A}"/>
              </a:ext>
            </a:extLst>
          </p:cNvPr>
          <p:cNvSpPr>
            <a:spLocks noGrp="1"/>
          </p:cNvSpPr>
          <p:nvPr>
            <p:ph type="body" sz="quarter" idx="19" hasCustomPrompt="1"/>
          </p:nvPr>
        </p:nvSpPr>
        <p:spPr>
          <a:xfrm>
            <a:off x="6075012" y="2681929"/>
            <a:ext cx="2822659" cy="2130578"/>
          </a:xfrm>
          <a:prstGeom prst="rect">
            <a:avLst/>
          </a:prstGeom>
        </p:spPr>
        <p:txBody>
          <a:bodyPr tIns="0" rIns="0" bIns="0" numCol="1">
            <a:noAutofit/>
          </a:bodyPr>
          <a:lstStyle>
            <a:lvl1pPr marL="128480" indent="-128480">
              <a:lnSpc>
                <a:spcPct val="100000"/>
              </a:lnSpc>
              <a:spcBef>
                <a:spcPts val="0"/>
              </a:spcBef>
              <a:spcAft>
                <a:spcPts val="450"/>
              </a:spcAft>
              <a:buFont typeface="Arial" panose="020B0604020202020204" pitchFamily="34" charset="0"/>
              <a:buChar char="•"/>
              <a:defRPr sz="1100" b="0">
                <a:solidFill>
                  <a:schemeClr val="tx1"/>
                </a:solidFill>
              </a:defRPr>
            </a:lvl1pPr>
            <a:lvl2pPr marL="342479" indent="0">
              <a:lnSpc>
                <a:spcPts val="1350"/>
              </a:lnSpc>
              <a:spcBef>
                <a:spcPts val="0"/>
              </a:spcBef>
              <a:buNone/>
              <a:defRPr sz="1100"/>
            </a:lvl2pPr>
            <a:lvl3pPr marL="685000" indent="0">
              <a:lnSpc>
                <a:spcPts val="1350"/>
              </a:lnSpc>
              <a:spcBef>
                <a:spcPts val="0"/>
              </a:spcBef>
              <a:buNone/>
              <a:defRPr sz="1100"/>
            </a:lvl3pPr>
            <a:lvl4pPr marL="1027496" indent="0">
              <a:lnSpc>
                <a:spcPts val="1350"/>
              </a:lnSpc>
              <a:spcBef>
                <a:spcPts val="0"/>
              </a:spcBef>
              <a:buNone/>
              <a:defRPr sz="1100"/>
            </a:lvl4pPr>
            <a:lvl5pPr marL="1369994" indent="0">
              <a:lnSpc>
                <a:spcPts val="1350"/>
              </a:lnSpc>
              <a:spcBef>
                <a:spcPts val="0"/>
              </a:spcBef>
              <a:buNone/>
              <a:defRPr sz="1100"/>
            </a:lvl5pPr>
          </a:lstStyle>
          <a:p>
            <a:pPr lvl="0"/>
            <a:r>
              <a:rPr lang="en-US"/>
              <a:t>This is your Secondary text. </a:t>
            </a:r>
          </a:p>
        </p:txBody>
      </p:sp>
      <p:sp>
        <p:nvSpPr>
          <p:cNvPr id="21" name="Footer Placeholder 8">
            <a:extLst>
              <a:ext uri="{FF2B5EF4-FFF2-40B4-BE49-F238E27FC236}">
                <a16:creationId xmlns="" xmlns:a16="http://schemas.microsoft.com/office/drawing/2014/main" id="{519BC59F-4516-0043-8BAC-F9FE45B6A9F4}"/>
              </a:ext>
            </a:extLst>
          </p:cNvPr>
          <p:cNvSpPr>
            <a:spLocks noGrp="1"/>
          </p:cNvSpPr>
          <p:nvPr>
            <p:ph type="ftr" sz="quarter" idx="3"/>
          </p:nvPr>
        </p:nvSpPr>
        <p:spPr>
          <a:xfrm>
            <a:off x="5824538" y="4892251"/>
            <a:ext cx="3086100" cy="147098"/>
          </a:xfrm>
          <a:prstGeom prst="rect">
            <a:avLst/>
          </a:prstGeom>
        </p:spPr>
        <p:txBody>
          <a:bodyPr vert="horz" lIns="68526" tIns="34289" rIns="0" bIns="34289" rtlCol="0" anchor="ctr"/>
          <a:lstStyle>
            <a:lvl1pPr algn="r">
              <a:defRPr sz="600" b="1" spc="75" baseline="0">
                <a:solidFill>
                  <a:schemeClr val="tx1"/>
                </a:solidFill>
              </a:defRPr>
            </a:lvl1pPr>
          </a:lstStyle>
          <a:p>
            <a:r>
              <a:rPr lang="x-none">
                <a:solidFill>
                  <a:srgbClr val="34373F"/>
                </a:solidFill>
              </a:rPr>
              <a:t> </a:t>
            </a:r>
          </a:p>
        </p:txBody>
      </p:sp>
      <p:pic>
        <p:nvPicPr>
          <p:cNvPr id="14" name="Picture 13" descr="Takeda">
            <a:extLst>
              <a:ext uri="{FF2B5EF4-FFF2-40B4-BE49-F238E27FC236}">
                <a16:creationId xmlns="" xmlns:a16="http://schemas.microsoft.com/office/drawing/2014/main" id="{0E2D4ABB-BC5B-754B-B0DE-676246A385A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09748" y="-1211"/>
            <a:ext cx="1272174" cy="705585"/>
          </a:xfrm>
          <a:prstGeom prst="rect">
            <a:avLst/>
          </a:prstGeom>
        </p:spPr>
      </p:pic>
      <p:sp>
        <p:nvSpPr>
          <p:cNvPr id="24" name="タイトル プレースホルダ 1">
            <a:extLst>
              <a:ext uri="{FF2B5EF4-FFF2-40B4-BE49-F238E27FC236}">
                <a16:creationId xmlns="" xmlns:a16="http://schemas.microsoft.com/office/drawing/2014/main" id="{CC986DF6-9894-F144-B9DA-A9DBE0000AB8}"/>
              </a:ext>
            </a:extLst>
          </p:cNvPr>
          <p:cNvSpPr>
            <a:spLocks noGrp="1"/>
          </p:cNvSpPr>
          <p:nvPr>
            <p:ph type="title" hasCustomPrompt="1"/>
          </p:nvPr>
        </p:nvSpPr>
        <p:spPr>
          <a:xfrm>
            <a:off x="454559" y="121208"/>
            <a:ext cx="7455190" cy="51435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3" name="Rectangle 22">
            <a:extLst>
              <a:ext uri="{FF2B5EF4-FFF2-40B4-BE49-F238E27FC236}">
                <a16:creationId xmlns="" xmlns:a16="http://schemas.microsoft.com/office/drawing/2014/main" id="{886528CE-2840-6C44-965A-04D8835743E3}"/>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26" tIns="34289" rIns="68526" bIns="34289" rtlCol="0" anchor="ctr"/>
          <a:lstStyle/>
          <a:p>
            <a:pPr algn="ctr" defTabSz="685188"/>
            <a:endParaRPr kumimoji="1" lang="x-none" sz="1400">
              <a:solidFill>
                <a:srgbClr val="E1242A"/>
              </a:solidFill>
            </a:endParaRPr>
          </a:p>
        </p:txBody>
      </p:sp>
      <p:sp>
        <p:nvSpPr>
          <p:cNvPr id="27" name="スライド番号プレースホルダ 5">
            <a:extLst>
              <a:ext uri="{FF2B5EF4-FFF2-40B4-BE49-F238E27FC236}">
                <a16:creationId xmlns="" xmlns:a16="http://schemas.microsoft.com/office/drawing/2014/main" id="{854E474F-30B0-604E-9699-287AC57CAAFA}"/>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3298"/>
            <a:fld id="{E9B57936-92EF-4126-AE48-1D9D36D15E98}" type="slidenum">
              <a:rPr lang="ja-JP" altLang="en-US" smtClean="0">
                <a:solidFill>
                  <a:srgbClr val="34373F"/>
                </a:solidFill>
              </a:rPr>
              <a:pPr defTabSz="913298"/>
              <a:t>‹Nº›</a:t>
            </a:fld>
            <a:endParaRPr lang="ja-JP" altLang="en-US">
              <a:solidFill>
                <a:srgbClr val="34373F"/>
              </a:solidFill>
            </a:endParaRPr>
          </a:p>
        </p:txBody>
      </p:sp>
      <p:sp>
        <p:nvSpPr>
          <p:cNvPr id="28" name="Text Placeholder 6">
            <a:extLst>
              <a:ext uri="{FF2B5EF4-FFF2-40B4-BE49-F238E27FC236}">
                <a16:creationId xmlns="" xmlns:a16="http://schemas.microsoft.com/office/drawing/2014/main" id="{C9681050-C142-4F4F-B3C6-6F52F3C55CD6}"/>
              </a:ext>
            </a:extLst>
          </p:cNvPr>
          <p:cNvSpPr>
            <a:spLocks noGrp="1"/>
          </p:cNvSpPr>
          <p:nvPr>
            <p:ph type="body" sz="quarter" idx="16" hasCustomPrompt="1"/>
          </p:nvPr>
        </p:nvSpPr>
        <p:spPr>
          <a:xfrm>
            <a:off x="454559" y="4892253"/>
            <a:ext cx="5226261" cy="154210"/>
          </a:xfrm>
          <a:prstGeom prst="rect">
            <a:avLst/>
          </a:prstGeom>
        </p:spPr>
        <p:txBody>
          <a:bodyPr wrap="none" tIns="0" rIns="0" bIns="53964" numCol="1" anchor="ctr">
            <a:noAutofit/>
          </a:bodyPr>
          <a:lstStyle>
            <a:lvl1pPr marL="0" indent="0">
              <a:lnSpc>
                <a:spcPts val="1200"/>
              </a:lnSpc>
              <a:spcBef>
                <a:spcPts val="0"/>
              </a:spcBef>
              <a:spcAft>
                <a:spcPts val="450"/>
              </a:spcAft>
              <a:buFont typeface="Arial" panose="020B0604020202020204" pitchFamily="34" charset="0"/>
              <a:buNone/>
              <a:defRPr sz="600" b="0">
                <a:solidFill>
                  <a:schemeClr val="accent3"/>
                </a:solidFill>
              </a:defRPr>
            </a:lvl1pPr>
            <a:lvl2pPr marL="342479" indent="0">
              <a:lnSpc>
                <a:spcPts val="1350"/>
              </a:lnSpc>
              <a:spcBef>
                <a:spcPts val="0"/>
              </a:spcBef>
              <a:buNone/>
              <a:defRPr sz="1100"/>
            </a:lvl2pPr>
            <a:lvl3pPr marL="685000" indent="0">
              <a:lnSpc>
                <a:spcPts val="1350"/>
              </a:lnSpc>
              <a:spcBef>
                <a:spcPts val="0"/>
              </a:spcBef>
              <a:buNone/>
              <a:defRPr sz="1100"/>
            </a:lvl3pPr>
            <a:lvl4pPr marL="1027496" indent="0">
              <a:lnSpc>
                <a:spcPts val="1350"/>
              </a:lnSpc>
              <a:spcBef>
                <a:spcPts val="0"/>
              </a:spcBef>
              <a:buNone/>
              <a:defRPr sz="1100"/>
            </a:lvl4pPr>
            <a:lvl5pPr marL="1369994" indent="0">
              <a:lnSpc>
                <a:spcPts val="1350"/>
              </a:lnSpc>
              <a:spcBef>
                <a:spcPts val="0"/>
              </a:spcBef>
              <a:buNone/>
              <a:defRPr sz="1100"/>
            </a:lvl5pPr>
          </a:lstStyle>
          <a:p>
            <a:pPr lvl="0"/>
            <a:r>
              <a:rPr lang="en-US"/>
              <a:t>Private and confidential. For internal use only.</a:t>
            </a:r>
          </a:p>
        </p:txBody>
      </p:sp>
      <p:sp>
        <p:nvSpPr>
          <p:cNvPr id="22" name="Text Placeholder 2">
            <a:extLst>
              <a:ext uri="{FF2B5EF4-FFF2-40B4-BE49-F238E27FC236}">
                <a16:creationId xmlns="" xmlns:a16="http://schemas.microsoft.com/office/drawing/2014/main" id="{110504E2-40F0-054E-8424-D247EF2CA216}"/>
              </a:ext>
            </a:extLst>
          </p:cNvPr>
          <p:cNvSpPr>
            <a:spLocks noGrp="1"/>
          </p:cNvSpPr>
          <p:nvPr>
            <p:ph type="body" sz="quarter" idx="20" hasCustomPrompt="1"/>
          </p:nvPr>
        </p:nvSpPr>
        <p:spPr>
          <a:xfrm>
            <a:off x="233363" y="1118532"/>
            <a:ext cx="8677275" cy="1098718"/>
          </a:xfrm>
        </p:spPr>
        <p:txBody>
          <a:bodyPr tIns="0" rIns="0" bIns="0" numCol="1" spcCol="94428">
            <a:noAutofit/>
          </a:bodyPr>
          <a:lstStyle>
            <a:lvl1pPr marL="0" indent="0">
              <a:lnSpc>
                <a:spcPct val="100000"/>
              </a:lnSpc>
              <a:spcBef>
                <a:spcPts val="0"/>
              </a:spcBef>
              <a:buNone/>
              <a:defRPr sz="1200" b="1"/>
            </a:lvl1pPr>
            <a:lvl2pPr marL="342479" indent="0">
              <a:buNone/>
              <a:defRPr sz="1400" b="1"/>
            </a:lvl2pPr>
            <a:lvl3pPr marL="685000" indent="0">
              <a:buNone/>
              <a:defRPr sz="1400" b="1"/>
            </a:lvl3pPr>
            <a:lvl4pPr marL="1027496" indent="0">
              <a:buNone/>
              <a:defRPr sz="1400" b="1"/>
            </a:lvl4pPr>
            <a:lvl5pPr marL="1369994" indent="0">
              <a:buNone/>
              <a:defRPr sz="1400" b="1"/>
            </a:lvl5pPr>
          </a:lstStyle>
          <a:p>
            <a:pPr lvl="0"/>
            <a:r>
              <a:rPr lang="en-US"/>
              <a:t>This is your Primary Text.</a:t>
            </a:r>
            <a:endParaRPr lang="x-none"/>
          </a:p>
        </p:txBody>
      </p:sp>
      <p:sp>
        <p:nvSpPr>
          <p:cNvPr id="25" name="Text Placeholder 6">
            <a:extLst>
              <a:ext uri="{FF2B5EF4-FFF2-40B4-BE49-F238E27FC236}">
                <a16:creationId xmlns="" xmlns:a16="http://schemas.microsoft.com/office/drawing/2014/main" id="{073E75F2-7FFB-DC4C-8964-799372FCF583}"/>
              </a:ext>
            </a:extLst>
          </p:cNvPr>
          <p:cNvSpPr>
            <a:spLocks noGrp="1"/>
          </p:cNvSpPr>
          <p:nvPr>
            <p:ph type="body" sz="quarter" idx="21" hasCustomPrompt="1"/>
          </p:nvPr>
        </p:nvSpPr>
        <p:spPr>
          <a:xfrm>
            <a:off x="233363" y="820327"/>
            <a:ext cx="8677275" cy="204590"/>
          </a:xfrm>
        </p:spPr>
        <p:txBody>
          <a:bodyPr tIns="0" rIns="0" bIns="0" numCol="1">
            <a:noAutofit/>
          </a:bodyPr>
          <a:lstStyle>
            <a:lvl1pPr marL="0" indent="0">
              <a:lnSpc>
                <a:spcPct val="100000"/>
              </a:lnSpc>
              <a:spcBef>
                <a:spcPts val="0"/>
              </a:spcBef>
              <a:spcAft>
                <a:spcPts val="450"/>
              </a:spcAft>
              <a:buNone/>
              <a:defRPr sz="1500" b="1">
                <a:solidFill>
                  <a:schemeClr val="accent1"/>
                </a:solidFill>
              </a:defRPr>
            </a:lvl1pPr>
            <a:lvl2pPr marL="342479" indent="0">
              <a:lnSpc>
                <a:spcPts val="1350"/>
              </a:lnSpc>
              <a:spcBef>
                <a:spcPts val="0"/>
              </a:spcBef>
              <a:buNone/>
              <a:defRPr sz="1100"/>
            </a:lvl2pPr>
            <a:lvl3pPr marL="685000" indent="0">
              <a:lnSpc>
                <a:spcPts val="1350"/>
              </a:lnSpc>
              <a:spcBef>
                <a:spcPts val="0"/>
              </a:spcBef>
              <a:buNone/>
              <a:defRPr sz="1100"/>
            </a:lvl3pPr>
            <a:lvl4pPr marL="1027496" indent="0">
              <a:lnSpc>
                <a:spcPts val="1350"/>
              </a:lnSpc>
              <a:spcBef>
                <a:spcPts val="0"/>
              </a:spcBef>
              <a:buNone/>
              <a:defRPr sz="1100"/>
            </a:lvl4pPr>
            <a:lvl5pPr marL="1369994" indent="0">
              <a:lnSpc>
                <a:spcPts val="1350"/>
              </a:lnSpc>
              <a:spcBef>
                <a:spcPts val="0"/>
              </a:spcBef>
              <a:buNone/>
              <a:defRPr sz="1100"/>
            </a:lvl5pPr>
          </a:lstStyle>
          <a:p>
            <a:pPr lvl="0"/>
            <a:r>
              <a:rPr lang="en-US"/>
              <a:t>This is your Primary Title</a:t>
            </a:r>
          </a:p>
        </p:txBody>
      </p:sp>
    </p:spTree>
    <p:extLst>
      <p:ext uri="{BB962C8B-B14F-4D97-AF65-F5344CB8AC3E}">
        <p14:creationId xmlns:p14="http://schemas.microsoft.com/office/powerpoint/2010/main" val="3512738175"/>
      </p:ext>
    </p:extLst>
  </p:cSld>
  <p:clrMapOvr>
    <a:masterClrMapping/>
  </p:clrMapOvr>
  <p:transition spd="slow">
    <p:push dir="u"/>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Advanced 2/3 Image">
    <p:spTree>
      <p:nvGrpSpPr>
        <p:cNvPr id="1" name=""/>
        <p:cNvGrpSpPr/>
        <p:nvPr/>
      </p:nvGrpSpPr>
      <p:grpSpPr>
        <a:xfrm>
          <a:off x="0" y="0"/>
          <a:ext cx="0" cy="0"/>
          <a:chOff x="0" y="0"/>
          <a:chExt cx="0" cy="0"/>
        </a:xfrm>
      </p:grpSpPr>
      <p:sp>
        <p:nvSpPr>
          <p:cNvPr id="13" name="Picture Placeholder 9">
            <a:extLst>
              <a:ext uri="{FF2B5EF4-FFF2-40B4-BE49-F238E27FC236}">
                <a16:creationId xmlns="" xmlns:a16="http://schemas.microsoft.com/office/drawing/2014/main" id="{B3311DE3-EC35-4C49-805E-57AB2D90E99E}"/>
              </a:ext>
            </a:extLst>
          </p:cNvPr>
          <p:cNvSpPr>
            <a:spLocks noGrp="1"/>
          </p:cNvSpPr>
          <p:nvPr>
            <p:ph type="pic" sz="quarter" idx="10" hasCustomPrompt="1"/>
          </p:nvPr>
        </p:nvSpPr>
        <p:spPr>
          <a:xfrm>
            <a:off x="3158057" y="820325"/>
            <a:ext cx="5991267" cy="3992181"/>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88356" h="5135028">
                <a:moveTo>
                  <a:pt x="0" y="0"/>
                </a:moveTo>
                <a:lnTo>
                  <a:pt x="7988281" y="7569"/>
                </a:lnTo>
                <a:cubicBezTo>
                  <a:pt x="7989186" y="2154376"/>
                  <a:pt x="7981645" y="2988221"/>
                  <a:pt x="7982550" y="5135028"/>
                </a:cubicBezTo>
                <a:lnTo>
                  <a:pt x="596656" y="5124807"/>
                </a:lnTo>
                <a:cubicBezTo>
                  <a:pt x="276484" y="5124807"/>
                  <a:pt x="16934" y="4865257"/>
                  <a:pt x="16934" y="4545085"/>
                </a:cubicBezTo>
                <a:cubicBezTo>
                  <a:pt x="11289" y="3022648"/>
                  <a:pt x="5645" y="1522437"/>
                  <a:pt x="0" y="0"/>
                </a:cubicBezTo>
                <a:close/>
              </a:path>
            </a:pathLst>
          </a:custGeom>
          <a:noFill/>
        </p:spPr>
        <p:txBody>
          <a:bodyPr>
            <a:normAutofit/>
          </a:bodyPr>
          <a:lstStyle>
            <a:lvl1pPr marL="0" indent="0">
              <a:buNone/>
              <a:defRPr sz="1100">
                <a:solidFill>
                  <a:schemeClr val="tx1"/>
                </a:solidFill>
              </a:defRPr>
            </a:lvl1pPr>
          </a:lstStyle>
          <a:p>
            <a:r>
              <a:rPr lang="x-none"/>
              <a:t>Insert Photo</a:t>
            </a:r>
          </a:p>
        </p:txBody>
      </p:sp>
      <p:sp>
        <p:nvSpPr>
          <p:cNvPr id="7" name="Text Placeholder 6">
            <a:extLst>
              <a:ext uri="{FF2B5EF4-FFF2-40B4-BE49-F238E27FC236}">
                <a16:creationId xmlns="" xmlns:a16="http://schemas.microsoft.com/office/drawing/2014/main" id="{65925D82-457F-D84D-B8DF-D8ADFD7E71DF}"/>
              </a:ext>
            </a:extLst>
          </p:cNvPr>
          <p:cNvSpPr>
            <a:spLocks noGrp="1"/>
          </p:cNvSpPr>
          <p:nvPr>
            <p:ph type="body" sz="quarter" idx="14" hasCustomPrompt="1"/>
          </p:nvPr>
        </p:nvSpPr>
        <p:spPr>
          <a:xfrm>
            <a:off x="233367" y="2383723"/>
            <a:ext cx="2813975" cy="204590"/>
          </a:xfrm>
          <a:prstGeom prst="rect">
            <a:avLst/>
          </a:prstGeom>
        </p:spPr>
        <p:txBody>
          <a:bodyPr tIns="0" rIns="0" bIns="0" numCol="1">
            <a:noAutofit/>
          </a:bodyPr>
          <a:lstStyle>
            <a:lvl1pPr marL="0" indent="0">
              <a:lnSpc>
                <a:spcPct val="100000"/>
              </a:lnSpc>
              <a:spcBef>
                <a:spcPts val="0"/>
              </a:spcBef>
              <a:spcAft>
                <a:spcPts val="450"/>
              </a:spcAft>
              <a:buNone/>
              <a:defRPr sz="1400" b="1">
                <a:solidFill>
                  <a:schemeClr val="accent1"/>
                </a:solidFill>
              </a:defRPr>
            </a:lvl1pPr>
            <a:lvl2pPr marL="342479" indent="0">
              <a:lnSpc>
                <a:spcPts val="1350"/>
              </a:lnSpc>
              <a:spcBef>
                <a:spcPts val="0"/>
              </a:spcBef>
              <a:buNone/>
              <a:defRPr sz="1100"/>
            </a:lvl2pPr>
            <a:lvl3pPr marL="685000" indent="0">
              <a:lnSpc>
                <a:spcPts val="1350"/>
              </a:lnSpc>
              <a:spcBef>
                <a:spcPts val="0"/>
              </a:spcBef>
              <a:buNone/>
              <a:defRPr sz="1100"/>
            </a:lvl3pPr>
            <a:lvl4pPr marL="1027496" indent="0">
              <a:lnSpc>
                <a:spcPts val="1350"/>
              </a:lnSpc>
              <a:spcBef>
                <a:spcPts val="0"/>
              </a:spcBef>
              <a:buNone/>
              <a:defRPr sz="1100"/>
            </a:lvl4pPr>
            <a:lvl5pPr marL="1369994" indent="0">
              <a:lnSpc>
                <a:spcPts val="1350"/>
              </a:lnSpc>
              <a:spcBef>
                <a:spcPts val="0"/>
              </a:spcBef>
              <a:buNone/>
              <a:defRPr sz="1100"/>
            </a:lvl5pPr>
          </a:lstStyle>
          <a:p>
            <a:pPr lvl="0"/>
            <a:r>
              <a:rPr lang="en-US"/>
              <a:t>This is your Secondary Title</a:t>
            </a:r>
          </a:p>
        </p:txBody>
      </p:sp>
      <p:sp>
        <p:nvSpPr>
          <p:cNvPr id="12" name="Text Placeholder 6">
            <a:extLst>
              <a:ext uri="{FF2B5EF4-FFF2-40B4-BE49-F238E27FC236}">
                <a16:creationId xmlns="" xmlns:a16="http://schemas.microsoft.com/office/drawing/2014/main" id="{FD2406EE-A554-5348-AE6D-4D8B343E6201}"/>
              </a:ext>
            </a:extLst>
          </p:cNvPr>
          <p:cNvSpPr>
            <a:spLocks noGrp="1"/>
          </p:cNvSpPr>
          <p:nvPr>
            <p:ph type="body" sz="quarter" idx="15" hasCustomPrompt="1"/>
          </p:nvPr>
        </p:nvSpPr>
        <p:spPr>
          <a:xfrm>
            <a:off x="233367" y="2681929"/>
            <a:ext cx="2813975" cy="2130578"/>
          </a:xfrm>
          <a:prstGeom prst="rect">
            <a:avLst/>
          </a:prstGeom>
        </p:spPr>
        <p:txBody>
          <a:bodyPr tIns="0" rIns="0" bIns="0" numCol="1">
            <a:noAutofit/>
          </a:bodyPr>
          <a:lstStyle>
            <a:lvl1pPr marL="128480" indent="-128480">
              <a:lnSpc>
                <a:spcPct val="100000"/>
              </a:lnSpc>
              <a:spcBef>
                <a:spcPts val="0"/>
              </a:spcBef>
              <a:spcAft>
                <a:spcPts val="450"/>
              </a:spcAft>
              <a:buFont typeface="Arial" panose="020B0604020202020204" pitchFamily="34" charset="0"/>
              <a:buChar char="•"/>
              <a:defRPr sz="1100" b="0">
                <a:solidFill>
                  <a:schemeClr val="tx1"/>
                </a:solidFill>
              </a:defRPr>
            </a:lvl1pPr>
            <a:lvl2pPr marL="342479" indent="0">
              <a:lnSpc>
                <a:spcPts val="1350"/>
              </a:lnSpc>
              <a:spcBef>
                <a:spcPts val="0"/>
              </a:spcBef>
              <a:buNone/>
              <a:defRPr sz="1100"/>
            </a:lvl2pPr>
            <a:lvl3pPr marL="685000" indent="0">
              <a:lnSpc>
                <a:spcPts val="1350"/>
              </a:lnSpc>
              <a:spcBef>
                <a:spcPts val="0"/>
              </a:spcBef>
              <a:buNone/>
              <a:defRPr sz="1100"/>
            </a:lvl3pPr>
            <a:lvl4pPr marL="1027496" indent="0">
              <a:lnSpc>
                <a:spcPts val="1350"/>
              </a:lnSpc>
              <a:spcBef>
                <a:spcPts val="0"/>
              </a:spcBef>
              <a:buNone/>
              <a:defRPr sz="1100"/>
            </a:lvl4pPr>
            <a:lvl5pPr marL="1369994" indent="0">
              <a:lnSpc>
                <a:spcPts val="1350"/>
              </a:lnSpc>
              <a:spcBef>
                <a:spcPts val="0"/>
              </a:spcBef>
              <a:buNone/>
              <a:defRPr sz="1100"/>
            </a:lvl5pPr>
          </a:lstStyle>
          <a:p>
            <a:pPr lvl="0"/>
            <a:r>
              <a:rPr lang="en-US"/>
              <a:t>This is your Secondary text. </a:t>
            </a:r>
          </a:p>
        </p:txBody>
      </p:sp>
      <p:sp>
        <p:nvSpPr>
          <p:cNvPr id="20" name="Footer Placeholder 8">
            <a:extLst>
              <a:ext uri="{FF2B5EF4-FFF2-40B4-BE49-F238E27FC236}">
                <a16:creationId xmlns="" xmlns:a16="http://schemas.microsoft.com/office/drawing/2014/main" id="{E4ACE247-6DA5-F044-A880-12BDFE14907B}"/>
              </a:ext>
            </a:extLst>
          </p:cNvPr>
          <p:cNvSpPr>
            <a:spLocks noGrp="1"/>
          </p:cNvSpPr>
          <p:nvPr>
            <p:ph type="ftr" sz="quarter" idx="3"/>
          </p:nvPr>
        </p:nvSpPr>
        <p:spPr>
          <a:xfrm>
            <a:off x="5824538" y="4892251"/>
            <a:ext cx="3086100" cy="147098"/>
          </a:xfrm>
          <a:prstGeom prst="rect">
            <a:avLst/>
          </a:prstGeom>
        </p:spPr>
        <p:txBody>
          <a:bodyPr vert="horz" lIns="68526" tIns="34289" rIns="0" bIns="34289" rtlCol="0" anchor="ctr"/>
          <a:lstStyle>
            <a:lvl1pPr algn="r">
              <a:defRPr sz="600" b="1" spc="75" baseline="0">
                <a:solidFill>
                  <a:schemeClr val="tx1"/>
                </a:solidFill>
              </a:defRPr>
            </a:lvl1pPr>
          </a:lstStyle>
          <a:p>
            <a:r>
              <a:rPr lang="x-none">
                <a:solidFill>
                  <a:srgbClr val="34373F"/>
                </a:solidFill>
              </a:rPr>
              <a:t> </a:t>
            </a:r>
          </a:p>
        </p:txBody>
      </p:sp>
      <p:pic>
        <p:nvPicPr>
          <p:cNvPr id="14" name="Picture 13" descr="Takeda">
            <a:extLst>
              <a:ext uri="{FF2B5EF4-FFF2-40B4-BE49-F238E27FC236}">
                <a16:creationId xmlns="" xmlns:a16="http://schemas.microsoft.com/office/drawing/2014/main" id="{1397373C-4723-444D-99E3-0FBCAFDAD4F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09748" y="-1211"/>
            <a:ext cx="1272174" cy="705585"/>
          </a:xfrm>
          <a:prstGeom prst="rect">
            <a:avLst/>
          </a:prstGeom>
        </p:spPr>
      </p:pic>
      <p:sp>
        <p:nvSpPr>
          <p:cNvPr id="22" name="タイトル プレースホルダ 1">
            <a:extLst>
              <a:ext uri="{FF2B5EF4-FFF2-40B4-BE49-F238E27FC236}">
                <a16:creationId xmlns="" xmlns:a16="http://schemas.microsoft.com/office/drawing/2014/main" id="{1545CFCD-ABA6-1349-9917-1DDD2762CB59}"/>
              </a:ext>
            </a:extLst>
          </p:cNvPr>
          <p:cNvSpPr>
            <a:spLocks noGrp="1"/>
          </p:cNvSpPr>
          <p:nvPr>
            <p:ph type="title" hasCustomPrompt="1"/>
          </p:nvPr>
        </p:nvSpPr>
        <p:spPr>
          <a:xfrm>
            <a:off x="454559" y="121208"/>
            <a:ext cx="7455190" cy="51435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1" name="Rectangle 20">
            <a:extLst>
              <a:ext uri="{FF2B5EF4-FFF2-40B4-BE49-F238E27FC236}">
                <a16:creationId xmlns="" xmlns:a16="http://schemas.microsoft.com/office/drawing/2014/main" id="{97730F84-B57E-C441-B81C-A0677388FA64}"/>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26" tIns="34289" rIns="68526" bIns="34289" rtlCol="0" anchor="ctr"/>
          <a:lstStyle/>
          <a:p>
            <a:pPr algn="ctr" defTabSz="685188"/>
            <a:endParaRPr kumimoji="1" lang="x-none" sz="1400">
              <a:solidFill>
                <a:srgbClr val="E1242A"/>
              </a:solidFill>
            </a:endParaRPr>
          </a:p>
        </p:txBody>
      </p:sp>
      <p:sp>
        <p:nvSpPr>
          <p:cNvPr id="25" name="スライド番号プレースホルダ 5">
            <a:extLst>
              <a:ext uri="{FF2B5EF4-FFF2-40B4-BE49-F238E27FC236}">
                <a16:creationId xmlns="" xmlns:a16="http://schemas.microsoft.com/office/drawing/2014/main" id="{78815F79-70B9-A343-88C1-1B41F15106A1}"/>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3298"/>
            <a:fld id="{E9B57936-92EF-4126-AE48-1D9D36D15E98}" type="slidenum">
              <a:rPr lang="ja-JP" altLang="en-US" smtClean="0">
                <a:solidFill>
                  <a:srgbClr val="34373F"/>
                </a:solidFill>
              </a:rPr>
              <a:pPr defTabSz="913298"/>
              <a:t>‹Nº›</a:t>
            </a:fld>
            <a:endParaRPr lang="ja-JP" altLang="en-US">
              <a:solidFill>
                <a:srgbClr val="34373F"/>
              </a:solidFill>
            </a:endParaRPr>
          </a:p>
        </p:txBody>
      </p:sp>
      <p:sp>
        <p:nvSpPr>
          <p:cNvPr id="26" name="Text Placeholder 6">
            <a:extLst>
              <a:ext uri="{FF2B5EF4-FFF2-40B4-BE49-F238E27FC236}">
                <a16:creationId xmlns="" xmlns:a16="http://schemas.microsoft.com/office/drawing/2014/main" id="{6ACFB15D-3880-FB46-8B5A-E057FE4C9B56}"/>
              </a:ext>
            </a:extLst>
          </p:cNvPr>
          <p:cNvSpPr>
            <a:spLocks noGrp="1"/>
          </p:cNvSpPr>
          <p:nvPr>
            <p:ph type="body" sz="quarter" idx="16" hasCustomPrompt="1"/>
          </p:nvPr>
        </p:nvSpPr>
        <p:spPr>
          <a:xfrm>
            <a:off x="454559" y="4892253"/>
            <a:ext cx="5226261" cy="154210"/>
          </a:xfrm>
          <a:prstGeom prst="rect">
            <a:avLst/>
          </a:prstGeom>
        </p:spPr>
        <p:txBody>
          <a:bodyPr wrap="none" tIns="0" rIns="0" bIns="53964" numCol="1" anchor="ctr">
            <a:noAutofit/>
          </a:bodyPr>
          <a:lstStyle>
            <a:lvl1pPr marL="0" indent="0">
              <a:lnSpc>
                <a:spcPts val="1200"/>
              </a:lnSpc>
              <a:spcBef>
                <a:spcPts val="0"/>
              </a:spcBef>
              <a:spcAft>
                <a:spcPts val="450"/>
              </a:spcAft>
              <a:buFont typeface="Arial" panose="020B0604020202020204" pitchFamily="34" charset="0"/>
              <a:buNone/>
              <a:defRPr sz="600" b="0">
                <a:solidFill>
                  <a:schemeClr val="accent3"/>
                </a:solidFill>
              </a:defRPr>
            </a:lvl1pPr>
            <a:lvl2pPr marL="342479" indent="0">
              <a:lnSpc>
                <a:spcPts val="1350"/>
              </a:lnSpc>
              <a:spcBef>
                <a:spcPts val="0"/>
              </a:spcBef>
              <a:buNone/>
              <a:defRPr sz="1100"/>
            </a:lvl2pPr>
            <a:lvl3pPr marL="685000" indent="0">
              <a:lnSpc>
                <a:spcPts val="1350"/>
              </a:lnSpc>
              <a:spcBef>
                <a:spcPts val="0"/>
              </a:spcBef>
              <a:buNone/>
              <a:defRPr sz="1100"/>
            </a:lvl3pPr>
            <a:lvl4pPr marL="1027496" indent="0">
              <a:lnSpc>
                <a:spcPts val="1350"/>
              </a:lnSpc>
              <a:spcBef>
                <a:spcPts val="0"/>
              </a:spcBef>
              <a:buNone/>
              <a:defRPr sz="1100"/>
            </a:lvl4pPr>
            <a:lvl5pPr marL="1369994" indent="0">
              <a:lnSpc>
                <a:spcPts val="1350"/>
              </a:lnSpc>
              <a:spcBef>
                <a:spcPts val="0"/>
              </a:spcBef>
              <a:buNone/>
              <a:defRPr sz="1100"/>
            </a:lvl5pPr>
          </a:lstStyle>
          <a:p>
            <a:pPr lvl="0"/>
            <a:r>
              <a:rPr lang="en-US"/>
              <a:t>Private and confidential. For internal use only.</a:t>
            </a:r>
          </a:p>
        </p:txBody>
      </p:sp>
      <p:sp>
        <p:nvSpPr>
          <p:cNvPr id="17" name="Text Placeholder 2">
            <a:extLst>
              <a:ext uri="{FF2B5EF4-FFF2-40B4-BE49-F238E27FC236}">
                <a16:creationId xmlns="" xmlns:a16="http://schemas.microsoft.com/office/drawing/2014/main" id="{EF3CD883-F623-E54C-A27A-38B7EB957052}"/>
              </a:ext>
            </a:extLst>
          </p:cNvPr>
          <p:cNvSpPr>
            <a:spLocks noGrp="1"/>
          </p:cNvSpPr>
          <p:nvPr>
            <p:ph type="body" sz="quarter" idx="20" hasCustomPrompt="1"/>
          </p:nvPr>
        </p:nvSpPr>
        <p:spPr>
          <a:xfrm>
            <a:off x="233363" y="1118532"/>
            <a:ext cx="2813974" cy="1098718"/>
          </a:xfrm>
        </p:spPr>
        <p:txBody>
          <a:bodyPr tIns="0" rIns="0" bIns="0" numCol="1" spcCol="94428">
            <a:noAutofit/>
          </a:bodyPr>
          <a:lstStyle>
            <a:lvl1pPr marL="0" indent="0">
              <a:lnSpc>
                <a:spcPct val="100000"/>
              </a:lnSpc>
              <a:spcBef>
                <a:spcPts val="0"/>
              </a:spcBef>
              <a:buNone/>
              <a:defRPr sz="1200" b="1"/>
            </a:lvl1pPr>
            <a:lvl2pPr marL="342479" indent="0">
              <a:buNone/>
              <a:defRPr sz="1400" b="1"/>
            </a:lvl2pPr>
            <a:lvl3pPr marL="685000" indent="0">
              <a:buNone/>
              <a:defRPr sz="1400" b="1"/>
            </a:lvl3pPr>
            <a:lvl4pPr marL="1027496" indent="0">
              <a:buNone/>
              <a:defRPr sz="1400" b="1"/>
            </a:lvl4pPr>
            <a:lvl5pPr marL="1369994" indent="0">
              <a:buNone/>
              <a:defRPr sz="1400" b="1"/>
            </a:lvl5pPr>
          </a:lstStyle>
          <a:p>
            <a:pPr lvl="0"/>
            <a:r>
              <a:rPr lang="en-US"/>
              <a:t>This is your Primary Text.</a:t>
            </a:r>
            <a:endParaRPr lang="x-none"/>
          </a:p>
        </p:txBody>
      </p:sp>
      <p:sp>
        <p:nvSpPr>
          <p:cNvPr id="18" name="Text Placeholder 6">
            <a:extLst>
              <a:ext uri="{FF2B5EF4-FFF2-40B4-BE49-F238E27FC236}">
                <a16:creationId xmlns="" xmlns:a16="http://schemas.microsoft.com/office/drawing/2014/main" id="{B2D601E3-CC68-7845-AAF4-3AD141198B4E}"/>
              </a:ext>
            </a:extLst>
          </p:cNvPr>
          <p:cNvSpPr>
            <a:spLocks noGrp="1"/>
          </p:cNvSpPr>
          <p:nvPr>
            <p:ph type="body" sz="quarter" idx="21" hasCustomPrompt="1"/>
          </p:nvPr>
        </p:nvSpPr>
        <p:spPr>
          <a:xfrm>
            <a:off x="233363" y="820327"/>
            <a:ext cx="2813974" cy="204590"/>
          </a:xfrm>
        </p:spPr>
        <p:txBody>
          <a:bodyPr tIns="0" rIns="0" bIns="0" numCol="1">
            <a:noAutofit/>
          </a:bodyPr>
          <a:lstStyle>
            <a:lvl1pPr marL="0" indent="0">
              <a:lnSpc>
                <a:spcPct val="100000"/>
              </a:lnSpc>
              <a:spcBef>
                <a:spcPts val="0"/>
              </a:spcBef>
              <a:spcAft>
                <a:spcPts val="450"/>
              </a:spcAft>
              <a:buNone/>
              <a:defRPr sz="1500" b="1">
                <a:solidFill>
                  <a:schemeClr val="accent1"/>
                </a:solidFill>
              </a:defRPr>
            </a:lvl1pPr>
            <a:lvl2pPr marL="342479" indent="0">
              <a:lnSpc>
                <a:spcPts val="1350"/>
              </a:lnSpc>
              <a:spcBef>
                <a:spcPts val="0"/>
              </a:spcBef>
              <a:buNone/>
              <a:defRPr sz="1100"/>
            </a:lvl2pPr>
            <a:lvl3pPr marL="685000" indent="0">
              <a:lnSpc>
                <a:spcPts val="1350"/>
              </a:lnSpc>
              <a:spcBef>
                <a:spcPts val="0"/>
              </a:spcBef>
              <a:buNone/>
              <a:defRPr sz="1100"/>
            </a:lvl3pPr>
            <a:lvl4pPr marL="1027496" indent="0">
              <a:lnSpc>
                <a:spcPts val="1350"/>
              </a:lnSpc>
              <a:spcBef>
                <a:spcPts val="0"/>
              </a:spcBef>
              <a:buNone/>
              <a:defRPr sz="1100"/>
            </a:lvl4pPr>
            <a:lvl5pPr marL="1369994" indent="0">
              <a:lnSpc>
                <a:spcPts val="1350"/>
              </a:lnSpc>
              <a:spcBef>
                <a:spcPts val="0"/>
              </a:spcBef>
              <a:buNone/>
              <a:defRPr sz="1100"/>
            </a:lvl5pPr>
          </a:lstStyle>
          <a:p>
            <a:pPr lvl="0"/>
            <a:r>
              <a:rPr lang="en-US"/>
              <a:t>This is your Primary Title</a:t>
            </a:r>
          </a:p>
        </p:txBody>
      </p:sp>
    </p:spTree>
    <p:extLst>
      <p:ext uri="{BB962C8B-B14F-4D97-AF65-F5344CB8AC3E}">
        <p14:creationId xmlns:p14="http://schemas.microsoft.com/office/powerpoint/2010/main" val="3813147453"/>
      </p:ext>
    </p:extLst>
  </p:cSld>
  <p:clrMapOvr>
    <a:masterClrMapping/>
  </p:clrMapOvr>
  <p:transition spd="slow">
    <p:push dir="u"/>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629400" y="205983"/>
            <a:ext cx="2057400" cy="4388644"/>
          </a:xfrm>
        </p:spPr>
        <p:txBody>
          <a:bodyPr vert="eaVert"/>
          <a:lstStyle/>
          <a:p>
            <a:r>
              <a:rPr lang="es-ES"/>
              <a:t>Haga clic para modificar el estilo de título del patrón</a:t>
            </a:r>
          </a:p>
        </p:txBody>
      </p:sp>
      <p:sp>
        <p:nvSpPr>
          <p:cNvPr id="3" name="2 Marcador de texto vertical"/>
          <p:cNvSpPr>
            <a:spLocks noGrp="1"/>
          </p:cNvSpPr>
          <p:nvPr>
            <p:ph type="body" orient="vert" idx="1"/>
          </p:nvPr>
        </p:nvSpPr>
        <p:spPr>
          <a:xfrm>
            <a:off x="457200" y="205983"/>
            <a:ext cx="6019800" cy="4388644"/>
          </a:xfrm>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fecha"/>
          <p:cNvSpPr>
            <a:spLocks noGrp="1"/>
          </p:cNvSpPr>
          <p:nvPr>
            <p:ph type="dt" sz="half" idx="10"/>
          </p:nvPr>
        </p:nvSpPr>
        <p:spPr>
          <a:xfrm>
            <a:off x="457201" y="4767357"/>
            <a:ext cx="2133600" cy="273844"/>
          </a:xfrm>
          <a:prstGeom prst="rect">
            <a:avLst/>
          </a:prstGeom>
        </p:spPr>
        <p:txBody>
          <a:bodyPr lIns="89953" tIns="44976" rIns="89953" bIns="44976"/>
          <a:lstStyle>
            <a:lvl1pPr>
              <a:defRPr b="1"/>
            </a:lvl1pPr>
          </a:lstStyle>
          <a:p>
            <a:pPr defTabSz="897136">
              <a:defRPr/>
            </a:pPr>
            <a:fld id="{92D4531A-93F6-46E7-95FD-55A15B0A4327}" type="datetimeFigureOut">
              <a:rPr lang="es-ES">
                <a:solidFill>
                  <a:prstClr val="black"/>
                </a:solidFill>
              </a:rPr>
              <a:pPr defTabSz="897136">
                <a:defRPr/>
              </a:pPr>
              <a:t>07/08/2024</a:t>
            </a:fld>
            <a:endParaRPr lang="es-ES">
              <a:solidFill>
                <a:prstClr val="black"/>
              </a:solidFill>
            </a:endParaRPr>
          </a:p>
        </p:txBody>
      </p:sp>
      <p:sp>
        <p:nvSpPr>
          <p:cNvPr id="5" name="4 Marcador de pie de página"/>
          <p:cNvSpPr>
            <a:spLocks noGrp="1"/>
          </p:cNvSpPr>
          <p:nvPr>
            <p:ph type="ftr" sz="quarter" idx="11"/>
          </p:nvPr>
        </p:nvSpPr>
        <p:spPr/>
        <p:txBody>
          <a:bodyPr/>
          <a:lstStyle>
            <a:lvl1pPr>
              <a:defRPr b="1"/>
            </a:lvl1pPr>
          </a:lstStyle>
          <a:p>
            <a:pPr>
              <a:defRPr/>
            </a:pPr>
            <a:endParaRPr lang="es-ES"/>
          </a:p>
        </p:txBody>
      </p:sp>
      <p:sp>
        <p:nvSpPr>
          <p:cNvPr id="6" name="5 Marcador de número de diapositiva"/>
          <p:cNvSpPr>
            <a:spLocks noGrp="1"/>
          </p:cNvSpPr>
          <p:nvPr>
            <p:ph type="sldNum" sz="quarter" idx="12"/>
          </p:nvPr>
        </p:nvSpPr>
        <p:spPr/>
        <p:txBody>
          <a:bodyPr/>
          <a:lstStyle>
            <a:lvl1pPr>
              <a:defRPr b="1"/>
            </a:lvl1pPr>
          </a:lstStyle>
          <a:p>
            <a:pPr>
              <a:defRPr/>
            </a:pPr>
            <a:fld id="{2377CA2C-EDB0-4929-9301-5C5E4E04D91A}" type="slidenum">
              <a:rPr lang="es-ES"/>
              <a:pPr>
                <a:defRPr/>
              </a:pPr>
              <a:t>‹Nº›</a:t>
            </a:fld>
            <a:endParaRPr lang="es-ES"/>
          </a:p>
        </p:txBody>
      </p:sp>
    </p:spTree>
    <p:extLst>
      <p:ext uri="{BB962C8B-B14F-4D97-AF65-F5344CB8AC3E}">
        <p14:creationId xmlns:p14="http://schemas.microsoft.com/office/powerpoint/2010/main" val="2494754934"/>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Advanced 1/2 Image (Full Bleed)">
    <p:spTree>
      <p:nvGrpSpPr>
        <p:cNvPr id="1" name=""/>
        <p:cNvGrpSpPr/>
        <p:nvPr/>
      </p:nvGrpSpPr>
      <p:grpSpPr>
        <a:xfrm>
          <a:off x="0" y="0"/>
          <a:ext cx="0" cy="0"/>
          <a:chOff x="0" y="0"/>
          <a:chExt cx="0" cy="0"/>
        </a:xfrm>
      </p:grpSpPr>
      <p:sp>
        <p:nvSpPr>
          <p:cNvPr id="13" name="Picture Placeholder 9">
            <a:extLst>
              <a:ext uri="{FF2B5EF4-FFF2-40B4-BE49-F238E27FC236}">
                <a16:creationId xmlns="" xmlns:a16="http://schemas.microsoft.com/office/drawing/2014/main" id="{DA0F537B-2380-C640-8119-936AD7786464}"/>
              </a:ext>
            </a:extLst>
          </p:cNvPr>
          <p:cNvSpPr>
            <a:spLocks noGrp="1"/>
          </p:cNvSpPr>
          <p:nvPr>
            <p:ph type="pic" sz="quarter" idx="18" hasCustomPrompt="1"/>
          </p:nvPr>
        </p:nvSpPr>
        <p:spPr>
          <a:xfrm>
            <a:off x="4639091" y="-4119"/>
            <a:ext cx="4518288" cy="5147621"/>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4384"/>
              <a:gd name="connsiteY0" fmla="*/ 0 h 6857810"/>
              <a:gd name="connsiteX1" fmla="*/ 6015601 w 6024384"/>
              <a:gd name="connsiteY1" fmla="*/ 1730351 h 6857810"/>
              <a:gd name="connsiteX2" fmla="*/ 6024384 w 6024384"/>
              <a:gd name="connsiteY2" fmla="*/ 6857810 h 6857810"/>
              <a:gd name="connsiteX3" fmla="*/ 583404 w 6024384"/>
              <a:gd name="connsiteY3" fmla="*/ 6847589 h 6857810"/>
              <a:gd name="connsiteX4" fmla="*/ 3682 w 6024384"/>
              <a:gd name="connsiteY4" fmla="*/ 6267867 h 6857810"/>
              <a:gd name="connsiteX5" fmla="*/ 0 w 6024384"/>
              <a:gd name="connsiteY5" fmla="*/ 0 h 6857810"/>
              <a:gd name="connsiteX0" fmla="*/ 0 w 6024384"/>
              <a:gd name="connsiteY0" fmla="*/ 5684 h 6863494"/>
              <a:gd name="connsiteX1" fmla="*/ 6002349 w 6024384"/>
              <a:gd name="connsiteY1" fmla="*/ 0 h 6863494"/>
              <a:gd name="connsiteX2" fmla="*/ 6024384 w 6024384"/>
              <a:gd name="connsiteY2" fmla="*/ 6863494 h 6863494"/>
              <a:gd name="connsiteX3" fmla="*/ 583404 w 6024384"/>
              <a:gd name="connsiteY3" fmla="*/ 6853273 h 6863494"/>
              <a:gd name="connsiteX4" fmla="*/ 3682 w 6024384"/>
              <a:gd name="connsiteY4" fmla="*/ 6273551 h 6863494"/>
              <a:gd name="connsiteX5" fmla="*/ 0 w 6024384"/>
              <a:gd name="connsiteY5" fmla="*/ 5684 h 6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24384" h="6863494">
                <a:moveTo>
                  <a:pt x="0" y="5684"/>
                </a:moveTo>
                <a:lnTo>
                  <a:pt x="6002349" y="0"/>
                </a:lnTo>
                <a:cubicBezTo>
                  <a:pt x="6003254" y="2146807"/>
                  <a:pt x="6023479" y="4716687"/>
                  <a:pt x="6024384" y="6863494"/>
                </a:cubicBezTo>
                <a:lnTo>
                  <a:pt x="583404" y="6853273"/>
                </a:lnTo>
                <a:cubicBezTo>
                  <a:pt x="263232" y="6853273"/>
                  <a:pt x="3682" y="6593723"/>
                  <a:pt x="3682" y="6273551"/>
                </a:cubicBezTo>
                <a:cubicBezTo>
                  <a:pt x="-1963" y="4751114"/>
                  <a:pt x="5645" y="1528121"/>
                  <a:pt x="0" y="5684"/>
                </a:cubicBezTo>
                <a:close/>
              </a:path>
            </a:pathLst>
          </a:custGeom>
          <a:noFill/>
        </p:spPr>
        <p:txBody>
          <a:bodyPr>
            <a:normAutofit/>
          </a:bodyPr>
          <a:lstStyle>
            <a:lvl1pPr marL="0" indent="0">
              <a:buNone/>
              <a:defRPr sz="1100">
                <a:solidFill>
                  <a:schemeClr val="tx1"/>
                </a:solidFill>
              </a:defRPr>
            </a:lvl1pPr>
          </a:lstStyle>
          <a:p>
            <a:r>
              <a:rPr lang="x-none"/>
              <a:t>Insert Photo</a:t>
            </a:r>
          </a:p>
        </p:txBody>
      </p:sp>
      <p:sp>
        <p:nvSpPr>
          <p:cNvPr id="7" name="Text Placeholder 6">
            <a:extLst>
              <a:ext uri="{FF2B5EF4-FFF2-40B4-BE49-F238E27FC236}">
                <a16:creationId xmlns="" xmlns:a16="http://schemas.microsoft.com/office/drawing/2014/main" id="{65925D82-457F-D84D-B8DF-D8ADFD7E71DF}"/>
              </a:ext>
            </a:extLst>
          </p:cNvPr>
          <p:cNvSpPr>
            <a:spLocks noGrp="1"/>
          </p:cNvSpPr>
          <p:nvPr>
            <p:ph type="body" sz="quarter" idx="14" hasCustomPrompt="1"/>
          </p:nvPr>
        </p:nvSpPr>
        <p:spPr>
          <a:xfrm>
            <a:off x="233362" y="2383723"/>
            <a:ext cx="4281488" cy="204590"/>
          </a:xfrm>
          <a:prstGeom prst="rect">
            <a:avLst/>
          </a:prstGeom>
        </p:spPr>
        <p:txBody>
          <a:bodyPr tIns="0" rIns="0" bIns="0" numCol="1">
            <a:noAutofit/>
          </a:bodyPr>
          <a:lstStyle>
            <a:lvl1pPr marL="0" indent="0">
              <a:lnSpc>
                <a:spcPct val="100000"/>
              </a:lnSpc>
              <a:spcBef>
                <a:spcPts val="0"/>
              </a:spcBef>
              <a:spcAft>
                <a:spcPts val="450"/>
              </a:spcAft>
              <a:buNone/>
              <a:defRPr sz="1400" b="1">
                <a:solidFill>
                  <a:schemeClr val="accent1"/>
                </a:solidFill>
              </a:defRPr>
            </a:lvl1pPr>
            <a:lvl2pPr marL="342479" indent="0">
              <a:lnSpc>
                <a:spcPts val="1350"/>
              </a:lnSpc>
              <a:spcBef>
                <a:spcPts val="0"/>
              </a:spcBef>
              <a:buNone/>
              <a:defRPr sz="1100"/>
            </a:lvl2pPr>
            <a:lvl3pPr marL="685000" indent="0">
              <a:lnSpc>
                <a:spcPts val="1350"/>
              </a:lnSpc>
              <a:spcBef>
                <a:spcPts val="0"/>
              </a:spcBef>
              <a:buNone/>
              <a:defRPr sz="1100"/>
            </a:lvl3pPr>
            <a:lvl4pPr marL="1027496" indent="0">
              <a:lnSpc>
                <a:spcPts val="1350"/>
              </a:lnSpc>
              <a:spcBef>
                <a:spcPts val="0"/>
              </a:spcBef>
              <a:buNone/>
              <a:defRPr sz="1100"/>
            </a:lvl4pPr>
            <a:lvl5pPr marL="1369994" indent="0">
              <a:lnSpc>
                <a:spcPts val="1350"/>
              </a:lnSpc>
              <a:spcBef>
                <a:spcPts val="0"/>
              </a:spcBef>
              <a:buNone/>
              <a:defRPr sz="1100"/>
            </a:lvl5pPr>
          </a:lstStyle>
          <a:p>
            <a:pPr lvl="0"/>
            <a:r>
              <a:rPr lang="en-US"/>
              <a:t>This is your Secondary Title</a:t>
            </a:r>
          </a:p>
        </p:txBody>
      </p:sp>
      <p:sp>
        <p:nvSpPr>
          <p:cNvPr id="12" name="Text Placeholder 6">
            <a:extLst>
              <a:ext uri="{FF2B5EF4-FFF2-40B4-BE49-F238E27FC236}">
                <a16:creationId xmlns="" xmlns:a16="http://schemas.microsoft.com/office/drawing/2014/main" id="{FD2406EE-A554-5348-AE6D-4D8B343E6201}"/>
              </a:ext>
            </a:extLst>
          </p:cNvPr>
          <p:cNvSpPr>
            <a:spLocks noGrp="1"/>
          </p:cNvSpPr>
          <p:nvPr>
            <p:ph type="body" sz="quarter" idx="15" hasCustomPrompt="1"/>
          </p:nvPr>
        </p:nvSpPr>
        <p:spPr>
          <a:xfrm>
            <a:off x="233362" y="2681930"/>
            <a:ext cx="4281488" cy="2144715"/>
          </a:xfrm>
          <a:prstGeom prst="rect">
            <a:avLst/>
          </a:prstGeom>
        </p:spPr>
        <p:txBody>
          <a:bodyPr tIns="0" rIns="0" bIns="0" numCol="1">
            <a:noAutofit/>
          </a:bodyPr>
          <a:lstStyle>
            <a:lvl1pPr marL="128480" indent="-128480">
              <a:lnSpc>
                <a:spcPct val="100000"/>
              </a:lnSpc>
              <a:spcBef>
                <a:spcPts val="0"/>
              </a:spcBef>
              <a:spcAft>
                <a:spcPts val="450"/>
              </a:spcAft>
              <a:buFont typeface="Arial" panose="020B0604020202020204" pitchFamily="34" charset="0"/>
              <a:buChar char="•"/>
              <a:defRPr sz="1100" b="0">
                <a:solidFill>
                  <a:schemeClr val="tx1"/>
                </a:solidFill>
              </a:defRPr>
            </a:lvl1pPr>
            <a:lvl2pPr marL="342479" indent="0">
              <a:lnSpc>
                <a:spcPts val="1350"/>
              </a:lnSpc>
              <a:spcBef>
                <a:spcPts val="0"/>
              </a:spcBef>
              <a:buNone/>
              <a:defRPr sz="1100"/>
            </a:lvl2pPr>
            <a:lvl3pPr marL="685000" indent="0">
              <a:lnSpc>
                <a:spcPts val="1350"/>
              </a:lnSpc>
              <a:spcBef>
                <a:spcPts val="0"/>
              </a:spcBef>
              <a:buNone/>
              <a:defRPr sz="1100"/>
            </a:lvl3pPr>
            <a:lvl4pPr marL="1027496" indent="0">
              <a:lnSpc>
                <a:spcPts val="1350"/>
              </a:lnSpc>
              <a:spcBef>
                <a:spcPts val="0"/>
              </a:spcBef>
              <a:buNone/>
              <a:defRPr sz="1100"/>
            </a:lvl4pPr>
            <a:lvl5pPr marL="1369994" indent="0">
              <a:lnSpc>
                <a:spcPts val="1350"/>
              </a:lnSpc>
              <a:spcBef>
                <a:spcPts val="0"/>
              </a:spcBef>
              <a:buNone/>
              <a:defRPr sz="1100"/>
            </a:lvl5pPr>
          </a:lstStyle>
          <a:p>
            <a:pPr lvl="0"/>
            <a:r>
              <a:rPr lang="en-US"/>
              <a:t>This is your Secondary text. </a:t>
            </a:r>
          </a:p>
        </p:txBody>
      </p:sp>
      <p:sp>
        <p:nvSpPr>
          <p:cNvPr id="17" name="タイトル プレースホルダ 1">
            <a:extLst>
              <a:ext uri="{FF2B5EF4-FFF2-40B4-BE49-F238E27FC236}">
                <a16:creationId xmlns="" xmlns:a16="http://schemas.microsoft.com/office/drawing/2014/main" id="{86D6FEA8-06E4-474A-8491-CD1DDAE7D0D7}"/>
              </a:ext>
            </a:extLst>
          </p:cNvPr>
          <p:cNvSpPr>
            <a:spLocks noGrp="1"/>
          </p:cNvSpPr>
          <p:nvPr>
            <p:ph type="title" hasCustomPrompt="1"/>
          </p:nvPr>
        </p:nvSpPr>
        <p:spPr>
          <a:xfrm>
            <a:off x="454559" y="121208"/>
            <a:ext cx="4060292" cy="51435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 xmlns:a16="http://schemas.microsoft.com/office/drawing/2014/main" id="{CEDBCF76-3461-2245-8BB1-FA50AE27F6CA}"/>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26" tIns="34289" rIns="68526" bIns="34289" rtlCol="0" anchor="ctr"/>
          <a:lstStyle/>
          <a:p>
            <a:pPr algn="ctr" defTabSz="685188"/>
            <a:endParaRPr kumimoji="1" lang="x-none" sz="1400">
              <a:solidFill>
                <a:srgbClr val="E1242A"/>
              </a:solidFill>
            </a:endParaRPr>
          </a:p>
        </p:txBody>
      </p:sp>
      <p:sp>
        <p:nvSpPr>
          <p:cNvPr id="22" name="スライド番号プレースホルダ 5">
            <a:extLst>
              <a:ext uri="{FF2B5EF4-FFF2-40B4-BE49-F238E27FC236}">
                <a16:creationId xmlns="" xmlns:a16="http://schemas.microsoft.com/office/drawing/2014/main" id="{FB98B4FE-9AC1-D142-89B5-4D3791685BC1}"/>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3298"/>
            <a:fld id="{E9B57936-92EF-4126-AE48-1D9D36D15E98}" type="slidenum">
              <a:rPr lang="ja-JP" altLang="en-US" smtClean="0">
                <a:solidFill>
                  <a:srgbClr val="34373F"/>
                </a:solidFill>
              </a:rPr>
              <a:pPr defTabSz="913298"/>
              <a:t>‹Nº›</a:t>
            </a:fld>
            <a:endParaRPr lang="ja-JP" altLang="en-US">
              <a:solidFill>
                <a:srgbClr val="34373F"/>
              </a:solidFill>
            </a:endParaRPr>
          </a:p>
        </p:txBody>
      </p:sp>
      <p:sp>
        <p:nvSpPr>
          <p:cNvPr id="23" name="Text Placeholder 6">
            <a:extLst>
              <a:ext uri="{FF2B5EF4-FFF2-40B4-BE49-F238E27FC236}">
                <a16:creationId xmlns="" xmlns:a16="http://schemas.microsoft.com/office/drawing/2014/main" id="{7D5A74AA-F0D3-9243-967D-FEA6F7A20BC7}"/>
              </a:ext>
            </a:extLst>
          </p:cNvPr>
          <p:cNvSpPr>
            <a:spLocks noGrp="1"/>
          </p:cNvSpPr>
          <p:nvPr>
            <p:ph type="body" sz="quarter" idx="16" hasCustomPrompt="1"/>
          </p:nvPr>
        </p:nvSpPr>
        <p:spPr>
          <a:xfrm>
            <a:off x="454558" y="4892253"/>
            <a:ext cx="4060292" cy="154210"/>
          </a:xfrm>
          <a:prstGeom prst="rect">
            <a:avLst/>
          </a:prstGeom>
        </p:spPr>
        <p:txBody>
          <a:bodyPr wrap="none" tIns="0" rIns="0" bIns="53964" numCol="1" anchor="ctr">
            <a:noAutofit/>
          </a:bodyPr>
          <a:lstStyle>
            <a:lvl1pPr marL="0" indent="0">
              <a:lnSpc>
                <a:spcPts val="1200"/>
              </a:lnSpc>
              <a:spcBef>
                <a:spcPts val="0"/>
              </a:spcBef>
              <a:spcAft>
                <a:spcPts val="450"/>
              </a:spcAft>
              <a:buFont typeface="Arial" panose="020B0604020202020204" pitchFamily="34" charset="0"/>
              <a:buNone/>
              <a:defRPr sz="600" b="0">
                <a:solidFill>
                  <a:schemeClr val="accent3"/>
                </a:solidFill>
              </a:defRPr>
            </a:lvl1pPr>
            <a:lvl2pPr marL="342479" indent="0">
              <a:lnSpc>
                <a:spcPts val="1350"/>
              </a:lnSpc>
              <a:spcBef>
                <a:spcPts val="0"/>
              </a:spcBef>
              <a:buNone/>
              <a:defRPr sz="1100"/>
            </a:lvl2pPr>
            <a:lvl3pPr marL="685000" indent="0">
              <a:lnSpc>
                <a:spcPts val="1350"/>
              </a:lnSpc>
              <a:spcBef>
                <a:spcPts val="0"/>
              </a:spcBef>
              <a:buNone/>
              <a:defRPr sz="1100"/>
            </a:lvl3pPr>
            <a:lvl4pPr marL="1027496" indent="0">
              <a:lnSpc>
                <a:spcPts val="1350"/>
              </a:lnSpc>
              <a:spcBef>
                <a:spcPts val="0"/>
              </a:spcBef>
              <a:buNone/>
              <a:defRPr sz="1100"/>
            </a:lvl4pPr>
            <a:lvl5pPr marL="1369994" indent="0">
              <a:lnSpc>
                <a:spcPts val="1350"/>
              </a:lnSpc>
              <a:spcBef>
                <a:spcPts val="0"/>
              </a:spcBef>
              <a:buNone/>
              <a:defRPr sz="1100"/>
            </a:lvl5pPr>
          </a:lstStyle>
          <a:p>
            <a:pPr lvl="0"/>
            <a:r>
              <a:rPr lang="en-US"/>
              <a:t>Private and confidential. For internal use only.</a:t>
            </a:r>
          </a:p>
        </p:txBody>
      </p:sp>
      <p:sp>
        <p:nvSpPr>
          <p:cNvPr id="19" name="Text Placeholder 2">
            <a:extLst>
              <a:ext uri="{FF2B5EF4-FFF2-40B4-BE49-F238E27FC236}">
                <a16:creationId xmlns="" xmlns:a16="http://schemas.microsoft.com/office/drawing/2014/main" id="{D16C870C-B0F9-5A43-81FD-66BD75CC33C7}"/>
              </a:ext>
            </a:extLst>
          </p:cNvPr>
          <p:cNvSpPr>
            <a:spLocks noGrp="1"/>
          </p:cNvSpPr>
          <p:nvPr>
            <p:ph type="body" sz="quarter" idx="20" hasCustomPrompt="1"/>
          </p:nvPr>
        </p:nvSpPr>
        <p:spPr>
          <a:xfrm>
            <a:off x="233367" y="1118532"/>
            <a:ext cx="4278665" cy="1098718"/>
          </a:xfrm>
        </p:spPr>
        <p:txBody>
          <a:bodyPr tIns="0" rIns="0" bIns="0" numCol="1" spcCol="94428">
            <a:noAutofit/>
          </a:bodyPr>
          <a:lstStyle>
            <a:lvl1pPr marL="0" indent="0">
              <a:lnSpc>
                <a:spcPct val="100000"/>
              </a:lnSpc>
              <a:spcBef>
                <a:spcPts val="0"/>
              </a:spcBef>
              <a:buNone/>
              <a:defRPr sz="1200" b="1"/>
            </a:lvl1pPr>
            <a:lvl2pPr marL="342479" indent="0">
              <a:buNone/>
              <a:defRPr sz="1400" b="1"/>
            </a:lvl2pPr>
            <a:lvl3pPr marL="685000" indent="0">
              <a:buNone/>
              <a:defRPr sz="1400" b="1"/>
            </a:lvl3pPr>
            <a:lvl4pPr marL="1027496" indent="0">
              <a:buNone/>
              <a:defRPr sz="1400" b="1"/>
            </a:lvl4pPr>
            <a:lvl5pPr marL="1369994" indent="0">
              <a:buNone/>
              <a:defRPr sz="1400" b="1"/>
            </a:lvl5pPr>
          </a:lstStyle>
          <a:p>
            <a:pPr lvl="0"/>
            <a:r>
              <a:rPr lang="en-US"/>
              <a:t>This is your Primary Text.</a:t>
            </a:r>
            <a:endParaRPr lang="x-none"/>
          </a:p>
        </p:txBody>
      </p:sp>
      <p:sp>
        <p:nvSpPr>
          <p:cNvPr id="20" name="Text Placeholder 6">
            <a:extLst>
              <a:ext uri="{FF2B5EF4-FFF2-40B4-BE49-F238E27FC236}">
                <a16:creationId xmlns="" xmlns:a16="http://schemas.microsoft.com/office/drawing/2014/main" id="{C64E591A-1A88-9244-AC81-5B42BFE347C0}"/>
              </a:ext>
            </a:extLst>
          </p:cNvPr>
          <p:cNvSpPr>
            <a:spLocks noGrp="1"/>
          </p:cNvSpPr>
          <p:nvPr>
            <p:ph type="body" sz="quarter" idx="21" hasCustomPrompt="1"/>
          </p:nvPr>
        </p:nvSpPr>
        <p:spPr>
          <a:xfrm>
            <a:off x="233367" y="820327"/>
            <a:ext cx="4278665" cy="204590"/>
          </a:xfrm>
        </p:spPr>
        <p:txBody>
          <a:bodyPr tIns="0" rIns="0" bIns="0" numCol="1">
            <a:noAutofit/>
          </a:bodyPr>
          <a:lstStyle>
            <a:lvl1pPr marL="0" indent="0">
              <a:lnSpc>
                <a:spcPct val="100000"/>
              </a:lnSpc>
              <a:spcBef>
                <a:spcPts val="0"/>
              </a:spcBef>
              <a:spcAft>
                <a:spcPts val="450"/>
              </a:spcAft>
              <a:buNone/>
              <a:defRPr sz="1500" b="1">
                <a:solidFill>
                  <a:schemeClr val="accent1"/>
                </a:solidFill>
              </a:defRPr>
            </a:lvl1pPr>
            <a:lvl2pPr marL="342479" indent="0">
              <a:lnSpc>
                <a:spcPts val="1350"/>
              </a:lnSpc>
              <a:spcBef>
                <a:spcPts val="0"/>
              </a:spcBef>
              <a:buNone/>
              <a:defRPr sz="1100"/>
            </a:lvl2pPr>
            <a:lvl3pPr marL="685000" indent="0">
              <a:lnSpc>
                <a:spcPts val="1350"/>
              </a:lnSpc>
              <a:spcBef>
                <a:spcPts val="0"/>
              </a:spcBef>
              <a:buNone/>
              <a:defRPr sz="1100"/>
            </a:lvl3pPr>
            <a:lvl4pPr marL="1027496" indent="0">
              <a:lnSpc>
                <a:spcPts val="1350"/>
              </a:lnSpc>
              <a:spcBef>
                <a:spcPts val="0"/>
              </a:spcBef>
              <a:buNone/>
              <a:defRPr sz="1100"/>
            </a:lvl4pPr>
            <a:lvl5pPr marL="1369994" indent="0">
              <a:lnSpc>
                <a:spcPts val="1350"/>
              </a:lnSpc>
              <a:spcBef>
                <a:spcPts val="0"/>
              </a:spcBef>
              <a:buNone/>
              <a:defRPr sz="1100"/>
            </a:lvl5pPr>
          </a:lstStyle>
          <a:p>
            <a:pPr lvl="0"/>
            <a:r>
              <a:rPr lang="en-US"/>
              <a:t>This is your Primary Title</a:t>
            </a:r>
          </a:p>
        </p:txBody>
      </p:sp>
    </p:spTree>
    <p:extLst>
      <p:ext uri="{BB962C8B-B14F-4D97-AF65-F5344CB8AC3E}">
        <p14:creationId xmlns:p14="http://schemas.microsoft.com/office/powerpoint/2010/main" val="1420716373"/>
      </p:ext>
    </p:extLst>
  </p:cSld>
  <p:clrMapOvr>
    <a:masterClrMapping/>
  </p:clrMapOvr>
  <p:transition spd="slow">
    <p:push dir="u"/>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Advanced 1/3 Image">
    <p:spTree>
      <p:nvGrpSpPr>
        <p:cNvPr id="1" name=""/>
        <p:cNvGrpSpPr/>
        <p:nvPr/>
      </p:nvGrpSpPr>
      <p:grpSpPr>
        <a:xfrm>
          <a:off x="0" y="0"/>
          <a:ext cx="0" cy="0"/>
          <a:chOff x="0" y="0"/>
          <a:chExt cx="0" cy="0"/>
        </a:xfrm>
      </p:grpSpPr>
      <p:sp>
        <p:nvSpPr>
          <p:cNvPr id="7" name="Text Placeholder 6">
            <a:extLst>
              <a:ext uri="{FF2B5EF4-FFF2-40B4-BE49-F238E27FC236}">
                <a16:creationId xmlns="" xmlns:a16="http://schemas.microsoft.com/office/drawing/2014/main" id="{65925D82-457F-D84D-B8DF-D8ADFD7E71DF}"/>
              </a:ext>
            </a:extLst>
          </p:cNvPr>
          <p:cNvSpPr>
            <a:spLocks noGrp="1"/>
          </p:cNvSpPr>
          <p:nvPr>
            <p:ph type="body" sz="quarter" idx="14" hasCustomPrompt="1"/>
          </p:nvPr>
        </p:nvSpPr>
        <p:spPr>
          <a:xfrm>
            <a:off x="233362" y="2383723"/>
            <a:ext cx="5745032" cy="204590"/>
          </a:xfrm>
          <a:prstGeom prst="rect">
            <a:avLst/>
          </a:prstGeom>
        </p:spPr>
        <p:txBody>
          <a:bodyPr tIns="0" rIns="0" bIns="0" numCol="1">
            <a:noAutofit/>
          </a:bodyPr>
          <a:lstStyle>
            <a:lvl1pPr marL="0" indent="0">
              <a:lnSpc>
                <a:spcPct val="100000"/>
              </a:lnSpc>
              <a:spcBef>
                <a:spcPts val="0"/>
              </a:spcBef>
              <a:spcAft>
                <a:spcPts val="450"/>
              </a:spcAft>
              <a:buNone/>
              <a:defRPr sz="1400" b="1">
                <a:solidFill>
                  <a:schemeClr val="accent1"/>
                </a:solidFill>
              </a:defRPr>
            </a:lvl1pPr>
            <a:lvl2pPr marL="342479" indent="0">
              <a:lnSpc>
                <a:spcPts val="1350"/>
              </a:lnSpc>
              <a:spcBef>
                <a:spcPts val="0"/>
              </a:spcBef>
              <a:buNone/>
              <a:defRPr sz="1100"/>
            </a:lvl2pPr>
            <a:lvl3pPr marL="685000" indent="0">
              <a:lnSpc>
                <a:spcPts val="1350"/>
              </a:lnSpc>
              <a:spcBef>
                <a:spcPts val="0"/>
              </a:spcBef>
              <a:buNone/>
              <a:defRPr sz="1100"/>
            </a:lvl3pPr>
            <a:lvl4pPr marL="1027496" indent="0">
              <a:lnSpc>
                <a:spcPts val="1350"/>
              </a:lnSpc>
              <a:spcBef>
                <a:spcPts val="0"/>
              </a:spcBef>
              <a:buNone/>
              <a:defRPr sz="1100"/>
            </a:lvl4pPr>
            <a:lvl5pPr marL="1369994" indent="0">
              <a:lnSpc>
                <a:spcPts val="1350"/>
              </a:lnSpc>
              <a:spcBef>
                <a:spcPts val="0"/>
              </a:spcBef>
              <a:buNone/>
              <a:defRPr sz="1100"/>
            </a:lvl5pPr>
          </a:lstStyle>
          <a:p>
            <a:pPr lvl="0"/>
            <a:r>
              <a:rPr lang="en-US"/>
              <a:t>This is your Secondary Title</a:t>
            </a:r>
          </a:p>
        </p:txBody>
      </p:sp>
      <p:sp>
        <p:nvSpPr>
          <p:cNvPr id="12" name="Text Placeholder 6">
            <a:extLst>
              <a:ext uri="{FF2B5EF4-FFF2-40B4-BE49-F238E27FC236}">
                <a16:creationId xmlns="" xmlns:a16="http://schemas.microsoft.com/office/drawing/2014/main" id="{FD2406EE-A554-5348-AE6D-4D8B343E6201}"/>
              </a:ext>
            </a:extLst>
          </p:cNvPr>
          <p:cNvSpPr>
            <a:spLocks noGrp="1"/>
          </p:cNvSpPr>
          <p:nvPr>
            <p:ph type="body" sz="quarter" idx="15" hasCustomPrompt="1"/>
          </p:nvPr>
        </p:nvSpPr>
        <p:spPr>
          <a:xfrm>
            <a:off x="233364" y="2681928"/>
            <a:ext cx="5747855" cy="2144716"/>
          </a:xfrm>
          <a:prstGeom prst="rect">
            <a:avLst/>
          </a:prstGeom>
        </p:spPr>
        <p:txBody>
          <a:bodyPr tIns="0" rIns="0" bIns="0" numCol="2" spcCol="94428">
            <a:noAutofit/>
          </a:bodyPr>
          <a:lstStyle>
            <a:lvl1pPr marL="128480" indent="-128480">
              <a:lnSpc>
                <a:spcPct val="100000"/>
              </a:lnSpc>
              <a:spcBef>
                <a:spcPts val="0"/>
              </a:spcBef>
              <a:spcAft>
                <a:spcPts val="450"/>
              </a:spcAft>
              <a:buFont typeface="Arial" panose="020B0604020202020204" pitchFamily="34" charset="0"/>
              <a:buChar char="•"/>
              <a:defRPr sz="1100" b="0">
                <a:solidFill>
                  <a:schemeClr val="tx1"/>
                </a:solidFill>
              </a:defRPr>
            </a:lvl1pPr>
            <a:lvl2pPr marL="342479" indent="0">
              <a:lnSpc>
                <a:spcPts val="1350"/>
              </a:lnSpc>
              <a:spcBef>
                <a:spcPts val="0"/>
              </a:spcBef>
              <a:buNone/>
              <a:defRPr sz="1100"/>
            </a:lvl2pPr>
            <a:lvl3pPr marL="685000" indent="0">
              <a:lnSpc>
                <a:spcPts val="1350"/>
              </a:lnSpc>
              <a:spcBef>
                <a:spcPts val="0"/>
              </a:spcBef>
              <a:buNone/>
              <a:defRPr sz="1100"/>
            </a:lvl3pPr>
            <a:lvl4pPr marL="1027496" indent="0">
              <a:lnSpc>
                <a:spcPts val="1350"/>
              </a:lnSpc>
              <a:spcBef>
                <a:spcPts val="0"/>
              </a:spcBef>
              <a:buNone/>
              <a:defRPr sz="1100"/>
            </a:lvl4pPr>
            <a:lvl5pPr marL="1369994" indent="0">
              <a:lnSpc>
                <a:spcPts val="1350"/>
              </a:lnSpc>
              <a:spcBef>
                <a:spcPts val="0"/>
              </a:spcBef>
              <a:buNone/>
              <a:defRPr sz="1100"/>
            </a:lvl5pPr>
          </a:lstStyle>
          <a:p>
            <a:pPr lvl="0"/>
            <a:r>
              <a:rPr lang="en-US"/>
              <a:t>This is your Secondary text.</a:t>
            </a:r>
          </a:p>
        </p:txBody>
      </p:sp>
      <p:sp>
        <p:nvSpPr>
          <p:cNvPr id="11" name="Picture Placeholder 9">
            <a:extLst>
              <a:ext uri="{FF2B5EF4-FFF2-40B4-BE49-F238E27FC236}">
                <a16:creationId xmlns="" xmlns:a16="http://schemas.microsoft.com/office/drawing/2014/main" id="{B54C5EE8-C42D-B549-B4D4-C0F00D68A42B}"/>
              </a:ext>
            </a:extLst>
          </p:cNvPr>
          <p:cNvSpPr>
            <a:spLocks noGrp="1"/>
          </p:cNvSpPr>
          <p:nvPr>
            <p:ph type="pic" sz="quarter" idx="18" hasCustomPrompt="1"/>
          </p:nvPr>
        </p:nvSpPr>
        <p:spPr>
          <a:xfrm>
            <a:off x="6102722" y="820325"/>
            <a:ext cx="3052125" cy="3998652"/>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9500" h="5131753">
                <a:moveTo>
                  <a:pt x="0" y="6946"/>
                </a:moveTo>
                <a:lnTo>
                  <a:pt x="4069425" y="0"/>
                </a:lnTo>
                <a:cubicBezTo>
                  <a:pt x="4070330" y="2146807"/>
                  <a:pt x="4062788" y="2966138"/>
                  <a:pt x="4063693" y="5112945"/>
                </a:cubicBezTo>
                <a:lnTo>
                  <a:pt x="596656" y="5131753"/>
                </a:lnTo>
                <a:cubicBezTo>
                  <a:pt x="276484" y="5131753"/>
                  <a:pt x="16934" y="4872203"/>
                  <a:pt x="16934" y="4552031"/>
                </a:cubicBezTo>
                <a:cubicBezTo>
                  <a:pt x="11289" y="3029594"/>
                  <a:pt x="5645" y="1529383"/>
                  <a:pt x="0" y="6946"/>
                </a:cubicBezTo>
                <a:close/>
              </a:path>
            </a:pathLst>
          </a:custGeom>
          <a:noFill/>
        </p:spPr>
        <p:txBody>
          <a:bodyPr>
            <a:normAutofit/>
          </a:bodyPr>
          <a:lstStyle>
            <a:lvl1pPr marL="0" indent="0">
              <a:buNone/>
              <a:defRPr sz="1100">
                <a:solidFill>
                  <a:schemeClr val="tx1"/>
                </a:solidFill>
              </a:defRPr>
            </a:lvl1pPr>
          </a:lstStyle>
          <a:p>
            <a:r>
              <a:rPr lang="x-none"/>
              <a:t>Insert Photo</a:t>
            </a:r>
          </a:p>
        </p:txBody>
      </p:sp>
      <p:pic>
        <p:nvPicPr>
          <p:cNvPr id="14" name="Picture 13" descr="Takeda">
            <a:extLst>
              <a:ext uri="{FF2B5EF4-FFF2-40B4-BE49-F238E27FC236}">
                <a16:creationId xmlns="" xmlns:a16="http://schemas.microsoft.com/office/drawing/2014/main" id="{334C6D4B-D00D-0346-BC97-8DCE371C28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09748" y="-1211"/>
            <a:ext cx="1272174" cy="705585"/>
          </a:xfrm>
          <a:prstGeom prst="rect">
            <a:avLst/>
          </a:prstGeom>
        </p:spPr>
      </p:pic>
      <p:sp>
        <p:nvSpPr>
          <p:cNvPr id="17" name="タイトル プレースホルダ 1">
            <a:extLst>
              <a:ext uri="{FF2B5EF4-FFF2-40B4-BE49-F238E27FC236}">
                <a16:creationId xmlns="" xmlns:a16="http://schemas.microsoft.com/office/drawing/2014/main" id="{CCEDFD04-9A53-9241-851E-1D01DC555ACC}"/>
              </a:ext>
            </a:extLst>
          </p:cNvPr>
          <p:cNvSpPr>
            <a:spLocks noGrp="1"/>
          </p:cNvSpPr>
          <p:nvPr>
            <p:ph type="title" hasCustomPrompt="1"/>
          </p:nvPr>
        </p:nvSpPr>
        <p:spPr>
          <a:xfrm>
            <a:off x="454559" y="121208"/>
            <a:ext cx="7455190" cy="51435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Footer Placeholder 8">
            <a:extLst>
              <a:ext uri="{FF2B5EF4-FFF2-40B4-BE49-F238E27FC236}">
                <a16:creationId xmlns="" xmlns:a16="http://schemas.microsoft.com/office/drawing/2014/main" id="{1E1D8887-7EAE-1A40-9285-7C632FEAA8BF}"/>
              </a:ext>
            </a:extLst>
          </p:cNvPr>
          <p:cNvSpPr>
            <a:spLocks noGrp="1"/>
          </p:cNvSpPr>
          <p:nvPr>
            <p:ph type="ftr" sz="quarter" idx="3"/>
          </p:nvPr>
        </p:nvSpPr>
        <p:spPr>
          <a:xfrm>
            <a:off x="5824538" y="4892251"/>
            <a:ext cx="3086100" cy="147098"/>
          </a:xfrm>
          <a:prstGeom prst="rect">
            <a:avLst/>
          </a:prstGeom>
        </p:spPr>
        <p:txBody>
          <a:bodyPr vert="horz" lIns="68526" tIns="34289" rIns="0" bIns="34289" rtlCol="0" anchor="ctr"/>
          <a:lstStyle>
            <a:lvl1pPr algn="r">
              <a:defRPr sz="600" b="1" spc="75" baseline="0">
                <a:solidFill>
                  <a:schemeClr val="tx1"/>
                </a:solidFill>
              </a:defRPr>
            </a:lvl1pPr>
          </a:lstStyle>
          <a:p>
            <a:r>
              <a:rPr lang="x-none">
                <a:solidFill>
                  <a:srgbClr val="34373F"/>
                </a:solidFill>
              </a:rPr>
              <a:t> </a:t>
            </a:r>
          </a:p>
        </p:txBody>
      </p:sp>
      <p:sp>
        <p:nvSpPr>
          <p:cNvPr id="23" name="Rectangle 22">
            <a:extLst>
              <a:ext uri="{FF2B5EF4-FFF2-40B4-BE49-F238E27FC236}">
                <a16:creationId xmlns="" xmlns:a16="http://schemas.microsoft.com/office/drawing/2014/main" id="{365B3EBD-E4F5-8E40-B07A-C04F3B1E7F2C}"/>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26" tIns="34289" rIns="68526" bIns="34289" rtlCol="0" anchor="ctr"/>
          <a:lstStyle/>
          <a:p>
            <a:pPr algn="ctr" defTabSz="685188"/>
            <a:endParaRPr kumimoji="1" lang="x-none" sz="1400">
              <a:solidFill>
                <a:srgbClr val="E1242A"/>
              </a:solidFill>
            </a:endParaRPr>
          </a:p>
        </p:txBody>
      </p:sp>
      <p:sp>
        <p:nvSpPr>
          <p:cNvPr id="26" name="スライド番号プレースホルダ 5">
            <a:extLst>
              <a:ext uri="{FF2B5EF4-FFF2-40B4-BE49-F238E27FC236}">
                <a16:creationId xmlns="" xmlns:a16="http://schemas.microsoft.com/office/drawing/2014/main" id="{3D5D14EF-A351-224D-8142-E1BEE44BBC99}"/>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3298"/>
            <a:fld id="{E9B57936-92EF-4126-AE48-1D9D36D15E98}" type="slidenum">
              <a:rPr lang="ja-JP" altLang="en-US" smtClean="0">
                <a:solidFill>
                  <a:srgbClr val="34373F"/>
                </a:solidFill>
              </a:rPr>
              <a:pPr defTabSz="913298"/>
              <a:t>‹Nº›</a:t>
            </a:fld>
            <a:endParaRPr lang="ja-JP" altLang="en-US">
              <a:solidFill>
                <a:srgbClr val="34373F"/>
              </a:solidFill>
            </a:endParaRPr>
          </a:p>
        </p:txBody>
      </p:sp>
      <p:sp>
        <p:nvSpPr>
          <p:cNvPr id="27" name="Text Placeholder 6">
            <a:extLst>
              <a:ext uri="{FF2B5EF4-FFF2-40B4-BE49-F238E27FC236}">
                <a16:creationId xmlns="" xmlns:a16="http://schemas.microsoft.com/office/drawing/2014/main" id="{4D0A49B6-0BCC-C545-BF97-504B63062FEC}"/>
              </a:ext>
            </a:extLst>
          </p:cNvPr>
          <p:cNvSpPr>
            <a:spLocks noGrp="1"/>
          </p:cNvSpPr>
          <p:nvPr>
            <p:ph type="body" sz="quarter" idx="16" hasCustomPrompt="1"/>
          </p:nvPr>
        </p:nvSpPr>
        <p:spPr>
          <a:xfrm>
            <a:off x="454559" y="4892253"/>
            <a:ext cx="5226261" cy="154210"/>
          </a:xfrm>
          <a:prstGeom prst="rect">
            <a:avLst/>
          </a:prstGeom>
        </p:spPr>
        <p:txBody>
          <a:bodyPr wrap="none" tIns="0" rIns="0" bIns="53964" numCol="1" anchor="ctr">
            <a:noAutofit/>
          </a:bodyPr>
          <a:lstStyle>
            <a:lvl1pPr marL="0" indent="0">
              <a:lnSpc>
                <a:spcPts val="1200"/>
              </a:lnSpc>
              <a:spcBef>
                <a:spcPts val="0"/>
              </a:spcBef>
              <a:spcAft>
                <a:spcPts val="450"/>
              </a:spcAft>
              <a:buFont typeface="Arial" panose="020B0604020202020204" pitchFamily="34" charset="0"/>
              <a:buNone/>
              <a:defRPr sz="600" b="0">
                <a:solidFill>
                  <a:schemeClr val="accent3"/>
                </a:solidFill>
              </a:defRPr>
            </a:lvl1pPr>
            <a:lvl2pPr marL="342479" indent="0">
              <a:lnSpc>
                <a:spcPts val="1350"/>
              </a:lnSpc>
              <a:spcBef>
                <a:spcPts val="0"/>
              </a:spcBef>
              <a:buNone/>
              <a:defRPr sz="1100"/>
            </a:lvl2pPr>
            <a:lvl3pPr marL="685000" indent="0">
              <a:lnSpc>
                <a:spcPts val="1350"/>
              </a:lnSpc>
              <a:spcBef>
                <a:spcPts val="0"/>
              </a:spcBef>
              <a:buNone/>
              <a:defRPr sz="1100"/>
            </a:lvl3pPr>
            <a:lvl4pPr marL="1027496" indent="0">
              <a:lnSpc>
                <a:spcPts val="1350"/>
              </a:lnSpc>
              <a:spcBef>
                <a:spcPts val="0"/>
              </a:spcBef>
              <a:buNone/>
              <a:defRPr sz="1100"/>
            </a:lvl4pPr>
            <a:lvl5pPr marL="1369994" indent="0">
              <a:lnSpc>
                <a:spcPts val="1350"/>
              </a:lnSpc>
              <a:spcBef>
                <a:spcPts val="0"/>
              </a:spcBef>
              <a:buNone/>
              <a:defRPr sz="1100"/>
            </a:lvl5pPr>
          </a:lstStyle>
          <a:p>
            <a:pPr lvl="0"/>
            <a:r>
              <a:rPr lang="en-US"/>
              <a:t>Private and confidential. For internal use only.</a:t>
            </a:r>
          </a:p>
        </p:txBody>
      </p:sp>
      <p:sp>
        <p:nvSpPr>
          <p:cNvPr id="15" name="Text Placeholder 2">
            <a:extLst>
              <a:ext uri="{FF2B5EF4-FFF2-40B4-BE49-F238E27FC236}">
                <a16:creationId xmlns="" xmlns:a16="http://schemas.microsoft.com/office/drawing/2014/main" id="{D82FCE78-36AB-904B-98A8-CE3FFB1555E3}"/>
              </a:ext>
            </a:extLst>
          </p:cNvPr>
          <p:cNvSpPr>
            <a:spLocks noGrp="1"/>
          </p:cNvSpPr>
          <p:nvPr>
            <p:ph type="body" sz="quarter" idx="20" hasCustomPrompt="1"/>
          </p:nvPr>
        </p:nvSpPr>
        <p:spPr>
          <a:xfrm>
            <a:off x="233366" y="1118532"/>
            <a:ext cx="5745031" cy="1098718"/>
          </a:xfrm>
        </p:spPr>
        <p:txBody>
          <a:bodyPr tIns="0" rIns="0" bIns="0" numCol="1" spcCol="94428">
            <a:noAutofit/>
          </a:bodyPr>
          <a:lstStyle>
            <a:lvl1pPr marL="0" indent="0">
              <a:lnSpc>
                <a:spcPct val="100000"/>
              </a:lnSpc>
              <a:spcBef>
                <a:spcPts val="0"/>
              </a:spcBef>
              <a:buNone/>
              <a:defRPr sz="1200" b="1"/>
            </a:lvl1pPr>
            <a:lvl2pPr marL="342479" indent="0">
              <a:buNone/>
              <a:defRPr sz="1400" b="1"/>
            </a:lvl2pPr>
            <a:lvl3pPr marL="685000" indent="0">
              <a:buNone/>
              <a:defRPr sz="1400" b="1"/>
            </a:lvl3pPr>
            <a:lvl4pPr marL="1027496" indent="0">
              <a:buNone/>
              <a:defRPr sz="1400" b="1"/>
            </a:lvl4pPr>
            <a:lvl5pPr marL="1369994" indent="0">
              <a:buNone/>
              <a:defRPr sz="1400" b="1"/>
            </a:lvl5pPr>
          </a:lstStyle>
          <a:p>
            <a:pPr lvl="0"/>
            <a:r>
              <a:rPr lang="en-US"/>
              <a:t>This is your Primary Text.</a:t>
            </a:r>
            <a:endParaRPr lang="x-none"/>
          </a:p>
        </p:txBody>
      </p:sp>
      <p:sp>
        <p:nvSpPr>
          <p:cNvPr id="18" name="Text Placeholder 6">
            <a:extLst>
              <a:ext uri="{FF2B5EF4-FFF2-40B4-BE49-F238E27FC236}">
                <a16:creationId xmlns="" xmlns:a16="http://schemas.microsoft.com/office/drawing/2014/main" id="{72ECF95F-F25E-8248-A0F3-BB1749A1B406}"/>
              </a:ext>
            </a:extLst>
          </p:cNvPr>
          <p:cNvSpPr>
            <a:spLocks noGrp="1"/>
          </p:cNvSpPr>
          <p:nvPr>
            <p:ph type="body" sz="quarter" idx="21" hasCustomPrompt="1"/>
          </p:nvPr>
        </p:nvSpPr>
        <p:spPr>
          <a:xfrm>
            <a:off x="233366" y="820327"/>
            <a:ext cx="5745031" cy="204590"/>
          </a:xfrm>
        </p:spPr>
        <p:txBody>
          <a:bodyPr tIns="0" rIns="0" bIns="0" numCol="1">
            <a:noAutofit/>
          </a:bodyPr>
          <a:lstStyle>
            <a:lvl1pPr marL="0" indent="0">
              <a:lnSpc>
                <a:spcPct val="100000"/>
              </a:lnSpc>
              <a:spcBef>
                <a:spcPts val="0"/>
              </a:spcBef>
              <a:spcAft>
                <a:spcPts val="450"/>
              </a:spcAft>
              <a:buNone/>
              <a:defRPr sz="1500" b="1">
                <a:solidFill>
                  <a:schemeClr val="accent1"/>
                </a:solidFill>
              </a:defRPr>
            </a:lvl1pPr>
            <a:lvl2pPr marL="342479" indent="0">
              <a:lnSpc>
                <a:spcPts val="1350"/>
              </a:lnSpc>
              <a:spcBef>
                <a:spcPts val="0"/>
              </a:spcBef>
              <a:buNone/>
              <a:defRPr sz="1100"/>
            </a:lvl2pPr>
            <a:lvl3pPr marL="685000" indent="0">
              <a:lnSpc>
                <a:spcPts val="1350"/>
              </a:lnSpc>
              <a:spcBef>
                <a:spcPts val="0"/>
              </a:spcBef>
              <a:buNone/>
              <a:defRPr sz="1100"/>
            </a:lvl3pPr>
            <a:lvl4pPr marL="1027496" indent="0">
              <a:lnSpc>
                <a:spcPts val="1350"/>
              </a:lnSpc>
              <a:spcBef>
                <a:spcPts val="0"/>
              </a:spcBef>
              <a:buNone/>
              <a:defRPr sz="1100"/>
            </a:lvl4pPr>
            <a:lvl5pPr marL="1369994" indent="0">
              <a:lnSpc>
                <a:spcPts val="1350"/>
              </a:lnSpc>
              <a:spcBef>
                <a:spcPts val="0"/>
              </a:spcBef>
              <a:buNone/>
              <a:defRPr sz="1100"/>
            </a:lvl5pPr>
          </a:lstStyle>
          <a:p>
            <a:pPr lvl="0"/>
            <a:r>
              <a:rPr lang="en-US"/>
              <a:t>This is your Primary Title</a:t>
            </a:r>
          </a:p>
        </p:txBody>
      </p:sp>
    </p:spTree>
    <p:extLst>
      <p:ext uri="{BB962C8B-B14F-4D97-AF65-F5344CB8AC3E}">
        <p14:creationId xmlns:p14="http://schemas.microsoft.com/office/powerpoint/2010/main" val="3087029392"/>
      </p:ext>
    </p:extLst>
  </p:cSld>
  <p:clrMapOvr>
    <a:masterClrMapping/>
  </p:clrMapOvr>
  <p:transition spd="slow">
    <p:push dir="u"/>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Advanced 1/3 Image (Full Bleed)">
    <p:spTree>
      <p:nvGrpSpPr>
        <p:cNvPr id="1" name=""/>
        <p:cNvGrpSpPr/>
        <p:nvPr/>
      </p:nvGrpSpPr>
      <p:grpSpPr>
        <a:xfrm>
          <a:off x="0" y="0"/>
          <a:ext cx="0" cy="0"/>
          <a:chOff x="0" y="0"/>
          <a:chExt cx="0" cy="0"/>
        </a:xfrm>
      </p:grpSpPr>
      <p:sp>
        <p:nvSpPr>
          <p:cNvPr id="7" name="Text Placeholder 6">
            <a:extLst>
              <a:ext uri="{FF2B5EF4-FFF2-40B4-BE49-F238E27FC236}">
                <a16:creationId xmlns="" xmlns:a16="http://schemas.microsoft.com/office/drawing/2014/main" id="{65925D82-457F-D84D-B8DF-D8ADFD7E71DF}"/>
              </a:ext>
            </a:extLst>
          </p:cNvPr>
          <p:cNvSpPr>
            <a:spLocks noGrp="1"/>
          </p:cNvSpPr>
          <p:nvPr>
            <p:ph type="body" sz="quarter" idx="14" hasCustomPrompt="1"/>
          </p:nvPr>
        </p:nvSpPr>
        <p:spPr>
          <a:xfrm>
            <a:off x="233362" y="2383723"/>
            <a:ext cx="4281488" cy="204590"/>
          </a:xfrm>
          <a:prstGeom prst="rect">
            <a:avLst/>
          </a:prstGeom>
        </p:spPr>
        <p:txBody>
          <a:bodyPr tIns="0" rIns="0" bIns="0" numCol="1">
            <a:noAutofit/>
          </a:bodyPr>
          <a:lstStyle>
            <a:lvl1pPr marL="0" indent="0">
              <a:lnSpc>
                <a:spcPct val="100000"/>
              </a:lnSpc>
              <a:spcBef>
                <a:spcPts val="0"/>
              </a:spcBef>
              <a:spcAft>
                <a:spcPts val="450"/>
              </a:spcAft>
              <a:buNone/>
              <a:defRPr sz="1400" b="1">
                <a:solidFill>
                  <a:schemeClr val="accent1"/>
                </a:solidFill>
              </a:defRPr>
            </a:lvl1pPr>
            <a:lvl2pPr marL="342479" indent="0">
              <a:lnSpc>
                <a:spcPts val="1350"/>
              </a:lnSpc>
              <a:spcBef>
                <a:spcPts val="0"/>
              </a:spcBef>
              <a:buNone/>
              <a:defRPr sz="1100"/>
            </a:lvl2pPr>
            <a:lvl3pPr marL="685000" indent="0">
              <a:lnSpc>
                <a:spcPts val="1350"/>
              </a:lnSpc>
              <a:spcBef>
                <a:spcPts val="0"/>
              </a:spcBef>
              <a:buNone/>
              <a:defRPr sz="1100"/>
            </a:lvl3pPr>
            <a:lvl4pPr marL="1027496" indent="0">
              <a:lnSpc>
                <a:spcPts val="1350"/>
              </a:lnSpc>
              <a:spcBef>
                <a:spcPts val="0"/>
              </a:spcBef>
              <a:buNone/>
              <a:defRPr sz="1100"/>
            </a:lvl4pPr>
            <a:lvl5pPr marL="1369994" indent="0">
              <a:lnSpc>
                <a:spcPts val="1350"/>
              </a:lnSpc>
              <a:spcBef>
                <a:spcPts val="0"/>
              </a:spcBef>
              <a:buNone/>
              <a:defRPr sz="1100"/>
            </a:lvl5pPr>
          </a:lstStyle>
          <a:p>
            <a:pPr lvl="0"/>
            <a:r>
              <a:rPr lang="en-US"/>
              <a:t>This is your Secondary Title</a:t>
            </a:r>
          </a:p>
        </p:txBody>
      </p:sp>
      <p:sp>
        <p:nvSpPr>
          <p:cNvPr id="12" name="Text Placeholder 6">
            <a:extLst>
              <a:ext uri="{FF2B5EF4-FFF2-40B4-BE49-F238E27FC236}">
                <a16:creationId xmlns="" xmlns:a16="http://schemas.microsoft.com/office/drawing/2014/main" id="{FD2406EE-A554-5348-AE6D-4D8B343E6201}"/>
              </a:ext>
            </a:extLst>
          </p:cNvPr>
          <p:cNvSpPr>
            <a:spLocks noGrp="1"/>
          </p:cNvSpPr>
          <p:nvPr>
            <p:ph type="body" sz="quarter" idx="15" hasCustomPrompt="1"/>
          </p:nvPr>
        </p:nvSpPr>
        <p:spPr>
          <a:xfrm>
            <a:off x="233364" y="2681928"/>
            <a:ext cx="5747855" cy="2144716"/>
          </a:xfrm>
          <a:prstGeom prst="rect">
            <a:avLst/>
          </a:prstGeom>
        </p:spPr>
        <p:txBody>
          <a:bodyPr tIns="0" rIns="0" bIns="0" numCol="2" spcCol="94428">
            <a:noAutofit/>
          </a:bodyPr>
          <a:lstStyle>
            <a:lvl1pPr marL="128480" indent="-128480">
              <a:lnSpc>
                <a:spcPct val="100000"/>
              </a:lnSpc>
              <a:spcBef>
                <a:spcPts val="0"/>
              </a:spcBef>
              <a:spcAft>
                <a:spcPts val="450"/>
              </a:spcAft>
              <a:buFont typeface="Arial" panose="020B0604020202020204" pitchFamily="34" charset="0"/>
              <a:buChar char="•"/>
              <a:defRPr sz="1100" b="0">
                <a:solidFill>
                  <a:schemeClr val="tx1"/>
                </a:solidFill>
              </a:defRPr>
            </a:lvl1pPr>
            <a:lvl2pPr marL="342479" indent="0">
              <a:lnSpc>
                <a:spcPts val="1350"/>
              </a:lnSpc>
              <a:spcBef>
                <a:spcPts val="0"/>
              </a:spcBef>
              <a:buNone/>
              <a:defRPr sz="1100"/>
            </a:lvl2pPr>
            <a:lvl3pPr marL="685000" indent="0">
              <a:lnSpc>
                <a:spcPts val="1350"/>
              </a:lnSpc>
              <a:spcBef>
                <a:spcPts val="0"/>
              </a:spcBef>
              <a:buNone/>
              <a:defRPr sz="1100"/>
            </a:lvl3pPr>
            <a:lvl4pPr marL="1027496" indent="0">
              <a:lnSpc>
                <a:spcPts val="1350"/>
              </a:lnSpc>
              <a:spcBef>
                <a:spcPts val="0"/>
              </a:spcBef>
              <a:buNone/>
              <a:defRPr sz="1100"/>
            </a:lvl4pPr>
            <a:lvl5pPr marL="1369994" indent="0">
              <a:lnSpc>
                <a:spcPts val="1350"/>
              </a:lnSpc>
              <a:spcBef>
                <a:spcPts val="0"/>
              </a:spcBef>
              <a:buNone/>
              <a:defRPr sz="1100"/>
            </a:lvl5pPr>
          </a:lstStyle>
          <a:p>
            <a:pPr lvl="0"/>
            <a:r>
              <a:rPr lang="en-US"/>
              <a:t>This is your Secondary text.</a:t>
            </a:r>
          </a:p>
        </p:txBody>
      </p:sp>
      <p:sp>
        <p:nvSpPr>
          <p:cNvPr id="11" name="Picture Placeholder 9">
            <a:extLst>
              <a:ext uri="{FF2B5EF4-FFF2-40B4-BE49-F238E27FC236}">
                <a16:creationId xmlns="" xmlns:a16="http://schemas.microsoft.com/office/drawing/2014/main" id="{B54C5EE8-C42D-B549-B4D4-C0F00D68A42B}"/>
              </a:ext>
            </a:extLst>
          </p:cNvPr>
          <p:cNvSpPr>
            <a:spLocks noGrp="1"/>
          </p:cNvSpPr>
          <p:nvPr>
            <p:ph type="pic" sz="quarter" idx="18" hasCustomPrompt="1"/>
          </p:nvPr>
        </p:nvSpPr>
        <p:spPr>
          <a:xfrm>
            <a:off x="6092782" y="-1034"/>
            <a:ext cx="3057710" cy="5145632"/>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 name="connsiteX0" fmla="*/ 0 w 4082753"/>
              <a:gd name="connsiteY0" fmla="*/ 2 h 6874096"/>
              <a:gd name="connsiteX1" fmla="*/ 4082678 w 4082753"/>
              <a:gd name="connsiteY1" fmla="*/ 1742343 h 6874096"/>
              <a:gd name="connsiteX2" fmla="*/ 4076946 w 4082753"/>
              <a:gd name="connsiteY2" fmla="*/ 6855288 h 6874096"/>
              <a:gd name="connsiteX3" fmla="*/ 609909 w 4082753"/>
              <a:gd name="connsiteY3" fmla="*/ 6874096 h 6874096"/>
              <a:gd name="connsiteX4" fmla="*/ 30187 w 4082753"/>
              <a:gd name="connsiteY4" fmla="*/ 6294374 h 6874096"/>
              <a:gd name="connsiteX5" fmla="*/ 0 w 4082753"/>
              <a:gd name="connsiteY5" fmla="*/ 2 h 6874096"/>
              <a:gd name="connsiteX0" fmla="*/ 0 w 4095958"/>
              <a:gd name="connsiteY0" fmla="*/ 6946 h 6881040"/>
              <a:gd name="connsiteX1" fmla="*/ 4095930 w 4095958"/>
              <a:gd name="connsiteY1" fmla="*/ 0 h 6881040"/>
              <a:gd name="connsiteX2" fmla="*/ 4076946 w 4095958"/>
              <a:gd name="connsiteY2" fmla="*/ 6862232 h 6881040"/>
              <a:gd name="connsiteX3" fmla="*/ 609909 w 4095958"/>
              <a:gd name="connsiteY3" fmla="*/ 6881040 h 6881040"/>
              <a:gd name="connsiteX4" fmla="*/ 30187 w 4095958"/>
              <a:gd name="connsiteY4" fmla="*/ 6301318 h 6881040"/>
              <a:gd name="connsiteX5" fmla="*/ 0 w 4095958"/>
              <a:gd name="connsiteY5" fmla="*/ 6946 h 6881040"/>
              <a:gd name="connsiteX0" fmla="*/ 0 w 4076946"/>
              <a:gd name="connsiteY0" fmla="*/ 0 h 6874094"/>
              <a:gd name="connsiteX1" fmla="*/ 3870643 w 4076946"/>
              <a:gd name="connsiteY1" fmla="*/ 191837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0 h 6874094"/>
              <a:gd name="connsiteX1" fmla="*/ 4069426 w 4076946"/>
              <a:gd name="connsiteY1" fmla="*/ 19559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99710 h 6854535"/>
              <a:gd name="connsiteX1" fmla="*/ 4069426 w 4076946"/>
              <a:gd name="connsiteY1" fmla="*/ 0 h 6854535"/>
              <a:gd name="connsiteX2" fmla="*/ 4076946 w 4076946"/>
              <a:gd name="connsiteY2" fmla="*/ 6835727 h 6854535"/>
              <a:gd name="connsiteX3" fmla="*/ 609909 w 4076946"/>
              <a:gd name="connsiteY3" fmla="*/ 6854535 h 6854535"/>
              <a:gd name="connsiteX4" fmla="*/ 30187 w 4076946"/>
              <a:gd name="connsiteY4" fmla="*/ 6274813 h 6854535"/>
              <a:gd name="connsiteX5" fmla="*/ 0 w 4076946"/>
              <a:gd name="connsiteY5" fmla="*/ 99710 h 6854535"/>
              <a:gd name="connsiteX0" fmla="*/ 0 w 4076946"/>
              <a:gd name="connsiteY0" fmla="*/ 0 h 6860842"/>
              <a:gd name="connsiteX1" fmla="*/ 4069426 w 4076946"/>
              <a:gd name="connsiteY1" fmla="*/ 6307 h 6860842"/>
              <a:gd name="connsiteX2" fmla="*/ 4076946 w 4076946"/>
              <a:gd name="connsiteY2" fmla="*/ 6842034 h 6860842"/>
              <a:gd name="connsiteX3" fmla="*/ 609909 w 4076946"/>
              <a:gd name="connsiteY3" fmla="*/ 6860842 h 6860842"/>
              <a:gd name="connsiteX4" fmla="*/ 30187 w 4076946"/>
              <a:gd name="connsiteY4" fmla="*/ 6281120 h 6860842"/>
              <a:gd name="connsiteX5" fmla="*/ 0 w 4076946"/>
              <a:gd name="connsiteY5" fmla="*/ 0 h 686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76946" h="6860842">
                <a:moveTo>
                  <a:pt x="0" y="0"/>
                </a:moveTo>
                <a:lnTo>
                  <a:pt x="4069426" y="6307"/>
                </a:lnTo>
                <a:cubicBezTo>
                  <a:pt x="4070331" y="2153114"/>
                  <a:pt x="4076041" y="4695227"/>
                  <a:pt x="4076946" y="6842034"/>
                </a:cubicBezTo>
                <a:lnTo>
                  <a:pt x="609909" y="6860842"/>
                </a:lnTo>
                <a:cubicBezTo>
                  <a:pt x="289737" y="6860842"/>
                  <a:pt x="30187" y="6601292"/>
                  <a:pt x="30187" y="6281120"/>
                </a:cubicBezTo>
                <a:cubicBezTo>
                  <a:pt x="24542" y="4758683"/>
                  <a:pt x="5645" y="1522437"/>
                  <a:pt x="0" y="0"/>
                </a:cubicBezTo>
                <a:close/>
              </a:path>
            </a:pathLst>
          </a:custGeom>
          <a:noFill/>
        </p:spPr>
        <p:txBody>
          <a:bodyPr>
            <a:normAutofit/>
          </a:bodyPr>
          <a:lstStyle>
            <a:lvl1pPr marL="0" indent="0">
              <a:buNone/>
              <a:defRPr sz="1100">
                <a:solidFill>
                  <a:schemeClr val="tx1"/>
                </a:solidFill>
              </a:defRPr>
            </a:lvl1pPr>
          </a:lstStyle>
          <a:p>
            <a:r>
              <a:rPr lang="x-none"/>
              <a:t>Insert Photo</a:t>
            </a:r>
          </a:p>
        </p:txBody>
      </p:sp>
      <p:sp>
        <p:nvSpPr>
          <p:cNvPr id="17" name="タイトル プレースホルダ 1">
            <a:extLst>
              <a:ext uri="{FF2B5EF4-FFF2-40B4-BE49-F238E27FC236}">
                <a16:creationId xmlns="" xmlns:a16="http://schemas.microsoft.com/office/drawing/2014/main" id="{6FB24DD6-99CB-CE43-A787-C9F60DC95F8F}"/>
              </a:ext>
            </a:extLst>
          </p:cNvPr>
          <p:cNvSpPr>
            <a:spLocks noGrp="1"/>
          </p:cNvSpPr>
          <p:nvPr>
            <p:ph type="title" hasCustomPrompt="1"/>
          </p:nvPr>
        </p:nvSpPr>
        <p:spPr>
          <a:xfrm>
            <a:off x="454563" y="121208"/>
            <a:ext cx="5526659" cy="51435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 xmlns:a16="http://schemas.microsoft.com/office/drawing/2014/main" id="{77130E5B-E573-584B-8C83-F8409492B14B}"/>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26" tIns="34289" rIns="68526" bIns="34289" rtlCol="0" anchor="ctr"/>
          <a:lstStyle/>
          <a:p>
            <a:pPr algn="ctr" defTabSz="685188"/>
            <a:endParaRPr kumimoji="1" lang="x-none" sz="1400">
              <a:solidFill>
                <a:srgbClr val="E1242A"/>
              </a:solidFill>
            </a:endParaRPr>
          </a:p>
        </p:txBody>
      </p:sp>
      <p:sp>
        <p:nvSpPr>
          <p:cNvPr id="21" name="スライド番号プレースホルダ 5">
            <a:extLst>
              <a:ext uri="{FF2B5EF4-FFF2-40B4-BE49-F238E27FC236}">
                <a16:creationId xmlns="" xmlns:a16="http://schemas.microsoft.com/office/drawing/2014/main" id="{C55CC856-2ADD-F44F-96B6-03734457CCF1}"/>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3298"/>
            <a:fld id="{E9B57936-92EF-4126-AE48-1D9D36D15E98}" type="slidenum">
              <a:rPr lang="ja-JP" altLang="en-US" smtClean="0">
                <a:solidFill>
                  <a:srgbClr val="34373F"/>
                </a:solidFill>
              </a:rPr>
              <a:pPr defTabSz="913298"/>
              <a:t>‹Nº›</a:t>
            </a:fld>
            <a:endParaRPr lang="ja-JP" altLang="en-US">
              <a:solidFill>
                <a:srgbClr val="34373F"/>
              </a:solidFill>
            </a:endParaRPr>
          </a:p>
        </p:txBody>
      </p:sp>
      <p:sp>
        <p:nvSpPr>
          <p:cNvPr id="22" name="Text Placeholder 6">
            <a:extLst>
              <a:ext uri="{FF2B5EF4-FFF2-40B4-BE49-F238E27FC236}">
                <a16:creationId xmlns="" xmlns:a16="http://schemas.microsoft.com/office/drawing/2014/main" id="{DB94AACD-56D4-F146-AFC0-5CBE6630C5AA}"/>
              </a:ext>
            </a:extLst>
          </p:cNvPr>
          <p:cNvSpPr>
            <a:spLocks noGrp="1"/>
          </p:cNvSpPr>
          <p:nvPr>
            <p:ph type="body" sz="quarter" idx="16" hasCustomPrompt="1"/>
          </p:nvPr>
        </p:nvSpPr>
        <p:spPr>
          <a:xfrm>
            <a:off x="454559" y="4892253"/>
            <a:ext cx="5226261" cy="154210"/>
          </a:xfrm>
          <a:prstGeom prst="rect">
            <a:avLst/>
          </a:prstGeom>
        </p:spPr>
        <p:txBody>
          <a:bodyPr wrap="none" tIns="0" rIns="0" bIns="53964" numCol="1" anchor="ctr">
            <a:noAutofit/>
          </a:bodyPr>
          <a:lstStyle>
            <a:lvl1pPr marL="0" indent="0">
              <a:lnSpc>
                <a:spcPts val="1200"/>
              </a:lnSpc>
              <a:spcBef>
                <a:spcPts val="0"/>
              </a:spcBef>
              <a:spcAft>
                <a:spcPts val="450"/>
              </a:spcAft>
              <a:buFont typeface="Arial" panose="020B0604020202020204" pitchFamily="34" charset="0"/>
              <a:buNone/>
              <a:defRPr sz="600" b="0">
                <a:solidFill>
                  <a:schemeClr val="accent3"/>
                </a:solidFill>
              </a:defRPr>
            </a:lvl1pPr>
            <a:lvl2pPr marL="342479" indent="0">
              <a:lnSpc>
                <a:spcPts val="1350"/>
              </a:lnSpc>
              <a:spcBef>
                <a:spcPts val="0"/>
              </a:spcBef>
              <a:buNone/>
              <a:defRPr sz="1100"/>
            </a:lvl2pPr>
            <a:lvl3pPr marL="685000" indent="0">
              <a:lnSpc>
                <a:spcPts val="1350"/>
              </a:lnSpc>
              <a:spcBef>
                <a:spcPts val="0"/>
              </a:spcBef>
              <a:buNone/>
              <a:defRPr sz="1100"/>
            </a:lvl3pPr>
            <a:lvl4pPr marL="1027496" indent="0">
              <a:lnSpc>
                <a:spcPts val="1350"/>
              </a:lnSpc>
              <a:spcBef>
                <a:spcPts val="0"/>
              </a:spcBef>
              <a:buNone/>
              <a:defRPr sz="1100"/>
            </a:lvl4pPr>
            <a:lvl5pPr marL="1369994" indent="0">
              <a:lnSpc>
                <a:spcPts val="1350"/>
              </a:lnSpc>
              <a:spcBef>
                <a:spcPts val="0"/>
              </a:spcBef>
              <a:buNone/>
              <a:defRPr sz="1100"/>
            </a:lvl5pPr>
          </a:lstStyle>
          <a:p>
            <a:pPr lvl="0"/>
            <a:r>
              <a:rPr lang="en-US"/>
              <a:t>Private and confidential. For internal use only.</a:t>
            </a:r>
          </a:p>
        </p:txBody>
      </p:sp>
      <p:sp>
        <p:nvSpPr>
          <p:cNvPr id="19" name="Text Placeholder 2">
            <a:extLst>
              <a:ext uri="{FF2B5EF4-FFF2-40B4-BE49-F238E27FC236}">
                <a16:creationId xmlns="" xmlns:a16="http://schemas.microsoft.com/office/drawing/2014/main" id="{73A8AA34-7C7D-A24F-AF24-5158DD2AB0ED}"/>
              </a:ext>
            </a:extLst>
          </p:cNvPr>
          <p:cNvSpPr>
            <a:spLocks noGrp="1"/>
          </p:cNvSpPr>
          <p:nvPr>
            <p:ph type="body" sz="quarter" idx="20" hasCustomPrompt="1"/>
          </p:nvPr>
        </p:nvSpPr>
        <p:spPr>
          <a:xfrm>
            <a:off x="233365" y="1118532"/>
            <a:ext cx="5745032" cy="1098718"/>
          </a:xfrm>
        </p:spPr>
        <p:txBody>
          <a:bodyPr tIns="0" rIns="0" bIns="0" numCol="1" spcCol="94428">
            <a:noAutofit/>
          </a:bodyPr>
          <a:lstStyle>
            <a:lvl1pPr marL="0" indent="0">
              <a:lnSpc>
                <a:spcPct val="100000"/>
              </a:lnSpc>
              <a:spcBef>
                <a:spcPts val="0"/>
              </a:spcBef>
              <a:buNone/>
              <a:defRPr sz="1200" b="1"/>
            </a:lvl1pPr>
            <a:lvl2pPr marL="342479" indent="0">
              <a:buNone/>
              <a:defRPr sz="1400" b="1"/>
            </a:lvl2pPr>
            <a:lvl3pPr marL="685000" indent="0">
              <a:buNone/>
              <a:defRPr sz="1400" b="1"/>
            </a:lvl3pPr>
            <a:lvl4pPr marL="1027496" indent="0">
              <a:buNone/>
              <a:defRPr sz="1400" b="1"/>
            </a:lvl4pPr>
            <a:lvl5pPr marL="1369994" indent="0">
              <a:buNone/>
              <a:defRPr sz="1400" b="1"/>
            </a:lvl5pPr>
          </a:lstStyle>
          <a:p>
            <a:pPr lvl="0"/>
            <a:r>
              <a:rPr lang="en-US"/>
              <a:t>This is your Primary Text.</a:t>
            </a:r>
            <a:endParaRPr lang="x-none"/>
          </a:p>
        </p:txBody>
      </p:sp>
      <p:sp>
        <p:nvSpPr>
          <p:cNvPr id="20" name="Text Placeholder 6">
            <a:extLst>
              <a:ext uri="{FF2B5EF4-FFF2-40B4-BE49-F238E27FC236}">
                <a16:creationId xmlns="" xmlns:a16="http://schemas.microsoft.com/office/drawing/2014/main" id="{8F4B55CE-CF3E-7E44-A66A-599621CA5C5F}"/>
              </a:ext>
            </a:extLst>
          </p:cNvPr>
          <p:cNvSpPr>
            <a:spLocks noGrp="1"/>
          </p:cNvSpPr>
          <p:nvPr>
            <p:ph type="body" sz="quarter" idx="21" hasCustomPrompt="1"/>
          </p:nvPr>
        </p:nvSpPr>
        <p:spPr>
          <a:xfrm>
            <a:off x="233362" y="820327"/>
            <a:ext cx="5745032" cy="204590"/>
          </a:xfrm>
        </p:spPr>
        <p:txBody>
          <a:bodyPr tIns="0" rIns="0" bIns="0" numCol="1">
            <a:noAutofit/>
          </a:bodyPr>
          <a:lstStyle>
            <a:lvl1pPr marL="0" indent="0">
              <a:lnSpc>
                <a:spcPct val="100000"/>
              </a:lnSpc>
              <a:spcBef>
                <a:spcPts val="0"/>
              </a:spcBef>
              <a:spcAft>
                <a:spcPts val="450"/>
              </a:spcAft>
              <a:buNone/>
              <a:defRPr sz="1500" b="1">
                <a:solidFill>
                  <a:schemeClr val="accent1"/>
                </a:solidFill>
              </a:defRPr>
            </a:lvl1pPr>
            <a:lvl2pPr marL="342479" indent="0">
              <a:lnSpc>
                <a:spcPts val="1350"/>
              </a:lnSpc>
              <a:spcBef>
                <a:spcPts val="0"/>
              </a:spcBef>
              <a:buNone/>
              <a:defRPr sz="1100"/>
            </a:lvl2pPr>
            <a:lvl3pPr marL="685000" indent="0">
              <a:lnSpc>
                <a:spcPts val="1350"/>
              </a:lnSpc>
              <a:spcBef>
                <a:spcPts val="0"/>
              </a:spcBef>
              <a:buNone/>
              <a:defRPr sz="1100"/>
            </a:lvl3pPr>
            <a:lvl4pPr marL="1027496" indent="0">
              <a:lnSpc>
                <a:spcPts val="1350"/>
              </a:lnSpc>
              <a:spcBef>
                <a:spcPts val="0"/>
              </a:spcBef>
              <a:buNone/>
              <a:defRPr sz="1100"/>
            </a:lvl4pPr>
            <a:lvl5pPr marL="1369994" indent="0">
              <a:lnSpc>
                <a:spcPts val="1350"/>
              </a:lnSpc>
              <a:spcBef>
                <a:spcPts val="0"/>
              </a:spcBef>
              <a:buNone/>
              <a:defRPr sz="1100"/>
            </a:lvl5pPr>
          </a:lstStyle>
          <a:p>
            <a:pPr lvl="0"/>
            <a:r>
              <a:rPr lang="en-US"/>
              <a:t>This is your Primary Title</a:t>
            </a:r>
          </a:p>
        </p:txBody>
      </p:sp>
    </p:spTree>
    <p:extLst>
      <p:ext uri="{BB962C8B-B14F-4D97-AF65-F5344CB8AC3E}">
        <p14:creationId xmlns:p14="http://schemas.microsoft.com/office/powerpoint/2010/main" val="483430802"/>
      </p:ext>
    </p:extLst>
  </p:cSld>
  <p:clrMapOvr>
    <a:masterClrMapping/>
  </p:clrMapOvr>
  <p:transition spd="slow">
    <p:push dir="u"/>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Advanced Image 4-Column">
    <p:spTree>
      <p:nvGrpSpPr>
        <p:cNvPr id="1" name=""/>
        <p:cNvGrpSpPr/>
        <p:nvPr/>
      </p:nvGrpSpPr>
      <p:grpSpPr>
        <a:xfrm>
          <a:off x="0" y="0"/>
          <a:ext cx="0" cy="0"/>
          <a:chOff x="0" y="0"/>
          <a:chExt cx="0" cy="0"/>
        </a:xfrm>
      </p:grpSpPr>
      <p:sp>
        <p:nvSpPr>
          <p:cNvPr id="22" name="Picture Placeholder 9">
            <a:extLst>
              <a:ext uri="{FF2B5EF4-FFF2-40B4-BE49-F238E27FC236}">
                <a16:creationId xmlns="" xmlns:a16="http://schemas.microsoft.com/office/drawing/2014/main" id="{21DF8897-54F9-C24F-8261-0C5418827A6D}"/>
              </a:ext>
            </a:extLst>
          </p:cNvPr>
          <p:cNvSpPr>
            <a:spLocks noGrp="1"/>
          </p:cNvSpPr>
          <p:nvPr>
            <p:ph type="pic" sz="quarter" idx="10" hasCustomPrompt="1"/>
          </p:nvPr>
        </p:nvSpPr>
        <p:spPr>
          <a:xfrm>
            <a:off x="6833089" y="2307251"/>
            <a:ext cx="2079031" cy="2354227"/>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marR="0" indent="0" algn="l" defTabSz="685001"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1100">
                <a:solidFill>
                  <a:schemeClr val="tx1"/>
                </a:solidFill>
              </a:defRPr>
            </a:lvl1pPr>
          </a:lstStyle>
          <a:p>
            <a:pPr marL="0" marR="0" lvl="0" indent="0" algn="l" defTabSz="685001"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x-none"/>
              <a:t>Insert Picture/Text Block</a:t>
            </a:r>
          </a:p>
          <a:p>
            <a:endParaRPr lang="x-none"/>
          </a:p>
        </p:txBody>
      </p:sp>
      <p:sp>
        <p:nvSpPr>
          <p:cNvPr id="23" name="Picture Placeholder 9">
            <a:extLst>
              <a:ext uri="{FF2B5EF4-FFF2-40B4-BE49-F238E27FC236}">
                <a16:creationId xmlns="" xmlns:a16="http://schemas.microsoft.com/office/drawing/2014/main" id="{8D6B3691-FCAC-8A46-AA30-DEB2A719C7B2}"/>
              </a:ext>
            </a:extLst>
          </p:cNvPr>
          <p:cNvSpPr>
            <a:spLocks noGrp="1"/>
          </p:cNvSpPr>
          <p:nvPr>
            <p:ph type="pic" sz="quarter" idx="18" hasCustomPrompt="1"/>
          </p:nvPr>
        </p:nvSpPr>
        <p:spPr>
          <a:xfrm>
            <a:off x="233543" y="2307251"/>
            <a:ext cx="2079031" cy="2354227"/>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100">
                <a:solidFill>
                  <a:schemeClr val="tx1"/>
                </a:solidFill>
              </a:defRPr>
            </a:lvl1pPr>
          </a:lstStyle>
          <a:p>
            <a:r>
              <a:rPr lang="x-none"/>
              <a:t>Insert Picture/Text Block</a:t>
            </a:r>
          </a:p>
        </p:txBody>
      </p:sp>
      <p:sp>
        <p:nvSpPr>
          <p:cNvPr id="24" name="Picture Placeholder 9">
            <a:extLst>
              <a:ext uri="{FF2B5EF4-FFF2-40B4-BE49-F238E27FC236}">
                <a16:creationId xmlns="" xmlns:a16="http://schemas.microsoft.com/office/drawing/2014/main" id="{AA8F528A-C9DE-0B46-881A-43E0F9B6F677}"/>
              </a:ext>
            </a:extLst>
          </p:cNvPr>
          <p:cNvSpPr>
            <a:spLocks noGrp="1"/>
          </p:cNvSpPr>
          <p:nvPr>
            <p:ph type="pic" sz="quarter" idx="19" hasCustomPrompt="1"/>
          </p:nvPr>
        </p:nvSpPr>
        <p:spPr>
          <a:xfrm>
            <a:off x="2433371" y="2307251"/>
            <a:ext cx="2079031" cy="2354227"/>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100">
                <a:solidFill>
                  <a:schemeClr val="tx1"/>
                </a:solidFill>
              </a:defRPr>
            </a:lvl1pPr>
          </a:lstStyle>
          <a:p>
            <a:r>
              <a:rPr lang="x-none"/>
              <a:t>Insert Picture/Text Block</a:t>
            </a:r>
          </a:p>
        </p:txBody>
      </p:sp>
      <p:sp>
        <p:nvSpPr>
          <p:cNvPr id="25" name="Picture Placeholder 9">
            <a:extLst>
              <a:ext uri="{FF2B5EF4-FFF2-40B4-BE49-F238E27FC236}">
                <a16:creationId xmlns="" xmlns:a16="http://schemas.microsoft.com/office/drawing/2014/main" id="{E01CF285-75D7-154A-ACF2-9393FB0B38D0}"/>
              </a:ext>
            </a:extLst>
          </p:cNvPr>
          <p:cNvSpPr>
            <a:spLocks noGrp="1"/>
          </p:cNvSpPr>
          <p:nvPr>
            <p:ph type="pic" sz="quarter" idx="20" hasCustomPrompt="1"/>
          </p:nvPr>
        </p:nvSpPr>
        <p:spPr>
          <a:xfrm>
            <a:off x="4633220" y="2307251"/>
            <a:ext cx="2079031" cy="2354227"/>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100">
                <a:solidFill>
                  <a:schemeClr val="tx1"/>
                </a:solidFill>
              </a:defRPr>
            </a:lvl1pPr>
          </a:lstStyle>
          <a:p>
            <a:r>
              <a:rPr lang="en-US"/>
              <a:t>Insert Picture/Text Block</a:t>
            </a:r>
          </a:p>
          <a:p>
            <a:endParaRPr lang="en-US"/>
          </a:p>
          <a:p>
            <a:endParaRPr lang="x-none"/>
          </a:p>
        </p:txBody>
      </p:sp>
      <p:pic>
        <p:nvPicPr>
          <p:cNvPr id="14" name="Picture 13" descr="Takeda">
            <a:extLst>
              <a:ext uri="{FF2B5EF4-FFF2-40B4-BE49-F238E27FC236}">
                <a16:creationId xmlns="" xmlns:a16="http://schemas.microsoft.com/office/drawing/2014/main" id="{47FD433F-488A-9D46-BDF0-87D0F082AE4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09748" y="-1211"/>
            <a:ext cx="1272174" cy="705585"/>
          </a:xfrm>
          <a:prstGeom prst="rect">
            <a:avLst/>
          </a:prstGeom>
        </p:spPr>
      </p:pic>
      <p:sp>
        <p:nvSpPr>
          <p:cNvPr id="18" name="タイトル プレースホルダ 1">
            <a:extLst>
              <a:ext uri="{FF2B5EF4-FFF2-40B4-BE49-F238E27FC236}">
                <a16:creationId xmlns="" xmlns:a16="http://schemas.microsoft.com/office/drawing/2014/main" id="{4FBB8310-69E6-7C4E-A4B1-C022B6FEE2CE}"/>
              </a:ext>
            </a:extLst>
          </p:cNvPr>
          <p:cNvSpPr>
            <a:spLocks noGrp="1"/>
          </p:cNvSpPr>
          <p:nvPr>
            <p:ph type="title" hasCustomPrompt="1"/>
          </p:nvPr>
        </p:nvSpPr>
        <p:spPr>
          <a:xfrm>
            <a:off x="454559" y="121208"/>
            <a:ext cx="7455190" cy="51435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 xmlns:a16="http://schemas.microsoft.com/office/drawing/2014/main" id="{4EF39473-C435-3C4E-9C7B-048D52C3CC92}"/>
              </a:ext>
            </a:extLst>
          </p:cNvPr>
          <p:cNvSpPr>
            <a:spLocks noGrp="1"/>
          </p:cNvSpPr>
          <p:nvPr>
            <p:ph type="ftr" sz="quarter" idx="3"/>
          </p:nvPr>
        </p:nvSpPr>
        <p:spPr>
          <a:xfrm>
            <a:off x="5824538" y="4892251"/>
            <a:ext cx="3086100" cy="147098"/>
          </a:xfrm>
          <a:prstGeom prst="rect">
            <a:avLst/>
          </a:prstGeom>
        </p:spPr>
        <p:txBody>
          <a:bodyPr vert="horz" lIns="68526" tIns="34289" rIns="0" bIns="34289" rtlCol="0" anchor="ctr"/>
          <a:lstStyle>
            <a:lvl1pPr algn="r">
              <a:defRPr sz="600" b="1" spc="75" baseline="0">
                <a:solidFill>
                  <a:schemeClr val="tx1"/>
                </a:solidFill>
              </a:defRPr>
            </a:lvl1pPr>
          </a:lstStyle>
          <a:p>
            <a:r>
              <a:rPr lang="en-US">
                <a:solidFill>
                  <a:srgbClr val="34373F"/>
                </a:solidFill>
              </a:rPr>
              <a:t> </a:t>
            </a:r>
            <a:endParaRPr lang="x-none">
              <a:solidFill>
                <a:srgbClr val="34373F"/>
              </a:solidFill>
            </a:endParaRPr>
          </a:p>
        </p:txBody>
      </p:sp>
      <p:sp>
        <p:nvSpPr>
          <p:cNvPr id="21" name="Rectangle 20">
            <a:extLst>
              <a:ext uri="{FF2B5EF4-FFF2-40B4-BE49-F238E27FC236}">
                <a16:creationId xmlns="" xmlns:a16="http://schemas.microsoft.com/office/drawing/2014/main" id="{0FEF9AE6-D84E-9F43-9506-6676EC51B210}"/>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26" tIns="34289" rIns="68526" bIns="34289" rtlCol="0" anchor="ctr"/>
          <a:lstStyle/>
          <a:p>
            <a:pPr algn="ctr" defTabSz="685188"/>
            <a:endParaRPr kumimoji="1" lang="x-none" sz="1400">
              <a:solidFill>
                <a:srgbClr val="E1242A"/>
              </a:solidFill>
            </a:endParaRPr>
          </a:p>
        </p:txBody>
      </p:sp>
      <p:sp>
        <p:nvSpPr>
          <p:cNvPr id="28" name="スライド番号プレースホルダ 5">
            <a:extLst>
              <a:ext uri="{FF2B5EF4-FFF2-40B4-BE49-F238E27FC236}">
                <a16:creationId xmlns="" xmlns:a16="http://schemas.microsoft.com/office/drawing/2014/main" id="{F964ADE6-9B0D-EC45-959C-FEEA5CDDFBA9}"/>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3298"/>
            <a:fld id="{E9B57936-92EF-4126-AE48-1D9D36D15E98}" type="slidenum">
              <a:rPr lang="ja-JP" altLang="en-US" smtClean="0">
                <a:solidFill>
                  <a:srgbClr val="34373F"/>
                </a:solidFill>
              </a:rPr>
              <a:pPr defTabSz="913298"/>
              <a:t>‹Nº›</a:t>
            </a:fld>
            <a:endParaRPr lang="ja-JP" altLang="en-US">
              <a:solidFill>
                <a:srgbClr val="34373F"/>
              </a:solidFill>
            </a:endParaRPr>
          </a:p>
        </p:txBody>
      </p:sp>
      <p:sp>
        <p:nvSpPr>
          <p:cNvPr id="29" name="Text Placeholder 6">
            <a:extLst>
              <a:ext uri="{FF2B5EF4-FFF2-40B4-BE49-F238E27FC236}">
                <a16:creationId xmlns="" xmlns:a16="http://schemas.microsoft.com/office/drawing/2014/main" id="{870D8562-3CE7-7044-9BB0-2068A81BF5CB}"/>
              </a:ext>
            </a:extLst>
          </p:cNvPr>
          <p:cNvSpPr>
            <a:spLocks noGrp="1"/>
          </p:cNvSpPr>
          <p:nvPr>
            <p:ph type="body" sz="quarter" idx="16" hasCustomPrompt="1"/>
          </p:nvPr>
        </p:nvSpPr>
        <p:spPr>
          <a:xfrm>
            <a:off x="454559" y="4892253"/>
            <a:ext cx="5226261" cy="154210"/>
          </a:xfrm>
          <a:prstGeom prst="rect">
            <a:avLst/>
          </a:prstGeom>
        </p:spPr>
        <p:txBody>
          <a:bodyPr wrap="none" tIns="0" rIns="0" bIns="53964" numCol="1" anchor="ctr">
            <a:noAutofit/>
          </a:bodyPr>
          <a:lstStyle>
            <a:lvl1pPr marL="0" indent="0">
              <a:lnSpc>
                <a:spcPts val="1200"/>
              </a:lnSpc>
              <a:spcBef>
                <a:spcPts val="0"/>
              </a:spcBef>
              <a:spcAft>
                <a:spcPts val="450"/>
              </a:spcAft>
              <a:buFont typeface="Arial" panose="020B0604020202020204" pitchFamily="34" charset="0"/>
              <a:buNone/>
              <a:defRPr sz="600" b="0">
                <a:solidFill>
                  <a:schemeClr val="accent3"/>
                </a:solidFill>
              </a:defRPr>
            </a:lvl1pPr>
            <a:lvl2pPr marL="342479" indent="0">
              <a:lnSpc>
                <a:spcPts val="1350"/>
              </a:lnSpc>
              <a:spcBef>
                <a:spcPts val="0"/>
              </a:spcBef>
              <a:buNone/>
              <a:defRPr sz="1100"/>
            </a:lvl2pPr>
            <a:lvl3pPr marL="685000" indent="0">
              <a:lnSpc>
                <a:spcPts val="1350"/>
              </a:lnSpc>
              <a:spcBef>
                <a:spcPts val="0"/>
              </a:spcBef>
              <a:buNone/>
              <a:defRPr sz="1100"/>
            </a:lvl3pPr>
            <a:lvl4pPr marL="1027496" indent="0">
              <a:lnSpc>
                <a:spcPts val="1350"/>
              </a:lnSpc>
              <a:spcBef>
                <a:spcPts val="0"/>
              </a:spcBef>
              <a:buNone/>
              <a:defRPr sz="1100"/>
            </a:lvl4pPr>
            <a:lvl5pPr marL="1369994" indent="0">
              <a:lnSpc>
                <a:spcPts val="1350"/>
              </a:lnSpc>
              <a:spcBef>
                <a:spcPts val="0"/>
              </a:spcBef>
              <a:buNone/>
              <a:defRPr sz="1100"/>
            </a:lvl5pPr>
          </a:lstStyle>
          <a:p>
            <a:pPr lvl="0"/>
            <a:r>
              <a:rPr lang="en-US"/>
              <a:t>Private and confidential. For internal use only.</a:t>
            </a:r>
          </a:p>
        </p:txBody>
      </p:sp>
      <p:sp>
        <p:nvSpPr>
          <p:cNvPr id="19" name="Text Placeholder 2">
            <a:extLst>
              <a:ext uri="{FF2B5EF4-FFF2-40B4-BE49-F238E27FC236}">
                <a16:creationId xmlns="" xmlns:a16="http://schemas.microsoft.com/office/drawing/2014/main" id="{099C450B-0755-7D4A-9672-E700D6F2E50A}"/>
              </a:ext>
            </a:extLst>
          </p:cNvPr>
          <p:cNvSpPr>
            <a:spLocks noGrp="1"/>
          </p:cNvSpPr>
          <p:nvPr>
            <p:ph type="body" sz="quarter" idx="21" hasCustomPrompt="1"/>
          </p:nvPr>
        </p:nvSpPr>
        <p:spPr>
          <a:xfrm>
            <a:off x="233365" y="1118532"/>
            <a:ext cx="8677274" cy="1098718"/>
          </a:xfrm>
        </p:spPr>
        <p:txBody>
          <a:bodyPr tIns="0" rIns="0" bIns="0" numCol="1" spcCol="94428">
            <a:noAutofit/>
          </a:bodyPr>
          <a:lstStyle>
            <a:lvl1pPr marL="0" indent="0">
              <a:lnSpc>
                <a:spcPct val="100000"/>
              </a:lnSpc>
              <a:spcBef>
                <a:spcPts val="0"/>
              </a:spcBef>
              <a:buNone/>
              <a:defRPr sz="1200" b="1"/>
            </a:lvl1pPr>
            <a:lvl2pPr marL="342479" indent="0">
              <a:buNone/>
              <a:defRPr sz="1400" b="1"/>
            </a:lvl2pPr>
            <a:lvl3pPr marL="685000" indent="0">
              <a:buNone/>
              <a:defRPr sz="1400" b="1"/>
            </a:lvl3pPr>
            <a:lvl4pPr marL="1027496" indent="0">
              <a:buNone/>
              <a:defRPr sz="1400" b="1"/>
            </a:lvl4pPr>
            <a:lvl5pPr marL="1369994" indent="0">
              <a:buNone/>
              <a:defRPr sz="1400" b="1"/>
            </a:lvl5pPr>
          </a:lstStyle>
          <a:p>
            <a:pPr lvl="0"/>
            <a:r>
              <a:rPr lang="en-US"/>
              <a:t>This is your Primary Text.</a:t>
            </a:r>
            <a:endParaRPr lang="x-none"/>
          </a:p>
        </p:txBody>
      </p:sp>
      <p:sp>
        <p:nvSpPr>
          <p:cNvPr id="20" name="Text Placeholder 6">
            <a:extLst>
              <a:ext uri="{FF2B5EF4-FFF2-40B4-BE49-F238E27FC236}">
                <a16:creationId xmlns="" xmlns:a16="http://schemas.microsoft.com/office/drawing/2014/main" id="{705B1BEB-AC9F-9643-A446-ABE1DDB96144}"/>
              </a:ext>
            </a:extLst>
          </p:cNvPr>
          <p:cNvSpPr>
            <a:spLocks noGrp="1"/>
          </p:cNvSpPr>
          <p:nvPr>
            <p:ph type="body" sz="quarter" idx="22" hasCustomPrompt="1"/>
          </p:nvPr>
        </p:nvSpPr>
        <p:spPr>
          <a:xfrm>
            <a:off x="233362" y="820327"/>
            <a:ext cx="8677274" cy="204590"/>
          </a:xfrm>
        </p:spPr>
        <p:txBody>
          <a:bodyPr tIns="0" rIns="0" bIns="0" numCol="1">
            <a:noAutofit/>
          </a:bodyPr>
          <a:lstStyle>
            <a:lvl1pPr marL="0" indent="0">
              <a:lnSpc>
                <a:spcPct val="100000"/>
              </a:lnSpc>
              <a:spcBef>
                <a:spcPts val="0"/>
              </a:spcBef>
              <a:spcAft>
                <a:spcPts val="450"/>
              </a:spcAft>
              <a:buNone/>
              <a:defRPr sz="1500" b="1">
                <a:solidFill>
                  <a:schemeClr val="accent1"/>
                </a:solidFill>
              </a:defRPr>
            </a:lvl1pPr>
            <a:lvl2pPr marL="342479" indent="0">
              <a:lnSpc>
                <a:spcPts val="1350"/>
              </a:lnSpc>
              <a:spcBef>
                <a:spcPts val="0"/>
              </a:spcBef>
              <a:buNone/>
              <a:defRPr sz="1100"/>
            </a:lvl2pPr>
            <a:lvl3pPr marL="685000" indent="0">
              <a:lnSpc>
                <a:spcPts val="1350"/>
              </a:lnSpc>
              <a:spcBef>
                <a:spcPts val="0"/>
              </a:spcBef>
              <a:buNone/>
              <a:defRPr sz="1100"/>
            </a:lvl3pPr>
            <a:lvl4pPr marL="1027496" indent="0">
              <a:lnSpc>
                <a:spcPts val="1350"/>
              </a:lnSpc>
              <a:spcBef>
                <a:spcPts val="0"/>
              </a:spcBef>
              <a:buNone/>
              <a:defRPr sz="1100"/>
            </a:lvl4pPr>
            <a:lvl5pPr marL="1369994" indent="0">
              <a:lnSpc>
                <a:spcPts val="1350"/>
              </a:lnSpc>
              <a:spcBef>
                <a:spcPts val="0"/>
              </a:spcBef>
              <a:buNone/>
              <a:defRPr sz="1100"/>
            </a:lvl5pPr>
          </a:lstStyle>
          <a:p>
            <a:pPr lvl="0"/>
            <a:r>
              <a:rPr lang="en-US"/>
              <a:t>This is your Primary Title</a:t>
            </a:r>
          </a:p>
        </p:txBody>
      </p:sp>
    </p:spTree>
    <p:extLst>
      <p:ext uri="{BB962C8B-B14F-4D97-AF65-F5344CB8AC3E}">
        <p14:creationId xmlns:p14="http://schemas.microsoft.com/office/powerpoint/2010/main" val="3910069282"/>
      </p:ext>
    </p:extLst>
  </p:cSld>
  <p:clrMapOvr>
    <a:masterClrMapping/>
  </p:clrMapOvr>
  <p:transition spd="slow">
    <p:push dir="u"/>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Advanced Chart Full Width">
    <p:spTree>
      <p:nvGrpSpPr>
        <p:cNvPr id="1" name=""/>
        <p:cNvGrpSpPr/>
        <p:nvPr/>
      </p:nvGrpSpPr>
      <p:grpSpPr>
        <a:xfrm>
          <a:off x="0" y="0"/>
          <a:ext cx="0" cy="0"/>
          <a:chOff x="0" y="0"/>
          <a:chExt cx="0" cy="0"/>
        </a:xfrm>
      </p:grpSpPr>
      <p:sp>
        <p:nvSpPr>
          <p:cNvPr id="8" name="Chart Placeholder 7">
            <a:extLst>
              <a:ext uri="{FF2B5EF4-FFF2-40B4-BE49-F238E27FC236}">
                <a16:creationId xmlns="" xmlns:a16="http://schemas.microsoft.com/office/drawing/2014/main" id="{A6D4E593-FDCC-D14E-9C5E-5F309E415C26}"/>
              </a:ext>
            </a:extLst>
          </p:cNvPr>
          <p:cNvSpPr>
            <a:spLocks noGrp="1"/>
          </p:cNvSpPr>
          <p:nvPr>
            <p:ph type="chart" sz="quarter" idx="21" hasCustomPrompt="1"/>
          </p:nvPr>
        </p:nvSpPr>
        <p:spPr>
          <a:xfrm>
            <a:off x="231917" y="2307216"/>
            <a:ext cx="8678721" cy="2505292"/>
          </a:xfrm>
          <a:prstGeom prst="rect">
            <a:avLst/>
          </a:prstGeom>
        </p:spPr>
        <p:txBody>
          <a:bodyPr>
            <a:normAutofit/>
          </a:bodyPr>
          <a:lstStyle>
            <a:lvl1pPr marL="0" indent="0">
              <a:buNone/>
              <a:defRPr sz="1100"/>
            </a:lvl1pPr>
          </a:lstStyle>
          <a:p>
            <a:r>
              <a:rPr lang="x-none"/>
              <a:t>Insert Chart</a:t>
            </a:r>
          </a:p>
        </p:txBody>
      </p:sp>
      <p:pic>
        <p:nvPicPr>
          <p:cNvPr id="11" name="Picture 10" descr="Takeda">
            <a:extLst>
              <a:ext uri="{FF2B5EF4-FFF2-40B4-BE49-F238E27FC236}">
                <a16:creationId xmlns="" xmlns:a16="http://schemas.microsoft.com/office/drawing/2014/main" id="{7EBA21A8-EE4B-6E4B-A794-3FEA5B1599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09748" y="-1211"/>
            <a:ext cx="1272174" cy="705585"/>
          </a:xfrm>
          <a:prstGeom prst="rect">
            <a:avLst/>
          </a:prstGeom>
        </p:spPr>
      </p:pic>
      <p:sp>
        <p:nvSpPr>
          <p:cNvPr id="12" name="タイトル プレースホルダ 1">
            <a:extLst>
              <a:ext uri="{FF2B5EF4-FFF2-40B4-BE49-F238E27FC236}">
                <a16:creationId xmlns="" xmlns:a16="http://schemas.microsoft.com/office/drawing/2014/main" id="{75E45CD2-2EBD-AE47-837E-9F752C565F73}"/>
              </a:ext>
            </a:extLst>
          </p:cNvPr>
          <p:cNvSpPr>
            <a:spLocks noGrp="1"/>
          </p:cNvSpPr>
          <p:nvPr>
            <p:ph type="title" hasCustomPrompt="1"/>
          </p:nvPr>
        </p:nvSpPr>
        <p:spPr>
          <a:xfrm>
            <a:off x="454559" y="121208"/>
            <a:ext cx="7455190" cy="51435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 xmlns:a16="http://schemas.microsoft.com/office/drawing/2014/main" id="{2DC26CE8-1DEF-EE42-861C-B0406E8DC23D}"/>
              </a:ext>
            </a:extLst>
          </p:cNvPr>
          <p:cNvSpPr>
            <a:spLocks noGrp="1"/>
          </p:cNvSpPr>
          <p:nvPr>
            <p:ph type="ftr" sz="quarter" idx="3"/>
          </p:nvPr>
        </p:nvSpPr>
        <p:spPr>
          <a:xfrm>
            <a:off x="5824538" y="4892251"/>
            <a:ext cx="3086100" cy="147098"/>
          </a:xfrm>
          <a:prstGeom prst="rect">
            <a:avLst/>
          </a:prstGeom>
        </p:spPr>
        <p:txBody>
          <a:bodyPr vert="horz" lIns="68526" tIns="34289" rIns="0" bIns="34289" rtlCol="0" anchor="ctr"/>
          <a:lstStyle>
            <a:lvl1pPr algn="r">
              <a:defRPr sz="600" b="1" spc="75" baseline="0">
                <a:solidFill>
                  <a:schemeClr val="tx1"/>
                </a:solidFill>
              </a:defRPr>
            </a:lvl1pPr>
          </a:lstStyle>
          <a:p>
            <a:r>
              <a:rPr lang="x-none">
                <a:solidFill>
                  <a:srgbClr val="34373F"/>
                </a:solidFill>
              </a:rPr>
              <a:t> </a:t>
            </a:r>
          </a:p>
        </p:txBody>
      </p:sp>
      <p:sp>
        <p:nvSpPr>
          <p:cNvPr id="20" name="Rectangle 19">
            <a:extLst>
              <a:ext uri="{FF2B5EF4-FFF2-40B4-BE49-F238E27FC236}">
                <a16:creationId xmlns="" xmlns:a16="http://schemas.microsoft.com/office/drawing/2014/main" id="{4436966D-3DF0-4D41-9D26-4860D147F807}"/>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26" tIns="34289" rIns="68526" bIns="34289" rtlCol="0" anchor="ctr"/>
          <a:lstStyle/>
          <a:p>
            <a:pPr algn="ctr" defTabSz="685188"/>
            <a:endParaRPr kumimoji="1" lang="x-none" sz="1400">
              <a:solidFill>
                <a:srgbClr val="E1242A"/>
              </a:solidFill>
            </a:endParaRPr>
          </a:p>
        </p:txBody>
      </p:sp>
      <p:sp>
        <p:nvSpPr>
          <p:cNvPr id="23" name="スライド番号プレースホルダ 5">
            <a:extLst>
              <a:ext uri="{FF2B5EF4-FFF2-40B4-BE49-F238E27FC236}">
                <a16:creationId xmlns="" xmlns:a16="http://schemas.microsoft.com/office/drawing/2014/main" id="{600920FB-2D44-F645-865D-89FFECB09573}"/>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3298"/>
            <a:fld id="{E9B57936-92EF-4126-AE48-1D9D36D15E98}" type="slidenum">
              <a:rPr lang="ja-JP" altLang="en-US" smtClean="0">
                <a:solidFill>
                  <a:srgbClr val="34373F"/>
                </a:solidFill>
              </a:rPr>
              <a:pPr defTabSz="913298"/>
              <a:t>‹Nº›</a:t>
            </a:fld>
            <a:endParaRPr lang="ja-JP" altLang="en-US">
              <a:solidFill>
                <a:srgbClr val="34373F"/>
              </a:solidFill>
            </a:endParaRPr>
          </a:p>
        </p:txBody>
      </p:sp>
      <p:sp>
        <p:nvSpPr>
          <p:cNvPr id="24" name="Text Placeholder 6">
            <a:extLst>
              <a:ext uri="{FF2B5EF4-FFF2-40B4-BE49-F238E27FC236}">
                <a16:creationId xmlns="" xmlns:a16="http://schemas.microsoft.com/office/drawing/2014/main" id="{07DE8F7E-1418-1C4C-A62B-2385714992F7}"/>
              </a:ext>
            </a:extLst>
          </p:cNvPr>
          <p:cNvSpPr>
            <a:spLocks noGrp="1"/>
          </p:cNvSpPr>
          <p:nvPr>
            <p:ph type="body" sz="quarter" idx="16" hasCustomPrompt="1"/>
          </p:nvPr>
        </p:nvSpPr>
        <p:spPr>
          <a:xfrm>
            <a:off x="454559" y="4892253"/>
            <a:ext cx="5226261" cy="154210"/>
          </a:xfrm>
          <a:prstGeom prst="rect">
            <a:avLst/>
          </a:prstGeom>
        </p:spPr>
        <p:txBody>
          <a:bodyPr wrap="none" tIns="0" rIns="0" bIns="53964" numCol="1" anchor="ctr">
            <a:noAutofit/>
          </a:bodyPr>
          <a:lstStyle>
            <a:lvl1pPr marL="0" indent="0">
              <a:lnSpc>
                <a:spcPts val="1200"/>
              </a:lnSpc>
              <a:spcBef>
                <a:spcPts val="0"/>
              </a:spcBef>
              <a:spcAft>
                <a:spcPts val="450"/>
              </a:spcAft>
              <a:buFont typeface="Arial" panose="020B0604020202020204" pitchFamily="34" charset="0"/>
              <a:buNone/>
              <a:defRPr sz="600" b="0">
                <a:solidFill>
                  <a:schemeClr val="accent3"/>
                </a:solidFill>
              </a:defRPr>
            </a:lvl1pPr>
            <a:lvl2pPr marL="342479" indent="0">
              <a:lnSpc>
                <a:spcPts val="1350"/>
              </a:lnSpc>
              <a:spcBef>
                <a:spcPts val="0"/>
              </a:spcBef>
              <a:buNone/>
              <a:defRPr sz="1100"/>
            </a:lvl2pPr>
            <a:lvl3pPr marL="685000" indent="0">
              <a:lnSpc>
                <a:spcPts val="1350"/>
              </a:lnSpc>
              <a:spcBef>
                <a:spcPts val="0"/>
              </a:spcBef>
              <a:buNone/>
              <a:defRPr sz="1100"/>
            </a:lvl3pPr>
            <a:lvl4pPr marL="1027496" indent="0">
              <a:lnSpc>
                <a:spcPts val="1350"/>
              </a:lnSpc>
              <a:spcBef>
                <a:spcPts val="0"/>
              </a:spcBef>
              <a:buNone/>
              <a:defRPr sz="1100"/>
            </a:lvl4pPr>
            <a:lvl5pPr marL="1369994" indent="0">
              <a:lnSpc>
                <a:spcPts val="1350"/>
              </a:lnSpc>
              <a:spcBef>
                <a:spcPts val="0"/>
              </a:spcBef>
              <a:buNone/>
              <a:defRPr sz="1100"/>
            </a:lvl5pPr>
          </a:lstStyle>
          <a:p>
            <a:pPr lvl="0"/>
            <a:r>
              <a:rPr lang="en-US"/>
              <a:t>Private and confidential. For internal use only.</a:t>
            </a:r>
          </a:p>
        </p:txBody>
      </p:sp>
      <p:sp>
        <p:nvSpPr>
          <p:cNvPr id="14" name="Text Placeholder 2">
            <a:extLst>
              <a:ext uri="{FF2B5EF4-FFF2-40B4-BE49-F238E27FC236}">
                <a16:creationId xmlns="" xmlns:a16="http://schemas.microsoft.com/office/drawing/2014/main" id="{628A960D-6A45-6744-9BDB-7070B443CC64}"/>
              </a:ext>
            </a:extLst>
          </p:cNvPr>
          <p:cNvSpPr>
            <a:spLocks noGrp="1"/>
          </p:cNvSpPr>
          <p:nvPr>
            <p:ph type="body" sz="quarter" idx="20" hasCustomPrompt="1"/>
          </p:nvPr>
        </p:nvSpPr>
        <p:spPr>
          <a:xfrm>
            <a:off x="233365" y="1118532"/>
            <a:ext cx="8677274" cy="1098718"/>
          </a:xfrm>
        </p:spPr>
        <p:txBody>
          <a:bodyPr tIns="0" rIns="0" bIns="0" numCol="1" spcCol="94428">
            <a:noAutofit/>
          </a:bodyPr>
          <a:lstStyle>
            <a:lvl1pPr marL="0" indent="0">
              <a:lnSpc>
                <a:spcPct val="100000"/>
              </a:lnSpc>
              <a:spcBef>
                <a:spcPts val="0"/>
              </a:spcBef>
              <a:buNone/>
              <a:defRPr sz="1200" b="1"/>
            </a:lvl1pPr>
            <a:lvl2pPr marL="342479" indent="0">
              <a:buNone/>
              <a:defRPr sz="1400" b="1"/>
            </a:lvl2pPr>
            <a:lvl3pPr marL="685000" indent="0">
              <a:buNone/>
              <a:defRPr sz="1400" b="1"/>
            </a:lvl3pPr>
            <a:lvl4pPr marL="1027496" indent="0">
              <a:buNone/>
              <a:defRPr sz="1400" b="1"/>
            </a:lvl4pPr>
            <a:lvl5pPr marL="1369994" indent="0">
              <a:buNone/>
              <a:defRPr sz="1400" b="1"/>
            </a:lvl5pPr>
          </a:lstStyle>
          <a:p>
            <a:pPr lvl="0"/>
            <a:r>
              <a:rPr lang="en-US"/>
              <a:t>This is your Primary Text.</a:t>
            </a:r>
            <a:endParaRPr lang="x-none"/>
          </a:p>
        </p:txBody>
      </p:sp>
      <p:sp>
        <p:nvSpPr>
          <p:cNvPr id="15" name="Text Placeholder 6">
            <a:extLst>
              <a:ext uri="{FF2B5EF4-FFF2-40B4-BE49-F238E27FC236}">
                <a16:creationId xmlns="" xmlns:a16="http://schemas.microsoft.com/office/drawing/2014/main" id="{21493179-5EA4-604B-A9DF-BDA818F0166A}"/>
              </a:ext>
            </a:extLst>
          </p:cNvPr>
          <p:cNvSpPr>
            <a:spLocks noGrp="1"/>
          </p:cNvSpPr>
          <p:nvPr>
            <p:ph type="body" sz="quarter" idx="22" hasCustomPrompt="1"/>
          </p:nvPr>
        </p:nvSpPr>
        <p:spPr>
          <a:xfrm>
            <a:off x="233362" y="820327"/>
            <a:ext cx="8677274" cy="204590"/>
          </a:xfrm>
        </p:spPr>
        <p:txBody>
          <a:bodyPr tIns="0" rIns="0" bIns="0" numCol="1">
            <a:noAutofit/>
          </a:bodyPr>
          <a:lstStyle>
            <a:lvl1pPr marL="0" indent="0">
              <a:lnSpc>
                <a:spcPct val="100000"/>
              </a:lnSpc>
              <a:spcBef>
                <a:spcPts val="0"/>
              </a:spcBef>
              <a:spcAft>
                <a:spcPts val="450"/>
              </a:spcAft>
              <a:buNone/>
              <a:defRPr sz="1500" b="1">
                <a:solidFill>
                  <a:schemeClr val="accent1"/>
                </a:solidFill>
              </a:defRPr>
            </a:lvl1pPr>
            <a:lvl2pPr marL="342479" indent="0">
              <a:lnSpc>
                <a:spcPts val="1350"/>
              </a:lnSpc>
              <a:spcBef>
                <a:spcPts val="0"/>
              </a:spcBef>
              <a:buNone/>
              <a:defRPr sz="1100"/>
            </a:lvl2pPr>
            <a:lvl3pPr marL="685000" indent="0">
              <a:lnSpc>
                <a:spcPts val="1350"/>
              </a:lnSpc>
              <a:spcBef>
                <a:spcPts val="0"/>
              </a:spcBef>
              <a:buNone/>
              <a:defRPr sz="1100"/>
            </a:lvl3pPr>
            <a:lvl4pPr marL="1027496" indent="0">
              <a:lnSpc>
                <a:spcPts val="1350"/>
              </a:lnSpc>
              <a:spcBef>
                <a:spcPts val="0"/>
              </a:spcBef>
              <a:buNone/>
              <a:defRPr sz="1100"/>
            </a:lvl4pPr>
            <a:lvl5pPr marL="1369994" indent="0">
              <a:lnSpc>
                <a:spcPts val="1350"/>
              </a:lnSpc>
              <a:spcBef>
                <a:spcPts val="0"/>
              </a:spcBef>
              <a:buNone/>
              <a:defRPr sz="1100"/>
            </a:lvl5pPr>
          </a:lstStyle>
          <a:p>
            <a:pPr lvl="0"/>
            <a:r>
              <a:rPr lang="en-US"/>
              <a:t>This is your Primary Title</a:t>
            </a:r>
          </a:p>
        </p:txBody>
      </p:sp>
    </p:spTree>
    <p:extLst>
      <p:ext uri="{BB962C8B-B14F-4D97-AF65-F5344CB8AC3E}">
        <p14:creationId xmlns:p14="http://schemas.microsoft.com/office/powerpoint/2010/main" val="3645095561"/>
      </p:ext>
    </p:extLst>
  </p:cSld>
  <p:clrMapOvr>
    <a:masterClrMapping/>
  </p:clrMapOvr>
  <p:transition spd="slow">
    <p:push dir="u"/>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Advanced Chart 2/3">
    <p:spTree>
      <p:nvGrpSpPr>
        <p:cNvPr id="1" name=""/>
        <p:cNvGrpSpPr/>
        <p:nvPr/>
      </p:nvGrpSpPr>
      <p:grpSpPr>
        <a:xfrm>
          <a:off x="0" y="0"/>
          <a:ext cx="0" cy="0"/>
          <a:chOff x="0" y="0"/>
          <a:chExt cx="0" cy="0"/>
        </a:xfrm>
      </p:grpSpPr>
      <p:sp>
        <p:nvSpPr>
          <p:cNvPr id="8" name="Chart Placeholder 7">
            <a:extLst>
              <a:ext uri="{FF2B5EF4-FFF2-40B4-BE49-F238E27FC236}">
                <a16:creationId xmlns="" xmlns:a16="http://schemas.microsoft.com/office/drawing/2014/main" id="{A6D4E593-FDCC-D14E-9C5E-5F309E415C26}"/>
              </a:ext>
            </a:extLst>
          </p:cNvPr>
          <p:cNvSpPr>
            <a:spLocks noGrp="1"/>
          </p:cNvSpPr>
          <p:nvPr>
            <p:ph type="chart" sz="quarter" idx="21" hasCustomPrompt="1"/>
          </p:nvPr>
        </p:nvSpPr>
        <p:spPr>
          <a:xfrm>
            <a:off x="3170429" y="820325"/>
            <a:ext cx="5740219" cy="3992181"/>
          </a:xfrm>
          <a:prstGeom prst="rect">
            <a:avLst/>
          </a:prstGeom>
        </p:spPr>
        <p:txBody>
          <a:bodyPr>
            <a:normAutofit/>
          </a:bodyPr>
          <a:lstStyle>
            <a:lvl1pPr marL="0" indent="0">
              <a:buNone/>
              <a:defRPr sz="1100"/>
            </a:lvl1pPr>
          </a:lstStyle>
          <a:p>
            <a:r>
              <a:rPr lang="x-none"/>
              <a:t>Insert Chart</a:t>
            </a:r>
          </a:p>
        </p:txBody>
      </p:sp>
      <p:sp>
        <p:nvSpPr>
          <p:cNvPr id="9" name="Text Placeholder 6">
            <a:extLst>
              <a:ext uri="{FF2B5EF4-FFF2-40B4-BE49-F238E27FC236}">
                <a16:creationId xmlns="" xmlns:a16="http://schemas.microsoft.com/office/drawing/2014/main" id="{EF65D74B-37DA-0D46-8B56-9B362C84E6B9}"/>
              </a:ext>
            </a:extLst>
          </p:cNvPr>
          <p:cNvSpPr>
            <a:spLocks noGrp="1"/>
          </p:cNvSpPr>
          <p:nvPr>
            <p:ph type="body" sz="quarter" idx="14" hasCustomPrompt="1"/>
          </p:nvPr>
        </p:nvSpPr>
        <p:spPr>
          <a:xfrm>
            <a:off x="233367" y="2383723"/>
            <a:ext cx="2813975" cy="204590"/>
          </a:xfrm>
          <a:prstGeom prst="rect">
            <a:avLst/>
          </a:prstGeom>
        </p:spPr>
        <p:txBody>
          <a:bodyPr tIns="0" rIns="0" bIns="0" numCol="1">
            <a:noAutofit/>
          </a:bodyPr>
          <a:lstStyle>
            <a:lvl1pPr marL="0" indent="0">
              <a:lnSpc>
                <a:spcPct val="100000"/>
              </a:lnSpc>
              <a:spcBef>
                <a:spcPts val="0"/>
              </a:spcBef>
              <a:spcAft>
                <a:spcPts val="450"/>
              </a:spcAft>
              <a:buNone/>
              <a:defRPr sz="1400" b="1">
                <a:solidFill>
                  <a:schemeClr val="accent1"/>
                </a:solidFill>
              </a:defRPr>
            </a:lvl1pPr>
            <a:lvl2pPr marL="342479" indent="0">
              <a:lnSpc>
                <a:spcPts val="1350"/>
              </a:lnSpc>
              <a:spcBef>
                <a:spcPts val="0"/>
              </a:spcBef>
              <a:buNone/>
              <a:defRPr sz="1100"/>
            </a:lvl2pPr>
            <a:lvl3pPr marL="685000" indent="0">
              <a:lnSpc>
                <a:spcPts val="1350"/>
              </a:lnSpc>
              <a:spcBef>
                <a:spcPts val="0"/>
              </a:spcBef>
              <a:buNone/>
              <a:defRPr sz="1100"/>
            </a:lvl3pPr>
            <a:lvl4pPr marL="1027496" indent="0">
              <a:lnSpc>
                <a:spcPts val="1350"/>
              </a:lnSpc>
              <a:spcBef>
                <a:spcPts val="0"/>
              </a:spcBef>
              <a:buNone/>
              <a:defRPr sz="1100"/>
            </a:lvl4pPr>
            <a:lvl5pPr marL="1369994" indent="0">
              <a:lnSpc>
                <a:spcPts val="1350"/>
              </a:lnSpc>
              <a:spcBef>
                <a:spcPts val="0"/>
              </a:spcBef>
              <a:buNone/>
              <a:defRPr sz="1100"/>
            </a:lvl5pPr>
          </a:lstStyle>
          <a:p>
            <a:pPr lvl="0"/>
            <a:r>
              <a:rPr lang="en-US"/>
              <a:t>This is your Secondary Title</a:t>
            </a:r>
          </a:p>
        </p:txBody>
      </p:sp>
      <p:sp>
        <p:nvSpPr>
          <p:cNvPr id="10" name="Text Placeholder 6">
            <a:extLst>
              <a:ext uri="{FF2B5EF4-FFF2-40B4-BE49-F238E27FC236}">
                <a16:creationId xmlns="" xmlns:a16="http://schemas.microsoft.com/office/drawing/2014/main" id="{BF5F6A26-5AAA-884F-A319-DE9881530AA7}"/>
              </a:ext>
            </a:extLst>
          </p:cNvPr>
          <p:cNvSpPr>
            <a:spLocks noGrp="1"/>
          </p:cNvSpPr>
          <p:nvPr>
            <p:ph type="body" sz="quarter" idx="15" hasCustomPrompt="1"/>
          </p:nvPr>
        </p:nvSpPr>
        <p:spPr>
          <a:xfrm>
            <a:off x="233367" y="2681929"/>
            <a:ext cx="2813975" cy="2130578"/>
          </a:xfrm>
          <a:prstGeom prst="rect">
            <a:avLst/>
          </a:prstGeom>
        </p:spPr>
        <p:txBody>
          <a:bodyPr tIns="0" rIns="0" bIns="0" numCol="1">
            <a:noAutofit/>
          </a:bodyPr>
          <a:lstStyle>
            <a:lvl1pPr marL="128480" indent="-128480">
              <a:lnSpc>
                <a:spcPct val="100000"/>
              </a:lnSpc>
              <a:spcBef>
                <a:spcPts val="0"/>
              </a:spcBef>
              <a:spcAft>
                <a:spcPts val="450"/>
              </a:spcAft>
              <a:buFont typeface="Arial" panose="020B0604020202020204" pitchFamily="34" charset="0"/>
              <a:buChar char="•"/>
              <a:defRPr sz="1100" b="0">
                <a:solidFill>
                  <a:schemeClr val="tx1"/>
                </a:solidFill>
              </a:defRPr>
            </a:lvl1pPr>
            <a:lvl2pPr marL="342479" indent="0">
              <a:lnSpc>
                <a:spcPts val="1350"/>
              </a:lnSpc>
              <a:spcBef>
                <a:spcPts val="0"/>
              </a:spcBef>
              <a:buNone/>
              <a:defRPr sz="1100"/>
            </a:lvl2pPr>
            <a:lvl3pPr marL="685000" indent="0">
              <a:lnSpc>
                <a:spcPts val="1350"/>
              </a:lnSpc>
              <a:spcBef>
                <a:spcPts val="0"/>
              </a:spcBef>
              <a:buNone/>
              <a:defRPr sz="1100"/>
            </a:lvl3pPr>
            <a:lvl4pPr marL="1027496" indent="0">
              <a:lnSpc>
                <a:spcPts val="1350"/>
              </a:lnSpc>
              <a:spcBef>
                <a:spcPts val="0"/>
              </a:spcBef>
              <a:buNone/>
              <a:defRPr sz="1100"/>
            </a:lvl4pPr>
            <a:lvl5pPr marL="1369994" indent="0">
              <a:lnSpc>
                <a:spcPts val="1350"/>
              </a:lnSpc>
              <a:spcBef>
                <a:spcPts val="0"/>
              </a:spcBef>
              <a:buNone/>
              <a:defRPr sz="1100"/>
            </a:lvl5pPr>
          </a:lstStyle>
          <a:p>
            <a:pPr lvl="0"/>
            <a:r>
              <a:rPr lang="en-US"/>
              <a:t>This is your Secondary text.</a:t>
            </a:r>
          </a:p>
        </p:txBody>
      </p:sp>
      <p:pic>
        <p:nvPicPr>
          <p:cNvPr id="12" name="Picture 11" descr="Takeda">
            <a:extLst>
              <a:ext uri="{FF2B5EF4-FFF2-40B4-BE49-F238E27FC236}">
                <a16:creationId xmlns="" xmlns:a16="http://schemas.microsoft.com/office/drawing/2014/main" id="{5D7AA9CA-E651-9E48-B0F3-BDDA45B353E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09748" y="-1211"/>
            <a:ext cx="1272174" cy="705585"/>
          </a:xfrm>
          <a:prstGeom prst="rect">
            <a:avLst/>
          </a:prstGeom>
        </p:spPr>
      </p:pic>
      <p:sp>
        <p:nvSpPr>
          <p:cNvPr id="13" name="タイトル プレースホルダ 1">
            <a:extLst>
              <a:ext uri="{FF2B5EF4-FFF2-40B4-BE49-F238E27FC236}">
                <a16:creationId xmlns="" xmlns:a16="http://schemas.microsoft.com/office/drawing/2014/main" id="{2256F400-EDA8-7F44-BF13-278518497C9E}"/>
              </a:ext>
            </a:extLst>
          </p:cNvPr>
          <p:cNvSpPr>
            <a:spLocks noGrp="1"/>
          </p:cNvSpPr>
          <p:nvPr>
            <p:ph type="title" hasCustomPrompt="1"/>
          </p:nvPr>
        </p:nvSpPr>
        <p:spPr>
          <a:xfrm>
            <a:off x="454559" y="121208"/>
            <a:ext cx="7455190" cy="51435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5" name="Footer Placeholder 8">
            <a:extLst>
              <a:ext uri="{FF2B5EF4-FFF2-40B4-BE49-F238E27FC236}">
                <a16:creationId xmlns="" xmlns:a16="http://schemas.microsoft.com/office/drawing/2014/main" id="{7136781B-A49B-0A42-B748-01C379A12FF6}"/>
              </a:ext>
            </a:extLst>
          </p:cNvPr>
          <p:cNvSpPr>
            <a:spLocks noGrp="1"/>
          </p:cNvSpPr>
          <p:nvPr>
            <p:ph type="ftr" sz="quarter" idx="3"/>
          </p:nvPr>
        </p:nvSpPr>
        <p:spPr>
          <a:xfrm>
            <a:off x="5824538" y="4892251"/>
            <a:ext cx="3086100" cy="147098"/>
          </a:xfrm>
          <a:prstGeom prst="rect">
            <a:avLst/>
          </a:prstGeom>
        </p:spPr>
        <p:txBody>
          <a:bodyPr vert="horz" lIns="68526" tIns="34289" rIns="0" bIns="34289" rtlCol="0" anchor="ctr"/>
          <a:lstStyle>
            <a:lvl1pPr algn="r">
              <a:defRPr sz="600" b="1" spc="75" baseline="0">
                <a:solidFill>
                  <a:schemeClr val="tx1"/>
                </a:solidFill>
              </a:defRPr>
            </a:lvl1pPr>
          </a:lstStyle>
          <a:p>
            <a:r>
              <a:rPr lang="x-none">
                <a:solidFill>
                  <a:srgbClr val="34373F"/>
                </a:solidFill>
              </a:rPr>
              <a:t> </a:t>
            </a:r>
          </a:p>
        </p:txBody>
      </p:sp>
      <p:sp>
        <p:nvSpPr>
          <p:cNvPr id="21" name="Rectangle 20">
            <a:extLst>
              <a:ext uri="{FF2B5EF4-FFF2-40B4-BE49-F238E27FC236}">
                <a16:creationId xmlns="" xmlns:a16="http://schemas.microsoft.com/office/drawing/2014/main" id="{EAC2B0AC-7801-6C42-BA03-0669DC118159}"/>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26" tIns="34289" rIns="68526" bIns="34289" rtlCol="0" anchor="ctr"/>
          <a:lstStyle/>
          <a:p>
            <a:pPr algn="ctr" defTabSz="685188"/>
            <a:endParaRPr kumimoji="1" lang="x-none" sz="1400">
              <a:solidFill>
                <a:srgbClr val="E1242A"/>
              </a:solidFill>
            </a:endParaRPr>
          </a:p>
        </p:txBody>
      </p:sp>
      <p:sp>
        <p:nvSpPr>
          <p:cNvPr id="24" name="スライド番号プレースホルダ 5">
            <a:extLst>
              <a:ext uri="{FF2B5EF4-FFF2-40B4-BE49-F238E27FC236}">
                <a16:creationId xmlns="" xmlns:a16="http://schemas.microsoft.com/office/drawing/2014/main" id="{71FCF96E-3BB8-0745-B029-6B6BE4291274}"/>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3298"/>
            <a:fld id="{E9B57936-92EF-4126-AE48-1D9D36D15E98}" type="slidenum">
              <a:rPr lang="ja-JP" altLang="en-US" smtClean="0">
                <a:solidFill>
                  <a:srgbClr val="34373F"/>
                </a:solidFill>
              </a:rPr>
              <a:pPr defTabSz="913298"/>
              <a:t>‹Nº›</a:t>
            </a:fld>
            <a:endParaRPr lang="ja-JP" altLang="en-US">
              <a:solidFill>
                <a:srgbClr val="34373F"/>
              </a:solidFill>
            </a:endParaRPr>
          </a:p>
        </p:txBody>
      </p:sp>
      <p:sp>
        <p:nvSpPr>
          <p:cNvPr id="25" name="Text Placeholder 6">
            <a:extLst>
              <a:ext uri="{FF2B5EF4-FFF2-40B4-BE49-F238E27FC236}">
                <a16:creationId xmlns="" xmlns:a16="http://schemas.microsoft.com/office/drawing/2014/main" id="{875659DC-941F-AA40-8336-C3B1BF32BAD6}"/>
              </a:ext>
            </a:extLst>
          </p:cNvPr>
          <p:cNvSpPr>
            <a:spLocks noGrp="1"/>
          </p:cNvSpPr>
          <p:nvPr>
            <p:ph type="body" sz="quarter" idx="16" hasCustomPrompt="1"/>
          </p:nvPr>
        </p:nvSpPr>
        <p:spPr>
          <a:xfrm>
            <a:off x="454559" y="4892253"/>
            <a:ext cx="5226261" cy="154210"/>
          </a:xfrm>
          <a:prstGeom prst="rect">
            <a:avLst/>
          </a:prstGeom>
        </p:spPr>
        <p:txBody>
          <a:bodyPr wrap="none" tIns="0" rIns="0" bIns="53964" numCol="1" anchor="ctr">
            <a:noAutofit/>
          </a:bodyPr>
          <a:lstStyle>
            <a:lvl1pPr marL="0" indent="0">
              <a:lnSpc>
                <a:spcPts val="1200"/>
              </a:lnSpc>
              <a:spcBef>
                <a:spcPts val="0"/>
              </a:spcBef>
              <a:spcAft>
                <a:spcPts val="450"/>
              </a:spcAft>
              <a:buFont typeface="Arial" panose="020B0604020202020204" pitchFamily="34" charset="0"/>
              <a:buNone/>
              <a:defRPr sz="600" b="0">
                <a:solidFill>
                  <a:schemeClr val="accent3"/>
                </a:solidFill>
              </a:defRPr>
            </a:lvl1pPr>
            <a:lvl2pPr marL="342479" indent="0">
              <a:lnSpc>
                <a:spcPts val="1350"/>
              </a:lnSpc>
              <a:spcBef>
                <a:spcPts val="0"/>
              </a:spcBef>
              <a:buNone/>
              <a:defRPr sz="1100"/>
            </a:lvl2pPr>
            <a:lvl3pPr marL="685000" indent="0">
              <a:lnSpc>
                <a:spcPts val="1350"/>
              </a:lnSpc>
              <a:spcBef>
                <a:spcPts val="0"/>
              </a:spcBef>
              <a:buNone/>
              <a:defRPr sz="1100"/>
            </a:lvl3pPr>
            <a:lvl4pPr marL="1027496" indent="0">
              <a:lnSpc>
                <a:spcPts val="1350"/>
              </a:lnSpc>
              <a:spcBef>
                <a:spcPts val="0"/>
              </a:spcBef>
              <a:buNone/>
              <a:defRPr sz="1100"/>
            </a:lvl4pPr>
            <a:lvl5pPr marL="1369994" indent="0">
              <a:lnSpc>
                <a:spcPts val="1350"/>
              </a:lnSpc>
              <a:spcBef>
                <a:spcPts val="0"/>
              </a:spcBef>
              <a:buNone/>
              <a:defRPr sz="1100"/>
            </a:lvl5pPr>
          </a:lstStyle>
          <a:p>
            <a:pPr lvl="0"/>
            <a:r>
              <a:rPr lang="en-US"/>
              <a:t>Private and confidential. For internal use only.</a:t>
            </a:r>
          </a:p>
        </p:txBody>
      </p:sp>
      <p:sp>
        <p:nvSpPr>
          <p:cNvPr id="17" name="Text Placeholder 2">
            <a:extLst>
              <a:ext uri="{FF2B5EF4-FFF2-40B4-BE49-F238E27FC236}">
                <a16:creationId xmlns="" xmlns:a16="http://schemas.microsoft.com/office/drawing/2014/main" id="{45375A5A-6A84-7145-B49C-982F84619406}"/>
              </a:ext>
            </a:extLst>
          </p:cNvPr>
          <p:cNvSpPr>
            <a:spLocks noGrp="1"/>
          </p:cNvSpPr>
          <p:nvPr>
            <p:ph type="body" sz="quarter" idx="20" hasCustomPrompt="1"/>
          </p:nvPr>
        </p:nvSpPr>
        <p:spPr>
          <a:xfrm>
            <a:off x="233363" y="1118532"/>
            <a:ext cx="2813974" cy="1098718"/>
          </a:xfrm>
        </p:spPr>
        <p:txBody>
          <a:bodyPr tIns="0" rIns="0" bIns="0" numCol="1" spcCol="94428">
            <a:noAutofit/>
          </a:bodyPr>
          <a:lstStyle>
            <a:lvl1pPr marL="0" indent="0">
              <a:lnSpc>
                <a:spcPct val="100000"/>
              </a:lnSpc>
              <a:spcBef>
                <a:spcPts val="0"/>
              </a:spcBef>
              <a:buNone/>
              <a:defRPr sz="1200" b="1"/>
            </a:lvl1pPr>
            <a:lvl2pPr marL="342479" indent="0">
              <a:buNone/>
              <a:defRPr sz="1400" b="1"/>
            </a:lvl2pPr>
            <a:lvl3pPr marL="685000" indent="0">
              <a:buNone/>
              <a:defRPr sz="1400" b="1"/>
            </a:lvl3pPr>
            <a:lvl4pPr marL="1027496" indent="0">
              <a:buNone/>
              <a:defRPr sz="1400" b="1"/>
            </a:lvl4pPr>
            <a:lvl5pPr marL="1369994" indent="0">
              <a:buNone/>
              <a:defRPr sz="1400" b="1"/>
            </a:lvl5pPr>
          </a:lstStyle>
          <a:p>
            <a:pPr lvl="0"/>
            <a:r>
              <a:rPr lang="en-US"/>
              <a:t>This is your Primary Text.</a:t>
            </a:r>
            <a:endParaRPr lang="x-none"/>
          </a:p>
        </p:txBody>
      </p:sp>
      <p:sp>
        <p:nvSpPr>
          <p:cNvPr id="18" name="Text Placeholder 6">
            <a:extLst>
              <a:ext uri="{FF2B5EF4-FFF2-40B4-BE49-F238E27FC236}">
                <a16:creationId xmlns="" xmlns:a16="http://schemas.microsoft.com/office/drawing/2014/main" id="{5F7E9041-544E-3547-AC30-65F55E91E1ED}"/>
              </a:ext>
            </a:extLst>
          </p:cNvPr>
          <p:cNvSpPr>
            <a:spLocks noGrp="1"/>
          </p:cNvSpPr>
          <p:nvPr>
            <p:ph type="body" sz="quarter" idx="22" hasCustomPrompt="1"/>
          </p:nvPr>
        </p:nvSpPr>
        <p:spPr>
          <a:xfrm>
            <a:off x="233363" y="820327"/>
            <a:ext cx="2813974" cy="204590"/>
          </a:xfrm>
        </p:spPr>
        <p:txBody>
          <a:bodyPr tIns="0" rIns="0" bIns="0" numCol="1">
            <a:noAutofit/>
          </a:bodyPr>
          <a:lstStyle>
            <a:lvl1pPr marL="0" indent="0">
              <a:lnSpc>
                <a:spcPct val="100000"/>
              </a:lnSpc>
              <a:spcBef>
                <a:spcPts val="0"/>
              </a:spcBef>
              <a:spcAft>
                <a:spcPts val="450"/>
              </a:spcAft>
              <a:buNone/>
              <a:defRPr sz="1500" b="1">
                <a:solidFill>
                  <a:schemeClr val="accent1"/>
                </a:solidFill>
              </a:defRPr>
            </a:lvl1pPr>
            <a:lvl2pPr marL="342479" indent="0">
              <a:lnSpc>
                <a:spcPts val="1350"/>
              </a:lnSpc>
              <a:spcBef>
                <a:spcPts val="0"/>
              </a:spcBef>
              <a:buNone/>
              <a:defRPr sz="1100"/>
            </a:lvl2pPr>
            <a:lvl3pPr marL="685000" indent="0">
              <a:lnSpc>
                <a:spcPts val="1350"/>
              </a:lnSpc>
              <a:spcBef>
                <a:spcPts val="0"/>
              </a:spcBef>
              <a:buNone/>
              <a:defRPr sz="1100"/>
            </a:lvl3pPr>
            <a:lvl4pPr marL="1027496" indent="0">
              <a:lnSpc>
                <a:spcPts val="1350"/>
              </a:lnSpc>
              <a:spcBef>
                <a:spcPts val="0"/>
              </a:spcBef>
              <a:buNone/>
              <a:defRPr sz="1100"/>
            </a:lvl4pPr>
            <a:lvl5pPr marL="1369994" indent="0">
              <a:lnSpc>
                <a:spcPts val="1350"/>
              </a:lnSpc>
              <a:spcBef>
                <a:spcPts val="0"/>
              </a:spcBef>
              <a:buNone/>
              <a:defRPr sz="1100"/>
            </a:lvl5pPr>
          </a:lstStyle>
          <a:p>
            <a:pPr lvl="0"/>
            <a:r>
              <a:rPr lang="en-US"/>
              <a:t>This is your Primary Title</a:t>
            </a:r>
          </a:p>
        </p:txBody>
      </p:sp>
    </p:spTree>
    <p:extLst>
      <p:ext uri="{BB962C8B-B14F-4D97-AF65-F5344CB8AC3E}">
        <p14:creationId xmlns:p14="http://schemas.microsoft.com/office/powerpoint/2010/main" val="2019375539"/>
      </p:ext>
    </p:extLst>
  </p:cSld>
  <p:clrMapOvr>
    <a:masterClrMapping/>
  </p:clrMapOvr>
  <p:transition spd="slow">
    <p:push dir="u"/>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Advanced Chart 2 Column">
    <p:spTree>
      <p:nvGrpSpPr>
        <p:cNvPr id="1" name=""/>
        <p:cNvGrpSpPr/>
        <p:nvPr/>
      </p:nvGrpSpPr>
      <p:grpSpPr>
        <a:xfrm>
          <a:off x="0" y="0"/>
          <a:ext cx="0" cy="0"/>
          <a:chOff x="0" y="0"/>
          <a:chExt cx="0" cy="0"/>
        </a:xfrm>
      </p:grpSpPr>
      <p:sp>
        <p:nvSpPr>
          <p:cNvPr id="8" name="Chart Placeholder 7">
            <a:extLst>
              <a:ext uri="{FF2B5EF4-FFF2-40B4-BE49-F238E27FC236}">
                <a16:creationId xmlns="" xmlns:a16="http://schemas.microsoft.com/office/drawing/2014/main" id="{A6D4E593-FDCC-D14E-9C5E-5F309E415C26}"/>
              </a:ext>
            </a:extLst>
          </p:cNvPr>
          <p:cNvSpPr>
            <a:spLocks noGrp="1"/>
          </p:cNvSpPr>
          <p:nvPr>
            <p:ph type="chart" sz="quarter" idx="21" hasCustomPrompt="1"/>
          </p:nvPr>
        </p:nvSpPr>
        <p:spPr>
          <a:xfrm>
            <a:off x="231917" y="2307216"/>
            <a:ext cx="4281488" cy="2505292"/>
          </a:xfrm>
          <a:prstGeom prst="rect">
            <a:avLst/>
          </a:prstGeom>
        </p:spPr>
        <p:txBody>
          <a:bodyPr>
            <a:normAutofit/>
          </a:bodyPr>
          <a:lstStyle>
            <a:lvl1pPr marL="0" indent="0">
              <a:buNone/>
              <a:defRPr sz="1100"/>
            </a:lvl1pPr>
          </a:lstStyle>
          <a:p>
            <a:r>
              <a:rPr lang="x-none"/>
              <a:t>Insert Chart</a:t>
            </a:r>
          </a:p>
        </p:txBody>
      </p:sp>
      <p:sp>
        <p:nvSpPr>
          <p:cNvPr id="9" name="Chart Placeholder 7">
            <a:extLst>
              <a:ext uri="{FF2B5EF4-FFF2-40B4-BE49-F238E27FC236}">
                <a16:creationId xmlns="" xmlns:a16="http://schemas.microsoft.com/office/drawing/2014/main" id="{F1FC7466-185A-8B44-ABF0-5410C1127700}"/>
              </a:ext>
            </a:extLst>
          </p:cNvPr>
          <p:cNvSpPr>
            <a:spLocks noGrp="1"/>
          </p:cNvSpPr>
          <p:nvPr>
            <p:ph type="chart" sz="quarter" idx="22" hasCustomPrompt="1"/>
          </p:nvPr>
        </p:nvSpPr>
        <p:spPr>
          <a:xfrm>
            <a:off x="4654627" y="2307216"/>
            <a:ext cx="4281488" cy="2505292"/>
          </a:xfrm>
          <a:prstGeom prst="rect">
            <a:avLst/>
          </a:prstGeom>
        </p:spPr>
        <p:txBody>
          <a:bodyPr>
            <a:normAutofit/>
          </a:bodyPr>
          <a:lstStyle>
            <a:lvl1pPr marL="0" indent="0">
              <a:buNone/>
              <a:defRPr sz="1100"/>
            </a:lvl1pPr>
          </a:lstStyle>
          <a:p>
            <a:r>
              <a:rPr lang="x-none"/>
              <a:t>Insert Chart</a:t>
            </a:r>
          </a:p>
        </p:txBody>
      </p:sp>
      <p:pic>
        <p:nvPicPr>
          <p:cNvPr id="10" name="Picture 9" descr="Takeda">
            <a:extLst>
              <a:ext uri="{FF2B5EF4-FFF2-40B4-BE49-F238E27FC236}">
                <a16:creationId xmlns="" xmlns:a16="http://schemas.microsoft.com/office/drawing/2014/main" id="{F183604A-2112-D443-8B35-2DFEE7121A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09748" y="-1211"/>
            <a:ext cx="1272174" cy="705585"/>
          </a:xfrm>
          <a:prstGeom prst="rect">
            <a:avLst/>
          </a:prstGeom>
        </p:spPr>
      </p:pic>
      <p:sp>
        <p:nvSpPr>
          <p:cNvPr id="12" name="タイトル プレースホルダ 1">
            <a:extLst>
              <a:ext uri="{FF2B5EF4-FFF2-40B4-BE49-F238E27FC236}">
                <a16:creationId xmlns="" xmlns:a16="http://schemas.microsoft.com/office/drawing/2014/main" id="{906CE02B-33D8-B048-A73D-781A3402C2B1}"/>
              </a:ext>
            </a:extLst>
          </p:cNvPr>
          <p:cNvSpPr>
            <a:spLocks noGrp="1"/>
          </p:cNvSpPr>
          <p:nvPr>
            <p:ph type="title" hasCustomPrompt="1"/>
          </p:nvPr>
        </p:nvSpPr>
        <p:spPr>
          <a:xfrm>
            <a:off x="454559" y="121208"/>
            <a:ext cx="7455190" cy="51435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4" name="Footer Placeholder 8">
            <a:extLst>
              <a:ext uri="{FF2B5EF4-FFF2-40B4-BE49-F238E27FC236}">
                <a16:creationId xmlns="" xmlns:a16="http://schemas.microsoft.com/office/drawing/2014/main" id="{C2587943-8F51-3542-B7BE-5781719445F9}"/>
              </a:ext>
            </a:extLst>
          </p:cNvPr>
          <p:cNvSpPr>
            <a:spLocks noGrp="1"/>
          </p:cNvSpPr>
          <p:nvPr>
            <p:ph type="ftr" sz="quarter" idx="3"/>
          </p:nvPr>
        </p:nvSpPr>
        <p:spPr>
          <a:xfrm>
            <a:off x="5824538" y="4892251"/>
            <a:ext cx="3086100" cy="147098"/>
          </a:xfrm>
          <a:prstGeom prst="rect">
            <a:avLst/>
          </a:prstGeom>
        </p:spPr>
        <p:txBody>
          <a:bodyPr vert="horz" lIns="68526" tIns="34289" rIns="0" bIns="34289" rtlCol="0" anchor="ctr"/>
          <a:lstStyle>
            <a:lvl1pPr algn="r">
              <a:defRPr sz="600" b="1" spc="75" baseline="0">
                <a:solidFill>
                  <a:schemeClr val="tx1"/>
                </a:solidFill>
              </a:defRPr>
            </a:lvl1pPr>
          </a:lstStyle>
          <a:p>
            <a:r>
              <a:rPr lang="x-none">
                <a:solidFill>
                  <a:srgbClr val="34373F"/>
                </a:solidFill>
              </a:rPr>
              <a:t> </a:t>
            </a:r>
          </a:p>
        </p:txBody>
      </p:sp>
      <p:sp>
        <p:nvSpPr>
          <p:cNvPr id="17" name="Rectangle 16">
            <a:extLst>
              <a:ext uri="{FF2B5EF4-FFF2-40B4-BE49-F238E27FC236}">
                <a16:creationId xmlns="" xmlns:a16="http://schemas.microsoft.com/office/drawing/2014/main" id="{B679FB0B-7616-F04F-9B4C-586869A82E96}"/>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26" tIns="34289" rIns="68526" bIns="34289" rtlCol="0" anchor="ctr"/>
          <a:lstStyle/>
          <a:p>
            <a:pPr algn="ctr" defTabSz="685188"/>
            <a:endParaRPr kumimoji="1" lang="x-none" sz="1400">
              <a:solidFill>
                <a:srgbClr val="E1242A"/>
              </a:solidFill>
            </a:endParaRPr>
          </a:p>
        </p:txBody>
      </p:sp>
      <p:sp>
        <p:nvSpPr>
          <p:cNvPr id="22" name="スライド番号プレースホルダ 5">
            <a:extLst>
              <a:ext uri="{FF2B5EF4-FFF2-40B4-BE49-F238E27FC236}">
                <a16:creationId xmlns="" xmlns:a16="http://schemas.microsoft.com/office/drawing/2014/main" id="{8AFBB1AB-19B7-1347-93F8-D14235DD2317}"/>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3298"/>
            <a:fld id="{E9B57936-92EF-4126-AE48-1D9D36D15E98}" type="slidenum">
              <a:rPr lang="ja-JP" altLang="en-US" smtClean="0">
                <a:solidFill>
                  <a:srgbClr val="34373F"/>
                </a:solidFill>
              </a:rPr>
              <a:pPr defTabSz="913298"/>
              <a:t>‹Nº›</a:t>
            </a:fld>
            <a:endParaRPr lang="ja-JP" altLang="en-US">
              <a:solidFill>
                <a:srgbClr val="34373F"/>
              </a:solidFill>
            </a:endParaRPr>
          </a:p>
        </p:txBody>
      </p:sp>
      <p:sp>
        <p:nvSpPr>
          <p:cNvPr id="23" name="Text Placeholder 6">
            <a:extLst>
              <a:ext uri="{FF2B5EF4-FFF2-40B4-BE49-F238E27FC236}">
                <a16:creationId xmlns="" xmlns:a16="http://schemas.microsoft.com/office/drawing/2014/main" id="{1C168495-CA79-E440-A93B-B87B36748352}"/>
              </a:ext>
            </a:extLst>
          </p:cNvPr>
          <p:cNvSpPr>
            <a:spLocks noGrp="1"/>
          </p:cNvSpPr>
          <p:nvPr>
            <p:ph type="body" sz="quarter" idx="16" hasCustomPrompt="1"/>
          </p:nvPr>
        </p:nvSpPr>
        <p:spPr>
          <a:xfrm>
            <a:off x="454559" y="4892253"/>
            <a:ext cx="5226261" cy="154210"/>
          </a:xfrm>
          <a:prstGeom prst="rect">
            <a:avLst/>
          </a:prstGeom>
        </p:spPr>
        <p:txBody>
          <a:bodyPr wrap="none" tIns="0" rIns="0" bIns="53964" numCol="1" anchor="ctr">
            <a:noAutofit/>
          </a:bodyPr>
          <a:lstStyle>
            <a:lvl1pPr marL="0" indent="0">
              <a:lnSpc>
                <a:spcPts val="1200"/>
              </a:lnSpc>
              <a:spcBef>
                <a:spcPts val="0"/>
              </a:spcBef>
              <a:spcAft>
                <a:spcPts val="450"/>
              </a:spcAft>
              <a:buFont typeface="Arial" panose="020B0604020202020204" pitchFamily="34" charset="0"/>
              <a:buNone/>
              <a:defRPr sz="600" b="0">
                <a:solidFill>
                  <a:schemeClr val="accent3"/>
                </a:solidFill>
              </a:defRPr>
            </a:lvl1pPr>
            <a:lvl2pPr marL="342479" indent="0">
              <a:lnSpc>
                <a:spcPts val="1350"/>
              </a:lnSpc>
              <a:spcBef>
                <a:spcPts val="0"/>
              </a:spcBef>
              <a:buNone/>
              <a:defRPr sz="1100"/>
            </a:lvl2pPr>
            <a:lvl3pPr marL="685000" indent="0">
              <a:lnSpc>
                <a:spcPts val="1350"/>
              </a:lnSpc>
              <a:spcBef>
                <a:spcPts val="0"/>
              </a:spcBef>
              <a:buNone/>
              <a:defRPr sz="1100"/>
            </a:lvl3pPr>
            <a:lvl4pPr marL="1027496" indent="0">
              <a:lnSpc>
                <a:spcPts val="1350"/>
              </a:lnSpc>
              <a:spcBef>
                <a:spcPts val="0"/>
              </a:spcBef>
              <a:buNone/>
              <a:defRPr sz="1100"/>
            </a:lvl4pPr>
            <a:lvl5pPr marL="1369994" indent="0">
              <a:lnSpc>
                <a:spcPts val="1350"/>
              </a:lnSpc>
              <a:spcBef>
                <a:spcPts val="0"/>
              </a:spcBef>
              <a:buNone/>
              <a:defRPr sz="1100"/>
            </a:lvl5pPr>
          </a:lstStyle>
          <a:p>
            <a:pPr lvl="0"/>
            <a:r>
              <a:rPr lang="en-US"/>
              <a:t>Private and confidential. For internal use only.</a:t>
            </a:r>
          </a:p>
        </p:txBody>
      </p:sp>
      <p:sp>
        <p:nvSpPr>
          <p:cNvPr id="15" name="Text Placeholder 2">
            <a:extLst>
              <a:ext uri="{FF2B5EF4-FFF2-40B4-BE49-F238E27FC236}">
                <a16:creationId xmlns="" xmlns:a16="http://schemas.microsoft.com/office/drawing/2014/main" id="{F6F06E4B-A978-4E46-AE6C-67B54F7E34D5}"/>
              </a:ext>
            </a:extLst>
          </p:cNvPr>
          <p:cNvSpPr>
            <a:spLocks noGrp="1"/>
          </p:cNvSpPr>
          <p:nvPr>
            <p:ph type="body" sz="quarter" idx="20" hasCustomPrompt="1"/>
          </p:nvPr>
        </p:nvSpPr>
        <p:spPr>
          <a:xfrm>
            <a:off x="233364" y="1118532"/>
            <a:ext cx="8702752" cy="1098718"/>
          </a:xfrm>
        </p:spPr>
        <p:txBody>
          <a:bodyPr tIns="0" rIns="0" bIns="0" numCol="2" spcCol="94428">
            <a:noAutofit/>
          </a:bodyPr>
          <a:lstStyle>
            <a:lvl1pPr marL="0" indent="0">
              <a:lnSpc>
                <a:spcPct val="100000"/>
              </a:lnSpc>
              <a:spcBef>
                <a:spcPts val="0"/>
              </a:spcBef>
              <a:buNone/>
              <a:defRPr sz="1200" b="1"/>
            </a:lvl1pPr>
            <a:lvl2pPr marL="342479" indent="0">
              <a:buNone/>
              <a:defRPr sz="1400" b="1"/>
            </a:lvl2pPr>
            <a:lvl3pPr marL="685000" indent="0">
              <a:buNone/>
              <a:defRPr sz="1400" b="1"/>
            </a:lvl3pPr>
            <a:lvl4pPr marL="1027496" indent="0">
              <a:buNone/>
              <a:defRPr sz="1400" b="1"/>
            </a:lvl4pPr>
            <a:lvl5pPr marL="1369994" indent="0">
              <a:buNone/>
              <a:defRPr sz="1400" b="1"/>
            </a:lvl5pPr>
          </a:lstStyle>
          <a:p>
            <a:pPr lvl="0"/>
            <a:r>
              <a:rPr lang="en-US"/>
              <a:t>This is your Primary Text.</a:t>
            </a:r>
            <a:endParaRPr lang="x-none"/>
          </a:p>
        </p:txBody>
      </p:sp>
      <p:sp>
        <p:nvSpPr>
          <p:cNvPr id="18" name="Text Placeholder 6">
            <a:extLst>
              <a:ext uri="{FF2B5EF4-FFF2-40B4-BE49-F238E27FC236}">
                <a16:creationId xmlns="" xmlns:a16="http://schemas.microsoft.com/office/drawing/2014/main" id="{3FF373A1-4E48-6C48-A075-153436CF76DC}"/>
              </a:ext>
            </a:extLst>
          </p:cNvPr>
          <p:cNvSpPr>
            <a:spLocks noGrp="1"/>
          </p:cNvSpPr>
          <p:nvPr>
            <p:ph type="body" sz="quarter" idx="23" hasCustomPrompt="1"/>
          </p:nvPr>
        </p:nvSpPr>
        <p:spPr>
          <a:xfrm>
            <a:off x="233364" y="820327"/>
            <a:ext cx="8702752" cy="204590"/>
          </a:xfrm>
        </p:spPr>
        <p:txBody>
          <a:bodyPr tIns="0" rIns="0" bIns="0" numCol="1">
            <a:noAutofit/>
          </a:bodyPr>
          <a:lstStyle>
            <a:lvl1pPr marL="0" indent="0">
              <a:lnSpc>
                <a:spcPct val="100000"/>
              </a:lnSpc>
              <a:spcBef>
                <a:spcPts val="0"/>
              </a:spcBef>
              <a:spcAft>
                <a:spcPts val="450"/>
              </a:spcAft>
              <a:buNone/>
              <a:defRPr sz="1500" b="1">
                <a:solidFill>
                  <a:schemeClr val="accent1"/>
                </a:solidFill>
              </a:defRPr>
            </a:lvl1pPr>
            <a:lvl2pPr marL="342479" indent="0">
              <a:lnSpc>
                <a:spcPts val="1350"/>
              </a:lnSpc>
              <a:spcBef>
                <a:spcPts val="0"/>
              </a:spcBef>
              <a:buNone/>
              <a:defRPr sz="1100"/>
            </a:lvl2pPr>
            <a:lvl3pPr marL="685000" indent="0">
              <a:lnSpc>
                <a:spcPts val="1350"/>
              </a:lnSpc>
              <a:spcBef>
                <a:spcPts val="0"/>
              </a:spcBef>
              <a:buNone/>
              <a:defRPr sz="1100"/>
            </a:lvl3pPr>
            <a:lvl4pPr marL="1027496" indent="0">
              <a:lnSpc>
                <a:spcPts val="1350"/>
              </a:lnSpc>
              <a:spcBef>
                <a:spcPts val="0"/>
              </a:spcBef>
              <a:buNone/>
              <a:defRPr sz="1100"/>
            </a:lvl4pPr>
            <a:lvl5pPr marL="1369994" indent="0">
              <a:lnSpc>
                <a:spcPts val="1350"/>
              </a:lnSpc>
              <a:spcBef>
                <a:spcPts val="0"/>
              </a:spcBef>
              <a:buNone/>
              <a:defRPr sz="1100"/>
            </a:lvl5pPr>
          </a:lstStyle>
          <a:p>
            <a:pPr lvl="0"/>
            <a:r>
              <a:rPr lang="en-US"/>
              <a:t>This is your Primary Title</a:t>
            </a:r>
          </a:p>
        </p:txBody>
      </p:sp>
    </p:spTree>
    <p:extLst>
      <p:ext uri="{BB962C8B-B14F-4D97-AF65-F5344CB8AC3E}">
        <p14:creationId xmlns:p14="http://schemas.microsoft.com/office/powerpoint/2010/main" val="3405287973"/>
      </p:ext>
    </p:extLst>
  </p:cSld>
  <p:clrMapOvr>
    <a:masterClrMapping/>
  </p:clrMapOvr>
  <p:transition spd="slow">
    <p:push dir="u"/>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Advanced Chart 3 Column">
    <p:spTree>
      <p:nvGrpSpPr>
        <p:cNvPr id="1" name=""/>
        <p:cNvGrpSpPr/>
        <p:nvPr/>
      </p:nvGrpSpPr>
      <p:grpSpPr>
        <a:xfrm>
          <a:off x="0" y="0"/>
          <a:ext cx="0" cy="0"/>
          <a:chOff x="0" y="0"/>
          <a:chExt cx="0" cy="0"/>
        </a:xfrm>
      </p:grpSpPr>
      <p:sp>
        <p:nvSpPr>
          <p:cNvPr id="8" name="Chart Placeholder 7">
            <a:extLst>
              <a:ext uri="{FF2B5EF4-FFF2-40B4-BE49-F238E27FC236}">
                <a16:creationId xmlns="" xmlns:a16="http://schemas.microsoft.com/office/drawing/2014/main" id="{A6D4E593-FDCC-D14E-9C5E-5F309E415C26}"/>
              </a:ext>
            </a:extLst>
          </p:cNvPr>
          <p:cNvSpPr>
            <a:spLocks noGrp="1"/>
          </p:cNvSpPr>
          <p:nvPr>
            <p:ph type="chart" sz="quarter" idx="21" hasCustomPrompt="1"/>
          </p:nvPr>
        </p:nvSpPr>
        <p:spPr>
          <a:xfrm>
            <a:off x="231919" y="2307216"/>
            <a:ext cx="2818358" cy="2505292"/>
          </a:xfrm>
          <a:prstGeom prst="rect">
            <a:avLst/>
          </a:prstGeom>
        </p:spPr>
        <p:txBody>
          <a:bodyPr>
            <a:normAutofit/>
          </a:bodyPr>
          <a:lstStyle>
            <a:lvl1pPr marL="0" indent="0">
              <a:buNone/>
              <a:defRPr sz="1100"/>
            </a:lvl1pPr>
          </a:lstStyle>
          <a:p>
            <a:r>
              <a:rPr lang="x-none"/>
              <a:t>Insert Chart</a:t>
            </a:r>
          </a:p>
        </p:txBody>
      </p:sp>
      <p:sp>
        <p:nvSpPr>
          <p:cNvPr id="10" name="Chart Placeholder 7">
            <a:extLst>
              <a:ext uri="{FF2B5EF4-FFF2-40B4-BE49-F238E27FC236}">
                <a16:creationId xmlns="" xmlns:a16="http://schemas.microsoft.com/office/drawing/2014/main" id="{8D9BD23C-1777-C442-B4B0-BADF450483EA}"/>
              </a:ext>
            </a:extLst>
          </p:cNvPr>
          <p:cNvSpPr>
            <a:spLocks noGrp="1"/>
          </p:cNvSpPr>
          <p:nvPr>
            <p:ph type="chart" sz="quarter" idx="22" hasCustomPrompt="1"/>
          </p:nvPr>
        </p:nvSpPr>
        <p:spPr>
          <a:xfrm>
            <a:off x="3162823" y="2307216"/>
            <a:ext cx="2818358" cy="2505292"/>
          </a:xfrm>
          <a:prstGeom prst="rect">
            <a:avLst/>
          </a:prstGeom>
        </p:spPr>
        <p:txBody>
          <a:bodyPr>
            <a:normAutofit/>
          </a:bodyPr>
          <a:lstStyle>
            <a:lvl1pPr marL="0" indent="0">
              <a:buNone/>
              <a:defRPr sz="1100"/>
            </a:lvl1pPr>
          </a:lstStyle>
          <a:p>
            <a:r>
              <a:rPr lang="x-none"/>
              <a:t>Insert Chart</a:t>
            </a:r>
          </a:p>
        </p:txBody>
      </p:sp>
      <p:sp>
        <p:nvSpPr>
          <p:cNvPr id="11" name="Chart Placeholder 7">
            <a:extLst>
              <a:ext uri="{FF2B5EF4-FFF2-40B4-BE49-F238E27FC236}">
                <a16:creationId xmlns="" xmlns:a16="http://schemas.microsoft.com/office/drawing/2014/main" id="{2D7D413C-2FF1-204A-83C6-B7426603B7C2}"/>
              </a:ext>
            </a:extLst>
          </p:cNvPr>
          <p:cNvSpPr>
            <a:spLocks noGrp="1"/>
          </p:cNvSpPr>
          <p:nvPr>
            <p:ph type="chart" sz="quarter" idx="23" hasCustomPrompt="1"/>
          </p:nvPr>
        </p:nvSpPr>
        <p:spPr>
          <a:xfrm>
            <a:off x="6092281" y="2307216"/>
            <a:ext cx="2818358" cy="2505292"/>
          </a:xfrm>
          <a:prstGeom prst="rect">
            <a:avLst/>
          </a:prstGeom>
        </p:spPr>
        <p:txBody>
          <a:bodyPr>
            <a:normAutofit/>
          </a:bodyPr>
          <a:lstStyle>
            <a:lvl1pPr marL="0" indent="0">
              <a:buNone/>
              <a:defRPr sz="1100"/>
            </a:lvl1pPr>
          </a:lstStyle>
          <a:p>
            <a:r>
              <a:rPr lang="x-none"/>
              <a:t>Insert Chart</a:t>
            </a:r>
          </a:p>
        </p:txBody>
      </p:sp>
      <p:pic>
        <p:nvPicPr>
          <p:cNvPr id="13" name="Picture 12" descr="Takeda">
            <a:extLst>
              <a:ext uri="{FF2B5EF4-FFF2-40B4-BE49-F238E27FC236}">
                <a16:creationId xmlns="" xmlns:a16="http://schemas.microsoft.com/office/drawing/2014/main" id="{0C4979BF-EBB2-214C-8087-7AC4B2163D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09748" y="-1211"/>
            <a:ext cx="1272174" cy="705585"/>
          </a:xfrm>
          <a:prstGeom prst="rect">
            <a:avLst/>
          </a:prstGeom>
        </p:spPr>
      </p:pic>
      <p:sp>
        <p:nvSpPr>
          <p:cNvPr id="17" name="タイトル プレースホルダ 1">
            <a:extLst>
              <a:ext uri="{FF2B5EF4-FFF2-40B4-BE49-F238E27FC236}">
                <a16:creationId xmlns="" xmlns:a16="http://schemas.microsoft.com/office/drawing/2014/main" id="{2FFB1535-D35E-D242-B225-DDF1C53BB8D4}"/>
              </a:ext>
            </a:extLst>
          </p:cNvPr>
          <p:cNvSpPr>
            <a:spLocks noGrp="1"/>
          </p:cNvSpPr>
          <p:nvPr>
            <p:ph type="title" hasCustomPrompt="1"/>
          </p:nvPr>
        </p:nvSpPr>
        <p:spPr>
          <a:xfrm>
            <a:off x="454559" y="121208"/>
            <a:ext cx="7455190" cy="51435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9" name="Footer Placeholder 8">
            <a:extLst>
              <a:ext uri="{FF2B5EF4-FFF2-40B4-BE49-F238E27FC236}">
                <a16:creationId xmlns="" xmlns:a16="http://schemas.microsoft.com/office/drawing/2014/main" id="{47DB5E3C-7053-3645-A234-760F5ED1236A}"/>
              </a:ext>
            </a:extLst>
          </p:cNvPr>
          <p:cNvSpPr>
            <a:spLocks noGrp="1"/>
          </p:cNvSpPr>
          <p:nvPr>
            <p:ph type="ftr" sz="quarter" idx="3"/>
          </p:nvPr>
        </p:nvSpPr>
        <p:spPr>
          <a:xfrm>
            <a:off x="5824538" y="4892251"/>
            <a:ext cx="3086100" cy="147098"/>
          </a:xfrm>
          <a:prstGeom prst="rect">
            <a:avLst/>
          </a:prstGeom>
        </p:spPr>
        <p:txBody>
          <a:bodyPr vert="horz" lIns="68526" tIns="34289" rIns="0" bIns="34289" rtlCol="0" anchor="ctr"/>
          <a:lstStyle>
            <a:lvl1pPr algn="r">
              <a:defRPr sz="600" b="1" spc="75" baseline="0">
                <a:solidFill>
                  <a:schemeClr val="tx1"/>
                </a:solidFill>
              </a:defRPr>
            </a:lvl1pPr>
          </a:lstStyle>
          <a:p>
            <a:r>
              <a:rPr lang="x-none">
                <a:solidFill>
                  <a:srgbClr val="34373F"/>
                </a:solidFill>
              </a:rPr>
              <a:t> </a:t>
            </a:r>
          </a:p>
        </p:txBody>
      </p:sp>
      <p:sp>
        <p:nvSpPr>
          <p:cNvPr id="22" name="Rectangle 21">
            <a:extLst>
              <a:ext uri="{FF2B5EF4-FFF2-40B4-BE49-F238E27FC236}">
                <a16:creationId xmlns="" xmlns:a16="http://schemas.microsoft.com/office/drawing/2014/main" id="{DEFC8CB7-67E9-8A46-B53F-F34ACE18BE87}"/>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26" tIns="34289" rIns="68526" bIns="34289" rtlCol="0" anchor="ctr"/>
          <a:lstStyle/>
          <a:p>
            <a:pPr algn="ctr" defTabSz="685188"/>
            <a:endParaRPr kumimoji="1" lang="x-none" sz="1400">
              <a:solidFill>
                <a:srgbClr val="E1242A"/>
              </a:solidFill>
            </a:endParaRPr>
          </a:p>
        </p:txBody>
      </p:sp>
      <p:sp>
        <p:nvSpPr>
          <p:cNvPr id="25" name="スライド番号プレースホルダ 5">
            <a:extLst>
              <a:ext uri="{FF2B5EF4-FFF2-40B4-BE49-F238E27FC236}">
                <a16:creationId xmlns="" xmlns:a16="http://schemas.microsoft.com/office/drawing/2014/main" id="{5EB1023E-4E73-AD49-83B0-D7B458250C6F}"/>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3298"/>
            <a:fld id="{E9B57936-92EF-4126-AE48-1D9D36D15E98}" type="slidenum">
              <a:rPr lang="ja-JP" altLang="en-US" smtClean="0">
                <a:solidFill>
                  <a:srgbClr val="34373F"/>
                </a:solidFill>
              </a:rPr>
              <a:pPr defTabSz="913298"/>
              <a:t>‹Nº›</a:t>
            </a:fld>
            <a:endParaRPr lang="ja-JP" altLang="en-US">
              <a:solidFill>
                <a:srgbClr val="34373F"/>
              </a:solidFill>
            </a:endParaRPr>
          </a:p>
        </p:txBody>
      </p:sp>
      <p:sp>
        <p:nvSpPr>
          <p:cNvPr id="26" name="Text Placeholder 6">
            <a:extLst>
              <a:ext uri="{FF2B5EF4-FFF2-40B4-BE49-F238E27FC236}">
                <a16:creationId xmlns="" xmlns:a16="http://schemas.microsoft.com/office/drawing/2014/main" id="{4942DB0C-137A-4E4C-B926-77CEECC512A8}"/>
              </a:ext>
            </a:extLst>
          </p:cNvPr>
          <p:cNvSpPr>
            <a:spLocks noGrp="1"/>
          </p:cNvSpPr>
          <p:nvPr>
            <p:ph type="body" sz="quarter" idx="16" hasCustomPrompt="1"/>
          </p:nvPr>
        </p:nvSpPr>
        <p:spPr>
          <a:xfrm>
            <a:off x="454559" y="4892253"/>
            <a:ext cx="5226261" cy="154210"/>
          </a:xfrm>
          <a:prstGeom prst="rect">
            <a:avLst/>
          </a:prstGeom>
        </p:spPr>
        <p:txBody>
          <a:bodyPr wrap="none" tIns="0" rIns="0" bIns="53964" numCol="1" anchor="ctr">
            <a:noAutofit/>
          </a:bodyPr>
          <a:lstStyle>
            <a:lvl1pPr marL="0" indent="0">
              <a:lnSpc>
                <a:spcPts val="1200"/>
              </a:lnSpc>
              <a:spcBef>
                <a:spcPts val="0"/>
              </a:spcBef>
              <a:spcAft>
                <a:spcPts val="450"/>
              </a:spcAft>
              <a:buFont typeface="Arial" panose="020B0604020202020204" pitchFamily="34" charset="0"/>
              <a:buNone/>
              <a:defRPr sz="600" b="0">
                <a:solidFill>
                  <a:schemeClr val="accent3"/>
                </a:solidFill>
              </a:defRPr>
            </a:lvl1pPr>
            <a:lvl2pPr marL="342479" indent="0">
              <a:lnSpc>
                <a:spcPts val="1350"/>
              </a:lnSpc>
              <a:spcBef>
                <a:spcPts val="0"/>
              </a:spcBef>
              <a:buNone/>
              <a:defRPr sz="1100"/>
            </a:lvl2pPr>
            <a:lvl3pPr marL="685000" indent="0">
              <a:lnSpc>
                <a:spcPts val="1350"/>
              </a:lnSpc>
              <a:spcBef>
                <a:spcPts val="0"/>
              </a:spcBef>
              <a:buNone/>
              <a:defRPr sz="1100"/>
            </a:lvl3pPr>
            <a:lvl4pPr marL="1027496" indent="0">
              <a:lnSpc>
                <a:spcPts val="1350"/>
              </a:lnSpc>
              <a:spcBef>
                <a:spcPts val="0"/>
              </a:spcBef>
              <a:buNone/>
              <a:defRPr sz="1100"/>
            </a:lvl4pPr>
            <a:lvl5pPr marL="1369994" indent="0">
              <a:lnSpc>
                <a:spcPts val="1350"/>
              </a:lnSpc>
              <a:spcBef>
                <a:spcPts val="0"/>
              </a:spcBef>
              <a:buNone/>
              <a:defRPr sz="1100"/>
            </a:lvl5pPr>
          </a:lstStyle>
          <a:p>
            <a:pPr lvl="0"/>
            <a:r>
              <a:rPr lang="en-US"/>
              <a:t>Private and confidential. For internal use only.</a:t>
            </a:r>
          </a:p>
        </p:txBody>
      </p:sp>
      <p:sp>
        <p:nvSpPr>
          <p:cNvPr id="15" name="Text Placeholder 2">
            <a:extLst>
              <a:ext uri="{FF2B5EF4-FFF2-40B4-BE49-F238E27FC236}">
                <a16:creationId xmlns="" xmlns:a16="http://schemas.microsoft.com/office/drawing/2014/main" id="{AD1171B1-AEC6-164D-8FE0-E0B9353A55BF}"/>
              </a:ext>
            </a:extLst>
          </p:cNvPr>
          <p:cNvSpPr>
            <a:spLocks noGrp="1"/>
          </p:cNvSpPr>
          <p:nvPr>
            <p:ph type="body" sz="quarter" idx="20" hasCustomPrompt="1"/>
          </p:nvPr>
        </p:nvSpPr>
        <p:spPr>
          <a:xfrm>
            <a:off x="233365" y="1118532"/>
            <a:ext cx="8677274" cy="1098718"/>
          </a:xfrm>
        </p:spPr>
        <p:txBody>
          <a:bodyPr tIns="0" rIns="0" bIns="0" numCol="2" spcCol="94428">
            <a:noAutofit/>
          </a:bodyPr>
          <a:lstStyle>
            <a:lvl1pPr marL="0" indent="0">
              <a:lnSpc>
                <a:spcPct val="100000"/>
              </a:lnSpc>
              <a:spcBef>
                <a:spcPts val="0"/>
              </a:spcBef>
              <a:buNone/>
              <a:defRPr sz="1200" b="1"/>
            </a:lvl1pPr>
            <a:lvl2pPr marL="342479" indent="0">
              <a:buNone/>
              <a:defRPr sz="1400" b="1"/>
            </a:lvl2pPr>
            <a:lvl3pPr marL="685000" indent="0">
              <a:buNone/>
              <a:defRPr sz="1400" b="1"/>
            </a:lvl3pPr>
            <a:lvl4pPr marL="1027496" indent="0">
              <a:buNone/>
              <a:defRPr sz="1400" b="1"/>
            </a:lvl4pPr>
            <a:lvl5pPr marL="1369994" indent="0">
              <a:buNone/>
              <a:defRPr sz="1400" b="1"/>
            </a:lvl5pPr>
          </a:lstStyle>
          <a:p>
            <a:pPr lvl="0"/>
            <a:r>
              <a:rPr lang="en-US"/>
              <a:t>This is your Primary Text.</a:t>
            </a:r>
            <a:endParaRPr lang="x-none"/>
          </a:p>
        </p:txBody>
      </p:sp>
      <p:sp>
        <p:nvSpPr>
          <p:cNvPr id="18" name="Text Placeholder 6">
            <a:extLst>
              <a:ext uri="{FF2B5EF4-FFF2-40B4-BE49-F238E27FC236}">
                <a16:creationId xmlns="" xmlns:a16="http://schemas.microsoft.com/office/drawing/2014/main" id="{66C4AA1F-8B09-5544-9C70-388A6E2940C9}"/>
              </a:ext>
            </a:extLst>
          </p:cNvPr>
          <p:cNvSpPr>
            <a:spLocks noGrp="1"/>
          </p:cNvSpPr>
          <p:nvPr>
            <p:ph type="body" sz="quarter" idx="24" hasCustomPrompt="1"/>
          </p:nvPr>
        </p:nvSpPr>
        <p:spPr>
          <a:xfrm>
            <a:off x="233362" y="820327"/>
            <a:ext cx="8677274" cy="204590"/>
          </a:xfrm>
        </p:spPr>
        <p:txBody>
          <a:bodyPr tIns="0" rIns="0" bIns="0" numCol="1">
            <a:noAutofit/>
          </a:bodyPr>
          <a:lstStyle>
            <a:lvl1pPr marL="0" indent="0">
              <a:lnSpc>
                <a:spcPct val="100000"/>
              </a:lnSpc>
              <a:spcBef>
                <a:spcPts val="0"/>
              </a:spcBef>
              <a:spcAft>
                <a:spcPts val="450"/>
              </a:spcAft>
              <a:buNone/>
              <a:defRPr sz="1500" b="1">
                <a:solidFill>
                  <a:schemeClr val="accent1"/>
                </a:solidFill>
              </a:defRPr>
            </a:lvl1pPr>
            <a:lvl2pPr marL="342479" indent="0">
              <a:lnSpc>
                <a:spcPts val="1350"/>
              </a:lnSpc>
              <a:spcBef>
                <a:spcPts val="0"/>
              </a:spcBef>
              <a:buNone/>
              <a:defRPr sz="1100"/>
            </a:lvl2pPr>
            <a:lvl3pPr marL="685000" indent="0">
              <a:lnSpc>
                <a:spcPts val="1350"/>
              </a:lnSpc>
              <a:spcBef>
                <a:spcPts val="0"/>
              </a:spcBef>
              <a:buNone/>
              <a:defRPr sz="1100"/>
            </a:lvl3pPr>
            <a:lvl4pPr marL="1027496" indent="0">
              <a:lnSpc>
                <a:spcPts val="1350"/>
              </a:lnSpc>
              <a:spcBef>
                <a:spcPts val="0"/>
              </a:spcBef>
              <a:buNone/>
              <a:defRPr sz="1100"/>
            </a:lvl4pPr>
            <a:lvl5pPr marL="1369994" indent="0">
              <a:lnSpc>
                <a:spcPts val="1350"/>
              </a:lnSpc>
              <a:spcBef>
                <a:spcPts val="0"/>
              </a:spcBef>
              <a:buNone/>
              <a:defRPr sz="1100"/>
            </a:lvl5pPr>
          </a:lstStyle>
          <a:p>
            <a:pPr lvl="0"/>
            <a:r>
              <a:rPr lang="en-US"/>
              <a:t>This is your Primary Title</a:t>
            </a:r>
          </a:p>
        </p:txBody>
      </p:sp>
    </p:spTree>
    <p:extLst>
      <p:ext uri="{BB962C8B-B14F-4D97-AF65-F5344CB8AC3E}">
        <p14:creationId xmlns:p14="http://schemas.microsoft.com/office/powerpoint/2010/main" val="1791410720"/>
      </p:ext>
    </p:extLst>
  </p:cSld>
  <p:clrMapOvr>
    <a:masterClrMapping/>
  </p:clrMapOvr>
  <p:transition spd="slow">
    <p:push dir="u"/>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675D4F24-3AD1-7943-A1A9-EB84047B5123}"/>
              </a:ext>
            </a:extLst>
          </p:cNvPr>
          <p:cNvSpPr>
            <a:spLocks noGrp="1"/>
          </p:cNvSpPr>
          <p:nvPr>
            <p:ph type="body" sz="quarter" idx="13" hasCustomPrompt="1"/>
          </p:nvPr>
        </p:nvSpPr>
        <p:spPr>
          <a:xfrm>
            <a:off x="395289" y="926921"/>
            <a:ext cx="8343899" cy="3480567"/>
          </a:xfrm>
        </p:spPr>
        <p:txBody>
          <a:bodyPr/>
          <a:lstStyle>
            <a:lvl1pPr>
              <a:buClr>
                <a:srgbClr val="4C4948"/>
              </a:buClr>
              <a:defRPr>
                <a:solidFill>
                  <a:schemeClr val="tx2"/>
                </a:solidFill>
              </a:defRPr>
            </a:lvl1pPr>
            <a:lvl2pPr>
              <a:buClr>
                <a:srgbClr val="4C4948"/>
              </a:buClr>
              <a:defRPr>
                <a:solidFill>
                  <a:schemeClr val="tx2"/>
                </a:solidFill>
              </a:defRPr>
            </a:lvl2pPr>
            <a:lvl3pPr>
              <a:buClr>
                <a:srgbClr val="4C4948"/>
              </a:buClr>
              <a:defRPr>
                <a:solidFill>
                  <a:schemeClr val="tx2"/>
                </a:solidFill>
              </a:defRPr>
            </a:lvl3pPr>
            <a:lvl4pPr>
              <a:buClr>
                <a:srgbClr val="4C4948"/>
              </a:buClr>
              <a:defRPr>
                <a:solidFill>
                  <a:schemeClr val="tx2"/>
                </a:solidFill>
              </a:defRPr>
            </a:lvl4pPr>
            <a:lvl5pPr>
              <a:buClr>
                <a:srgbClr val="4C4948"/>
              </a:buClr>
              <a:defRPr>
                <a:solidFill>
                  <a:schemeClr val="tx2"/>
                </a:solidFill>
              </a:defRPr>
            </a:lvl5pPr>
          </a:lstStyle>
          <a:p>
            <a:pPr lvl="0"/>
            <a:r>
              <a:rPr lang="en-US"/>
              <a:t>Add your text her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 xmlns:a16="http://schemas.microsoft.com/office/drawing/2014/main" id="{FC71F690-8ECF-4851-9B1B-65F80621D3C2}"/>
              </a:ext>
            </a:extLst>
          </p:cNvPr>
          <p:cNvSpPr>
            <a:spLocks noGrp="1"/>
          </p:cNvSpPr>
          <p:nvPr>
            <p:ph type="body" sz="quarter" idx="14" hasCustomPrompt="1"/>
          </p:nvPr>
        </p:nvSpPr>
        <p:spPr>
          <a:xfrm>
            <a:off x="395289" y="4431377"/>
            <a:ext cx="7529513" cy="340727"/>
          </a:xfrm>
        </p:spPr>
        <p:txBody>
          <a:bodyPr bIns="0" anchor="b" anchorCtr="0">
            <a:noAutofit/>
          </a:bodyPr>
          <a:lstStyle>
            <a:lvl1pPr marL="0" indent="0">
              <a:spcBef>
                <a:spcPts val="0"/>
              </a:spcBef>
              <a:buFontTx/>
              <a:buNone/>
              <a:defRPr sz="700">
                <a:solidFill>
                  <a:srgbClr val="34373F"/>
                </a:solidFill>
              </a:defRPr>
            </a:lvl1pPr>
          </a:lstStyle>
          <a:p>
            <a:r>
              <a:rPr lang="en-US"/>
              <a:t>Footnotes.</a:t>
            </a:r>
          </a:p>
          <a:p>
            <a:r>
              <a:rPr lang="en-US"/>
              <a:t>Abbreviations.</a:t>
            </a:r>
          </a:p>
          <a:p>
            <a:r>
              <a:rPr lang="en-US"/>
              <a:t>References.</a:t>
            </a:r>
          </a:p>
        </p:txBody>
      </p:sp>
      <p:sp>
        <p:nvSpPr>
          <p:cNvPr id="5" name="Slide Number Placeholder 4">
            <a:extLst>
              <a:ext uri="{FF2B5EF4-FFF2-40B4-BE49-F238E27FC236}">
                <a16:creationId xmlns="" xmlns:a16="http://schemas.microsoft.com/office/drawing/2014/main" id="{D866840B-298E-4CFC-A58E-46D1C350B59F}"/>
              </a:ext>
            </a:extLst>
          </p:cNvPr>
          <p:cNvSpPr>
            <a:spLocks noGrp="1"/>
          </p:cNvSpPr>
          <p:nvPr>
            <p:ph type="sldNum" sz="quarter" idx="16"/>
          </p:nvPr>
        </p:nvSpPr>
        <p:spPr/>
        <p:txBody>
          <a:bodyPr/>
          <a:lstStyle/>
          <a:p>
            <a:fld id="{E9B57936-92EF-4126-AE48-1D9D36D15E98}" type="slidenum">
              <a:rPr lang="ja-JP" altLang="en-US" smtClean="0">
                <a:solidFill>
                  <a:srgbClr val="34373F"/>
                </a:solidFill>
              </a:rPr>
              <a:pPr/>
              <a:t>‹Nº›</a:t>
            </a:fld>
            <a:endParaRPr lang="ja-JP" altLang="en-US">
              <a:solidFill>
                <a:srgbClr val="34373F"/>
              </a:solidFill>
            </a:endParaRPr>
          </a:p>
        </p:txBody>
      </p:sp>
      <p:sp>
        <p:nvSpPr>
          <p:cNvPr id="8" name="Title 7">
            <a:extLst>
              <a:ext uri="{FF2B5EF4-FFF2-40B4-BE49-F238E27FC236}">
                <a16:creationId xmlns="" xmlns:a16="http://schemas.microsoft.com/office/drawing/2014/main" id="{8F0341E0-7C1E-44B6-B63F-9834CF4F1267}"/>
              </a:ext>
            </a:extLst>
          </p:cNvPr>
          <p:cNvSpPr>
            <a:spLocks noGrp="1"/>
          </p:cNvSpPr>
          <p:nvPr>
            <p:ph type="title"/>
          </p:nvPr>
        </p:nvSpPr>
        <p:spPr>
          <a:xfrm>
            <a:off x="395289" y="99585"/>
            <a:ext cx="7357234" cy="527957"/>
          </a:xfrm>
        </p:spPr>
        <p:txBody>
          <a:bodyPr bIns="0"/>
          <a:lstStyle/>
          <a:p>
            <a:r>
              <a:rPr lang="en-US"/>
              <a:t>Click to edit Master title style</a:t>
            </a:r>
          </a:p>
        </p:txBody>
      </p:sp>
      <p:sp>
        <p:nvSpPr>
          <p:cNvPr id="6" name="Footer Placeholder 5">
            <a:extLst>
              <a:ext uri="{FF2B5EF4-FFF2-40B4-BE49-F238E27FC236}">
                <a16:creationId xmlns="" xmlns:a16="http://schemas.microsoft.com/office/drawing/2014/main" id="{A139C958-1D42-46C5-9663-C1E0F49EEACC}"/>
              </a:ext>
            </a:extLst>
          </p:cNvPr>
          <p:cNvSpPr>
            <a:spLocks noGrp="1"/>
          </p:cNvSpPr>
          <p:nvPr>
            <p:ph type="ftr" sz="quarter" idx="17"/>
          </p:nvPr>
        </p:nvSpPr>
        <p:spPr/>
        <p:txBody>
          <a:bodyPr/>
          <a:lstStyle/>
          <a:p>
            <a:r>
              <a:rPr lang="en-GB" altLang="ja-JP">
                <a:solidFill>
                  <a:srgbClr val="34373F"/>
                </a:solidFill>
              </a:rPr>
              <a:t>Long-term efficacy and safety of Takeda’s dengue vaccine candidate (TAK-003) after 4.5 years of follow-up | TBC | Approval </a:t>
            </a:r>
            <a:r>
              <a:rPr lang="en-US" altLang="ja-JP">
                <a:solidFill>
                  <a:srgbClr val="34373F"/>
                </a:solidFill>
              </a:rPr>
              <a:t>date: March 2023</a:t>
            </a:r>
            <a:endParaRPr lang="ja-JP" altLang="en-US" sz="200">
              <a:solidFill>
                <a:srgbClr val="34373F"/>
              </a:solidFill>
            </a:endParaRPr>
          </a:p>
        </p:txBody>
      </p:sp>
    </p:spTree>
    <p:extLst>
      <p:ext uri="{BB962C8B-B14F-4D97-AF65-F5344CB8AC3E}">
        <p14:creationId xmlns:p14="http://schemas.microsoft.com/office/powerpoint/2010/main" val="531135053"/>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1_SAG/OE Title only">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C1AE710-910A-45E8-987A-33B7FB043BE5}"/>
              </a:ext>
            </a:extLst>
          </p:cNvPr>
          <p:cNvSpPr>
            <a:spLocks noGrp="1"/>
          </p:cNvSpPr>
          <p:nvPr>
            <p:ph type="title"/>
          </p:nvPr>
        </p:nvSpPr>
        <p:spPr>
          <a:xfrm>
            <a:off x="454558" y="121208"/>
            <a:ext cx="8330390" cy="514351"/>
          </a:xfrm>
        </p:spPr>
        <p:txBody>
          <a:bodyPr>
            <a:normAutofit/>
          </a:bodyPr>
          <a:lstStyle>
            <a:lvl1pPr>
              <a:lnSpc>
                <a:spcPct val="100000"/>
              </a:lnSpc>
              <a:defRPr sz="2100"/>
            </a:lvl1pPr>
          </a:lstStyle>
          <a:p>
            <a:r>
              <a:rPr lang="en-US"/>
              <a:t>Click to edit Master title style</a:t>
            </a:r>
            <a:endParaRPr lang="en-GB"/>
          </a:p>
        </p:txBody>
      </p:sp>
      <p:sp>
        <p:nvSpPr>
          <p:cNvPr id="4" name="Rectangle 3">
            <a:extLst>
              <a:ext uri="{FF2B5EF4-FFF2-40B4-BE49-F238E27FC236}">
                <a16:creationId xmlns="" xmlns:a16="http://schemas.microsoft.com/office/drawing/2014/main" id="{8230ECF3-B977-4019-87B2-D64E68C02BAD}"/>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26" tIns="34289" rIns="68526" bIns="34289" rtlCol="0" anchor="ctr"/>
          <a:lstStyle/>
          <a:p>
            <a:pPr algn="ctr" defTabSz="685188"/>
            <a:endParaRPr kumimoji="1" lang="x-none" sz="1400">
              <a:solidFill>
                <a:srgbClr val="E1242A"/>
              </a:solidFill>
            </a:endParaRPr>
          </a:p>
        </p:txBody>
      </p:sp>
      <p:sp>
        <p:nvSpPr>
          <p:cNvPr id="7" name="Slide Number Placeholder 2">
            <a:extLst>
              <a:ext uri="{FF2B5EF4-FFF2-40B4-BE49-F238E27FC236}">
                <a16:creationId xmlns="" xmlns:a16="http://schemas.microsoft.com/office/drawing/2014/main" id="{3ECFC6FE-29FD-4627-9DF7-EBE2B7531CED}"/>
              </a:ext>
            </a:extLst>
          </p:cNvPr>
          <p:cNvSpPr>
            <a:spLocks noGrp="1"/>
          </p:cNvSpPr>
          <p:nvPr>
            <p:ph type="sldNum" sz="quarter" idx="4"/>
          </p:nvPr>
        </p:nvSpPr>
        <p:spPr>
          <a:xfrm>
            <a:off x="8844587" y="26391"/>
            <a:ext cx="309438" cy="274272"/>
          </a:xfrm>
          <a:prstGeom prst="rect">
            <a:avLst/>
          </a:prstGeom>
        </p:spPr>
        <p:txBody>
          <a:bodyPr anchor="ctr"/>
          <a:lstStyle>
            <a:lvl1pPr algn="ctr">
              <a:defRPr sz="900" b="1">
                <a:solidFill>
                  <a:srgbClr val="FF0000"/>
                </a:solidFill>
                <a:latin typeface="+mj-lt"/>
              </a:defRPr>
            </a:lvl1pPr>
          </a:lstStyle>
          <a:p>
            <a:pPr defTabSz="913298"/>
            <a:fld id="{E9B57936-92EF-4126-AE48-1D9D36D15E98}" type="slidenum">
              <a:rPr lang="ja-JP" altLang="en-US" smtClean="0"/>
              <a:pPr defTabSz="913298"/>
              <a:t>‹Nº›</a:t>
            </a:fld>
            <a:endParaRPr lang="ja-JP" altLang="en-US"/>
          </a:p>
        </p:txBody>
      </p:sp>
      <p:pic>
        <p:nvPicPr>
          <p:cNvPr id="5" name="Picture 4" descr="Takeda">
            <a:extLst>
              <a:ext uri="{FF2B5EF4-FFF2-40B4-BE49-F238E27FC236}">
                <a16:creationId xmlns="" xmlns:a16="http://schemas.microsoft.com/office/drawing/2014/main" id="{AB86B1F6-5D85-CD4E-A0A7-44787B0FAB6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31882" y="4724106"/>
            <a:ext cx="841292" cy="466606"/>
          </a:xfrm>
          <a:prstGeom prst="rect">
            <a:avLst/>
          </a:prstGeom>
        </p:spPr>
      </p:pic>
      <p:sp>
        <p:nvSpPr>
          <p:cNvPr id="8" name="TextBox 7">
            <a:extLst>
              <a:ext uri="{FF2B5EF4-FFF2-40B4-BE49-F238E27FC236}">
                <a16:creationId xmlns="" xmlns:a16="http://schemas.microsoft.com/office/drawing/2014/main" id="{F1C45704-C894-D1E7-70F3-E96451E02933}"/>
              </a:ext>
            </a:extLst>
          </p:cNvPr>
          <p:cNvSpPr txBox="1"/>
          <p:nvPr userDrawn="1"/>
        </p:nvSpPr>
        <p:spPr>
          <a:xfrm>
            <a:off x="391354" y="4953683"/>
            <a:ext cx="1474202" cy="161583"/>
          </a:xfrm>
          <a:prstGeom prst="rect">
            <a:avLst/>
          </a:prstGeom>
          <a:noFill/>
        </p:spPr>
        <p:txBody>
          <a:bodyPr wrap="none" lIns="68526" tIns="34289" rIns="68526" bIns="34289" rtlCol="0">
            <a:spAutoFit/>
          </a:bodyPr>
          <a:lstStyle/>
          <a:p>
            <a:pPr defTabSz="685188">
              <a:defRPr/>
            </a:pPr>
            <a:r>
              <a:rPr lang="en-US" sz="600">
                <a:solidFill>
                  <a:srgbClr val="34373F"/>
                </a:solidFill>
              </a:rPr>
              <a:t>Private and confidential. Do not distribute.</a:t>
            </a:r>
          </a:p>
        </p:txBody>
      </p:sp>
    </p:spTree>
    <p:extLst>
      <p:ext uri="{BB962C8B-B14F-4D97-AF65-F5344CB8AC3E}">
        <p14:creationId xmlns:p14="http://schemas.microsoft.com/office/powerpoint/2010/main" val="2675318065"/>
      </p:ext>
    </p:extLst>
  </p:cSld>
  <p:clrMapOvr>
    <a:masterClrMapping/>
  </p:clrMapOvr>
  <p:transition spd="slow">
    <p:push dir="u"/>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311700" y="445025"/>
            <a:ext cx="8520600" cy="572700"/>
          </a:xfrm>
          <a:prstGeom prst="rect">
            <a:avLst/>
          </a:prstGeom>
        </p:spPr>
        <p:txBody>
          <a:bodyPr spcFirstLastPara="1" wrap="square" lIns="89698" tIns="89698" rIns="89698" bIns="89698"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311700" y="1152475"/>
            <a:ext cx="8520600" cy="3416400"/>
          </a:xfrm>
          <a:prstGeom prst="rect">
            <a:avLst/>
          </a:prstGeom>
        </p:spPr>
        <p:txBody>
          <a:bodyPr spcFirstLastPara="1" wrap="square" lIns="89698" tIns="89698" rIns="89698" bIns="89698" anchor="t" anchorCtr="0">
            <a:noAutofit/>
          </a:bodyPr>
          <a:lstStyle>
            <a:lvl1pPr marL="598077" lvl="0" indent="-448563">
              <a:spcBef>
                <a:spcPts val="0"/>
              </a:spcBef>
              <a:spcAft>
                <a:spcPts val="0"/>
              </a:spcAft>
              <a:buSzPts val="1800"/>
              <a:buChar char="●"/>
              <a:defRPr/>
            </a:lvl1pPr>
            <a:lvl2pPr marL="1196154" lvl="1" indent="-415333">
              <a:spcBef>
                <a:spcPts val="2133"/>
              </a:spcBef>
              <a:spcAft>
                <a:spcPts val="0"/>
              </a:spcAft>
              <a:buSzPts val="1400"/>
              <a:buChar char="○"/>
              <a:defRPr/>
            </a:lvl2pPr>
            <a:lvl3pPr marL="1794232" lvl="2" indent="-415333">
              <a:spcBef>
                <a:spcPts val="2133"/>
              </a:spcBef>
              <a:spcAft>
                <a:spcPts val="0"/>
              </a:spcAft>
              <a:buSzPts val="1400"/>
              <a:buChar char="■"/>
              <a:defRPr/>
            </a:lvl3pPr>
            <a:lvl4pPr marL="2392313" lvl="3" indent="-415333">
              <a:spcBef>
                <a:spcPts val="2133"/>
              </a:spcBef>
              <a:spcAft>
                <a:spcPts val="0"/>
              </a:spcAft>
              <a:buSzPts val="1400"/>
              <a:buChar char="●"/>
              <a:defRPr/>
            </a:lvl4pPr>
            <a:lvl5pPr marL="2990385" lvl="4" indent="-415333">
              <a:spcBef>
                <a:spcPts val="2133"/>
              </a:spcBef>
              <a:spcAft>
                <a:spcPts val="0"/>
              </a:spcAft>
              <a:buSzPts val="1400"/>
              <a:buChar char="○"/>
              <a:defRPr/>
            </a:lvl5pPr>
            <a:lvl6pPr marL="3588465" lvl="5" indent="-415333">
              <a:spcBef>
                <a:spcPts val="2133"/>
              </a:spcBef>
              <a:spcAft>
                <a:spcPts val="0"/>
              </a:spcAft>
              <a:buSzPts val="1400"/>
              <a:buChar char="■"/>
              <a:defRPr/>
            </a:lvl6pPr>
            <a:lvl7pPr marL="4186537" lvl="6" indent="-415333">
              <a:spcBef>
                <a:spcPts val="2133"/>
              </a:spcBef>
              <a:spcAft>
                <a:spcPts val="0"/>
              </a:spcAft>
              <a:buSzPts val="1400"/>
              <a:buChar char="●"/>
              <a:defRPr/>
            </a:lvl7pPr>
            <a:lvl8pPr marL="4784627" lvl="7" indent="-415333">
              <a:spcBef>
                <a:spcPts val="2133"/>
              </a:spcBef>
              <a:spcAft>
                <a:spcPts val="0"/>
              </a:spcAft>
              <a:buSzPts val="1400"/>
              <a:buChar char="○"/>
              <a:defRPr/>
            </a:lvl8pPr>
            <a:lvl9pPr marL="5382688" lvl="8" indent="-415333">
              <a:spcBef>
                <a:spcPts val="2133"/>
              </a:spcBef>
              <a:spcAft>
                <a:spcPts val="2133"/>
              </a:spcAft>
              <a:buSzPts val="1400"/>
              <a:buChar char="■"/>
              <a:defRPr/>
            </a:lvl9pPr>
          </a:lstStyle>
          <a:p>
            <a:endParaRPr/>
          </a:p>
        </p:txBody>
      </p:sp>
      <p:sp>
        <p:nvSpPr>
          <p:cNvPr id="19" name="Google Shape;19;p4"/>
          <p:cNvSpPr txBox="1">
            <a:spLocks noGrp="1"/>
          </p:cNvSpPr>
          <p:nvPr>
            <p:ph type="sldNum" idx="12"/>
          </p:nvPr>
        </p:nvSpPr>
        <p:spPr>
          <a:xfrm>
            <a:off x="8472458" y="4663217"/>
            <a:ext cx="548700" cy="393600"/>
          </a:xfrm>
          <a:prstGeom prst="rect">
            <a:avLst/>
          </a:prstGeom>
        </p:spPr>
        <p:txBody>
          <a:bodyPr spcFirstLastPara="1" wrap="square" lIns="89698" tIns="89698" rIns="89698" bIns="89698"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s-AR" smtClean="0"/>
              <a:pPr/>
              <a:t>‹Nº›</a:t>
            </a:fld>
            <a:endParaRPr lang="es-AR"/>
          </a:p>
        </p:txBody>
      </p:sp>
    </p:spTree>
    <p:extLst>
      <p:ext uri="{BB962C8B-B14F-4D97-AF65-F5344CB8AC3E}">
        <p14:creationId xmlns:p14="http://schemas.microsoft.com/office/powerpoint/2010/main" val="2290564710"/>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1165FFCC-78CC-4E9D-A277-8230F27334A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 xmlns:a16="http://schemas.microsoft.com/office/drawing/2014/main" id="{744CEFE7-D923-48C1-B2FE-8110829C69E3}"/>
              </a:ext>
            </a:extLst>
          </p:cNvPr>
          <p:cNvSpPr>
            <a:spLocks noGrp="1"/>
          </p:cNvSpPr>
          <p:nvPr>
            <p:ph type="dt" sz="half" idx="10"/>
          </p:nvPr>
        </p:nvSpPr>
        <p:spPr/>
        <p:txBody>
          <a:bodyPr lIns="68526" tIns="34289" rIns="68526" bIns="34289"/>
          <a:lstStyle/>
          <a:p>
            <a:pPr defTabSz="685188"/>
            <a:fld id="{EED1C14C-A143-42F5-B247-D0E800131009}" type="datetimeFigureOut">
              <a:rPr lang="en-US" sz="1400" smtClean="0">
                <a:solidFill>
                  <a:srgbClr val="34373F"/>
                </a:solidFill>
              </a:rPr>
              <a:pPr defTabSz="685188"/>
              <a:t>8/7/2024</a:t>
            </a:fld>
            <a:endParaRPr lang="en-US" sz="1400">
              <a:solidFill>
                <a:srgbClr val="34373F"/>
              </a:solidFill>
            </a:endParaRPr>
          </a:p>
        </p:txBody>
      </p:sp>
      <p:sp>
        <p:nvSpPr>
          <p:cNvPr id="4" name="Footer Placeholder 3">
            <a:extLst>
              <a:ext uri="{FF2B5EF4-FFF2-40B4-BE49-F238E27FC236}">
                <a16:creationId xmlns="" xmlns:a16="http://schemas.microsoft.com/office/drawing/2014/main" id="{A68F91C9-7841-4F7B-8F24-B5FF45B5B391}"/>
              </a:ext>
            </a:extLst>
          </p:cNvPr>
          <p:cNvSpPr>
            <a:spLocks noGrp="1"/>
          </p:cNvSpPr>
          <p:nvPr>
            <p:ph type="ftr" sz="quarter" idx="11"/>
          </p:nvPr>
        </p:nvSpPr>
        <p:spPr/>
        <p:txBody>
          <a:bodyPr/>
          <a:lstStyle/>
          <a:p>
            <a:endParaRPr lang="en-US">
              <a:solidFill>
                <a:srgbClr val="34373F"/>
              </a:solidFill>
            </a:endParaRPr>
          </a:p>
        </p:txBody>
      </p:sp>
      <p:sp>
        <p:nvSpPr>
          <p:cNvPr id="5" name="Slide Number Placeholder 4">
            <a:extLst>
              <a:ext uri="{FF2B5EF4-FFF2-40B4-BE49-F238E27FC236}">
                <a16:creationId xmlns="" xmlns:a16="http://schemas.microsoft.com/office/drawing/2014/main" id="{B8896739-CF17-4867-A5ED-317AD19F5A3B}"/>
              </a:ext>
            </a:extLst>
          </p:cNvPr>
          <p:cNvSpPr>
            <a:spLocks noGrp="1"/>
          </p:cNvSpPr>
          <p:nvPr>
            <p:ph type="sldNum" sz="quarter" idx="12"/>
          </p:nvPr>
        </p:nvSpPr>
        <p:spPr/>
        <p:txBody>
          <a:bodyPr/>
          <a:lstStyle/>
          <a:p>
            <a:fld id="{5B03D32D-F1BC-4E9C-97E1-36CFF5B22341}" type="slidenum">
              <a:rPr lang="en-US" smtClean="0">
                <a:solidFill>
                  <a:srgbClr val="34373F"/>
                </a:solidFill>
              </a:rPr>
              <a:pPr/>
              <a:t>‹Nº›</a:t>
            </a:fld>
            <a:endParaRPr lang="en-US">
              <a:solidFill>
                <a:srgbClr val="34373F"/>
              </a:solidFill>
            </a:endParaRPr>
          </a:p>
        </p:txBody>
      </p:sp>
    </p:spTree>
    <p:extLst>
      <p:ext uri="{BB962C8B-B14F-4D97-AF65-F5344CB8AC3E}">
        <p14:creationId xmlns:p14="http://schemas.microsoft.com/office/powerpoint/2010/main" val="475099825"/>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2134FC21-AE04-4050-80E6-D9DCA4B50C9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 xmlns:a16="http://schemas.microsoft.com/office/drawing/2014/main" id="{51885F7E-EF45-48F7-9E54-C6806D0E9638}"/>
              </a:ext>
            </a:extLst>
          </p:cNvPr>
          <p:cNvSpPr>
            <a:spLocks noGrp="1"/>
          </p:cNvSpPr>
          <p:nvPr>
            <p:ph sz="half" idx="1"/>
          </p:nvPr>
        </p:nvSpPr>
        <p:spPr>
          <a:xfrm>
            <a:off x="628650" y="1369218"/>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 xmlns:a16="http://schemas.microsoft.com/office/drawing/2014/main" id="{7724501F-6ED5-4112-B037-D3E9F8CF2C81}"/>
              </a:ext>
            </a:extLst>
          </p:cNvPr>
          <p:cNvSpPr>
            <a:spLocks noGrp="1"/>
          </p:cNvSpPr>
          <p:nvPr>
            <p:ph sz="half" idx="2"/>
          </p:nvPr>
        </p:nvSpPr>
        <p:spPr>
          <a:xfrm>
            <a:off x="4629150" y="1369218"/>
            <a:ext cx="3886200" cy="32635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 xmlns:a16="http://schemas.microsoft.com/office/drawing/2014/main" id="{E861E48C-176E-4E60-8CB3-5425169963CD}"/>
              </a:ext>
            </a:extLst>
          </p:cNvPr>
          <p:cNvSpPr>
            <a:spLocks noGrp="1"/>
          </p:cNvSpPr>
          <p:nvPr>
            <p:ph type="dt" sz="half" idx="10"/>
          </p:nvPr>
        </p:nvSpPr>
        <p:spPr/>
        <p:txBody>
          <a:bodyPr lIns="68526" tIns="34289" rIns="68526" bIns="34289"/>
          <a:lstStyle/>
          <a:p>
            <a:pPr defTabSz="685188"/>
            <a:fld id="{EED1C14C-A143-42F5-B247-D0E800131009}" type="datetimeFigureOut">
              <a:rPr lang="en-US" sz="1400" smtClean="0">
                <a:solidFill>
                  <a:srgbClr val="34373F"/>
                </a:solidFill>
              </a:rPr>
              <a:pPr defTabSz="685188"/>
              <a:t>8/7/2024</a:t>
            </a:fld>
            <a:endParaRPr lang="en-US" sz="1400">
              <a:solidFill>
                <a:srgbClr val="34373F"/>
              </a:solidFill>
            </a:endParaRPr>
          </a:p>
        </p:txBody>
      </p:sp>
      <p:sp>
        <p:nvSpPr>
          <p:cNvPr id="6" name="Footer Placeholder 5">
            <a:extLst>
              <a:ext uri="{FF2B5EF4-FFF2-40B4-BE49-F238E27FC236}">
                <a16:creationId xmlns="" xmlns:a16="http://schemas.microsoft.com/office/drawing/2014/main" id="{5852202B-C929-4B39-AF47-D17C38F868E8}"/>
              </a:ext>
            </a:extLst>
          </p:cNvPr>
          <p:cNvSpPr>
            <a:spLocks noGrp="1"/>
          </p:cNvSpPr>
          <p:nvPr>
            <p:ph type="ftr" sz="quarter" idx="11"/>
          </p:nvPr>
        </p:nvSpPr>
        <p:spPr/>
        <p:txBody>
          <a:bodyPr/>
          <a:lstStyle/>
          <a:p>
            <a:endParaRPr lang="en-US">
              <a:solidFill>
                <a:srgbClr val="34373F"/>
              </a:solidFill>
            </a:endParaRPr>
          </a:p>
        </p:txBody>
      </p:sp>
      <p:sp>
        <p:nvSpPr>
          <p:cNvPr id="7" name="Slide Number Placeholder 6">
            <a:extLst>
              <a:ext uri="{FF2B5EF4-FFF2-40B4-BE49-F238E27FC236}">
                <a16:creationId xmlns="" xmlns:a16="http://schemas.microsoft.com/office/drawing/2014/main" id="{7DEEEBF3-930A-4A23-810D-C1880E7A6D29}"/>
              </a:ext>
            </a:extLst>
          </p:cNvPr>
          <p:cNvSpPr>
            <a:spLocks noGrp="1"/>
          </p:cNvSpPr>
          <p:nvPr>
            <p:ph type="sldNum" sz="quarter" idx="12"/>
          </p:nvPr>
        </p:nvSpPr>
        <p:spPr/>
        <p:txBody>
          <a:bodyPr/>
          <a:lstStyle/>
          <a:p>
            <a:fld id="{5B03D32D-F1BC-4E9C-97E1-36CFF5B22341}" type="slidenum">
              <a:rPr lang="en-US" smtClean="0">
                <a:solidFill>
                  <a:srgbClr val="34373F"/>
                </a:solidFill>
              </a:rPr>
              <a:pPr/>
              <a:t>‹Nº›</a:t>
            </a:fld>
            <a:endParaRPr lang="en-US">
              <a:solidFill>
                <a:srgbClr val="34373F"/>
              </a:solidFill>
            </a:endParaRPr>
          </a:p>
        </p:txBody>
      </p:sp>
    </p:spTree>
    <p:extLst>
      <p:ext uri="{BB962C8B-B14F-4D97-AF65-F5344CB8AC3E}">
        <p14:creationId xmlns:p14="http://schemas.microsoft.com/office/powerpoint/2010/main" val="335562301"/>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userDrawn="1">
  <p:cSld name="4_Title Image 2 a">
    <p:spTree>
      <p:nvGrpSpPr>
        <p:cNvPr id="1" name=""/>
        <p:cNvGrpSpPr/>
        <p:nvPr/>
      </p:nvGrpSpPr>
      <p:grpSpPr>
        <a:xfrm>
          <a:off x="0" y="0"/>
          <a:ext cx="0" cy="0"/>
          <a:chOff x="0" y="0"/>
          <a:chExt cx="0" cy="0"/>
        </a:xfrm>
      </p:grpSpPr>
      <p:sp>
        <p:nvSpPr>
          <p:cNvPr id="19" name="Rectangle 6">
            <a:extLst>
              <a:ext uri="{FF2B5EF4-FFF2-40B4-BE49-F238E27FC236}">
                <a16:creationId xmlns="" xmlns:a16="http://schemas.microsoft.com/office/drawing/2014/main" id="{18D4B9FA-39D5-DC46-AEE9-0F3C6ECD9555}"/>
              </a:ext>
            </a:extLst>
          </p:cNvPr>
          <p:cNvSpPr/>
          <p:nvPr userDrawn="1"/>
        </p:nvSpPr>
        <p:spPr>
          <a:xfrm>
            <a:off x="0" y="3105000"/>
            <a:ext cx="107504" cy="1485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26" tIns="34289" rIns="68526" bIns="34289" anchor="ctr"/>
          <a:lstStyle/>
          <a:p>
            <a:pPr algn="ctr" defTabSz="685188"/>
            <a:endParaRPr lang="en-US" altLang="en-US" sz="1400">
              <a:solidFill>
                <a:srgbClr val="FFFFFF"/>
              </a:solidFill>
            </a:endParaRPr>
          </a:p>
        </p:txBody>
      </p:sp>
      <p:sp>
        <p:nvSpPr>
          <p:cNvPr id="21" name="Title 1">
            <a:extLst>
              <a:ext uri="{FF2B5EF4-FFF2-40B4-BE49-F238E27FC236}">
                <a16:creationId xmlns="" xmlns:a16="http://schemas.microsoft.com/office/drawing/2014/main" id="{BBB8651D-A822-B447-BA6F-5B2ACD54EA33}"/>
              </a:ext>
            </a:extLst>
          </p:cNvPr>
          <p:cNvSpPr>
            <a:spLocks noGrp="1"/>
          </p:cNvSpPr>
          <p:nvPr>
            <p:ph type="ctrTitle" hasCustomPrompt="1"/>
          </p:nvPr>
        </p:nvSpPr>
        <p:spPr>
          <a:xfrm>
            <a:off x="733674" y="3034435"/>
            <a:ext cx="5638528" cy="671442"/>
          </a:xfrm>
        </p:spPr>
        <p:txBody>
          <a:bodyPr wrap="square" tIns="0" rIns="0" bIns="0" anchor="t" anchorCtr="0">
            <a:noAutofit/>
          </a:bodyPr>
          <a:lstStyle>
            <a:lvl1pPr>
              <a:lnSpc>
                <a:spcPts val="2835"/>
              </a:lnSpc>
              <a:defRPr sz="2100" b="0" i="0" baseline="0">
                <a:solidFill>
                  <a:schemeClr val="accent2"/>
                </a:solidFill>
                <a:latin typeface="Calibri" pitchFamily="34" charset="0"/>
                <a:ea typeface="メイリオ" pitchFamily="50" charset="-128"/>
                <a:cs typeface="Calibri" pitchFamily="34" charset="0"/>
              </a:defRPr>
            </a:lvl1pPr>
          </a:lstStyle>
          <a:p>
            <a:r>
              <a:rPr lang="en-GB"/>
              <a:t>Click to enter Presentation Title</a:t>
            </a:r>
          </a:p>
        </p:txBody>
      </p:sp>
      <p:pic>
        <p:nvPicPr>
          <p:cNvPr id="11" name="Picture 12" descr="Takeda_Logo_Pos_RGB.emf">
            <a:extLst>
              <a:ext uri="{FF2B5EF4-FFF2-40B4-BE49-F238E27FC236}">
                <a16:creationId xmlns="" xmlns:a16="http://schemas.microsoft.com/office/drawing/2014/main" id="{287FB422-2240-1A4C-BD02-01CE8911C0A9}"/>
              </a:ext>
            </a:extLst>
          </p:cNvPr>
          <p:cNvPicPr>
            <a:picLocks noChangeAspect="1"/>
          </p:cNvPicPr>
          <p:nvPr userDrawn="1"/>
        </p:nvPicPr>
        <p:blipFill>
          <a:blip r:embed="rId2" cstate="print"/>
          <a:stretch>
            <a:fillRect/>
          </a:stretch>
        </p:blipFill>
        <p:spPr bwMode="auto">
          <a:xfrm>
            <a:off x="7328593" y="3107923"/>
            <a:ext cx="1062884" cy="357458"/>
          </a:xfrm>
          <a:prstGeom prst="rect">
            <a:avLst/>
          </a:prstGeom>
          <a:noFill/>
          <a:ln w="9525">
            <a:noFill/>
            <a:miter lim="800000"/>
            <a:headEnd/>
            <a:tailEnd/>
          </a:ln>
        </p:spPr>
      </p:pic>
      <p:pic>
        <p:nvPicPr>
          <p:cNvPr id="12" name="Bild 5">
            <a:extLst>
              <a:ext uri="{FF2B5EF4-FFF2-40B4-BE49-F238E27FC236}">
                <a16:creationId xmlns="" xmlns:a16="http://schemas.microsoft.com/office/drawing/2014/main" id="{211B8A58-0EB0-6348-B49B-AE3B0CAC21F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6977822" y="4536439"/>
            <a:ext cx="1410603" cy="81740"/>
          </a:xfrm>
          <a:prstGeom prst="rect">
            <a:avLst/>
          </a:prstGeom>
          <a:noFill/>
          <a:ln w="9525">
            <a:noFill/>
            <a:miter lim="800000"/>
            <a:headEnd/>
            <a:tailEnd/>
          </a:ln>
        </p:spPr>
      </p:pic>
      <p:sp>
        <p:nvSpPr>
          <p:cNvPr id="13" name="Text Placeholder 8">
            <a:extLst>
              <a:ext uri="{FF2B5EF4-FFF2-40B4-BE49-F238E27FC236}">
                <a16:creationId xmlns="" xmlns:a16="http://schemas.microsoft.com/office/drawing/2014/main" id="{10C6B0C8-EB17-EC48-8410-BE88116D3ACD}"/>
              </a:ext>
            </a:extLst>
          </p:cNvPr>
          <p:cNvSpPr>
            <a:spLocks noGrp="1"/>
          </p:cNvSpPr>
          <p:nvPr>
            <p:ph type="body" sz="quarter" idx="13" hasCustomPrompt="1"/>
          </p:nvPr>
        </p:nvSpPr>
        <p:spPr>
          <a:xfrm>
            <a:off x="733672" y="3748422"/>
            <a:ext cx="4227248" cy="216694"/>
          </a:xfrm>
        </p:spPr>
        <p:txBody>
          <a:bodyPr>
            <a:noAutofit/>
          </a:bodyPr>
          <a:lstStyle>
            <a:lvl1pPr marL="0" indent="0">
              <a:buNone/>
              <a:defRPr sz="1200"/>
            </a:lvl1pPr>
          </a:lstStyle>
          <a:p>
            <a:r>
              <a:rPr lang="en-US"/>
              <a:t>Date</a:t>
            </a:r>
          </a:p>
        </p:txBody>
      </p:sp>
      <p:sp>
        <p:nvSpPr>
          <p:cNvPr id="14" name="Text Placeholder 17">
            <a:extLst>
              <a:ext uri="{FF2B5EF4-FFF2-40B4-BE49-F238E27FC236}">
                <a16:creationId xmlns="" xmlns:a16="http://schemas.microsoft.com/office/drawing/2014/main" id="{F36B06DC-7895-8244-8724-6CDF07B1B8EC}"/>
              </a:ext>
            </a:extLst>
          </p:cNvPr>
          <p:cNvSpPr>
            <a:spLocks noGrp="1"/>
          </p:cNvSpPr>
          <p:nvPr>
            <p:ph type="body" sz="quarter" idx="11" hasCustomPrompt="1"/>
          </p:nvPr>
        </p:nvSpPr>
        <p:spPr>
          <a:xfrm>
            <a:off x="733672" y="4197965"/>
            <a:ext cx="4227248" cy="200025"/>
          </a:xfrm>
        </p:spPr>
        <p:txBody>
          <a:bodyPr>
            <a:noAutofit/>
          </a:bodyPr>
          <a:lstStyle>
            <a:lvl1pPr marL="0" indent="0">
              <a:buNone/>
              <a:defRPr sz="1200">
                <a:solidFill>
                  <a:schemeClr val="accent2"/>
                </a:solidFill>
              </a:defRPr>
            </a:lvl1pPr>
          </a:lstStyle>
          <a:p>
            <a:r>
              <a:rPr lang="en-US"/>
              <a:t>Department</a:t>
            </a:r>
          </a:p>
        </p:txBody>
      </p:sp>
      <p:sp>
        <p:nvSpPr>
          <p:cNvPr id="15" name="Text Placeholder 19">
            <a:extLst>
              <a:ext uri="{FF2B5EF4-FFF2-40B4-BE49-F238E27FC236}">
                <a16:creationId xmlns="" xmlns:a16="http://schemas.microsoft.com/office/drawing/2014/main" id="{6BDF6E0C-07EA-D14B-9328-D8C625F573A5}"/>
              </a:ext>
            </a:extLst>
          </p:cNvPr>
          <p:cNvSpPr>
            <a:spLocks noGrp="1"/>
          </p:cNvSpPr>
          <p:nvPr>
            <p:ph type="body" sz="quarter" idx="14" hasCustomPrompt="1"/>
          </p:nvPr>
        </p:nvSpPr>
        <p:spPr>
          <a:xfrm>
            <a:off x="733672" y="3981526"/>
            <a:ext cx="4227248" cy="200025"/>
          </a:xfrm>
        </p:spPr>
        <p:txBody>
          <a:bodyPr>
            <a:noAutofit/>
          </a:bodyPr>
          <a:lstStyle>
            <a:lvl1pPr marL="0" indent="0">
              <a:buNone/>
              <a:defRPr sz="1200"/>
            </a:lvl1pPr>
          </a:lstStyle>
          <a:p>
            <a:r>
              <a:rPr lang="en-US"/>
              <a:t>Name, Job Title</a:t>
            </a:r>
          </a:p>
        </p:txBody>
      </p:sp>
      <p:sp>
        <p:nvSpPr>
          <p:cNvPr id="18" name="Text Placeholder 10">
            <a:extLst>
              <a:ext uri="{FF2B5EF4-FFF2-40B4-BE49-F238E27FC236}">
                <a16:creationId xmlns="" xmlns:a16="http://schemas.microsoft.com/office/drawing/2014/main" id="{2BFEAA57-D4CD-4347-85B4-8B2085F33AA1}"/>
              </a:ext>
            </a:extLst>
          </p:cNvPr>
          <p:cNvSpPr>
            <a:spLocks noGrp="1"/>
          </p:cNvSpPr>
          <p:nvPr>
            <p:ph type="body" sz="quarter" idx="16"/>
          </p:nvPr>
        </p:nvSpPr>
        <p:spPr>
          <a:xfrm>
            <a:off x="733672" y="4414403"/>
            <a:ext cx="4227248" cy="200025"/>
          </a:xfrm>
        </p:spPr>
        <p:txBody>
          <a:bodyPr>
            <a:noAutofit/>
          </a:bodyPr>
          <a:lstStyle>
            <a:lvl1pPr marL="0" indent="0">
              <a:buNone/>
              <a:defRPr sz="1200">
                <a:solidFill>
                  <a:schemeClr val="accent2"/>
                </a:solidFill>
              </a:defRPr>
            </a:lvl1pPr>
          </a:lstStyle>
          <a:p>
            <a:pPr lvl="0"/>
            <a:r>
              <a:rPr lang="en-US">
                <a:solidFill>
                  <a:schemeClr val="accent2"/>
                </a:solidFill>
              </a:rPr>
              <a:t>Click to edit Master text styles</a:t>
            </a:r>
          </a:p>
        </p:txBody>
      </p:sp>
      <p:sp>
        <p:nvSpPr>
          <p:cNvPr id="20" name="Picture Placeholder 3">
            <a:extLst>
              <a:ext uri="{FF2B5EF4-FFF2-40B4-BE49-F238E27FC236}">
                <a16:creationId xmlns="" xmlns:a16="http://schemas.microsoft.com/office/drawing/2014/main" id="{902F3095-EA6E-F94A-AF04-18ED691DEB75}"/>
              </a:ext>
            </a:extLst>
          </p:cNvPr>
          <p:cNvSpPr>
            <a:spLocks noGrp="1"/>
          </p:cNvSpPr>
          <p:nvPr>
            <p:ph type="pic" sz="quarter" idx="17"/>
          </p:nvPr>
        </p:nvSpPr>
        <p:spPr>
          <a:xfrm>
            <a:off x="0" y="4763"/>
            <a:ext cx="9144000" cy="2571750"/>
          </a:xfrm>
        </p:spPr>
        <p:txBody>
          <a:bodyPr/>
          <a:lstStyle/>
          <a:p>
            <a:r>
              <a:rPr lang="en-US"/>
              <a:t>Click icon to add picture</a:t>
            </a:r>
          </a:p>
        </p:txBody>
      </p:sp>
      <p:pic>
        <p:nvPicPr>
          <p:cNvPr id="16" name="Picture 2" descr="http://www.thesailmarinabay.com/photos/SingaporeSkyline5.jpg">
            <a:extLst>
              <a:ext uri="{FF2B5EF4-FFF2-40B4-BE49-F238E27FC236}">
                <a16:creationId xmlns="" xmlns:a16="http://schemas.microsoft.com/office/drawing/2014/main" id="{622C6984-93D4-4DFC-8EA5-CB8A1479B62E}"/>
              </a:ext>
            </a:extLst>
          </p:cNvPr>
          <p:cNvPicPr>
            <a:picLocks noChangeAspect="1" noChangeArrowheads="1"/>
          </p:cNvPicPr>
          <p:nvPr userDrawn="1"/>
        </p:nvPicPr>
        <p:blipFill rotWithShape="1">
          <a:blip r:embed="rId4" cstate="print">
            <a:extLst>
              <a:ext uri="{28A0092B-C50C-407E-A947-70E740481C1C}">
                <a14:useLocalDpi xmlns:a14="http://schemas.microsoft.com/office/drawing/2010/main" val="0"/>
              </a:ext>
            </a:extLst>
          </a:blip>
          <a:srcRect t="35949" r="2186" b="22946"/>
          <a:stretch/>
        </p:blipFill>
        <p:spPr bwMode="auto">
          <a:xfrm>
            <a:off x="1" y="3"/>
            <a:ext cx="9144000" cy="25620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93125496"/>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Page 1">
    <p:spTree>
      <p:nvGrpSpPr>
        <p:cNvPr id="1" name=""/>
        <p:cNvGrpSpPr/>
        <p:nvPr/>
      </p:nvGrpSpPr>
      <p:grpSpPr>
        <a:xfrm>
          <a:off x="0" y="0"/>
          <a:ext cx="0" cy="0"/>
          <a:chOff x="0" y="0"/>
          <a:chExt cx="0" cy="0"/>
        </a:xfrm>
      </p:grpSpPr>
      <p:sp>
        <p:nvSpPr>
          <p:cNvPr id="6" name="Rectangle 6">
            <a:extLst>
              <a:ext uri="{FF2B5EF4-FFF2-40B4-BE49-F238E27FC236}">
                <a16:creationId xmlns="" xmlns:a16="http://schemas.microsoft.com/office/drawing/2014/main" id="{82B9CECE-7D8F-8C4A-AFC6-A963B1F05594}"/>
              </a:ext>
            </a:extLst>
          </p:cNvPr>
          <p:cNvSpPr/>
          <p:nvPr userDrawn="1"/>
        </p:nvSpPr>
        <p:spPr>
          <a:xfrm>
            <a:off x="0" y="45949"/>
            <a:ext cx="191386" cy="6367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31" tIns="34289" rIns="68531" bIns="34289" anchor="ctr"/>
          <a:lstStyle/>
          <a:p>
            <a:pPr algn="ctr" defTabSz="685239"/>
            <a:endParaRPr lang="en-US" altLang="en-US" sz="1400">
              <a:solidFill>
                <a:srgbClr val="E1242A"/>
              </a:solidFill>
            </a:endParaRPr>
          </a:p>
        </p:txBody>
      </p:sp>
      <p:sp>
        <p:nvSpPr>
          <p:cNvPr id="10" name="Picture Placeholder 9">
            <a:extLst>
              <a:ext uri="{FF2B5EF4-FFF2-40B4-BE49-F238E27FC236}">
                <a16:creationId xmlns="" xmlns:a16="http://schemas.microsoft.com/office/drawing/2014/main" id="{91E79114-5B74-9547-8292-DAB8965D43FD}"/>
              </a:ext>
            </a:extLst>
          </p:cNvPr>
          <p:cNvSpPr>
            <a:spLocks noGrp="1"/>
          </p:cNvSpPr>
          <p:nvPr>
            <p:ph type="pic" sz="quarter" idx="10"/>
          </p:nvPr>
        </p:nvSpPr>
        <p:spPr>
          <a:xfrm>
            <a:off x="561756" y="381"/>
            <a:ext cx="8594519" cy="2571371"/>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2246">
                <a:moveTo>
                  <a:pt x="0" y="1652"/>
                </a:moveTo>
                <a:lnTo>
                  <a:pt x="11459359" y="0"/>
                </a:lnTo>
                <a:cubicBezTo>
                  <a:pt x="11456406" y="1115201"/>
                  <a:pt x="11441877" y="2245391"/>
                  <a:pt x="11438924" y="3360592"/>
                </a:cubicBezTo>
                <a:lnTo>
                  <a:pt x="579722" y="3362246"/>
                </a:lnTo>
                <a:cubicBezTo>
                  <a:pt x="259550" y="3362246"/>
                  <a:pt x="0" y="3102696"/>
                  <a:pt x="0" y="2782524"/>
                </a:cubicBezTo>
                <a:lnTo>
                  <a:pt x="0" y="1652"/>
                </a:lnTo>
                <a:close/>
              </a:path>
            </a:pathLst>
          </a:custGeom>
          <a:noFill/>
        </p:spPr>
        <p:txBody>
          <a:bodyPr/>
          <a:lstStyle>
            <a:lvl1pPr marL="0" indent="0">
              <a:buNone/>
              <a:defRPr sz="1800">
                <a:solidFill>
                  <a:schemeClr val="bg1"/>
                </a:solidFill>
              </a:defRPr>
            </a:lvl1pPr>
          </a:lstStyle>
          <a:p>
            <a:r>
              <a:rPr lang="es-ES"/>
              <a:t>Haga clic en el icono para agregar una imagen</a:t>
            </a:r>
            <a:endParaRPr lang="x-none"/>
          </a:p>
        </p:txBody>
      </p:sp>
      <p:pic>
        <p:nvPicPr>
          <p:cNvPr id="18" name="Picture 17" descr="Takeda">
            <a:extLst>
              <a:ext uri="{FF2B5EF4-FFF2-40B4-BE49-F238E27FC236}">
                <a16:creationId xmlns="" xmlns:a16="http://schemas.microsoft.com/office/drawing/2014/main" id="{5F9376FC-2A9F-C644-AD88-C6E1B65B4D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342920" y="2522097"/>
            <a:ext cx="1688783" cy="936649"/>
          </a:xfrm>
          <a:prstGeom prst="rect">
            <a:avLst/>
          </a:prstGeom>
        </p:spPr>
      </p:pic>
      <p:sp>
        <p:nvSpPr>
          <p:cNvPr id="15" name="Title 1">
            <a:extLst>
              <a:ext uri="{FF2B5EF4-FFF2-40B4-BE49-F238E27FC236}">
                <a16:creationId xmlns="" xmlns:a16="http://schemas.microsoft.com/office/drawing/2014/main" id="{9F5E8E0A-41D4-8346-9248-0B9AAC71238D}"/>
              </a:ext>
            </a:extLst>
          </p:cNvPr>
          <p:cNvSpPr>
            <a:spLocks noGrp="1"/>
          </p:cNvSpPr>
          <p:nvPr>
            <p:ph type="ctrTitle" hasCustomPrompt="1"/>
          </p:nvPr>
        </p:nvSpPr>
        <p:spPr>
          <a:xfrm>
            <a:off x="896055" y="2967638"/>
            <a:ext cx="5774753" cy="761761"/>
          </a:xfrm>
          <a:prstGeom prst="rect">
            <a:avLst/>
          </a:prstGeom>
        </p:spPr>
        <p:txBody>
          <a:bodyPr wrap="square" lIns="0" tIns="0" rIns="0" bIns="0" anchor="t" anchorCtr="0">
            <a:normAutofit/>
          </a:bodyPr>
          <a:lstStyle>
            <a:lvl1pPr>
              <a:lnSpc>
                <a:spcPts val="2850"/>
              </a:lnSpc>
              <a:defRPr sz="27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a:t>
            </a:r>
            <a:br>
              <a:rPr lang="en-GB"/>
            </a:br>
            <a:r>
              <a:rPr lang="en-GB"/>
              <a:t>Title</a:t>
            </a:r>
          </a:p>
        </p:txBody>
      </p:sp>
      <p:sp>
        <p:nvSpPr>
          <p:cNvPr id="17" name="Rectangle 16">
            <a:extLst>
              <a:ext uri="{FF2B5EF4-FFF2-40B4-BE49-F238E27FC236}">
                <a16:creationId xmlns="" xmlns:a16="http://schemas.microsoft.com/office/drawing/2014/main" id="{F5A63B8E-5554-A04E-B4C5-97ECEE58B6CC}"/>
              </a:ext>
            </a:extLst>
          </p:cNvPr>
          <p:cNvSpPr/>
          <p:nvPr userDrawn="1"/>
        </p:nvSpPr>
        <p:spPr>
          <a:xfrm>
            <a:off x="561754" y="2823048"/>
            <a:ext cx="72900" cy="20303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31" tIns="34289" rIns="68531" bIns="34289" anchor="ctr"/>
          <a:lstStyle/>
          <a:p>
            <a:pPr algn="ctr" defTabSz="685239"/>
            <a:endParaRPr lang="en-US" altLang="en-US" sz="1400">
              <a:solidFill>
                <a:srgbClr val="FFFFFF"/>
              </a:solidFill>
            </a:endParaRPr>
          </a:p>
        </p:txBody>
      </p:sp>
      <p:pic>
        <p:nvPicPr>
          <p:cNvPr id="21" name="Picture 20">
            <a:extLst>
              <a:ext uri="{FF2B5EF4-FFF2-40B4-BE49-F238E27FC236}">
                <a16:creationId xmlns="" xmlns:a16="http://schemas.microsoft.com/office/drawing/2014/main" id="{C2637423-F180-3943-B758-C8CCFA816E0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178941" y="4768491"/>
            <a:ext cx="1468934" cy="88097"/>
          </a:xfrm>
          <a:prstGeom prst="rect">
            <a:avLst/>
          </a:prstGeom>
        </p:spPr>
      </p:pic>
      <p:sp>
        <p:nvSpPr>
          <p:cNvPr id="23" name="Text Placeholder 2">
            <a:extLst>
              <a:ext uri="{FF2B5EF4-FFF2-40B4-BE49-F238E27FC236}">
                <a16:creationId xmlns="" xmlns:a16="http://schemas.microsoft.com/office/drawing/2014/main" id="{F7327E43-4F43-914D-BE65-DB0ADB5A5E11}"/>
              </a:ext>
            </a:extLst>
          </p:cNvPr>
          <p:cNvSpPr>
            <a:spLocks noGrp="1"/>
          </p:cNvSpPr>
          <p:nvPr>
            <p:ph type="body" sz="quarter" idx="23" hasCustomPrompt="1"/>
          </p:nvPr>
        </p:nvSpPr>
        <p:spPr>
          <a:xfrm>
            <a:off x="896055" y="3942057"/>
            <a:ext cx="5774753" cy="175501"/>
          </a:xfrm>
          <a:prstGeom prst="rect">
            <a:avLst/>
          </a:prstGeom>
        </p:spPr>
        <p:txBody>
          <a:bodyPr lIns="0" tIns="0" rIns="0" bIns="0">
            <a:noAutofit/>
          </a:bodyPr>
          <a:lstStyle>
            <a:lvl1pPr marL="0" indent="0">
              <a:buNone/>
              <a:defRPr sz="1100" b="0" i="0">
                <a:solidFill>
                  <a:schemeClr val="tx1"/>
                </a:solidFill>
                <a:latin typeface="Calibri" panose="020F0502020204030204" pitchFamily="34" charset="0"/>
                <a:cs typeface="Calibri" panose="020F0502020204030204" pitchFamily="34" charset="0"/>
              </a:defRPr>
            </a:lvl1pPr>
            <a:lvl2pPr marL="342506" indent="0">
              <a:buNone/>
              <a:defRPr sz="1100">
                <a:solidFill>
                  <a:schemeClr val="tx1"/>
                </a:solidFill>
              </a:defRPr>
            </a:lvl2pPr>
            <a:lvl3pPr marL="685051" indent="0">
              <a:buNone/>
              <a:defRPr sz="1100">
                <a:solidFill>
                  <a:schemeClr val="tx1"/>
                </a:solidFill>
              </a:defRPr>
            </a:lvl3pPr>
            <a:lvl4pPr marL="1027572" indent="0">
              <a:buNone/>
              <a:defRPr sz="1100">
                <a:solidFill>
                  <a:schemeClr val="tx1"/>
                </a:solidFill>
              </a:defRPr>
            </a:lvl4pPr>
            <a:lvl5pPr marL="1370096" indent="0">
              <a:buNone/>
              <a:defRPr sz="1100">
                <a:solidFill>
                  <a:schemeClr val="tx1"/>
                </a:solidFill>
              </a:defRPr>
            </a:lvl5pPr>
          </a:lstStyle>
          <a:p>
            <a:pPr lvl="0"/>
            <a:r>
              <a:rPr lang="en-US"/>
              <a:t>Title of Position</a:t>
            </a:r>
          </a:p>
        </p:txBody>
      </p:sp>
      <p:sp>
        <p:nvSpPr>
          <p:cNvPr id="24" name="Text Placeholder 2">
            <a:extLst>
              <a:ext uri="{FF2B5EF4-FFF2-40B4-BE49-F238E27FC236}">
                <a16:creationId xmlns="" xmlns:a16="http://schemas.microsoft.com/office/drawing/2014/main" id="{4A23AA60-6137-8841-B2ED-51B2F2E5C1BB}"/>
              </a:ext>
            </a:extLst>
          </p:cNvPr>
          <p:cNvSpPr>
            <a:spLocks noGrp="1"/>
          </p:cNvSpPr>
          <p:nvPr>
            <p:ph type="body" sz="quarter" idx="24" hasCustomPrompt="1"/>
          </p:nvPr>
        </p:nvSpPr>
        <p:spPr>
          <a:xfrm>
            <a:off x="896055" y="4136317"/>
            <a:ext cx="5774753" cy="175501"/>
          </a:xfrm>
          <a:prstGeom prst="rect">
            <a:avLst/>
          </a:prstGeom>
        </p:spPr>
        <p:txBody>
          <a:bodyPr lIns="0" tIns="0" rIns="0" bIns="0">
            <a:noAutofit/>
          </a:bodyPr>
          <a:lstStyle>
            <a:lvl1pPr marL="0" indent="0">
              <a:buNone/>
              <a:defRPr sz="1100" b="0" i="0">
                <a:solidFill>
                  <a:schemeClr val="tx1"/>
                </a:solidFill>
                <a:latin typeface="Calibri" panose="020F0502020204030204" pitchFamily="34" charset="0"/>
                <a:cs typeface="Calibri" panose="020F0502020204030204" pitchFamily="34" charset="0"/>
              </a:defRPr>
            </a:lvl1pPr>
            <a:lvl2pPr marL="342506" indent="0">
              <a:buNone/>
              <a:defRPr sz="1100">
                <a:solidFill>
                  <a:schemeClr val="tx1"/>
                </a:solidFill>
              </a:defRPr>
            </a:lvl2pPr>
            <a:lvl3pPr marL="685051" indent="0">
              <a:buNone/>
              <a:defRPr sz="1100">
                <a:solidFill>
                  <a:schemeClr val="tx1"/>
                </a:solidFill>
              </a:defRPr>
            </a:lvl3pPr>
            <a:lvl4pPr marL="1027572" indent="0">
              <a:buNone/>
              <a:defRPr sz="1100">
                <a:solidFill>
                  <a:schemeClr val="tx1"/>
                </a:solidFill>
              </a:defRPr>
            </a:lvl4pPr>
            <a:lvl5pPr marL="1370096" indent="0">
              <a:buNone/>
              <a:defRPr sz="1100">
                <a:solidFill>
                  <a:schemeClr val="tx1"/>
                </a:solidFill>
              </a:defRPr>
            </a:lvl5pPr>
          </a:lstStyle>
          <a:p>
            <a:pPr lvl="0"/>
            <a:r>
              <a:rPr lang="en-US"/>
              <a:t>Department</a:t>
            </a:r>
          </a:p>
        </p:txBody>
      </p:sp>
      <p:sp>
        <p:nvSpPr>
          <p:cNvPr id="25" name="Text Placeholder 2">
            <a:extLst>
              <a:ext uri="{FF2B5EF4-FFF2-40B4-BE49-F238E27FC236}">
                <a16:creationId xmlns="" xmlns:a16="http://schemas.microsoft.com/office/drawing/2014/main" id="{BB4FEAB2-22C6-3446-B4D2-5B610A729BCC}"/>
              </a:ext>
            </a:extLst>
          </p:cNvPr>
          <p:cNvSpPr>
            <a:spLocks noGrp="1"/>
          </p:cNvSpPr>
          <p:nvPr>
            <p:ph type="body" sz="quarter" idx="25" hasCustomPrompt="1"/>
          </p:nvPr>
        </p:nvSpPr>
        <p:spPr>
          <a:xfrm>
            <a:off x="896055" y="4327182"/>
            <a:ext cx="5774753" cy="175501"/>
          </a:xfrm>
          <a:prstGeom prst="rect">
            <a:avLst/>
          </a:prstGeom>
        </p:spPr>
        <p:txBody>
          <a:bodyPr lIns="0" tIns="0" rIns="0" bIns="0">
            <a:noAutofit/>
          </a:bodyPr>
          <a:lstStyle>
            <a:lvl1pPr marL="0" indent="0">
              <a:buNone/>
              <a:defRPr sz="1100" b="0" i="0">
                <a:solidFill>
                  <a:schemeClr val="tx1"/>
                </a:solidFill>
                <a:latin typeface="Calibri" panose="020F0502020204030204" pitchFamily="34" charset="0"/>
                <a:cs typeface="Calibri" panose="020F0502020204030204" pitchFamily="34" charset="0"/>
              </a:defRPr>
            </a:lvl1pPr>
            <a:lvl2pPr marL="342506" indent="0">
              <a:buNone/>
              <a:defRPr sz="1100">
                <a:solidFill>
                  <a:schemeClr val="tx1"/>
                </a:solidFill>
              </a:defRPr>
            </a:lvl2pPr>
            <a:lvl3pPr marL="685051" indent="0">
              <a:buNone/>
              <a:defRPr sz="1100">
                <a:solidFill>
                  <a:schemeClr val="tx1"/>
                </a:solidFill>
              </a:defRPr>
            </a:lvl3pPr>
            <a:lvl4pPr marL="1027572" indent="0">
              <a:buNone/>
              <a:defRPr sz="1100">
                <a:solidFill>
                  <a:schemeClr val="tx1"/>
                </a:solidFill>
              </a:defRPr>
            </a:lvl4pPr>
            <a:lvl5pPr marL="1370096" indent="0">
              <a:buNone/>
              <a:defRPr sz="1100">
                <a:solidFill>
                  <a:schemeClr val="tx1"/>
                </a:solidFill>
              </a:defRPr>
            </a:lvl5pPr>
          </a:lstStyle>
          <a:p>
            <a:pPr lvl="0"/>
            <a:r>
              <a:rPr lang="en-US"/>
              <a:t>Date</a:t>
            </a:r>
          </a:p>
        </p:txBody>
      </p:sp>
      <p:sp>
        <p:nvSpPr>
          <p:cNvPr id="28" name="Text Placeholder 2">
            <a:extLst>
              <a:ext uri="{FF2B5EF4-FFF2-40B4-BE49-F238E27FC236}">
                <a16:creationId xmlns="" xmlns:a16="http://schemas.microsoft.com/office/drawing/2014/main" id="{4085F378-E668-A648-B7B1-8C76C309ED6D}"/>
              </a:ext>
            </a:extLst>
          </p:cNvPr>
          <p:cNvSpPr>
            <a:spLocks noGrp="1"/>
          </p:cNvSpPr>
          <p:nvPr>
            <p:ph type="body" sz="quarter" idx="26" hasCustomPrompt="1"/>
          </p:nvPr>
        </p:nvSpPr>
        <p:spPr>
          <a:xfrm>
            <a:off x="896055" y="3748166"/>
            <a:ext cx="5774753" cy="175501"/>
          </a:xfrm>
          <a:prstGeom prst="rect">
            <a:avLst/>
          </a:prstGeom>
        </p:spPr>
        <p:txBody>
          <a:bodyPr lIns="0" tIns="0" rIns="0" bIns="0">
            <a:noAutofit/>
          </a:bodyPr>
          <a:lstStyle>
            <a:lvl1pPr marL="0" indent="0">
              <a:buNone/>
              <a:defRPr sz="1100" b="0" i="0">
                <a:solidFill>
                  <a:schemeClr val="tx1"/>
                </a:solidFill>
                <a:latin typeface="Calibri" panose="020F0502020204030204" pitchFamily="34" charset="0"/>
                <a:cs typeface="Calibri" panose="020F0502020204030204" pitchFamily="34" charset="0"/>
              </a:defRPr>
            </a:lvl1pPr>
            <a:lvl2pPr marL="342506" indent="0">
              <a:buNone/>
              <a:defRPr sz="1100">
                <a:solidFill>
                  <a:schemeClr val="tx1"/>
                </a:solidFill>
              </a:defRPr>
            </a:lvl2pPr>
            <a:lvl3pPr marL="685051" indent="0">
              <a:buNone/>
              <a:defRPr sz="1100">
                <a:solidFill>
                  <a:schemeClr val="tx1"/>
                </a:solidFill>
              </a:defRPr>
            </a:lvl3pPr>
            <a:lvl4pPr marL="1027572" indent="0">
              <a:buNone/>
              <a:defRPr sz="1100">
                <a:solidFill>
                  <a:schemeClr val="tx1"/>
                </a:solidFill>
              </a:defRPr>
            </a:lvl4pPr>
            <a:lvl5pPr marL="1370096" indent="0">
              <a:buNone/>
              <a:defRPr sz="1100">
                <a:solidFill>
                  <a:schemeClr val="tx1"/>
                </a:solidFill>
              </a:defRPr>
            </a:lvl5pPr>
          </a:lstStyle>
          <a:p>
            <a:pPr lvl="0"/>
            <a:r>
              <a:rPr lang="en-US"/>
              <a:t>Presenter Name</a:t>
            </a:r>
          </a:p>
        </p:txBody>
      </p:sp>
      <p:sp>
        <p:nvSpPr>
          <p:cNvPr id="13" name="Text Placeholder 2">
            <a:extLst>
              <a:ext uri="{FF2B5EF4-FFF2-40B4-BE49-F238E27FC236}">
                <a16:creationId xmlns="" xmlns:a16="http://schemas.microsoft.com/office/drawing/2014/main" id="{C1E31EF6-BED5-C14F-94AD-4E5C55B85515}"/>
              </a:ext>
            </a:extLst>
          </p:cNvPr>
          <p:cNvSpPr>
            <a:spLocks noGrp="1"/>
          </p:cNvSpPr>
          <p:nvPr>
            <p:ph type="body" sz="quarter" idx="16" hasCustomPrompt="1"/>
          </p:nvPr>
        </p:nvSpPr>
        <p:spPr>
          <a:xfrm>
            <a:off x="896055" y="4520547"/>
            <a:ext cx="5774753" cy="175501"/>
          </a:xfrm>
        </p:spPr>
        <p:txBody>
          <a:bodyPr tIns="0" rIns="0" bIns="0" anchor="ctr" anchorCtr="0">
            <a:noAutofit/>
          </a:bodyPr>
          <a:lstStyle>
            <a:lvl1pPr marL="0" marR="0" indent="0" algn="l" defTabSz="685052"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600"/>
            </a:lvl1pPr>
            <a:lvl2pPr>
              <a:defRPr sz="600"/>
            </a:lvl2pPr>
            <a:lvl3pPr>
              <a:defRPr sz="600"/>
            </a:lvl3pPr>
            <a:lvl4pPr>
              <a:defRPr sz="600"/>
            </a:lvl4pPr>
            <a:lvl5pPr>
              <a:defRPr sz="600"/>
            </a:lvl5pPr>
          </a:lstStyle>
          <a:p>
            <a:pPr marL="0" marR="0" lvl="0" indent="0" algn="l" defTabSz="685052"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674996143"/>
      </p:ext>
    </p:extLst>
  </p:cSld>
  <p:clrMapOvr>
    <a:masterClrMapping/>
  </p:clrMapOvr>
  <p:transition spd="slow">
    <p:push dir="u"/>
  </p:transition>
  <p:extLst mod="1">
    <p:ext uri="{DCECCB84-F9BA-43D5-87BE-67443E8EF086}">
      <p15:sldGuideLst xmlns:p15="http://schemas.microsoft.com/office/powerpoint/2012/main">
        <p15:guide id="1" orient="horz" pos="4065">
          <p15:clr>
            <a:srgbClr val="FBAE40"/>
          </p15:clr>
        </p15:guide>
        <p15:guide id="2" orient="horz" pos="2364">
          <p15:clr>
            <a:srgbClr val="FBAE40"/>
          </p15:clr>
        </p15:guide>
        <p15:guide id="3" orient="horz" pos="2160">
          <p15:clr>
            <a:srgbClr val="FBAE4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Page 2 ">
    <p:spTree>
      <p:nvGrpSpPr>
        <p:cNvPr id="1" name=""/>
        <p:cNvGrpSpPr/>
        <p:nvPr/>
      </p:nvGrpSpPr>
      <p:grpSpPr>
        <a:xfrm>
          <a:off x="0" y="0"/>
          <a:ext cx="0" cy="0"/>
          <a:chOff x="0" y="0"/>
          <a:chExt cx="0" cy="0"/>
        </a:xfrm>
      </p:grpSpPr>
      <p:sp>
        <p:nvSpPr>
          <p:cNvPr id="33" name="Title 1">
            <a:extLst>
              <a:ext uri="{FF2B5EF4-FFF2-40B4-BE49-F238E27FC236}">
                <a16:creationId xmlns="" xmlns:a16="http://schemas.microsoft.com/office/drawing/2014/main" id="{E02383DA-65B3-044E-9E1B-2CC00A0B1CC6}"/>
              </a:ext>
            </a:extLst>
          </p:cNvPr>
          <p:cNvSpPr>
            <a:spLocks noGrp="1"/>
          </p:cNvSpPr>
          <p:nvPr>
            <p:ph type="ctrTitle" hasCustomPrompt="1"/>
          </p:nvPr>
        </p:nvSpPr>
        <p:spPr>
          <a:xfrm>
            <a:off x="896050" y="1727306"/>
            <a:ext cx="3266048" cy="844477"/>
          </a:xfrm>
          <a:prstGeom prst="rect">
            <a:avLst/>
          </a:prstGeom>
        </p:spPr>
        <p:txBody>
          <a:bodyPr wrap="square" lIns="0" tIns="0" rIns="0" bIns="0" anchor="t" anchorCtr="0">
            <a:normAutofit/>
          </a:bodyPr>
          <a:lstStyle>
            <a:lvl1pPr>
              <a:lnSpc>
                <a:spcPts val="2850"/>
              </a:lnSpc>
              <a:defRPr sz="27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0" name="Picture Placeholder 3">
            <a:extLst>
              <a:ext uri="{FF2B5EF4-FFF2-40B4-BE49-F238E27FC236}">
                <a16:creationId xmlns="" xmlns:a16="http://schemas.microsoft.com/office/drawing/2014/main" id="{902F3095-EA6E-F94A-AF04-18ED691DEB75}"/>
              </a:ext>
            </a:extLst>
          </p:cNvPr>
          <p:cNvSpPr>
            <a:spLocks noGrp="1"/>
          </p:cNvSpPr>
          <p:nvPr>
            <p:ph type="pic" sz="quarter" idx="17"/>
          </p:nvPr>
        </p:nvSpPr>
        <p:spPr>
          <a:xfrm>
            <a:off x="4399887" y="282135"/>
            <a:ext cx="4744900" cy="4581401"/>
          </a:xfrm>
          <a:custGeom>
            <a:avLst/>
            <a:gdLst>
              <a:gd name="connsiteX0" fmla="*/ 0 w 6462532"/>
              <a:gd name="connsiteY0" fmla="*/ 3052818 h 6105636"/>
              <a:gd name="connsiteX1" fmla="*/ 3052818 w 6462532"/>
              <a:gd name="connsiteY1" fmla="*/ 0 h 6105636"/>
              <a:gd name="connsiteX2" fmla="*/ 3409714 w 6462532"/>
              <a:gd name="connsiteY2" fmla="*/ 0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309764"/>
              <a:gd name="connsiteY0" fmla="*/ 3060215 h 6113033"/>
              <a:gd name="connsiteX1" fmla="*/ 3052818 w 7309764"/>
              <a:gd name="connsiteY1" fmla="*/ 7397 h 6113033"/>
              <a:gd name="connsiteX2" fmla="*/ 6592752 w 7309764"/>
              <a:gd name="connsiteY2" fmla="*/ 53695 h 6113033"/>
              <a:gd name="connsiteX3" fmla="*/ 6462532 w 7309764"/>
              <a:gd name="connsiteY3" fmla="*/ 3060215 h 6113033"/>
              <a:gd name="connsiteX4" fmla="*/ 6462532 w 7309764"/>
              <a:gd name="connsiteY4" fmla="*/ 3060215 h 6113033"/>
              <a:gd name="connsiteX5" fmla="*/ 3409714 w 7309764"/>
              <a:gd name="connsiteY5" fmla="*/ 6113033 h 6113033"/>
              <a:gd name="connsiteX6" fmla="*/ 3052818 w 7309764"/>
              <a:gd name="connsiteY6" fmla="*/ 6113033 h 6113033"/>
              <a:gd name="connsiteX7" fmla="*/ 0 w 7309764"/>
              <a:gd name="connsiteY7" fmla="*/ 3060215 h 6113033"/>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6750471"/>
              <a:gd name="connsiteY0" fmla="*/ 3052818 h 6105636"/>
              <a:gd name="connsiteX1" fmla="*/ 3052818 w 6750471"/>
              <a:gd name="connsiteY1" fmla="*/ 0 h 6105636"/>
              <a:gd name="connsiteX2" fmla="*/ 6395982 w 6750471"/>
              <a:gd name="connsiteY2" fmla="*/ 11574 h 6105636"/>
              <a:gd name="connsiteX3" fmla="*/ 6462532 w 6750471"/>
              <a:gd name="connsiteY3" fmla="*/ 3052818 h 6105636"/>
              <a:gd name="connsiteX4" fmla="*/ 6462532 w 6750471"/>
              <a:gd name="connsiteY4" fmla="*/ 3052818 h 6105636"/>
              <a:gd name="connsiteX5" fmla="*/ 3409714 w 6750471"/>
              <a:gd name="connsiteY5" fmla="*/ 6105636 h 6105636"/>
              <a:gd name="connsiteX6" fmla="*/ 3052818 w 6750471"/>
              <a:gd name="connsiteY6" fmla="*/ 6105636 h 6105636"/>
              <a:gd name="connsiteX7" fmla="*/ 0 w 6750471"/>
              <a:gd name="connsiteY7" fmla="*/ 3052818 h 6105636"/>
              <a:gd name="connsiteX0" fmla="*/ 0 w 6462532"/>
              <a:gd name="connsiteY0" fmla="*/ 3052818 h 6105636"/>
              <a:gd name="connsiteX1" fmla="*/ 3052818 w 6462532"/>
              <a:gd name="connsiteY1" fmla="*/ 0 h 6105636"/>
              <a:gd name="connsiteX2" fmla="*/ 6395982 w 6462532"/>
              <a:gd name="connsiteY2" fmla="*/ 11574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6462532 w 6477004"/>
              <a:gd name="connsiteY4" fmla="*/ 3052819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5756477 w 6477004"/>
              <a:gd name="connsiteY4" fmla="*/ 3018095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3409714 w 6477004"/>
              <a:gd name="connsiteY4" fmla="*/ 6105637 h 6105637"/>
              <a:gd name="connsiteX5" fmla="*/ 3052818 w 6477004"/>
              <a:gd name="connsiteY5" fmla="*/ 6105637 h 6105637"/>
              <a:gd name="connsiteX6" fmla="*/ 0 w 6477004"/>
              <a:gd name="connsiteY6" fmla="*/ 3052819 h 6105637"/>
              <a:gd name="connsiteX0" fmla="*/ 0 w 6477004"/>
              <a:gd name="connsiteY0" fmla="*/ 3052819 h 6108535"/>
              <a:gd name="connsiteX1" fmla="*/ 3052818 w 6477004"/>
              <a:gd name="connsiteY1" fmla="*/ 1 h 6108535"/>
              <a:gd name="connsiteX2" fmla="*/ 6477004 w 6477004"/>
              <a:gd name="connsiteY2" fmla="*/ 0 h 6108535"/>
              <a:gd name="connsiteX3" fmla="*/ 6462532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477004"/>
              <a:gd name="connsiteY0" fmla="*/ 3052819 h 6108535"/>
              <a:gd name="connsiteX1" fmla="*/ 3052818 w 6477004"/>
              <a:gd name="connsiteY1" fmla="*/ 1 h 6108535"/>
              <a:gd name="connsiteX2" fmla="*/ 6477004 w 6477004"/>
              <a:gd name="connsiteY2" fmla="*/ 0 h 6108535"/>
              <a:gd name="connsiteX3" fmla="*/ 6323635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326533"/>
              <a:gd name="connsiteY0" fmla="*/ 3052819 h 6108535"/>
              <a:gd name="connsiteX1" fmla="*/ 3052818 w 6326533"/>
              <a:gd name="connsiteY1" fmla="*/ 1 h 6108535"/>
              <a:gd name="connsiteX2" fmla="*/ 6326533 w 6326533"/>
              <a:gd name="connsiteY2" fmla="*/ 0 h 6108535"/>
              <a:gd name="connsiteX3" fmla="*/ 6323635 w 6326533"/>
              <a:gd name="connsiteY3" fmla="*/ 6108535 h 6108535"/>
              <a:gd name="connsiteX4" fmla="*/ 3409714 w 6326533"/>
              <a:gd name="connsiteY4" fmla="*/ 6105637 h 6108535"/>
              <a:gd name="connsiteX5" fmla="*/ 3052818 w 6326533"/>
              <a:gd name="connsiteY5" fmla="*/ 6105637 h 6108535"/>
              <a:gd name="connsiteX6" fmla="*/ 0 w 6326533"/>
              <a:gd name="connsiteY6" fmla="*/ 3052819 h 61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26533" h="6108535">
                <a:moveTo>
                  <a:pt x="0" y="3052819"/>
                </a:moveTo>
                <a:cubicBezTo>
                  <a:pt x="0" y="1366794"/>
                  <a:pt x="1366793" y="1"/>
                  <a:pt x="3052818" y="1"/>
                </a:cubicBezTo>
                <a:lnTo>
                  <a:pt x="6326533" y="0"/>
                </a:lnTo>
                <a:lnTo>
                  <a:pt x="6323635" y="6108535"/>
                </a:lnTo>
                <a:lnTo>
                  <a:pt x="3409714" y="6105637"/>
                </a:lnTo>
                <a:lnTo>
                  <a:pt x="3052818" y="6105637"/>
                </a:lnTo>
                <a:cubicBezTo>
                  <a:pt x="1366793" y="6105637"/>
                  <a:pt x="0" y="4738844"/>
                  <a:pt x="0" y="3052819"/>
                </a:cubicBezTo>
                <a:close/>
              </a:path>
            </a:pathLst>
          </a:custGeom>
          <a:noFill/>
        </p:spPr>
        <p:txBody>
          <a:bodyPr>
            <a:normAutofit/>
          </a:bodyPr>
          <a:lstStyle>
            <a:lvl1pPr marL="0" indent="0">
              <a:buNone/>
              <a:defRPr sz="1800">
                <a:solidFill>
                  <a:schemeClr val="bg1"/>
                </a:solidFill>
              </a:defRPr>
            </a:lvl1pPr>
          </a:lstStyle>
          <a:p>
            <a:r>
              <a:rPr lang="es-ES"/>
              <a:t>Haga clic en el icono para agregar una imagen</a:t>
            </a:r>
            <a:endParaRPr lang="en-US"/>
          </a:p>
        </p:txBody>
      </p:sp>
      <p:pic>
        <p:nvPicPr>
          <p:cNvPr id="9" name="Picture 8" descr="Takeda">
            <a:extLst>
              <a:ext uri="{FF2B5EF4-FFF2-40B4-BE49-F238E27FC236}">
                <a16:creationId xmlns="" xmlns:a16="http://schemas.microsoft.com/office/drawing/2014/main" id="{F83AE827-0C93-0344-8F1E-82C9D7F8CD5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80824" y="-8227"/>
            <a:ext cx="1688783" cy="936649"/>
          </a:xfrm>
          <a:prstGeom prst="rect">
            <a:avLst/>
          </a:prstGeom>
        </p:spPr>
      </p:pic>
      <p:pic>
        <p:nvPicPr>
          <p:cNvPr id="19" name="Picture 18">
            <a:extLst>
              <a:ext uri="{FF2B5EF4-FFF2-40B4-BE49-F238E27FC236}">
                <a16:creationId xmlns="" xmlns:a16="http://schemas.microsoft.com/office/drawing/2014/main" id="{C219044E-3CA3-8043-AF11-ED42DE4ECFF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96047" y="4775473"/>
            <a:ext cx="1468934" cy="88097"/>
          </a:xfrm>
          <a:prstGeom prst="rect">
            <a:avLst/>
          </a:prstGeom>
        </p:spPr>
      </p:pic>
      <p:sp>
        <p:nvSpPr>
          <p:cNvPr id="28" name="Rectangle 27">
            <a:extLst>
              <a:ext uri="{FF2B5EF4-FFF2-40B4-BE49-F238E27FC236}">
                <a16:creationId xmlns="" xmlns:a16="http://schemas.microsoft.com/office/drawing/2014/main" id="{92F9C2FE-7E43-3948-92F0-0CEA804BDBFE}"/>
              </a:ext>
            </a:extLst>
          </p:cNvPr>
          <p:cNvSpPr/>
          <p:nvPr userDrawn="1"/>
        </p:nvSpPr>
        <p:spPr>
          <a:xfrm>
            <a:off x="561754" y="1582698"/>
            <a:ext cx="72900" cy="20303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31" tIns="34289" rIns="68531" bIns="34289" anchor="ctr"/>
          <a:lstStyle/>
          <a:p>
            <a:pPr algn="ctr" defTabSz="685239"/>
            <a:endParaRPr lang="en-US" altLang="en-US" sz="1400">
              <a:solidFill>
                <a:srgbClr val="FFFFFF"/>
              </a:solidFill>
            </a:endParaRPr>
          </a:p>
        </p:txBody>
      </p:sp>
      <p:sp>
        <p:nvSpPr>
          <p:cNvPr id="29" name="Text Placeholder 2">
            <a:extLst>
              <a:ext uri="{FF2B5EF4-FFF2-40B4-BE49-F238E27FC236}">
                <a16:creationId xmlns="" xmlns:a16="http://schemas.microsoft.com/office/drawing/2014/main" id="{8F239D86-1AC3-1D48-9675-22CEFBB263F8}"/>
              </a:ext>
            </a:extLst>
          </p:cNvPr>
          <p:cNvSpPr>
            <a:spLocks noGrp="1"/>
          </p:cNvSpPr>
          <p:nvPr>
            <p:ph type="body" sz="quarter" idx="27" hasCustomPrompt="1"/>
          </p:nvPr>
        </p:nvSpPr>
        <p:spPr>
          <a:xfrm>
            <a:off x="896048" y="2876957"/>
            <a:ext cx="3266049" cy="175501"/>
          </a:xfrm>
          <a:prstGeom prst="rect">
            <a:avLst/>
          </a:prstGeom>
        </p:spPr>
        <p:txBody>
          <a:bodyPr lIns="0" tIns="0" rIns="0" bIns="0">
            <a:noAutofit/>
          </a:bodyPr>
          <a:lstStyle>
            <a:lvl1pPr marL="0" indent="0">
              <a:buNone/>
              <a:defRPr sz="1100" b="0" i="0">
                <a:solidFill>
                  <a:schemeClr val="tx1"/>
                </a:solidFill>
                <a:latin typeface="Calibri" panose="020F0502020204030204" pitchFamily="34" charset="0"/>
                <a:cs typeface="Calibri" panose="020F0502020204030204" pitchFamily="34" charset="0"/>
              </a:defRPr>
            </a:lvl1pPr>
            <a:lvl2pPr marL="342506" indent="0">
              <a:buNone/>
              <a:defRPr sz="1100">
                <a:solidFill>
                  <a:schemeClr val="tx1"/>
                </a:solidFill>
              </a:defRPr>
            </a:lvl2pPr>
            <a:lvl3pPr marL="685051" indent="0">
              <a:buNone/>
              <a:defRPr sz="1100">
                <a:solidFill>
                  <a:schemeClr val="tx1"/>
                </a:solidFill>
              </a:defRPr>
            </a:lvl3pPr>
            <a:lvl4pPr marL="1027572" indent="0">
              <a:buNone/>
              <a:defRPr sz="1100">
                <a:solidFill>
                  <a:schemeClr val="tx1"/>
                </a:solidFill>
              </a:defRPr>
            </a:lvl4pPr>
            <a:lvl5pPr marL="1370096" indent="0">
              <a:buNone/>
              <a:defRPr sz="1100">
                <a:solidFill>
                  <a:schemeClr val="tx1"/>
                </a:solidFill>
              </a:defRPr>
            </a:lvl5pPr>
          </a:lstStyle>
          <a:p>
            <a:pPr lvl="0"/>
            <a:r>
              <a:rPr lang="en-US"/>
              <a:t>Title of Position</a:t>
            </a:r>
          </a:p>
        </p:txBody>
      </p:sp>
      <p:sp>
        <p:nvSpPr>
          <p:cNvPr id="30" name="Text Placeholder 2">
            <a:extLst>
              <a:ext uri="{FF2B5EF4-FFF2-40B4-BE49-F238E27FC236}">
                <a16:creationId xmlns="" xmlns:a16="http://schemas.microsoft.com/office/drawing/2014/main" id="{91BF6710-27B9-2444-8317-2C64F0D30847}"/>
              </a:ext>
            </a:extLst>
          </p:cNvPr>
          <p:cNvSpPr>
            <a:spLocks noGrp="1"/>
          </p:cNvSpPr>
          <p:nvPr>
            <p:ph type="body" sz="quarter" idx="28" hasCustomPrompt="1"/>
          </p:nvPr>
        </p:nvSpPr>
        <p:spPr>
          <a:xfrm>
            <a:off x="896048" y="3071238"/>
            <a:ext cx="3266049" cy="175501"/>
          </a:xfrm>
          <a:prstGeom prst="rect">
            <a:avLst/>
          </a:prstGeom>
        </p:spPr>
        <p:txBody>
          <a:bodyPr lIns="0" tIns="0" rIns="0" bIns="0">
            <a:noAutofit/>
          </a:bodyPr>
          <a:lstStyle>
            <a:lvl1pPr marL="0" indent="0">
              <a:buNone/>
              <a:defRPr sz="1100" b="0" i="0">
                <a:solidFill>
                  <a:schemeClr val="tx1"/>
                </a:solidFill>
                <a:latin typeface="Calibri" panose="020F0502020204030204" pitchFamily="34" charset="0"/>
                <a:cs typeface="Calibri" panose="020F0502020204030204" pitchFamily="34" charset="0"/>
              </a:defRPr>
            </a:lvl1pPr>
            <a:lvl2pPr marL="342506" indent="0">
              <a:buNone/>
              <a:defRPr sz="1100">
                <a:solidFill>
                  <a:schemeClr val="tx1"/>
                </a:solidFill>
              </a:defRPr>
            </a:lvl2pPr>
            <a:lvl3pPr marL="685051" indent="0">
              <a:buNone/>
              <a:defRPr sz="1100">
                <a:solidFill>
                  <a:schemeClr val="tx1"/>
                </a:solidFill>
              </a:defRPr>
            </a:lvl3pPr>
            <a:lvl4pPr marL="1027572" indent="0">
              <a:buNone/>
              <a:defRPr sz="1100">
                <a:solidFill>
                  <a:schemeClr val="tx1"/>
                </a:solidFill>
              </a:defRPr>
            </a:lvl4pPr>
            <a:lvl5pPr marL="1370096" indent="0">
              <a:buNone/>
              <a:defRPr sz="1100">
                <a:solidFill>
                  <a:schemeClr val="tx1"/>
                </a:solidFill>
              </a:defRPr>
            </a:lvl5pPr>
          </a:lstStyle>
          <a:p>
            <a:pPr lvl="0"/>
            <a:r>
              <a:rPr lang="en-US"/>
              <a:t>Department</a:t>
            </a:r>
          </a:p>
        </p:txBody>
      </p:sp>
      <p:sp>
        <p:nvSpPr>
          <p:cNvPr id="31" name="Text Placeholder 2">
            <a:extLst>
              <a:ext uri="{FF2B5EF4-FFF2-40B4-BE49-F238E27FC236}">
                <a16:creationId xmlns="" xmlns:a16="http://schemas.microsoft.com/office/drawing/2014/main" id="{669B2D41-B11D-9D45-B189-F838AC342B07}"/>
              </a:ext>
            </a:extLst>
          </p:cNvPr>
          <p:cNvSpPr>
            <a:spLocks noGrp="1"/>
          </p:cNvSpPr>
          <p:nvPr>
            <p:ph type="body" sz="quarter" idx="29" hasCustomPrompt="1"/>
          </p:nvPr>
        </p:nvSpPr>
        <p:spPr>
          <a:xfrm>
            <a:off x="896048" y="3262104"/>
            <a:ext cx="3266049" cy="175501"/>
          </a:xfrm>
          <a:prstGeom prst="rect">
            <a:avLst/>
          </a:prstGeom>
        </p:spPr>
        <p:txBody>
          <a:bodyPr lIns="0" tIns="0" rIns="0" bIns="0">
            <a:noAutofit/>
          </a:bodyPr>
          <a:lstStyle>
            <a:lvl1pPr marL="0" indent="0">
              <a:buNone/>
              <a:defRPr sz="1100" b="0" i="0">
                <a:solidFill>
                  <a:schemeClr val="tx1"/>
                </a:solidFill>
                <a:latin typeface="Calibri" panose="020F0502020204030204" pitchFamily="34" charset="0"/>
                <a:cs typeface="Calibri" panose="020F0502020204030204" pitchFamily="34" charset="0"/>
              </a:defRPr>
            </a:lvl1pPr>
            <a:lvl2pPr marL="342506" indent="0">
              <a:buNone/>
              <a:defRPr sz="1100">
                <a:solidFill>
                  <a:schemeClr val="tx1"/>
                </a:solidFill>
              </a:defRPr>
            </a:lvl2pPr>
            <a:lvl3pPr marL="685051" indent="0">
              <a:buNone/>
              <a:defRPr sz="1100">
                <a:solidFill>
                  <a:schemeClr val="tx1"/>
                </a:solidFill>
              </a:defRPr>
            </a:lvl3pPr>
            <a:lvl4pPr marL="1027572" indent="0">
              <a:buNone/>
              <a:defRPr sz="1100">
                <a:solidFill>
                  <a:schemeClr val="tx1"/>
                </a:solidFill>
              </a:defRPr>
            </a:lvl4pPr>
            <a:lvl5pPr marL="1370096" indent="0">
              <a:buNone/>
              <a:defRPr sz="1100">
                <a:solidFill>
                  <a:schemeClr val="tx1"/>
                </a:solidFill>
              </a:defRPr>
            </a:lvl5pPr>
          </a:lstStyle>
          <a:p>
            <a:pPr lvl="0"/>
            <a:r>
              <a:rPr lang="en-US"/>
              <a:t>Date</a:t>
            </a:r>
          </a:p>
        </p:txBody>
      </p:sp>
      <p:sp>
        <p:nvSpPr>
          <p:cNvPr id="32" name="Text Placeholder 2">
            <a:extLst>
              <a:ext uri="{FF2B5EF4-FFF2-40B4-BE49-F238E27FC236}">
                <a16:creationId xmlns="" xmlns:a16="http://schemas.microsoft.com/office/drawing/2014/main" id="{D7467C81-9D88-4140-B42C-28DFB5646475}"/>
              </a:ext>
            </a:extLst>
          </p:cNvPr>
          <p:cNvSpPr>
            <a:spLocks noGrp="1"/>
          </p:cNvSpPr>
          <p:nvPr>
            <p:ph type="body" sz="quarter" idx="30" hasCustomPrompt="1"/>
          </p:nvPr>
        </p:nvSpPr>
        <p:spPr>
          <a:xfrm>
            <a:off x="896048" y="2683087"/>
            <a:ext cx="3266049" cy="175501"/>
          </a:xfrm>
          <a:prstGeom prst="rect">
            <a:avLst/>
          </a:prstGeom>
        </p:spPr>
        <p:txBody>
          <a:bodyPr lIns="0" tIns="0" rIns="0" bIns="0">
            <a:noAutofit/>
          </a:bodyPr>
          <a:lstStyle>
            <a:lvl1pPr marL="0" indent="0">
              <a:buNone/>
              <a:defRPr sz="1100" b="0" i="0">
                <a:solidFill>
                  <a:schemeClr val="tx1"/>
                </a:solidFill>
                <a:latin typeface="Calibri" panose="020F0502020204030204" pitchFamily="34" charset="0"/>
                <a:cs typeface="Calibri" panose="020F0502020204030204" pitchFamily="34" charset="0"/>
              </a:defRPr>
            </a:lvl1pPr>
            <a:lvl2pPr marL="342506" indent="0">
              <a:buNone/>
              <a:defRPr sz="1100">
                <a:solidFill>
                  <a:schemeClr val="tx1"/>
                </a:solidFill>
              </a:defRPr>
            </a:lvl2pPr>
            <a:lvl3pPr marL="685051" indent="0">
              <a:buNone/>
              <a:defRPr sz="1100">
                <a:solidFill>
                  <a:schemeClr val="tx1"/>
                </a:solidFill>
              </a:defRPr>
            </a:lvl3pPr>
            <a:lvl4pPr marL="1027572" indent="0">
              <a:buNone/>
              <a:defRPr sz="1100">
                <a:solidFill>
                  <a:schemeClr val="tx1"/>
                </a:solidFill>
              </a:defRPr>
            </a:lvl4pPr>
            <a:lvl5pPr marL="1370096" indent="0">
              <a:buNone/>
              <a:defRPr sz="1100">
                <a:solidFill>
                  <a:schemeClr val="tx1"/>
                </a:solidFill>
              </a:defRPr>
            </a:lvl5pPr>
          </a:lstStyle>
          <a:p>
            <a:pPr lvl="0"/>
            <a:r>
              <a:rPr lang="en-US"/>
              <a:t>Presenter Name</a:t>
            </a:r>
          </a:p>
        </p:txBody>
      </p:sp>
    </p:spTree>
    <p:extLst>
      <p:ext uri="{BB962C8B-B14F-4D97-AF65-F5344CB8AC3E}">
        <p14:creationId xmlns:p14="http://schemas.microsoft.com/office/powerpoint/2010/main" val="3318267293"/>
      </p:ext>
    </p:extLst>
  </p:cSld>
  <p:clrMapOvr>
    <a:masterClrMapping/>
  </p:clrMapOvr>
  <p:transition spd="slow">
    <p:push dir="u"/>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1_Title Page 2 ">
    <p:spTree>
      <p:nvGrpSpPr>
        <p:cNvPr id="1" name=""/>
        <p:cNvGrpSpPr/>
        <p:nvPr/>
      </p:nvGrpSpPr>
      <p:grpSpPr>
        <a:xfrm>
          <a:off x="0" y="0"/>
          <a:ext cx="0" cy="0"/>
          <a:chOff x="0" y="0"/>
          <a:chExt cx="0" cy="0"/>
        </a:xfrm>
      </p:grpSpPr>
      <p:sp>
        <p:nvSpPr>
          <p:cNvPr id="33" name="Title 1">
            <a:extLst>
              <a:ext uri="{FF2B5EF4-FFF2-40B4-BE49-F238E27FC236}">
                <a16:creationId xmlns="" xmlns:a16="http://schemas.microsoft.com/office/drawing/2014/main" id="{E02383DA-65B3-044E-9E1B-2CC00A0B1CC6}"/>
              </a:ext>
            </a:extLst>
          </p:cNvPr>
          <p:cNvSpPr>
            <a:spLocks noGrp="1"/>
          </p:cNvSpPr>
          <p:nvPr>
            <p:ph type="ctrTitle" hasCustomPrompt="1"/>
          </p:nvPr>
        </p:nvSpPr>
        <p:spPr>
          <a:xfrm>
            <a:off x="896049" y="1727306"/>
            <a:ext cx="5146613" cy="844477"/>
          </a:xfrm>
          <a:prstGeom prst="rect">
            <a:avLst/>
          </a:prstGeom>
        </p:spPr>
        <p:txBody>
          <a:bodyPr wrap="square" lIns="0" tIns="0" rIns="0" bIns="0" anchor="t" anchorCtr="0">
            <a:normAutofit/>
          </a:bodyPr>
          <a:lstStyle>
            <a:lvl1pPr>
              <a:lnSpc>
                <a:spcPts val="2850"/>
              </a:lnSpc>
              <a:defRPr sz="27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8" name="Rectangle 27">
            <a:extLst>
              <a:ext uri="{FF2B5EF4-FFF2-40B4-BE49-F238E27FC236}">
                <a16:creationId xmlns="" xmlns:a16="http://schemas.microsoft.com/office/drawing/2014/main" id="{92F9C2FE-7E43-3948-92F0-0CEA804BDBFE}"/>
              </a:ext>
            </a:extLst>
          </p:cNvPr>
          <p:cNvSpPr/>
          <p:nvPr userDrawn="1"/>
        </p:nvSpPr>
        <p:spPr>
          <a:xfrm>
            <a:off x="561754" y="1582698"/>
            <a:ext cx="72900" cy="20303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31" tIns="34289" rIns="68531" bIns="34289" anchor="ctr"/>
          <a:lstStyle/>
          <a:p>
            <a:pPr algn="ctr" defTabSz="685239"/>
            <a:endParaRPr lang="en-US" altLang="en-US" sz="1400">
              <a:solidFill>
                <a:srgbClr val="FFFFFF"/>
              </a:solidFill>
            </a:endParaRPr>
          </a:p>
        </p:txBody>
      </p:sp>
      <p:sp>
        <p:nvSpPr>
          <p:cNvPr id="29" name="Text Placeholder 2">
            <a:extLst>
              <a:ext uri="{FF2B5EF4-FFF2-40B4-BE49-F238E27FC236}">
                <a16:creationId xmlns="" xmlns:a16="http://schemas.microsoft.com/office/drawing/2014/main" id="{8F239D86-1AC3-1D48-9675-22CEFBB263F8}"/>
              </a:ext>
            </a:extLst>
          </p:cNvPr>
          <p:cNvSpPr>
            <a:spLocks noGrp="1"/>
          </p:cNvSpPr>
          <p:nvPr>
            <p:ph type="body" sz="quarter" idx="27" hasCustomPrompt="1"/>
          </p:nvPr>
        </p:nvSpPr>
        <p:spPr>
          <a:xfrm>
            <a:off x="896049" y="2876947"/>
            <a:ext cx="5146613" cy="197306"/>
          </a:xfrm>
          <a:prstGeom prst="rect">
            <a:avLst/>
          </a:prstGeom>
        </p:spPr>
        <p:txBody>
          <a:bodyPr lIns="0" tIns="0" rIns="0" bIns="0">
            <a:noAutofit/>
          </a:bodyPr>
          <a:lstStyle>
            <a:lvl1pPr marL="0" indent="0">
              <a:buNone/>
              <a:defRPr sz="1100" b="0" i="0">
                <a:solidFill>
                  <a:schemeClr val="tx1"/>
                </a:solidFill>
                <a:latin typeface="Calibri" panose="020F0502020204030204" pitchFamily="34" charset="0"/>
                <a:cs typeface="Calibri" panose="020F0502020204030204" pitchFamily="34" charset="0"/>
              </a:defRPr>
            </a:lvl1pPr>
            <a:lvl2pPr marL="342506" indent="0">
              <a:buNone/>
              <a:defRPr sz="1100">
                <a:solidFill>
                  <a:schemeClr val="tx1"/>
                </a:solidFill>
              </a:defRPr>
            </a:lvl2pPr>
            <a:lvl3pPr marL="685051" indent="0">
              <a:buNone/>
              <a:defRPr sz="1100">
                <a:solidFill>
                  <a:schemeClr val="tx1"/>
                </a:solidFill>
              </a:defRPr>
            </a:lvl3pPr>
            <a:lvl4pPr marL="1027572" indent="0">
              <a:buNone/>
              <a:defRPr sz="1100">
                <a:solidFill>
                  <a:schemeClr val="tx1"/>
                </a:solidFill>
              </a:defRPr>
            </a:lvl4pPr>
            <a:lvl5pPr marL="1370096" indent="0">
              <a:buNone/>
              <a:defRPr sz="1100">
                <a:solidFill>
                  <a:schemeClr val="tx1"/>
                </a:solidFill>
              </a:defRPr>
            </a:lvl5pPr>
          </a:lstStyle>
          <a:p>
            <a:pPr lvl="0"/>
            <a:r>
              <a:rPr lang="en-US"/>
              <a:t>Title of Position</a:t>
            </a:r>
          </a:p>
        </p:txBody>
      </p:sp>
      <p:sp>
        <p:nvSpPr>
          <p:cNvPr id="30" name="Text Placeholder 2">
            <a:extLst>
              <a:ext uri="{FF2B5EF4-FFF2-40B4-BE49-F238E27FC236}">
                <a16:creationId xmlns="" xmlns:a16="http://schemas.microsoft.com/office/drawing/2014/main" id="{91BF6710-27B9-2444-8317-2C64F0D30847}"/>
              </a:ext>
            </a:extLst>
          </p:cNvPr>
          <p:cNvSpPr>
            <a:spLocks noGrp="1"/>
          </p:cNvSpPr>
          <p:nvPr>
            <p:ph type="body" sz="quarter" idx="28" hasCustomPrompt="1"/>
          </p:nvPr>
        </p:nvSpPr>
        <p:spPr>
          <a:xfrm>
            <a:off x="896049" y="3071206"/>
            <a:ext cx="5146613" cy="197306"/>
          </a:xfrm>
          <a:prstGeom prst="rect">
            <a:avLst/>
          </a:prstGeom>
        </p:spPr>
        <p:txBody>
          <a:bodyPr lIns="0" tIns="0" rIns="0" bIns="0">
            <a:noAutofit/>
          </a:bodyPr>
          <a:lstStyle>
            <a:lvl1pPr marL="0" indent="0">
              <a:buNone/>
              <a:defRPr sz="1100" b="0" i="0">
                <a:solidFill>
                  <a:schemeClr val="tx1"/>
                </a:solidFill>
                <a:latin typeface="Calibri" panose="020F0502020204030204" pitchFamily="34" charset="0"/>
                <a:cs typeface="Calibri" panose="020F0502020204030204" pitchFamily="34" charset="0"/>
              </a:defRPr>
            </a:lvl1pPr>
            <a:lvl2pPr marL="342506" indent="0">
              <a:buNone/>
              <a:defRPr sz="1100">
                <a:solidFill>
                  <a:schemeClr val="tx1"/>
                </a:solidFill>
              </a:defRPr>
            </a:lvl2pPr>
            <a:lvl3pPr marL="685051" indent="0">
              <a:buNone/>
              <a:defRPr sz="1100">
                <a:solidFill>
                  <a:schemeClr val="tx1"/>
                </a:solidFill>
              </a:defRPr>
            </a:lvl3pPr>
            <a:lvl4pPr marL="1027572" indent="0">
              <a:buNone/>
              <a:defRPr sz="1100">
                <a:solidFill>
                  <a:schemeClr val="tx1"/>
                </a:solidFill>
              </a:defRPr>
            </a:lvl4pPr>
            <a:lvl5pPr marL="1370096" indent="0">
              <a:buNone/>
              <a:defRPr sz="1100">
                <a:solidFill>
                  <a:schemeClr val="tx1"/>
                </a:solidFill>
              </a:defRPr>
            </a:lvl5pPr>
          </a:lstStyle>
          <a:p>
            <a:pPr lvl="0"/>
            <a:r>
              <a:rPr lang="en-US"/>
              <a:t>Department</a:t>
            </a:r>
          </a:p>
        </p:txBody>
      </p:sp>
      <p:sp>
        <p:nvSpPr>
          <p:cNvPr id="31" name="Text Placeholder 2">
            <a:extLst>
              <a:ext uri="{FF2B5EF4-FFF2-40B4-BE49-F238E27FC236}">
                <a16:creationId xmlns="" xmlns:a16="http://schemas.microsoft.com/office/drawing/2014/main" id="{669B2D41-B11D-9D45-B189-F838AC342B07}"/>
              </a:ext>
            </a:extLst>
          </p:cNvPr>
          <p:cNvSpPr>
            <a:spLocks noGrp="1"/>
          </p:cNvSpPr>
          <p:nvPr>
            <p:ph type="body" sz="quarter" idx="29" hasCustomPrompt="1"/>
          </p:nvPr>
        </p:nvSpPr>
        <p:spPr>
          <a:xfrm>
            <a:off x="896049" y="3262072"/>
            <a:ext cx="5146613" cy="197306"/>
          </a:xfrm>
          <a:prstGeom prst="rect">
            <a:avLst/>
          </a:prstGeom>
        </p:spPr>
        <p:txBody>
          <a:bodyPr lIns="0" tIns="0" rIns="0" bIns="0">
            <a:noAutofit/>
          </a:bodyPr>
          <a:lstStyle>
            <a:lvl1pPr marL="0" indent="0">
              <a:buNone/>
              <a:defRPr sz="1100" b="0" i="0">
                <a:solidFill>
                  <a:schemeClr val="tx1"/>
                </a:solidFill>
                <a:latin typeface="Calibri" panose="020F0502020204030204" pitchFamily="34" charset="0"/>
                <a:cs typeface="Calibri" panose="020F0502020204030204" pitchFamily="34" charset="0"/>
              </a:defRPr>
            </a:lvl1pPr>
            <a:lvl2pPr marL="342506" indent="0">
              <a:buNone/>
              <a:defRPr sz="1100">
                <a:solidFill>
                  <a:schemeClr val="tx1"/>
                </a:solidFill>
              </a:defRPr>
            </a:lvl2pPr>
            <a:lvl3pPr marL="685051" indent="0">
              <a:buNone/>
              <a:defRPr sz="1100">
                <a:solidFill>
                  <a:schemeClr val="tx1"/>
                </a:solidFill>
              </a:defRPr>
            </a:lvl3pPr>
            <a:lvl4pPr marL="1027572" indent="0">
              <a:buNone/>
              <a:defRPr sz="1100">
                <a:solidFill>
                  <a:schemeClr val="tx1"/>
                </a:solidFill>
              </a:defRPr>
            </a:lvl4pPr>
            <a:lvl5pPr marL="1370096" indent="0">
              <a:buNone/>
              <a:defRPr sz="1100">
                <a:solidFill>
                  <a:schemeClr val="tx1"/>
                </a:solidFill>
              </a:defRPr>
            </a:lvl5pPr>
          </a:lstStyle>
          <a:p>
            <a:pPr lvl="0"/>
            <a:r>
              <a:rPr lang="en-US"/>
              <a:t>Date</a:t>
            </a:r>
          </a:p>
        </p:txBody>
      </p:sp>
      <p:sp>
        <p:nvSpPr>
          <p:cNvPr id="32" name="Text Placeholder 2">
            <a:extLst>
              <a:ext uri="{FF2B5EF4-FFF2-40B4-BE49-F238E27FC236}">
                <a16:creationId xmlns="" xmlns:a16="http://schemas.microsoft.com/office/drawing/2014/main" id="{D7467C81-9D88-4140-B42C-28DFB5646475}"/>
              </a:ext>
            </a:extLst>
          </p:cNvPr>
          <p:cNvSpPr>
            <a:spLocks noGrp="1"/>
          </p:cNvSpPr>
          <p:nvPr>
            <p:ph type="body" sz="quarter" idx="30" hasCustomPrompt="1"/>
          </p:nvPr>
        </p:nvSpPr>
        <p:spPr>
          <a:xfrm>
            <a:off x="896049" y="2683054"/>
            <a:ext cx="5146613" cy="197306"/>
          </a:xfrm>
          <a:prstGeom prst="rect">
            <a:avLst/>
          </a:prstGeom>
        </p:spPr>
        <p:txBody>
          <a:bodyPr lIns="0" tIns="0" rIns="0" bIns="0">
            <a:noAutofit/>
          </a:bodyPr>
          <a:lstStyle>
            <a:lvl1pPr marL="0" indent="0">
              <a:buNone/>
              <a:defRPr sz="1100" b="0" i="0">
                <a:solidFill>
                  <a:schemeClr val="tx1"/>
                </a:solidFill>
                <a:latin typeface="Calibri" panose="020F0502020204030204" pitchFamily="34" charset="0"/>
                <a:cs typeface="Calibri" panose="020F0502020204030204" pitchFamily="34" charset="0"/>
              </a:defRPr>
            </a:lvl1pPr>
            <a:lvl2pPr marL="342506" indent="0">
              <a:buNone/>
              <a:defRPr sz="1100">
                <a:solidFill>
                  <a:schemeClr val="tx1"/>
                </a:solidFill>
              </a:defRPr>
            </a:lvl2pPr>
            <a:lvl3pPr marL="685051" indent="0">
              <a:buNone/>
              <a:defRPr sz="1100">
                <a:solidFill>
                  <a:schemeClr val="tx1"/>
                </a:solidFill>
              </a:defRPr>
            </a:lvl3pPr>
            <a:lvl4pPr marL="1027572" indent="0">
              <a:buNone/>
              <a:defRPr sz="1100">
                <a:solidFill>
                  <a:schemeClr val="tx1"/>
                </a:solidFill>
              </a:defRPr>
            </a:lvl4pPr>
            <a:lvl5pPr marL="1370096" indent="0">
              <a:buNone/>
              <a:defRPr sz="1100">
                <a:solidFill>
                  <a:schemeClr val="tx1"/>
                </a:solidFill>
              </a:defRPr>
            </a:lvl5pPr>
          </a:lstStyle>
          <a:p>
            <a:pPr lvl="0"/>
            <a:r>
              <a:rPr lang="en-US"/>
              <a:t>Presenter Name</a:t>
            </a:r>
          </a:p>
        </p:txBody>
      </p:sp>
      <p:pic>
        <p:nvPicPr>
          <p:cNvPr id="12" name="Picture 11">
            <a:extLst>
              <a:ext uri="{FF2B5EF4-FFF2-40B4-BE49-F238E27FC236}">
                <a16:creationId xmlns="" xmlns:a16="http://schemas.microsoft.com/office/drawing/2014/main" id="{16819C41-2A79-B54D-9C44-C619DA694E6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178941" y="4768491"/>
            <a:ext cx="1468934" cy="88097"/>
          </a:xfrm>
          <a:prstGeom prst="rect">
            <a:avLst/>
          </a:prstGeom>
        </p:spPr>
      </p:pic>
      <p:pic>
        <p:nvPicPr>
          <p:cNvPr id="13" name="Picture 12">
            <a:extLst>
              <a:ext uri="{FF2B5EF4-FFF2-40B4-BE49-F238E27FC236}">
                <a16:creationId xmlns="" xmlns:a16="http://schemas.microsoft.com/office/drawing/2014/main" id="{3D2794BD-1A0D-7D48-855D-469111926BF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342920" y="-6445"/>
            <a:ext cx="1688783" cy="936649"/>
          </a:xfrm>
          <a:prstGeom prst="rect">
            <a:avLst/>
          </a:prstGeom>
        </p:spPr>
      </p:pic>
      <p:sp>
        <p:nvSpPr>
          <p:cNvPr id="14" name="Text Placeholder 2">
            <a:extLst>
              <a:ext uri="{FF2B5EF4-FFF2-40B4-BE49-F238E27FC236}">
                <a16:creationId xmlns="" xmlns:a16="http://schemas.microsoft.com/office/drawing/2014/main" id="{B9909778-A51F-784D-ACA4-EC5DBA48BE16}"/>
              </a:ext>
            </a:extLst>
          </p:cNvPr>
          <p:cNvSpPr>
            <a:spLocks noGrp="1"/>
          </p:cNvSpPr>
          <p:nvPr>
            <p:ph type="body" sz="quarter" idx="16" hasCustomPrompt="1"/>
          </p:nvPr>
        </p:nvSpPr>
        <p:spPr>
          <a:xfrm>
            <a:off x="896055" y="4740000"/>
            <a:ext cx="5774753" cy="175501"/>
          </a:xfrm>
        </p:spPr>
        <p:txBody>
          <a:bodyPr tIns="0" rIns="0" bIns="0" anchor="ctr" anchorCtr="0">
            <a:noAutofit/>
          </a:bodyPr>
          <a:lstStyle>
            <a:lvl1pPr marL="0" marR="0" indent="0" algn="l" defTabSz="685052"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600"/>
            </a:lvl1pPr>
            <a:lvl2pPr>
              <a:defRPr sz="600"/>
            </a:lvl2pPr>
            <a:lvl3pPr>
              <a:defRPr sz="600"/>
            </a:lvl3pPr>
            <a:lvl4pPr>
              <a:defRPr sz="600"/>
            </a:lvl4pPr>
            <a:lvl5pPr>
              <a:defRPr sz="600"/>
            </a:lvl5pPr>
          </a:lstStyle>
          <a:p>
            <a:pPr marL="0" marR="0" lvl="0" indent="0" algn="l" defTabSz="685052"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4111396710"/>
      </p:ext>
    </p:extLst>
  </p:cSld>
  <p:clrMapOvr>
    <a:masterClrMapping/>
  </p:clrMapOvr>
  <p:transition spd="slow">
    <p:push dir="u"/>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Standard 1-Column Text">
    <p:spTree>
      <p:nvGrpSpPr>
        <p:cNvPr id="1" name=""/>
        <p:cNvGrpSpPr/>
        <p:nvPr/>
      </p:nvGrpSpPr>
      <p:grpSpPr>
        <a:xfrm>
          <a:off x="0" y="0"/>
          <a:ext cx="0" cy="0"/>
          <a:chOff x="0" y="0"/>
          <a:chExt cx="0" cy="0"/>
        </a:xfrm>
      </p:grpSpPr>
      <p:sp>
        <p:nvSpPr>
          <p:cNvPr id="12" name="Text Placeholder 6">
            <a:extLst>
              <a:ext uri="{FF2B5EF4-FFF2-40B4-BE49-F238E27FC236}">
                <a16:creationId xmlns="" xmlns:a16="http://schemas.microsoft.com/office/drawing/2014/main" id="{FD2406EE-A554-5348-AE6D-4D8B343E6201}"/>
              </a:ext>
            </a:extLst>
          </p:cNvPr>
          <p:cNvSpPr>
            <a:spLocks noGrp="1"/>
          </p:cNvSpPr>
          <p:nvPr>
            <p:ph type="body" sz="quarter" idx="15" hasCustomPrompt="1"/>
          </p:nvPr>
        </p:nvSpPr>
        <p:spPr>
          <a:xfrm>
            <a:off x="233363" y="826793"/>
            <a:ext cx="8677275" cy="3996643"/>
          </a:xfrm>
          <a:prstGeom prst="rect">
            <a:avLst/>
          </a:prstGeom>
        </p:spPr>
        <p:txBody>
          <a:bodyPr tIns="0" rIns="0" bIns="0" numCol="1">
            <a:normAutofit/>
          </a:bodyPr>
          <a:lstStyle>
            <a:lvl1pPr marL="0" indent="0">
              <a:lnSpc>
                <a:spcPct val="100000"/>
              </a:lnSpc>
              <a:spcBef>
                <a:spcPts val="0"/>
              </a:spcBef>
              <a:spcAft>
                <a:spcPts val="450"/>
              </a:spcAft>
              <a:buFont typeface="Arial" panose="020B0604020202020204" pitchFamily="34" charset="0"/>
              <a:buNone/>
              <a:defRPr sz="1200" b="0">
                <a:solidFill>
                  <a:schemeClr val="tx1"/>
                </a:solidFill>
              </a:defRPr>
            </a:lvl1pPr>
            <a:lvl2pPr marL="342506" indent="0">
              <a:lnSpc>
                <a:spcPts val="1350"/>
              </a:lnSpc>
              <a:spcBef>
                <a:spcPts val="0"/>
              </a:spcBef>
              <a:buNone/>
              <a:defRPr sz="1100"/>
            </a:lvl2pPr>
            <a:lvl3pPr marL="685051" indent="0">
              <a:lnSpc>
                <a:spcPts val="1350"/>
              </a:lnSpc>
              <a:spcBef>
                <a:spcPts val="0"/>
              </a:spcBef>
              <a:buNone/>
              <a:defRPr sz="1100"/>
            </a:lvl3pPr>
            <a:lvl4pPr marL="1027572" indent="0">
              <a:lnSpc>
                <a:spcPts val="1350"/>
              </a:lnSpc>
              <a:spcBef>
                <a:spcPts val="0"/>
              </a:spcBef>
              <a:buNone/>
              <a:defRPr sz="1100"/>
            </a:lvl4pPr>
            <a:lvl5pPr marL="1370096" indent="0">
              <a:lnSpc>
                <a:spcPts val="1350"/>
              </a:lnSpc>
              <a:spcBef>
                <a:spcPts val="0"/>
              </a:spcBef>
              <a:buNone/>
              <a:defRPr sz="1100"/>
            </a:lvl5pPr>
          </a:lstStyle>
          <a:p>
            <a:pPr lvl="0"/>
            <a:r>
              <a:rPr lang="en-US"/>
              <a:t>This is a one-column layout. Click to add content</a:t>
            </a:r>
          </a:p>
        </p:txBody>
      </p:sp>
      <p:sp>
        <p:nvSpPr>
          <p:cNvPr id="19" name="Footer Placeholder 8">
            <a:extLst>
              <a:ext uri="{FF2B5EF4-FFF2-40B4-BE49-F238E27FC236}">
                <a16:creationId xmlns="" xmlns:a16="http://schemas.microsoft.com/office/drawing/2014/main" id="{CDA06C55-0643-C148-AAB1-C4BB26FD7B26}"/>
              </a:ext>
            </a:extLst>
          </p:cNvPr>
          <p:cNvSpPr>
            <a:spLocks noGrp="1"/>
          </p:cNvSpPr>
          <p:nvPr>
            <p:ph type="ftr" sz="quarter" idx="3"/>
          </p:nvPr>
        </p:nvSpPr>
        <p:spPr>
          <a:xfrm>
            <a:off x="5824538" y="4892251"/>
            <a:ext cx="3086100" cy="147098"/>
          </a:xfrm>
          <a:prstGeom prst="rect">
            <a:avLst/>
          </a:prstGeom>
        </p:spPr>
        <p:txBody>
          <a:bodyPr vert="horz" lIns="0" tIns="0" rIns="0" bIns="0" rtlCol="0" anchor="ctr"/>
          <a:lstStyle>
            <a:lvl1pPr algn="r">
              <a:defRPr sz="600" b="1" spc="75" baseline="0">
                <a:solidFill>
                  <a:schemeClr val="tx1"/>
                </a:solidFill>
              </a:defRPr>
            </a:lvl1pPr>
          </a:lstStyle>
          <a:p>
            <a:r>
              <a:rPr lang="x-none">
                <a:solidFill>
                  <a:srgbClr val="34373F"/>
                </a:solidFill>
              </a:rPr>
              <a:t> </a:t>
            </a:r>
          </a:p>
        </p:txBody>
      </p:sp>
      <p:pic>
        <p:nvPicPr>
          <p:cNvPr id="14" name="Picture 13" descr="Takeda">
            <a:extLst>
              <a:ext uri="{FF2B5EF4-FFF2-40B4-BE49-F238E27FC236}">
                <a16:creationId xmlns=""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09748" y="-1211"/>
            <a:ext cx="1272174" cy="705585"/>
          </a:xfrm>
          <a:prstGeom prst="rect">
            <a:avLst/>
          </a:prstGeom>
        </p:spPr>
      </p:pic>
      <p:sp>
        <p:nvSpPr>
          <p:cNvPr id="22" name="タイトル プレースホルダ 1">
            <a:extLst>
              <a:ext uri="{FF2B5EF4-FFF2-40B4-BE49-F238E27FC236}">
                <a16:creationId xmlns="" xmlns:a16="http://schemas.microsoft.com/office/drawing/2014/main" id="{86D2E5B8-9E2B-DB46-A55A-5F26569C4F99}"/>
              </a:ext>
            </a:extLst>
          </p:cNvPr>
          <p:cNvSpPr>
            <a:spLocks noGrp="1"/>
          </p:cNvSpPr>
          <p:nvPr>
            <p:ph type="title" hasCustomPrompt="1"/>
          </p:nvPr>
        </p:nvSpPr>
        <p:spPr>
          <a:xfrm>
            <a:off x="454559" y="121208"/>
            <a:ext cx="7455190" cy="51435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a:extLst>
              <a:ext uri="{FF2B5EF4-FFF2-40B4-BE49-F238E27FC236}">
                <a16:creationId xmlns="" xmlns:a16="http://schemas.microsoft.com/office/drawing/2014/main" id="{51A4825E-63A1-564F-BC3A-FBC167ECE5EB}"/>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3365"/>
            <a:fld id="{E9B57936-92EF-4126-AE48-1D9D36D15E98}" type="slidenum">
              <a:rPr lang="ja-JP" altLang="en-US" smtClean="0">
                <a:solidFill>
                  <a:srgbClr val="34373F"/>
                </a:solidFill>
              </a:rPr>
              <a:pPr defTabSz="913365"/>
              <a:t>‹Nº›</a:t>
            </a:fld>
            <a:endParaRPr lang="ja-JP" altLang="en-US">
              <a:solidFill>
                <a:srgbClr val="34373F"/>
              </a:solidFill>
            </a:endParaRPr>
          </a:p>
        </p:txBody>
      </p:sp>
      <p:sp>
        <p:nvSpPr>
          <p:cNvPr id="21" name="Rectangle 20">
            <a:extLst>
              <a:ext uri="{FF2B5EF4-FFF2-40B4-BE49-F238E27FC236}">
                <a16:creationId xmlns="" xmlns:a16="http://schemas.microsoft.com/office/drawing/2014/main" id="{FCF9CDB0-5730-E246-B31F-F5963CF8EFDC}"/>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31" tIns="34289" rIns="68531" bIns="34289" rtlCol="0" anchor="ctr"/>
          <a:lstStyle/>
          <a:p>
            <a:pPr algn="ctr" defTabSz="685239"/>
            <a:endParaRPr kumimoji="1" lang="x-none" sz="1400">
              <a:solidFill>
                <a:srgbClr val="E1242A"/>
              </a:solidFill>
            </a:endParaRPr>
          </a:p>
        </p:txBody>
      </p:sp>
      <p:sp>
        <p:nvSpPr>
          <p:cNvPr id="24" name="Text Placeholder 6">
            <a:extLst>
              <a:ext uri="{FF2B5EF4-FFF2-40B4-BE49-F238E27FC236}">
                <a16:creationId xmlns="" xmlns:a16="http://schemas.microsoft.com/office/drawing/2014/main" id="{44EB3013-FCB4-1B4E-A9F2-FD57CF727CCC}"/>
              </a:ext>
            </a:extLst>
          </p:cNvPr>
          <p:cNvSpPr>
            <a:spLocks noGrp="1"/>
          </p:cNvSpPr>
          <p:nvPr>
            <p:ph type="body" sz="quarter" idx="16" hasCustomPrompt="1"/>
          </p:nvPr>
        </p:nvSpPr>
        <p:spPr>
          <a:xfrm>
            <a:off x="454559" y="4892253"/>
            <a:ext cx="5226261" cy="154210"/>
          </a:xfrm>
          <a:prstGeom prst="rect">
            <a:avLst/>
          </a:prstGeom>
        </p:spPr>
        <p:txBody>
          <a:bodyPr wrap="none" tIns="0" rIns="0" bIns="53967" numCol="1" anchor="ctr">
            <a:noAutofit/>
          </a:bodyPr>
          <a:lstStyle>
            <a:lvl1pPr marL="0" indent="0">
              <a:lnSpc>
                <a:spcPts val="1200"/>
              </a:lnSpc>
              <a:spcBef>
                <a:spcPts val="0"/>
              </a:spcBef>
              <a:spcAft>
                <a:spcPts val="450"/>
              </a:spcAft>
              <a:buFont typeface="Arial" panose="020B0604020202020204" pitchFamily="34" charset="0"/>
              <a:buNone/>
              <a:defRPr sz="600" b="0">
                <a:solidFill>
                  <a:schemeClr val="accent3"/>
                </a:solidFill>
              </a:defRPr>
            </a:lvl1pPr>
            <a:lvl2pPr marL="342506" indent="0">
              <a:lnSpc>
                <a:spcPts val="1350"/>
              </a:lnSpc>
              <a:spcBef>
                <a:spcPts val="0"/>
              </a:spcBef>
              <a:buNone/>
              <a:defRPr sz="1100"/>
            </a:lvl2pPr>
            <a:lvl3pPr marL="685051" indent="0">
              <a:lnSpc>
                <a:spcPts val="1350"/>
              </a:lnSpc>
              <a:spcBef>
                <a:spcPts val="0"/>
              </a:spcBef>
              <a:buNone/>
              <a:defRPr sz="1100"/>
            </a:lvl3pPr>
            <a:lvl4pPr marL="1027572" indent="0">
              <a:lnSpc>
                <a:spcPts val="1350"/>
              </a:lnSpc>
              <a:spcBef>
                <a:spcPts val="0"/>
              </a:spcBef>
              <a:buNone/>
              <a:defRPr sz="1100"/>
            </a:lvl4pPr>
            <a:lvl5pPr marL="1370096" indent="0">
              <a:lnSpc>
                <a:spcPts val="1350"/>
              </a:lnSpc>
              <a:spcBef>
                <a:spcPts val="0"/>
              </a:spcBef>
              <a:buNone/>
              <a:defRPr sz="1100"/>
            </a:lvl5pPr>
          </a:lstStyle>
          <a:p>
            <a:pPr lvl="0"/>
            <a:r>
              <a:rPr lang="en-US"/>
              <a:t>Private and confidential. For internal use only.</a:t>
            </a:r>
          </a:p>
        </p:txBody>
      </p:sp>
    </p:spTree>
    <p:extLst>
      <p:ext uri="{BB962C8B-B14F-4D97-AF65-F5344CB8AC3E}">
        <p14:creationId xmlns:p14="http://schemas.microsoft.com/office/powerpoint/2010/main" val="4274067311"/>
      </p:ext>
    </p:extLst>
  </p:cSld>
  <p:clrMapOvr>
    <a:masterClrMapping/>
  </p:clrMapOvr>
  <p:transition spd="slow">
    <p:push dir="u"/>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Standard 2-Column Text">
    <p:spTree>
      <p:nvGrpSpPr>
        <p:cNvPr id="1" name=""/>
        <p:cNvGrpSpPr/>
        <p:nvPr/>
      </p:nvGrpSpPr>
      <p:grpSpPr>
        <a:xfrm>
          <a:off x="0" y="0"/>
          <a:ext cx="0" cy="0"/>
          <a:chOff x="0" y="0"/>
          <a:chExt cx="0" cy="0"/>
        </a:xfrm>
      </p:grpSpPr>
      <p:sp>
        <p:nvSpPr>
          <p:cNvPr id="12" name="Text Placeholder 6">
            <a:extLst>
              <a:ext uri="{FF2B5EF4-FFF2-40B4-BE49-F238E27FC236}">
                <a16:creationId xmlns="" xmlns:a16="http://schemas.microsoft.com/office/drawing/2014/main" id="{FD2406EE-A554-5348-AE6D-4D8B343E6201}"/>
              </a:ext>
            </a:extLst>
          </p:cNvPr>
          <p:cNvSpPr>
            <a:spLocks noGrp="1"/>
          </p:cNvSpPr>
          <p:nvPr>
            <p:ph type="body" sz="quarter" idx="15" hasCustomPrompt="1"/>
          </p:nvPr>
        </p:nvSpPr>
        <p:spPr>
          <a:xfrm>
            <a:off x="233363" y="826793"/>
            <a:ext cx="8677275" cy="3996643"/>
          </a:xfrm>
          <a:prstGeom prst="rect">
            <a:avLst/>
          </a:prstGeom>
        </p:spPr>
        <p:txBody>
          <a:bodyPr tIns="0" rIns="0" bIns="0" numCol="2" spcCol="404670">
            <a:normAutofit/>
          </a:bodyPr>
          <a:lstStyle>
            <a:lvl1pPr marL="0" indent="0">
              <a:lnSpc>
                <a:spcPct val="100000"/>
              </a:lnSpc>
              <a:spcBef>
                <a:spcPts val="0"/>
              </a:spcBef>
              <a:spcAft>
                <a:spcPts val="450"/>
              </a:spcAft>
              <a:buFont typeface="Arial" panose="020B0604020202020204" pitchFamily="34" charset="0"/>
              <a:buNone/>
              <a:defRPr sz="1200" b="0">
                <a:solidFill>
                  <a:schemeClr val="tx1"/>
                </a:solidFill>
              </a:defRPr>
            </a:lvl1pPr>
            <a:lvl2pPr marL="342506" indent="0">
              <a:lnSpc>
                <a:spcPts val="1350"/>
              </a:lnSpc>
              <a:spcBef>
                <a:spcPts val="0"/>
              </a:spcBef>
              <a:buNone/>
              <a:defRPr sz="1100"/>
            </a:lvl2pPr>
            <a:lvl3pPr marL="685051" indent="0">
              <a:lnSpc>
                <a:spcPts val="1350"/>
              </a:lnSpc>
              <a:spcBef>
                <a:spcPts val="0"/>
              </a:spcBef>
              <a:buNone/>
              <a:defRPr sz="1100"/>
            </a:lvl3pPr>
            <a:lvl4pPr marL="1027572" indent="0">
              <a:lnSpc>
                <a:spcPts val="1350"/>
              </a:lnSpc>
              <a:spcBef>
                <a:spcPts val="0"/>
              </a:spcBef>
              <a:buNone/>
              <a:defRPr sz="1100"/>
            </a:lvl4pPr>
            <a:lvl5pPr marL="1370096" indent="0">
              <a:lnSpc>
                <a:spcPts val="1350"/>
              </a:lnSpc>
              <a:spcBef>
                <a:spcPts val="0"/>
              </a:spcBef>
              <a:buNone/>
              <a:defRPr sz="1100"/>
            </a:lvl5pPr>
          </a:lstStyle>
          <a:p>
            <a:pPr lvl="0"/>
            <a:r>
              <a:rPr lang="en-US"/>
              <a:t>This is a two-column layout. Click to add content. </a:t>
            </a:r>
          </a:p>
        </p:txBody>
      </p:sp>
      <p:sp>
        <p:nvSpPr>
          <p:cNvPr id="19" name="Footer Placeholder 8">
            <a:extLst>
              <a:ext uri="{FF2B5EF4-FFF2-40B4-BE49-F238E27FC236}">
                <a16:creationId xmlns="" xmlns:a16="http://schemas.microsoft.com/office/drawing/2014/main" id="{CDA06C55-0643-C148-AAB1-C4BB26FD7B26}"/>
              </a:ext>
            </a:extLst>
          </p:cNvPr>
          <p:cNvSpPr>
            <a:spLocks noGrp="1"/>
          </p:cNvSpPr>
          <p:nvPr>
            <p:ph type="ftr" sz="quarter" idx="3"/>
          </p:nvPr>
        </p:nvSpPr>
        <p:spPr>
          <a:xfrm>
            <a:off x="5824538" y="4892251"/>
            <a:ext cx="3086100" cy="147098"/>
          </a:xfrm>
          <a:prstGeom prst="rect">
            <a:avLst/>
          </a:prstGeom>
        </p:spPr>
        <p:txBody>
          <a:bodyPr vert="horz" lIns="0" tIns="0" rIns="0" bIns="0" rtlCol="0" anchor="ctr"/>
          <a:lstStyle>
            <a:lvl1pPr algn="r">
              <a:defRPr sz="600" b="1" spc="75" baseline="0">
                <a:solidFill>
                  <a:schemeClr val="tx1"/>
                </a:solidFill>
              </a:defRPr>
            </a:lvl1pPr>
          </a:lstStyle>
          <a:p>
            <a:r>
              <a:rPr lang="x-none">
                <a:solidFill>
                  <a:srgbClr val="34373F"/>
                </a:solidFill>
              </a:rPr>
              <a:t> </a:t>
            </a:r>
          </a:p>
        </p:txBody>
      </p:sp>
      <p:pic>
        <p:nvPicPr>
          <p:cNvPr id="14" name="Picture 13" descr="Takeda">
            <a:extLst>
              <a:ext uri="{FF2B5EF4-FFF2-40B4-BE49-F238E27FC236}">
                <a16:creationId xmlns=""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09748" y="-1211"/>
            <a:ext cx="1272174" cy="705585"/>
          </a:xfrm>
          <a:prstGeom prst="rect">
            <a:avLst/>
          </a:prstGeom>
        </p:spPr>
      </p:pic>
      <p:sp>
        <p:nvSpPr>
          <p:cNvPr id="22" name="タイトル プレースホルダ 1">
            <a:extLst>
              <a:ext uri="{FF2B5EF4-FFF2-40B4-BE49-F238E27FC236}">
                <a16:creationId xmlns="" xmlns:a16="http://schemas.microsoft.com/office/drawing/2014/main" id="{86D2E5B8-9E2B-DB46-A55A-5F26569C4F99}"/>
              </a:ext>
            </a:extLst>
          </p:cNvPr>
          <p:cNvSpPr>
            <a:spLocks noGrp="1"/>
          </p:cNvSpPr>
          <p:nvPr>
            <p:ph type="title" hasCustomPrompt="1"/>
          </p:nvPr>
        </p:nvSpPr>
        <p:spPr>
          <a:xfrm>
            <a:off x="454559" y="121208"/>
            <a:ext cx="7455190" cy="514351"/>
          </a:xfrm>
          <a:prstGeom prst="rect">
            <a:avLst/>
          </a:prstGeom>
        </p:spPr>
        <p:txBody>
          <a:bodyPr vert="horz" lIns="0" tIns="0" rIns="0" bIns="0" rtlCol="0" anchor="ctr">
            <a:normAutofit/>
          </a:bodyPr>
          <a:lstStyle/>
          <a:p>
            <a:r>
              <a:rPr kumimoji="1" lang="en-US" altLang="ja-JP"/>
              <a:t>Two-column layout. Click to add title</a:t>
            </a:r>
            <a:endParaRPr kumimoji="1" lang="ja-JP" altLang="en-US"/>
          </a:p>
        </p:txBody>
      </p:sp>
      <p:sp>
        <p:nvSpPr>
          <p:cNvPr id="13" name="Rectangle 12">
            <a:extLst>
              <a:ext uri="{FF2B5EF4-FFF2-40B4-BE49-F238E27FC236}">
                <a16:creationId xmlns="" xmlns:a16="http://schemas.microsoft.com/office/drawing/2014/main" id="{F49634AC-7DDA-D44D-88DB-5850289DD643}"/>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31" tIns="34289" rIns="68531" bIns="34289" rtlCol="0" anchor="ctr"/>
          <a:lstStyle/>
          <a:p>
            <a:pPr algn="ctr" defTabSz="685239"/>
            <a:endParaRPr kumimoji="1" lang="x-none" sz="1400">
              <a:solidFill>
                <a:srgbClr val="E1242A"/>
              </a:solidFill>
            </a:endParaRPr>
          </a:p>
        </p:txBody>
      </p:sp>
      <p:sp>
        <p:nvSpPr>
          <p:cNvPr id="20" name="スライド番号プレースホルダ 5">
            <a:extLst>
              <a:ext uri="{FF2B5EF4-FFF2-40B4-BE49-F238E27FC236}">
                <a16:creationId xmlns="" xmlns:a16="http://schemas.microsoft.com/office/drawing/2014/main" id="{E22A984C-7436-8C4C-83C8-F2AD67592041}"/>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3365"/>
            <a:fld id="{E9B57936-92EF-4126-AE48-1D9D36D15E98}" type="slidenum">
              <a:rPr lang="ja-JP" altLang="en-US" smtClean="0">
                <a:solidFill>
                  <a:srgbClr val="34373F"/>
                </a:solidFill>
              </a:rPr>
              <a:pPr defTabSz="913365"/>
              <a:t>‹Nº›</a:t>
            </a:fld>
            <a:endParaRPr lang="ja-JP" altLang="en-US">
              <a:solidFill>
                <a:srgbClr val="34373F"/>
              </a:solidFill>
            </a:endParaRPr>
          </a:p>
        </p:txBody>
      </p:sp>
      <p:sp>
        <p:nvSpPr>
          <p:cNvPr id="21" name="Text Placeholder 6">
            <a:extLst>
              <a:ext uri="{FF2B5EF4-FFF2-40B4-BE49-F238E27FC236}">
                <a16:creationId xmlns="" xmlns:a16="http://schemas.microsoft.com/office/drawing/2014/main" id="{0A6720AD-4FA4-A146-AEEB-A4E558BAA3EA}"/>
              </a:ext>
            </a:extLst>
          </p:cNvPr>
          <p:cNvSpPr>
            <a:spLocks noGrp="1"/>
          </p:cNvSpPr>
          <p:nvPr>
            <p:ph type="body" sz="quarter" idx="16" hasCustomPrompt="1"/>
          </p:nvPr>
        </p:nvSpPr>
        <p:spPr>
          <a:xfrm>
            <a:off x="454559" y="4892253"/>
            <a:ext cx="5226261" cy="154210"/>
          </a:xfrm>
          <a:prstGeom prst="rect">
            <a:avLst/>
          </a:prstGeom>
        </p:spPr>
        <p:txBody>
          <a:bodyPr wrap="none" tIns="0" rIns="0" bIns="53967" numCol="1" anchor="ctr">
            <a:noAutofit/>
          </a:bodyPr>
          <a:lstStyle>
            <a:lvl1pPr marL="0" indent="0">
              <a:lnSpc>
                <a:spcPts val="1200"/>
              </a:lnSpc>
              <a:spcBef>
                <a:spcPts val="0"/>
              </a:spcBef>
              <a:spcAft>
                <a:spcPts val="450"/>
              </a:spcAft>
              <a:buFont typeface="Arial" panose="020B0604020202020204" pitchFamily="34" charset="0"/>
              <a:buNone/>
              <a:defRPr sz="600" b="0">
                <a:solidFill>
                  <a:schemeClr val="accent3"/>
                </a:solidFill>
              </a:defRPr>
            </a:lvl1pPr>
            <a:lvl2pPr marL="342506" indent="0">
              <a:lnSpc>
                <a:spcPts val="1350"/>
              </a:lnSpc>
              <a:spcBef>
                <a:spcPts val="0"/>
              </a:spcBef>
              <a:buNone/>
              <a:defRPr sz="1100"/>
            </a:lvl2pPr>
            <a:lvl3pPr marL="685051" indent="0">
              <a:lnSpc>
                <a:spcPts val="1350"/>
              </a:lnSpc>
              <a:spcBef>
                <a:spcPts val="0"/>
              </a:spcBef>
              <a:buNone/>
              <a:defRPr sz="1100"/>
            </a:lvl3pPr>
            <a:lvl4pPr marL="1027572" indent="0">
              <a:lnSpc>
                <a:spcPts val="1350"/>
              </a:lnSpc>
              <a:spcBef>
                <a:spcPts val="0"/>
              </a:spcBef>
              <a:buNone/>
              <a:defRPr sz="1100"/>
            </a:lvl4pPr>
            <a:lvl5pPr marL="1370096" indent="0">
              <a:lnSpc>
                <a:spcPts val="1350"/>
              </a:lnSpc>
              <a:spcBef>
                <a:spcPts val="0"/>
              </a:spcBef>
              <a:buNone/>
              <a:defRPr sz="1100"/>
            </a:lvl5pPr>
          </a:lstStyle>
          <a:p>
            <a:pPr lvl="0"/>
            <a:r>
              <a:rPr lang="en-US"/>
              <a:t>Private and confidential. For internal use only.</a:t>
            </a:r>
          </a:p>
        </p:txBody>
      </p:sp>
    </p:spTree>
    <p:extLst>
      <p:ext uri="{BB962C8B-B14F-4D97-AF65-F5344CB8AC3E}">
        <p14:creationId xmlns:p14="http://schemas.microsoft.com/office/powerpoint/2010/main" val="2450303477"/>
      </p:ext>
    </p:extLst>
  </p:cSld>
  <p:clrMapOvr>
    <a:masterClrMapping/>
  </p:clrMapOvr>
  <p:transition spd="slow">
    <p:push dir="u"/>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Section Title Page">
    <p:spTree>
      <p:nvGrpSpPr>
        <p:cNvPr id="1" name=""/>
        <p:cNvGrpSpPr/>
        <p:nvPr/>
      </p:nvGrpSpPr>
      <p:grpSpPr>
        <a:xfrm>
          <a:off x="0" y="0"/>
          <a:ext cx="0" cy="0"/>
          <a:chOff x="0" y="0"/>
          <a:chExt cx="0" cy="0"/>
        </a:xfrm>
      </p:grpSpPr>
      <p:sp>
        <p:nvSpPr>
          <p:cNvPr id="33" name="Title 1">
            <a:extLst>
              <a:ext uri="{FF2B5EF4-FFF2-40B4-BE49-F238E27FC236}">
                <a16:creationId xmlns="" xmlns:a16="http://schemas.microsoft.com/office/drawing/2014/main" id="{E02383DA-65B3-044E-9E1B-2CC00A0B1CC6}"/>
              </a:ext>
            </a:extLst>
          </p:cNvPr>
          <p:cNvSpPr>
            <a:spLocks noGrp="1"/>
          </p:cNvSpPr>
          <p:nvPr>
            <p:ph type="ctrTitle" hasCustomPrompt="1"/>
          </p:nvPr>
        </p:nvSpPr>
        <p:spPr>
          <a:xfrm>
            <a:off x="896050" y="1727272"/>
            <a:ext cx="3266048" cy="1709348"/>
          </a:xfrm>
          <a:prstGeom prst="rect">
            <a:avLst/>
          </a:prstGeom>
        </p:spPr>
        <p:txBody>
          <a:bodyPr wrap="square" lIns="0" tIns="0" rIns="0" bIns="0" anchor="ctr" anchorCtr="0">
            <a:normAutofit/>
          </a:bodyPr>
          <a:lstStyle>
            <a:lvl1pPr>
              <a:lnSpc>
                <a:spcPts val="2850"/>
              </a:lnSpc>
              <a:defRPr sz="27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section title</a:t>
            </a:r>
          </a:p>
        </p:txBody>
      </p:sp>
      <p:sp>
        <p:nvSpPr>
          <p:cNvPr id="28" name="Rectangle 27">
            <a:extLst>
              <a:ext uri="{FF2B5EF4-FFF2-40B4-BE49-F238E27FC236}">
                <a16:creationId xmlns="" xmlns:a16="http://schemas.microsoft.com/office/drawing/2014/main" id="{92F9C2FE-7E43-3948-92F0-0CEA804BDBFE}"/>
              </a:ext>
            </a:extLst>
          </p:cNvPr>
          <p:cNvSpPr/>
          <p:nvPr userDrawn="1"/>
        </p:nvSpPr>
        <p:spPr>
          <a:xfrm>
            <a:off x="561754" y="1582698"/>
            <a:ext cx="72900" cy="20303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31" tIns="34289" rIns="68531" bIns="34289" anchor="ctr"/>
          <a:lstStyle/>
          <a:p>
            <a:pPr algn="ctr" defTabSz="685239"/>
            <a:endParaRPr lang="en-US" altLang="en-US" sz="1400">
              <a:solidFill>
                <a:srgbClr val="FFFFFF"/>
              </a:solidFill>
            </a:endParaRPr>
          </a:p>
        </p:txBody>
      </p:sp>
      <p:sp>
        <p:nvSpPr>
          <p:cNvPr id="13" name="Picture Placeholder 9">
            <a:extLst>
              <a:ext uri="{FF2B5EF4-FFF2-40B4-BE49-F238E27FC236}">
                <a16:creationId xmlns="" xmlns:a16="http://schemas.microsoft.com/office/drawing/2014/main" id="{46656F8F-0621-5F47-BF80-4A4E365A2D91}"/>
              </a:ext>
            </a:extLst>
          </p:cNvPr>
          <p:cNvSpPr>
            <a:spLocks noGrp="1"/>
          </p:cNvSpPr>
          <p:nvPr>
            <p:ph type="pic" sz="quarter" idx="10"/>
          </p:nvPr>
        </p:nvSpPr>
        <p:spPr>
          <a:xfrm>
            <a:off x="4981939" y="0"/>
            <a:ext cx="4174367" cy="4812506"/>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158474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782524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0592">
                <a:moveTo>
                  <a:pt x="0" y="1652"/>
                </a:moveTo>
                <a:lnTo>
                  <a:pt x="11459359" y="0"/>
                </a:lnTo>
                <a:cubicBezTo>
                  <a:pt x="11456406" y="1115201"/>
                  <a:pt x="11441877" y="2245391"/>
                  <a:pt x="11438924" y="3360592"/>
                </a:cubicBezTo>
                <a:lnTo>
                  <a:pt x="1188396" y="3358591"/>
                </a:lnTo>
                <a:cubicBezTo>
                  <a:pt x="848612" y="3356903"/>
                  <a:pt x="0" y="3267167"/>
                  <a:pt x="0" y="2946995"/>
                </a:cubicBezTo>
                <a:lnTo>
                  <a:pt x="0" y="1652"/>
                </a:lnTo>
                <a:close/>
              </a:path>
            </a:pathLst>
          </a:custGeom>
          <a:noFill/>
        </p:spPr>
        <p:txBody>
          <a:bodyPr/>
          <a:lstStyle>
            <a:lvl1pPr marL="0" indent="0">
              <a:buNone/>
              <a:defRPr sz="1800">
                <a:solidFill>
                  <a:schemeClr val="bg1"/>
                </a:solidFill>
              </a:defRPr>
            </a:lvl1pPr>
          </a:lstStyle>
          <a:p>
            <a:r>
              <a:rPr lang="es-ES"/>
              <a:t>Haga clic en el icono para agregar una imagen</a:t>
            </a:r>
            <a:endParaRPr lang="x-none"/>
          </a:p>
        </p:txBody>
      </p:sp>
    </p:spTree>
    <p:extLst>
      <p:ext uri="{BB962C8B-B14F-4D97-AF65-F5344CB8AC3E}">
        <p14:creationId xmlns:p14="http://schemas.microsoft.com/office/powerpoint/2010/main" val="3634840660"/>
      </p:ext>
    </p:extLst>
  </p:cSld>
  <p:clrMapOvr>
    <a:masterClrMapping/>
  </p:clrMapOvr>
  <p:transition spd="slow">
    <p:push dir="u"/>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30A5DA52-BBAF-EA48-AEC6-EA08F428CF57}"/>
              </a:ext>
            </a:extLst>
          </p:cNvPr>
          <p:cNvSpPr>
            <a:spLocks noGrp="1"/>
          </p:cNvSpPr>
          <p:nvPr>
            <p:ph type="body" sz="quarter" idx="10" hasCustomPrompt="1"/>
          </p:nvPr>
        </p:nvSpPr>
        <p:spPr>
          <a:xfrm>
            <a:off x="225030" y="278969"/>
            <a:ext cx="8693944" cy="4533537"/>
          </a:xfrm>
          <a:prstGeom prst="rect">
            <a:avLst/>
          </a:prstGeom>
        </p:spPr>
        <p:txBody>
          <a:bodyPr anchor="ctr" anchorCtr="0"/>
          <a:lstStyle>
            <a:lvl1pPr marL="0" indent="0" algn="ctr">
              <a:lnSpc>
                <a:spcPct val="100000"/>
              </a:lnSpc>
              <a:buNone/>
              <a:defRPr sz="2300"/>
            </a:lvl1pPr>
          </a:lstStyle>
          <a:p>
            <a:pPr lvl="0"/>
            <a:r>
              <a:rPr lang="en-US"/>
              <a:t>Blank slide</a:t>
            </a:r>
            <a:endParaRPr lang="x-none"/>
          </a:p>
        </p:txBody>
      </p:sp>
    </p:spTree>
    <p:extLst>
      <p:ext uri="{BB962C8B-B14F-4D97-AF65-F5344CB8AC3E}">
        <p14:creationId xmlns:p14="http://schemas.microsoft.com/office/powerpoint/2010/main" val="2035270625"/>
      </p:ext>
    </p:extLst>
  </p:cSld>
  <p:clrMapOvr>
    <a:masterClrMapping/>
  </p:clrMapOvr>
  <p:transition spd="slow">
    <p:push dir="u"/>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10252" b="15723"/>
          <a:stretch/>
        </p:blipFill>
        <p:spPr>
          <a:xfrm>
            <a:off x="-8266" y="1509318"/>
            <a:ext cx="3996587" cy="3644116"/>
          </a:xfrm>
          <a:prstGeom prst="rect">
            <a:avLst/>
          </a:prstGeom>
        </p:spPr>
      </p:pic>
      <p:sp>
        <p:nvSpPr>
          <p:cNvPr id="2" name="Title 1"/>
          <p:cNvSpPr>
            <a:spLocks noGrp="1"/>
          </p:cNvSpPr>
          <p:nvPr>
            <p:ph type="ctrTitle"/>
          </p:nvPr>
        </p:nvSpPr>
        <p:spPr>
          <a:xfrm>
            <a:off x="354943" y="3281078"/>
            <a:ext cx="2739246" cy="512961"/>
          </a:xfrm>
          <a:prstGeom prst="rect">
            <a:avLst/>
          </a:prstGeom>
        </p:spPr>
        <p:txBody>
          <a:bodyPr anchor="ctr" anchorCtr="0"/>
          <a:lstStyle>
            <a:lvl1pPr>
              <a:lnSpc>
                <a:spcPts val="1950"/>
              </a:lnSpc>
              <a:defRPr sz="1950">
                <a:solidFill>
                  <a:schemeClr val="bg1"/>
                </a:solidFill>
              </a:defRPr>
            </a:lvl1pPr>
          </a:lstStyle>
          <a:p>
            <a:r>
              <a:rPr lang="en-US"/>
              <a:t>Click to edit Master title style</a:t>
            </a:r>
            <a:endParaRPr lang="en-GB"/>
          </a:p>
        </p:txBody>
      </p:sp>
      <p:sp>
        <p:nvSpPr>
          <p:cNvPr id="3" name="Subtitle 2"/>
          <p:cNvSpPr>
            <a:spLocks noGrp="1"/>
          </p:cNvSpPr>
          <p:nvPr>
            <p:ph type="subTitle" idx="1"/>
          </p:nvPr>
        </p:nvSpPr>
        <p:spPr>
          <a:xfrm>
            <a:off x="354943" y="4050672"/>
            <a:ext cx="2721600" cy="184666"/>
          </a:xfrm>
        </p:spPr>
        <p:txBody>
          <a:bodyPr wrap="square" anchor="b" anchorCtr="0">
            <a:spAutoFit/>
          </a:bodyPr>
          <a:lstStyle>
            <a:lvl1pPr marL="0" indent="0" algn="l">
              <a:spcAft>
                <a:spcPts val="0"/>
              </a:spcAft>
              <a:buNone/>
              <a:defRPr>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a:t>
            </a:r>
            <a:endParaRPr lang="en-GB"/>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232645" y="270085"/>
            <a:ext cx="554400" cy="357152"/>
          </a:xfrm>
          <a:prstGeom prst="rect">
            <a:avLst/>
          </a:prstGeom>
        </p:spPr>
      </p:pic>
    </p:spTree>
    <p:extLst>
      <p:ext uri="{BB962C8B-B14F-4D97-AF65-F5344CB8AC3E}">
        <p14:creationId xmlns:p14="http://schemas.microsoft.com/office/powerpoint/2010/main" val="363645644"/>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Advanced 3-Column Text">
    <p:spTree>
      <p:nvGrpSpPr>
        <p:cNvPr id="1" name=""/>
        <p:cNvGrpSpPr/>
        <p:nvPr/>
      </p:nvGrpSpPr>
      <p:grpSpPr>
        <a:xfrm>
          <a:off x="0" y="0"/>
          <a:ext cx="0" cy="0"/>
          <a:chOff x="0" y="0"/>
          <a:chExt cx="0" cy="0"/>
        </a:xfrm>
      </p:grpSpPr>
      <p:sp>
        <p:nvSpPr>
          <p:cNvPr id="7" name="Text Placeholder 6">
            <a:extLst>
              <a:ext uri="{FF2B5EF4-FFF2-40B4-BE49-F238E27FC236}">
                <a16:creationId xmlns="" xmlns:a16="http://schemas.microsoft.com/office/drawing/2014/main" id="{65925D82-457F-D84D-B8DF-D8ADFD7E71DF}"/>
              </a:ext>
            </a:extLst>
          </p:cNvPr>
          <p:cNvSpPr>
            <a:spLocks noGrp="1"/>
          </p:cNvSpPr>
          <p:nvPr>
            <p:ph type="body" sz="quarter" idx="14" hasCustomPrompt="1"/>
          </p:nvPr>
        </p:nvSpPr>
        <p:spPr>
          <a:xfrm>
            <a:off x="233362" y="2383723"/>
            <a:ext cx="4281488" cy="204590"/>
          </a:xfrm>
          <a:prstGeom prst="rect">
            <a:avLst/>
          </a:prstGeom>
        </p:spPr>
        <p:txBody>
          <a:bodyPr tIns="0" rIns="0" bIns="0" numCol="1">
            <a:noAutofit/>
          </a:bodyPr>
          <a:lstStyle>
            <a:lvl1pPr marL="0" indent="0">
              <a:lnSpc>
                <a:spcPct val="100000"/>
              </a:lnSpc>
              <a:spcBef>
                <a:spcPts val="0"/>
              </a:spcBef>
              <a:spcAft>
                <a:spcPts val="450"/>
              </a:spcAft>
              <a:buNone/>
              <a:defRPr sz="1400" b="1">
                <a:solidFill>
                  <a:schemeClr val="accent1"/>
                </a:solidFill>
              </a:defRPr>
            </a:lvl1pPr>
            <a:lvl2pPr marL="342506" indent="0">
              <a:lnSpc>
                <a:spcPts val="1350"/>
              </a:lnSpc>
              <a:spcBef>
                <a:spcPts val="0"/>
              </a:spcBef>
              <a:buNone/>
              <a:defRPr sz="1100"/>
            </a:lvl2pPr>
            <a:lvl3pPr marL="685051" indent="0">
              <a:lnSpc>
                <a:spcPts val="1350"/>
              </a:lnSpc>
              <a:spcBef>
                <a:spcPts val="0"/>
              </a:spcBef>
              <a:buNone/>
              <a:defRPr sz="1100"/>
            </a:lvl3pPr>
            <a:lvl4pPr marL="1027572" indent="0">
              <a:lnSpc>
                <a:spcPts val="1350"/>
              </a:lnSpc>
              <a:spcBef>
                <a:spcPts val="0"/>
              </a:spcBef>
              <a:buNone/>
              <a:defRPr sz="1100"/>
            </a:lvl4pPr>
            <a:lvl5pPr marL="1370096" indent="0">
              <a:lnSpc>
                <a:spcPts val="1350"/>
              </a:lnSpc>
              <a:spcBef>
                <a:spcPts val="0"/>
              </a:spcBef>
              <a:buNone/>
              <a:defRPr sz="1100"/>
            </a:lvl5pPr>
          </a:lstStyle>
          <a:p>
            <a:pPr lvl="0"/>
            <a:r>
              <a:rPr lang="en-US"/>
              <a:t>This is your Secondary Title</a:t>
            </a:r>
          </a:p>
        </p:txBody>
      </p:sp>
      <p:sp>
        <p:nvSpPr>
          <p:cNvPr id="12" name="Text Placeholder 6">
            <a:extLst>
              <a:ext uri="{FF2B5EF4-FFF2-40B4-BE49-F238E27FC236}">
                <a16:creationId xmlns="" xmlns:a16="http://schemas.microsoft.com/office/drawing/2014/main" id="{FD2406EE-A554-5348-AE6D-4D8B343E6201}"/>
              </a:ext>
            </a:extLst>
          </p:cNvPr>
          <p:cNvSpPr>
            <a:spLocks noGrp="1"/>
          </p:cNvSpPr>
          <p:nvPr>
            <p:ph type="body" sz="quarter" idx="15" hasCustomPrompt="1"/>
          </p:nvPr>
        </p:nvSpPr>
        <p:spPr>
          <a:xfrm>
            <a:off x="233363" y="2681929"/>
            <a:ext cx="2822659" cy="2130578"/>
          </a:xfrm>
          <a:prstGeom prst="rect">
            <a:avLst/>
          </a:prstGeom>
        </p:spPr>
        <p:txBody>
          <a:bodyPr tIns="0" rIns="0" bIns="0" numCol="1">
            <a:noAutofit/>
          </a:bodyPr>
          <a:lstStyle>
            <a:lvl1pPr marL="128489" indent="-128489">
              <a:lnSpc>
                <a:spcPct val="100000"/>
              </a:lnSpc>
              <a:spcBef>
                <a:spcPts val="0"/>
              </a:spcBef>
              <a:spcAft>
                <a:spcPts val="450"/>
              </a:spcAft>
              <a:buFont typeface="Arial" panose="020B0604020202020204" pitchFamily="34" charset="0"/>
              <a:buChar char="•"/>
              <a:defRPr sz="1100" b="0">
                <a:solidFill>
                  <a:schemeClr val="tx1"/>
                </a:solidFill>
              </a:defRPr>
            </a:lvl1pPr>
            <a:lvl2pPr marL="342506" indent="0">
              <a:lnSpc>
                <a:spcPts val="1350"/>
              </a:lnSpc>
              <a:spcBef>
                <a:spcPts val="0"/>
              </a:spcBef>
              <a:buNone/>
              <a:defRPr sz="1100"/>
            </a:lvl2pPr>
            <a:lvl3pPr marL="685051" indent="0">
              <a:lnSpc>
                <a:spcPts val="1350"/>
              </a:lnSpc>
              <a:spcBef>
                <a:spcPts val="0"/>
              </a:spcBef>
              <a:buNone/>
              <a:defRPr sz="1100"/>
            </a:lvl3pPr>
            <a:lvl4pPr marL="1027572" indent="0">
              <a:lnSpc>
                <a:spcPts val="1350"/>
              </a:lnSpc>
              <a:spcBef>
                <a:spcPts val="0"/>
              </a:spcBef>
              <a:buNone/>
              <a:defRPr sz="1100"/>
            </a:lvl4pPr>
            <a:lvl5pPr marL="1370096" indent="0">
              <a:lnSpc>
                <a:spcPts val="1350"/>
              </a:lnSpc>
              <a:spcBef>
                <a:spcPts val="0"/>
              </a:spcBef>
              <a:buNone/>
              <a:defRPr sz="1100"/>
            </a:lvl5pPr>
          </a:lstStyle>
          <a:p>
            <a:pPr lvl="0"/>
            <a:r>
              <a:rPr lang="en-US"/>
              <a:t>This is your Secondary text. </a:t>
            </a:r>
          </a:p>
        </p:txBody>
      </p:sp>
      <p:sp>
        <p:nvSpPr>
          <p:cNvPr id="17" name="Text Placeholder 6">
            <a:extLst>
              <a:ext uri="{FF2B5EF4-FFF2-40B4-BE49-F238E27FC236}">
                <a16:creationId xmlns="" xmlns:a16="http://schemas.microsoft.com/office/drawing/2014/main" id="{3BB454FD-9C16-FC47-B46E-6675394572BB}"/>
              </a:ext>
            </a:extLst>
          </p:cNvPr>
          <p:cNvSpPr>
            <a:spLocks noGrp="1"/>
          </p:cNvSpPr>
          <p:nvPr>
            <p:ph type="body" sz="quarter" idx="18" hasCustomPrompt="1"/>
          </p:nvPr>
        </p:nvSpPr>
        <p:spPr>
          <a:xfrm>
            <a:off x="3160328" y="2681929"/>
            <a:ext cx="2822659" cy="2130578"/>
          </a:xfrm>
          <a:prstGeom prst="rect">
            <a:avLst/>
          </a:prstGeom>
        </p:spPr>
        <p:txBody>
          <a:bodyPr tIns="0" rIns="0" bIns="0" numCol="1">
            <a:noAutofit/>
          </a:bodyPr>
          <a:lstStyle>
            <a:lvl1pPr marL="128489" indent="-128489">
              <a:lnSpc>
                <a:spcPct val="100000"/>
              </a:lnSpc>
              <a:spcBef>
                <a:spcPts val="0"/>
              </a:spcBef>
              <a:spcAft>
                <a:spcPts val="450"/>
              </a:spcAft>
              <a:buFont typeface="Arial" panose="020B0604020202020204" pitchFamily="34" charset="0"/>
              <a:buChar char="•"/>
              <a:defRPr sz="1100" b="0">
                <a:solidFill>
                  <a:schemeClr val="tx1"/>
                </a:solidFill>
              </a:defRPr>
            </a:lvl1pPr>
            <a:lvl2pPr marL="342506" indent="0">
              <a:lnSpc>
                <a:spcPts val="1350"/>
              </a:lnSpc>
              <a:spcBef>
                <a:spcPts val="0"/>
              </a:spcBef>
              <a:buNone/>
              <a:defRPr sz="1100"/>
            </a:lvl2pPr>
            <a:lvl3pPr marL="685051" indent="0">
              <a:lnSpc>
                <a:spcPts val="1350"/>
              </a:lnSpc>
              <a:spcBef>
                <a:spcPts val="0"/>
              </a:spcBef>
              <a:buNone/>
              <a:defRPr sz="1100"/>
            </a:lvl3pPr>
            <a:lvl4pPr marL="1027572" indent="0">
              <a:lnSpc>
                <a:spcPts val="1350"/>
              </a:lnSpc>
              <a:spcBef>
                <a:spcPts val="0"/>
              </a:spcBef>
              <a:buNone/>
              <a:defRPr sz="1100"/>
            </a:lvl4pPr>
            <a:lvl5pPr marL="1370096" indent="0">
              <a:lnSpc>
                <a:spcPts val="1350"/>
              </a:lnSpc>
              <a:spcBef>
                <a:spcPts val="0"/>
              </a:spcBef>
              <a:buNone/>
              <a:defRPr sz="1100"/>
            </a:lvl5pPr>
          </a:lstStyle>
          <a:p>
            <a:pPr lvl="0"/>
            <a:r>
              <a:rPr lang="en-US"/>
              <a:t>This is your Secondary text. </a:t>
            </a:r>
          </a:p>
        </p:txBody>
      </p:sp>
      <p:sp>
        <p:nvSpPr>
          <p:cNvPr id="18" name="Text Placeholder 6">
            <a:extLst>
              <a:ext uri="{FF2B5EF4-FFF2-40B4-BE49-F238E27FC236}">
                <a16:creationId xmlns="" xmlns:a16="http://schemas.microsoft.com/office/drawing/2014/main" id="{568F3A49-7287-1C4D-93C8-50E3C0B4F15A}"/>
              </a:ext>
            </a:extLst>
          </p:cNvPr>
          <p:cNvSpPr>
            <a:spLocks noGrp="1"/>
          </p:cNvSpPr>
          <p:nvPr>
            <p:ph type="body" sz="quarter" idx="19" hasCustomPrompt="1"/>
          </p:nvPr>
        </p:nvSpPr>
        <p:spPr>
          <a:xfrm>
            <a:off x="6075009" y="2681929"/>
            <a:ext cx="2822659" cy="2130578"/>
          </a:xfrm>
          <a:prstGeom prst="rect">
            <a:avLst/>
          </a:prstGeom>
        </p:spPr>
        <p:txBody>
          <a:bodyPr tIns="0" rIns="0" bIns="0" numCol="1">
            <a:noAutofit/>
          </a:bodyPr>
          <a:lstStyle>
            <a:lvl1pPr marL="128489" indent="-128489">
              <a:lnSpc>
                <a:spcPct val="100000"/>
              </a:lnSpc>
              <a:spcBef>
                <a:spcPts val="0"/>
              </a:spcBef>
              <a:spcAft>
                <a:spcPts val="450"/>
              </a:spcAft>
              <a:buFont typeface="Arial" panose="020B0604020202020204" pitchFamily="34" charset="0"/>
              <a:buChar char="•"/>
              <a:defRPr sz="1100" b="0">
                <a:solidFill>
                  <a:schemeClr val="tx1"/>
                </a:solidFill>
              </a:defRPr>
            </a:lvl1pPr>
            <a:lvl2pPr marL="342506" indent="0">
              <a:lnSpc>
                <a:spcPts val="1350"/>
              </a:lnSpc>
              <a:spcBef>
                <a:spcPts val="0"/>
              </a:spcBef>
              <a:buNone/>
              <a:defRPr sz="1100"/>
            </a:lvl2pPr>
            <a:lvl3pPr marL="685051" indent="0">
              <a:lnSpc>
                <a:spcPts val="1350"/>
              </a:lnSpc>
              <a:spcBef>
                <a:spcPts val="0"/>
              </a:spcBef>
              <a:buNone/>
              <a:defRPr sz="1100"/>
            </a:lvl3pPr>
            <a:lvl4pPr marL="1027572" indent="0">
              <a:lnSpc>
                <a:spcPts val="1350"/>
              </a:lnSpc>
              <a:spcBef>
                <a:spcPts val="0"/>
              </a:spcBef>
              <a:buNone/>
              <a:defRPr sz="1100"/>
            </a:lvl4pPr>
            <a:lvl5pPr marL="1370096" indent="0">
              <a:lnSpc>
                <a:spcPts val="1350"/>
              </a:lnSpc>
              <a:spcBef>
                <a:spcPts val="0"/>
              </a:spcBef>
              <a:buNone/>
              <a:defRPr sz="1100"/>
            </a:lvl5pPr>
          </a:lstStyle>
          <a:p>
            <a:pPr lvl="0"/>
            <a:r>
              <a:rPr lang="en-US"/>
              <a:t>This is your Secondary text. </a:t>
            </a:r>
          </a:p>
        </p:txBody>
      </p:sp>
      <p:sp>
        <p:nvSpPr>
          <p:cNvPr id="21" name="Footer Placeholder 8">
            <a:extLst>
              <a:ext uri="{FF2B5EF4-FFF2-40B4-BE49-F238E27FC236}">
                <a16:creationId xmlns="" xmlns:a16="http://schemas.microsoft.com/office/drawing/2014/main" id="{519BC59F-4516-0043-8BAC-F9FE45B6A9F4}"/>
              </a:ext>
            </a:extLst>
          </p:cNvPr>
          <p:cNvSpPr>
            <a:spLocks noGrp="1"/>
          </p:cNvSpPr>
          <p:nvPr>
            <p:ph type="ftr" sz="quarter" idx="3"/>
          </p:nvPr>
        </p:nvSpPr>
        <p:spPr>
          <a:xfrm>
            <a:off x="5824538" y="4892251"/>
            <a:ext cx="3086100" cy="147098"/>
          </a:xfrm>
          <a:prstGeom prst="rect">
            <a:avLst/>
          </a:prstGeom>
        </p:spPr>
        <p:txBody>
          <a:bodyPr vert="horz" lIns="68531" tIns="34289" rIns="0" bIns="34289" rtlCol="0" anchor="ctr"/>
          <a:lstStyle>
            <a:lvl1pPr algn="r">
              <a:defRPr sz="600" b="1" spc="75" baseline="0">
                <a:solidFill>
                  <a:schemeClr val="tx1"/>
                </a:solidFill>
              </a:defRPr>
            </a:lvl1pPr>
          </a:lstStyle>
          <a:p>
            <a:r>
              <a:rPr lang="x-none">
                <a:solidFill>
                  <a:srgbClr val="34373F"/>
                </a:solidFill>
              </a:rPr>
              <a:t> </a:t>
            </a:r>
          </a:p>
        </p:txBody>
      </p:sp>
      <p:pic>
        <p:nvPicPr>
          <p:cNvPr id="14" name="Picture 13" descr="Takeda">
            <a:extLst>
              <a:ext uri="{FF2B5EF4-FFF2-40B4-BE49-F238E27FC236}">
                <a16:creationId xmlns="" xmlns:a16="http://schemas.microsoft.com/office/drawing/2014/main" id="{0E2D4ABB-BC5B-754B-B0DE-676246A385A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09748" y="-1211"/>
            <a:ext cx="1272174" cy="705585"/>
          </a:xfrm>
          <a:prstGeom prst="rect">
            <a:avLst/>
          </a:prstGeom>
        </p:spPr>
      </p:pic>
      <p:sp>
        <p:nvSpPr>
          <p:cNvPr id="24" name="タイトル プレースホルダ 1">
            <a:extLst>
              <a:ext uri="{FF2B5EF4-FFF2-40B4-BE49-F238E27FC236}">
                <a16:creationId xmlns="" xmlns:a16="http://schemas.microsoft.com/office/drawing/2014/main" id="{CC986DF6-9894-F144-B9DA-A9DBE0000AB8}"/>
              </a:ext>
            </a:extLst>
          </p:cNvPr>
          <p:cNvSpPr>
            <a:spLocks noGrp="1"/>
          </p:cNvSpPr>
          <p:nvPr>
            <p:ph type="title" hasCustomPrompt="1"/>
          </p:nvPr>
        </p:nvSpPr>
        <p:spPr>
          <a:xfrm>
            <a:off x="454559" y="121208"/>
            <a:ext cx="7455190" cy="51435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3" name="Rectangle 22">
            <a:extLst>
              <a:ext uri="{FF2B5EF4-FFF2-40B4-BE49-F238E27FC236}">
                <a16:creationId xmlns="" xmlns:a16="http://schemas.microsoft.com/office/drawing/2014/main" id="{886528CE-2840-6C44-965A-04D8835743E3}"/>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31" tIns="34289" rIns="68531" bIns="34289" rtlCol="0" anchor="ctr"/>
          <a:lstStyle/>
          <a:p>
            <a:pPr algn="ctr" defTabSz="685239"/>
            <a:endParaRPr kumimoji="1" lang="x-none" sz="1400">
              <a:solidFill>
                <a:srgbClr val="E1242A"/>
              </a:solidFill>
            </a:endParaRPr>
          </a:p>
        </p:txBody>
      </p:sp>
      <p:sp>
        <p:nvSpPr>
          <p:cNvPr id="27" name="スライド番号プレースホルダ 5">
            <a:extLst>
              <a:ext uri="{FF2B5EF4-FFF2-40B4-BE49-F238E27FC236}">
                <a16:creationId xmlns="" xmlns:a16="http://schemas.microsoft.com/office/drawing/2014/main" id="{854E474F-30B0-604E-9699-287AC57CAAFA}"/>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3365"/>
            <a:fld id="{E9B57936-92EF-4126-AE48-1D9D36D15E98}" type="slidenum">
              <a:rPr lang="ja-JP" altLang="en-US" smtClean="0">
                <a:solidFill>
                  <a:srgbClr val="34373F"/>
                </a:solidFill>
              </a:rPr>
              <a:pPr defTabSz="913365"/>
              <a:t>‹Nº›</a:t>
            </a:fld>
            <a:endParaRPr lang="ja-JP" altLang="en-US">
              <a:solidFill>
                <a:srgbClr val="34373F"/>
              </a:solidFill>
            </a:endParaRPr>
          </a:p>
        </p:txBody>
      </p:sp>
      <p:sp>
        <p:nvSpPr>
          <p:cNvPr id="28" name="Text Placeholder 6">
            <a:extLst>
              <a:ext uri="{FF2B5EF4-FFF2-40B4-BE49-F238E27FC236}">
                <a16:creationId xmlns="" xmlns:a16="http://schemas.microsoft.com/office/drawing/2014/main" id="{C9681050-C142-4F4F-B3C6-6F52F3C55CD6}"/>
              </a:ext>
            </a:extLst>
          </p:cNvPr>
          <p:cNvSpPr>
            <a:spLocks noGrp="1"/>
          </p:cNvSpPr>
          <p:nvPr>
            <p:ph type="body" sz="quarter" idx="16" hasCustomPrompt="1"/>
          </p:nvPr>
        </p:nvSpPr>
        <p:spPr>
          <a:xfrm>
            <a:off x="454559" y="4892253"/>
            <a:ext cx="5226261" cy="154210"/>
          </a:xfrm>
          <a:prstGeom prst="rect">
            <a:avLst/>
          </a:prstGeom>
        </p:spPr>
        <p:txBody>
          <a:bodyPr wrap="none" tIns="0" rIns="0" bIns="53967" numCol="1" anchor="ctr">
            <a:noAutofit/>
          </a:bodyPr>
          <a:lstStyle>
            <a:lvl1pPr marL="0" indent="0">
              <a:lnSpc>
                <a:spcPts val="1200"/>
              </a:lnSpc>
              <a:spcBef>
                <a:spcPts val="0"/>
              </a:spcBef>
              <a:spcAft>
                <a:spcPts val="450"/>
              </a:spcAft>
              <a:buFont typeface="Arial" panose="020B0604020202020204" pitchFamily="34" charset="0"/>
              <a:buNone/>
              <a:defRPr sz="600" b="0">
                <a:solidFill>
                  <a:schemeClr val="accent3"/>
                </a:solidFill>
              </a:defRPr>
            </a:lvl1pPr>
            <a:lvl2pPr marL="342506" indent="0">
              <a:lnSpc>
                <a:spcPts val="1350"/>
              </a:lnSpc>
              <a:spcBef>
                <a:spcPts val="0"/>
              </a:spcBef>
              <a:buNone/>
              <a:defRPr sz="1100"/>
            </a:lvl2pPr>
            <a:lvl3pPr marL="685051" indent="0">
              <a:lnSpc>
                <a:spcPts val="1350"/>
              </a:lnSpc>
              <a:spcBef>
                <a:spcPts val="0"/>
              </a:spcBef>
              <a:buNone/>
              <a:defRPr sz="1100"/>
            </a:lvl3pPr>
            <a:lvl4pPr marL="1027572" indent="0">
              <a:lnSpc>
                <a:spcPts val="1350"/>
              </a:lnSpc>
              <a:spcBef>
                <a:spcPts val="0"/>
              </a:spcBef>
              <a:buNone/>
              <a:defRPr sz="1100"/>
            </a:lvl4pPr>
            <a:lvl5pPr marL="1370096" indent="0">
              <a:lnSpc>
                <a:spcPts val="1350"/>
              </a:lnSpc>
              <a:spcBef>
                <a:spcPts val="0"/>
              </a:spcBef>
              <a:buNone/>
              <a:defRPr sz="1100"/>
            </a:lvl5pPr>
          </a:lstStyle>
          <a:p>
            <a:pPr lvl="0"/>
            <a:r>
              <a:rPr lang="en-US"/>
              <a:t>Private and confidential. For internal use only.</a:t>
            </a:r>
          </a:p>
        </p:txBody>
      </p:sp>
      <p:sp>
        <p:nvSpPr>
          <p:cNvPr id="22" name="Text Placeholder 2">
            <a:extLst>
              <a:ext uri="{FF2B5EF4-FFF2-40B4-BE49-F238E27FC236}">
                <a16:creationId xmlns="" xmlns:a16="http://schemas.microsoft.com/office/drawing/2014/main" id="{110504E2-40F0-054E-8424-D247EF2CA216}"/>
              </a:ext>
            </a:extLst>
          </p:cNvPr>
          <p:cNvSpPr>
            <a:spLocks noGrp="1"/>
          </p:cNvSpPr>
          <p:nvPr>
            <p:ph type="body" sz="quarter" idx="20" hasCustomPrompt="1"/>
          </p:nvPr>
        </p:nvSpPr>
        <p:spPr>
          <a:xfrm>
            <a:off x="233363" y="1118532"/>
            <a:ext cx="8677275" cy="1098718"/>
          </a:xfrm>
        </p:spPr>
        <p:txBody>
          <a:bodyPr tIns="0" rIns="0" bIns="0" numCol="1" spcCol="94434">
            <a:noAutofit/>
          </a:bodyPr>
          <a:lstStyle>
            <a:lvl1pPr marL="0" indent="0">
              <a:lnSpc>
                <a:spcPct val="100000"/>
              </a:lnSpc>
              <a:spcBef>
                <a:spcPts val="0"/>
              </a:spcBef>
              <a:buNone/>
              <a:defRPr sz="1200" b="1"/>
            </a:lvl1pPr>
            <a:lvl2pPr marL="342506" indent="0">
              <a:buNone/>
              <a:defRPr sz="1400" b="1"/>
            </a:lvl2pPr>
            <a:lvl3pPr marL="685051" indent="0">
              <a:buNone/>
              <a:defRPr sz="1400" b="1"/>
            </a:lvl3pPr>
            <a:lvl4pPr marL="1027572" indent="0">
              <a:buNone/>
              <a:defRPr sz="1400" b="1"/>
            </a:lvl4pPr>
            <a:lvl5pPr marL="1370096" indent="0">
              <a:buNone/>
              <a:defRPr sz="1400" b="1"/>
            </a:lvl5pPr>
          </a:lstStyle>
          <a:p>
            <a:pPr lvl="0"/>
            <a:r>
              <a:rPr lang="en-US"/>
              <a:t>This is your Primary Text.</a:t>
            </a:r>
            <a:endParaRPr lang="x-none"/>
          </a:p>
        </p:txBody>
      </p:sp>
      <p:sp>
        <p:nvSpPr>
          <p:cNvPr id="25" name="Text Placeholder 6">
            <a:extLst>
              <a:ext uri="{FF2B5EF4-FFF2-40B4-BE49-F238E27FC236}">
                <a16:creationId xmlns="" xmlns:a16="http://schemas.microsoft.com/office/drawing/2014/main" id="{073E75F2-7FFB-DC4C-8964-799372FCF583}"/>
              </a:ext>
            </a:extLst>
          </p:cNvPr>
          <p:cNvSpPr>
            <a:spLocks noGrp="1"/>
          </p:cNvSpPr>
          <p:nvPr>
            <p:ph type="body" sz="quarter" idx="21" hasCustomPrompt="1"/>
          </p:nvPr>
        </p:nvSpPr>
        <p:spPr>
          <a:xfrm>
            <a:off x="233363" y="820327"/>
            <a:ext cx="8677275" cy="204590"/>
          </a:xfrm>
        </p:spPr>
        <p:txBody>
          <a:bodyPr tIns="0" rIns="0" bIns="0" numCol="1">
            <a:noAutofit/>
          </a:bodyPr>
          <a:lstStyle>
            <a:lvl1pPr marL="0" indent="0">
              <a:lnSpc>
                <a:spcPct val="100000"/>
              </a:lnSpc>
              <a:spcBef>
                <a:spcPts val="0"/>
              </a:spcBef>
              <a:spcAft>
                <a:spcPts val="450"/>
              </a:spcAft>
              <a:buNone/>
              <a:defRPr sz="1500" b="1">
                <a:solidFill>
                  <a:schemeClr val="accent1"/>
                </a:solidFill>
              </a:defRPr>
            </a:lvl1pPr>
            <a:lvl2pPr marL="342506" indent="0">
              <a:lnSpc>
                <a:spcPts val="1350"/>
              </a:lnSpc>
              <a:spcBef>
                <a:spcPts val="0"/>
              </a:spcBef>
              <a:buNone/>
              <a:defRPr sz="1100"/>
            </a:lvl2pPr>
            <a:lvl3pPr marL="685051" indent="0">
              <a:lnSpc>
                <a:spcPts val="1350"/>
              </a:lnSpc>
              <a:spcBef>
                <a:spcPts val="0"/>
              </a:spcBef>
              <a:buNone/>
              <a:defRPr sz="1100"/>
            </a:lvl3pPr>
            <a:lvl4pPr marL="1027572" indent="0">
              <a:lnSpc>
                <a:spcPts val="1350"/>
              </a:lnSpc>
              <a:spcBef>
                <a:spcPts val="0"/>
              </a:spcBef>
              <a:buNone/>
              <a:defRPr sz="1100"/>
            </a:lvl4pPr>
            <a:lvl5pPr marL="1370096" indent="0">
              <a:lnSpc>
                <a:spcPts val="1350"/>
              </a:lnSpc>
              <a:spcBef>
                <a:spcPts val="0"/>
              </a:spcBef>
              <a:buNone/>
              <a:defRPr sz="1100"/>
            </a:lvl5pPr>
          </a:lstStyle>
          <a:p>
            <a:pPr lvl="0"/>
            <a:r>
              <a:rPr lang="en-US"/>
              <a:t>This is your Primary Title</a:t>
            </a:r>
          </a:p>
        </p:txBody>
      </p:sp>
    </p:spTree>
    <p:extLst>
      <p:ext uri="{BB962C8B-B14F-4D97-AF65-F5344CB8AC3E}">
        <p14:creationId xmlns:p14="http://schemas.microsoft.com/office/powerpoint/2010/main" val="1860622812"/>
      </p:ext>
    </p:extLst>
  </p:cSld>
  <p:clrMapOvr>
    <a:masterClrMapping/>
  </p:clrMapOvr>
  <p:transition spd="slow">
    <p:push dir="u"/>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Advanced 2/3 Image">
    <p:spTree>
      <p:nvGrpSpPr>
        <p:cNvPr id="1" name=""/>
        <p:cNvGrpSpPr/>
        <p:nvPr/>
      </p:nvGrpSpPr>
      <p:grpSpPr>
        <a:xfrm>
          <a:off x="0" y="0"/>
          <a:ext cx="0" cy="0"/>
          <a:chOff x="0" y="0"/>
          <a:chExt cx="0" cy="0"/>
        </a:xfrm>
      </p:grpSpPr>
      <p:sp>
        <p:nvSpPr>
          <p:cNvPr id="13" name="Picture Placeholder 9">
            <a:extLst>
              <a:ext uri="{FF2B5EF4-FFF2-40B4-BE49-F238E27FC236}">
                <a16:creationId xmlns="" xmlns:a16="http://schemas.microsoft.com/office/drawing/2014/main" id="{B3311DE3-EC35-4C49-805E-57AB2D90E99E}"/>
              </a:ext>
            </a:extLst>
          </p:cNvPr>
          <p:cNvSpPr>
            <a:spLocks noGrp="1"/>
          </p:cNvSpPr>
          <p:nvPr>
            <p:ph type="pic" sz="quarter" idx="10" hasCustomPrompt="1"/>
          </p:nvPr>
        </p:nvSpPr>
        <p:spPr>
          <a:xfrm>
            <a:off x="3158057" y="820325"/>
            <a:ext cx="5991267" cy="3992181"/>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88356" h="5135028">
                <a:moveTo>
                  <a:pt x="0" y="0"/>
                </a:moveTo>
                <a:lnTo>
                  <a:pt x="7988281" y="7569"/>
                </a:lnTo>
                <a:cubicBezTo>
                  <a:pt x="7989186" y="2154376"/>
                  <a:pt x="7981645" y="2988221"/>
                  <a:pt x="7982550" y="5135028"/>
                </a:cubicBezTo>
                <a:lnTo>
                  <a:pt x="596656" y="5124807"/>
                </a:lnTo>
                <a:cubicBezTo>
                  <a:pt x="276484" y="5124807"/>
                  <a:pt x="16934" y="4865257"/>
                  <a:pt x="16934" y="4545085"/>
                </a:cubicBezTo>
                <a:cubicBezTo>
                  <a:pt x="11289" y="3022648"/>
                  <a:pt x="5645" y="1522437"/>
                  <a:pt x="0" y="0"/>
                </a:cubicBezTo>
                <a:close/>
              </a:path>
            </a:pathLst>
          </a:custGeom>
          <a:noFill/>
        </p:spPr>
        <p:txBody>
          <a:bodyPr>
            <a:normAutofit/>
          </a:bodyPr>
          <a:lstStyle>
            <a:lvl1pPr marL="0" indent="0">
              <a:buNone/>
              <a:defRPr sz="1100">
                <a:solidFill>
                  <a:schemeClr val="tx1"/>
                </a:solidFill>
              </a:defRPr>
            </a:lvl1pPr>
          </a:lstStyle>
          <a:p>
            <a:r>
              <a:rPr lang="x-none"/>
              <a:t>Insert Photo</a:t>
            </a:r>
          </a:p>
        </p:txBody>
      </p:sp>
      <p:sp>
        <p:nvSpPr>
          <p:cNvPr id="7" name="Text Placeholder 6">
            <a:extLst>
              <a:ext uri="{FF2B5EF4-FFF2-40B4-BE49-F238E27FC236}">
                <a16:creationId xmlns="" xmlns:a16="http://schemas.microsoft.com/office/drawing/2014/main" id="{65925D82-457F-D84D-B8DF-D8ADFD7E71DF}"/>
              </a:ext>
            </a:extLst>
          </p:cNvPr>
          <p:cNvSpPr>
            <a:spLocks noGrp="1"/>
          </p:cNvSpPr>
          <p:nvPr>
            <p:ph type="body" sz="quarter" idx="14" hasCustomPrompt="1"/>
          </p:nvPr>
        </p:nvSpPr>
        <p:spPr>
          <a:xfrm>
            <a:off x="233367" y="2383723"/>
            <a:ext cx="2813975" cy="204590"/>
          </a:xfrm>
          <a:prstGeom prst="rect">
            <a:avLst/>
          </a:prstGeom>
        </p:spPr>
        <p:txBody>
          <a:bodyPr tIns="0" rIns="0" bIns="0" numCol="1">
            <a:noAutofit/>
          </a:bodyPr>
          <a:lstStyle>
            <a:lvl1pPr marL="0" indent="0">
              <a:lnSpc>
                <a:spcPct val="100000"/>
              </a:lnSpc>
              <a:spcBef>
                <a:spcPts val="0"/>
              </a:spcBef>
              <a:spcAft>
                <a:spcPts val="450"/>
              </a:spcAft>
              <a:buNone/>
              <a:defRPr sz="1400" b="1">
                <a:solidFill>
                  <a:schemeClr val="accent1"/>
                </a:solidFill>
              </a:defRPr>
            </a:lvl1pPr>
            <a:lvl2pPr marL="342506" indent="0">
              <a:lnSpc>
                <a:spcPts val="1350"/>
              </a:lnSpc>
              <a:spcBef>
                <a:spcPts val="0"/>
              </a:spcBef>
              <a:buNone/>
              <a:defRPr sz="1100"/>
            </a:lvl2pPr>
            <a:lvl3pPr marL="685051" indent="0">
              <a:lnSpc>
                <a:spcPts val="1350"/>
              </a:lnSpc>
              <a:spcBef>
                <a:spcPts val="0"/>
              </a:spcBef>
              <a:buNone/>
              <a:defRPr sz="1100"/>
            </a:lvl3pPr>
            <a:lvl4pPr marL="1027572" indent="0">
              <a:lnSpc>
                <a:spcPts val="1350"/>
              </a:lnSpc>
              <a:spcBef>
                <a:spcPts val="0"/>
              </a:spcBef>
              <a:buNone/>
              <a:defRPr sz="1100"/>
            </a:lvl4pPr>
            <a:lvl5pPr marL="1370096" indent="0">
              <a:lnSpc>
                <a:spcPts val="1350"/>
              </a:lnSpc>
              <a:spcBef>
                <a:spcPts val="0"/>
              </a:spcBef>
              <a:buNone/>
              <a:defRPr sz="1100"/>
            </a:lvl5pPr>
          </a:lstStyle>
          <a:p>
            <a:pPr lvl="0"/>
            <a:r>
              <a:rPr lang="en-US"/>
              <a:t>This is your Secondary Title</a:t>
            </a:r>
          </a:p>
        </p:txBody>
      </p:sp>
      <p:sp>
        <p:nvSpPr>
          <p:cNvPr id="12" name="Text Placeholder 6">
            <a:extLst>
              <a:ext uri="{FF2B5EF4-FFF2-40B4-BE49-F238E27FC236}">
                <a16:creationId xmlns="" xmlns:a16="http://schemas.microsoft.com/office/drawing/2014/main" id="{FD2406EE-A554-5348-AE6D-4D8B343E6201}"/>
              </a:ext>
            </a:extLst>
          </p:cNvPr>
          <p:cNvSpPr>
            <a:spLocks noGrp="1"/>
          </p:cNvSpPr>
          <p:nvPr>
            <p:ph type="body" sz="quarter" idx="15" hasCustomPrompt="1"/>
          </p:nvPr>
        </p:nvSpPr>
        <p:spPr>
          <a:xfrm>
            <a:off x="233367" y="2681929"/>
            <a:ext cx="2813975" cy="2130578"/>
          </a:xfrm>
          <a:prstGeom prst="rect">
            <a:avLst/>
          </a:prstGeom>
        </p:spPr>
        <p:txBody>
          <a:bodyPr tIns="0" rIns="0" bIns="0" numCol="1">
            <a:noAutofit/>
          </a:bodyPr>
          <a:lstStyle>
            <a:lvl1pPr marL="128489" indent="-128489">
              <a:lnSpc>
                <a:spcPct val="100000"/>
              </a:lnSpc>
              <a:spcBef>
                <a:spcPts val="0"/>
              </a:spcBef>
              <a:spcAft>
                <a:spcPts val="450"/>
              </a:spcAft>
              <a:buFont typeface="Arial" panose="020B0604020202020204" pitchFamily="34" charset="0"/>
              <a:buChar char="•"/>
              <a:defRPr sz="1100" b="0">
                <a:solidFill>
                  <a:schemeClr val="tx1"/>
                </a:solidFill>
              </a:defRPr>
            </a:lvl1pPr>
            <a:lvl2pPr marL="342506" indent="0">
              <a:lnSpc>
                <a:spcPts val="1350"/>
              </a:lnSpc>
              <a:spcBef>
                <a:spcPts val="0"/>
              </a:spcBef>
              <a:buNone/>
              <a:defRPr sz="1100"/>
            </a:lvl2pPr>
            <a:lvl3pPr marL="685051" indent="0">
              <a:lnSpc>
                <a:spcPts val="1350"/>
              </a:lnSpc>
              <a:spcBef>
                <a:spcPts val="0"/>
              </a:spcBef>
              <a:buNone/>
              <a:defRPr sz="1100"/>
            </a:lvl3pPr>
            <a:lvl4pPr marL="1027572" indent="0">
              <a:lnSpc>
                <a:spcPts val="1350"/>
              </a:lnSpc>
              <a:spcBef>
                <a:spcPts val="0"/>
              </a:spcBef>
              <a:buNone/>
              <a:defRPr sz="1100"/>
            </a:lvl4pPr>
            <a:lvl5pPr marL="1370096" indent="0">
              <a:lnSpc>
                <a:spcPts val="1350"/>
              </a:lnSpc>
              <a:spcBef>
                <a:spcPts val="0"/>
              </a:spcBef>
              <a:buNone/>
              <a:defRPr sz="1100"/>
            </a:lvl5pPr>
          </a:lstStyle>
          <a:p>
            <a:pPr lvl="0"/>
            <a:r>
              <a:rPr lang="en-US"/>
              <a:t>This is your Secondary text. </a:t>
            </a:r>
          </a:p>
        </p:txBody>
      </p:sp>
      <p:sp>
        <p:nvSpPr>
          <p:cNvPr id="20" name="Footer Placeholder 8">
            <a:extLst>
              <a:ext uri="{FF2B5EF4-FFF2-40B4-BE49-F238E27FC236}">
                <a16:creationId xmlns="" xmlns:a16="http://schemas.microsoft.com/office/drawing/2014/main" id="{E4ACE247-6DA5-F044-A880-12BDFE14907B}"/>
              </a:ext>
            </a:extLst>
          </p:cNvPr>
          <p:cNvSpPr>
            <a:spLocks noGrp="1"/>
          </p:cNvSpPr>
          <p:nvPr>
            <p:ph type="ftr" sz="quarter" idx="3"/>
          </p:nvPr>
        </p:nvSpPr>
        <p:spPr>
          <a:xfrm>
            <a:off x="5824538" y="4892251"/>
            <a:ext cx="3086100" cy="147098"/>
          </a:xfrm>
          <a:prstGeom prst="rect">
            <a:avLst/>
          </a:prstGeom>
        </p:spPr>
        <p:txBody>
          <a:bodyPr vert="horz" lIns="68531" tIns="34289" rIns="0" bIns="34289" rtlCol="0" anchor="ctr"/>
          <a:lstStyle>
            <a:lvl1pPr algn="r">
              <a:defRPr sz="600" b="1" spc="75" baseline="0">
                <a:solidFill>
                  <a:schemeClr val="tx1"/>
                </a:solidFill>
              </a:defRPr>
            </a:lvl1pPr>
          </a:lstStyle>
          <a:p>
            <a:r>
              <a:rPr lang="x-none">
                <a:solidFill>
                  <a:srgbClr val="34373F"/>
                </a:solidFill>
              </a:rPr>
              <a:t> </a:t>
            </a:r>
          </a:p>
        </p:txBody>
      </p:sp>
      <p:pic>
        <p:nvPicPr>
          <p:cNvPr id="14" name="Picture 13" descr="Takeda">
            <a:extLst>
              <a:ext uri="{FF2B5EF4-FFF2-40B4-BE49-F238E27FC236}">
                <a16:creationId xmlns="" xmlns:a16="http://schemas.microsoft.com/office/drawing/2014/main" id="{1397373C-4723-444D-99E3-0FBCAFDAD4F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09748" y="-1211"/>
            <a:ext cx="1272174" cy="705585"/>
          </a:xfrm>
          <a:prstGeom prst="rect">
            <a:avLst/>
          </a:prstGeom>
        </p:spPr>
      </p:pic>
      <p:sp>
        <p:nvSpPr>
          <p:cNvPr id="22" name="タイトル プレースホルダ 1">
            <a:extLst>
              <a:ext uri="{FF2B5EF4-FFF2-40B4-BE49-F238E27FC236}">
                <a16:creationId xmlns="" xmlns:a16="http://schemas.microsoft.com/office/drawing/2014/main" id="{1545CFCD-ABA6-1349-9917-1DDD2762CB59}"/>
              </a:ext>
            </a:extLst>
          </p:cNvPr>
          <p:cNvSpPr>
            <a:spLocks noGrp="1"/>
          </p:cNvSpPr>
          <p:nvPr>
            <p:ph type="title" hasCustomPrompt="1"/>
          </p:nvPr>
        </p:nvSpPr>
        <p:spPr>
          <a:xfrm>
            <a:off x="454559" y="121208"/>
            <a:ext cx="7455190" cy="51435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1" name="Rectangle 20">
            <a:extLst>
              <a:ext uri="{FF2B5EF4-FFF2-40B4-BE49-F238E27FC236}">
                <a16:creationId xmlns="" xmlns:a16="http://schemas.microsoft.com/office/drawing/2014/main" id="{97730F84-B57E-C441-B81C-A0677388FA64}"/>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31" tIns="34289" rIns="68531" bIns="34289" rtlCol="0" anchor="ctr"/>
          <a:lstStyle/>
          <a:p>
            <a:pPr algn="ctr" defTabSz="685239"/>
            <a:endParaRPr kumimoji="1" lang="x-none" sz="1400">
              <a:solidFill>
                <a:srgbClr val="E1242A"/>
              </a:solidFill>
            </a:endParaRPr>
          </a:p>
        </p:txBody>
      </p:sp>
      <p:sp>
        <p:nvSpPr>
          <p:cNvPr id="25" name="スライド番号プレースホルダ 5">
            <a:extLst>
              <a:ext uri="{FF2B5EF4-FFF2-40B4-BE49-F238E27FC236}">
                <a16:creationId xmlns="" xmlns:a16="http://schemas.microsoft.com/office/drawing/2014/main" id="{78815F79-70B9-A343-88C1-1B41F15106A1}"/>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3365"/>
            <a:fld id="{E9B57936-92EF-4126-AE48-1D9D36D15E98}" type="slidenum">
              <a:rPr lang="ja-JP" altLang="en-US" smtClean="0">
                <a:solidFill>
                  <a:srgbClr val="34373F"/>
                </a:solidFill>
              </a:rPr>
              <a:pPr defTabSz="913365"/>
              <a:t>‹Nº›</a:t>
            </a:fld>
            <a:endParaRPr lang="ja-JP" altLang="en-US">
              <a:solidFill>
                <a:srgbClr val="34373F"/>
              </a:solidFill>
            </a:endParaRPr>
          </a:p>
        </p:txBody>
      </p:sp>
      <p:sp>
        <p:nvSpPr>
          <p:cNvPr id="26" name="Text Placeholder 6">
            <a:extLst>
              <a:ext uri="{FF2B5EF4-FFF2-40B4-BE49-F238E27FC236}">
                <a16:creationId xmlns="" xmlns:a16="http://schemas.microsoft.com/office/drawing/2014/main" id="{6ACFB15D-3880-FB46-8B5A-E057FE4C9B56}"/>
              </a:ext>
            </a:extLst>
          </p:cNvPr>
          <p:cNvSpPr>
            <a:spLocks noGrp="1"/>
          </p:cNvSpPr>
          <p:nvPr>
            <p:ph type="body" sz="quarter" idx="16" hasCustomPrompt="1"/>
          </p:nvPr>
        </p:nvSpPr>
        <p:spPr>
          <a:xfrm>
            <a:off x="454559" y="4892253"/>
            <a:ext cx="5226261" cy="154210"/>
          </a:xfrm>
          <a:prstGeom prst="rect">
            <a:avLst/>
          </a:prstGeom>
        </p:spPr>
        <p:txBody>
          <a:bodyPr wrap="none" tIns="0" rIns="0" bIns="53967" numCol="1" anchor="ctr">
            <a:noAutofit/>
          </a:bodyPr>
          <a:lstStyle>
            <a:lvl1pPr marL="0" indent="0">
              <a:lnSpc>
                <a:spcPts val="1200"/>
              </a:lnSpc>
              <a:spcBef>
                <a:spcPts val="0"/>
              </a:spcBef>
              <a:spcAft>
                <a:spcPts val="450"/>
              </a:spcAft>
              <a:buFont typeface="Arial" panose="020B0604020202020204" pitchFamily="34" charset="0"/>
              <a:buNone/>
              <a:defRPr sz="600" b="0">
                <a:solidFill>
                  <a:schemeClr val="accent3"/>
                </a:solidFill>
              </a:defRPr>
            </a:lvl1pPr>
            <a:lvl2pPr marL="342506" indent="0">
              <a:lnSpc>
                <a:spcPts val="1350"/>
              </a:lnSpc>
              <a:spcBef>
                <a:spcPts val="0"/>
              </a:spcBef>
              <a:buNone/>
              <a:defRPr sz="1100"/>
            </a:lvl2pPr>
            <a:lvl3pPr marL="685051" indent="0">
              <a:lnSpc>
                <a:spcPts val="1350"/>
              </a:lnSpc>
              <a:spcBef>
                <a:spcPts val="0"/>
              </a:spcBef>
              <a:buNone/>
              <a:defRPr sz="1100"/>
            </a:lvl3pPr>
            <a:lvl4pPr marL="1027572" indent="0">
              <a:lnSpc>
                <a:spcPts val="1350"/>
              </a:lnSpc>
              <a:spcBef>
                <a:spcPts val="0"/>
              </a:spcBef>
              <a:buNone/>
              <a:defRPr sz="1100"/>
            </a:lvl4pPr>
            <a:lvl5pPr marL="1370096" indent="0">
              <a:lnSpc>
                <a:spcPts val="1350"/>
              </a:lnSpc>
              <a:spcBef>
                <a:spcPts val="0"/>
              </a:spcBef>
              <a:buNone/>
              <a:defRPr sz="1100"/>
            </a:lvl5pPr>
          </a:lstStyle>
          <a:p>
            <a:pPr lvl="0"/>
            <a:r>
              <a:rPr lang="en-US"/>
              <a:t>Private and confidential. For internal use only.</a:t>
            </a:r>
          </a:p>
        </p:txBody>
      </p:sp>
      <p:sp>
        <p:nvSpPr>
          <p:cNvPr id="17" name="Text Placeholder 2">
            <a:extLst>
              <a:ext uri="{FF2B5EF4-FFF2-40B4-BE49-F238E27FC236}">
                <a16:creationId xmlns="" xmlns:a16="http://schemas.microsoft.com/office/drawing/2014/main" id="{EF3CD883-F623-E54C-A27A-38B7EB957052}"/>
              </a:ext>
            </a:extLst>
          </p:cNvPr>
          <p:cNvSpPr>
            <a:spLocks noGrp="1"/>
          </p:cNvSpPr>
          <p:nvPr>
            <p:ph type="body" sz="quarter" idx="20" hasCustomPrompt="1"/>
          </p:nvPr>
        </p:nvSpPr>
        <p:spPr>
          <a:xfrm>
            <a:off x="233363" y="1118532"/>
            <a:ext cx="2813974" cy="1098718"/>
          </a:xfrm>
        </p:spPr>
        <p:txBody>
          <a:bodyPr tIns="0" rIns="0" bIns="0" numCol="1" spcCol="94434">
            <a:noAutofit/>
          </a:bodyPr>
          <a:lstStyle>
            <a:lvl1pPr marL="0" indent="0">
              <a:lnSpc>
                <a:spcPct val="100000"/>
              </a:lnSpc>
              <a:spcBef>
                <a:spcPts val="0"/>
              </a:spcBef>
              <a:buNone/>
              <a:defRPr sz="1200" b="1"/>
            </a:lvl1pPr>
            <a:lvl2pPr marL="342506" indent="0">
              <a:buNone/>
              <a:defRPr sz="1400" b="1"/>
            </a:lvl2pPr>
            <a:lvl3pPr marL="685051" indent="0">
              <a:buNone/>
              <a:defRPr sz="1400" b="1"/>
            </a:lvl3pPr>
            <a:lvl4pPr marL="1027572" indent="0">
              <a:buNone/>
              <a:defRPr sz="1400" b="1"/>
            </a:lvl4pPr>
            <a:lvl5pPr marL="1370096" indent="0">
              <a:buNone/>
              <a:defRPr sz="1400" b="1"/>
            </a:lvl5pPr>
          </a:lstStyle>
          <a:p>
            <a:pPr lvl="0"/>
            <a:r>
              <a:rPr lang="en-US"/>
              <a:t>This is your Primary Text.</a:t>
            </a:r>
            <a:endParaRPr lang="x-none"/>
          </a:p>
        </p:txBody>
      </p:sp>
      <p:sp>
        <p:nvSpPr>
          <p:cNvPr id="18" name="Text Placeholder 6">
            <a:extLst>
              <a:ext uri="{FF2B5EF4-FFF2-40B4-BE49-F238E27FC236}">
                <a16:creationId xmlns="" xmlns:a16="http://schemas.microsoft.com/office/drawing/2014/main" id="{B2D601E3-CC68-7845-AAF4-3AD141198B4E}"/>
              </a:ext>
            </a:extLst>
          </p:cNvPr>
          <p:cNvSpPr>
            <a:spLocks noGrp="1"/>
          </p:cNvSpPr>
          <p:nvPr>
            <p:ph type="body" sz="quarter" idx="21" hasCustomPrompt="1"/>
          </p:nvPr>
        </p:nvSpPr>
        <p:spPr>
          <a:xfrm>
            <a:off x="233363" y="820327"/>
            <a:ext cx="2813974" cy="204590"/>
          </a:xfrm>
        </p:spPr>
        <p:txBody>
          <a:bodyPr tIns="0" rIns="0" bIns="0" numCol="1">
            <a:noAutofit/>
          </a:bodyPr>
          <a:lstStyle>
            <a:lvl1pPr marL="0" indent="0">
              <a:lnSpc>
                <a:spcPct val="100000"/>
              </a:lnSpc>
              <a:spcBef>
                <a:spcPts val="0"/>
              </a:spcBef>
              <a:spcAft>
                <a:spcPts val="450"/>
              </a:spcAft>
              <a:buNone/>
              <a:defRPr sz="1500" b="1">
                <a:solidFill>
                  <a:schemeClr val="accent1"/>
                </a:solidFill>
              </a:defRPr>
            </a:lvl1pPr>
            <a:lvl2pPr marL="342506" indent="0">
              <a:lnSpc>
                <a:spcPts val="1350"/>
              </a:lnSpc>
              <a:spcBef>
                <a:spcPts val="0"/>
              </a:spcBef>
              <a:buNone/>
              <a:defRPr sz="1100"/>
            </a:lvl2pPr>
            <a:lvl3pPr marL="685051" indent="0">
              <a:lnSpc>
                <a:spcPts val="1350"/>
              </a:lnSpc>
              <a:spcBef>
                <a:spcPts val="0"/>
              </a:spcBef>
              <a:buNone/>
              <a:defRPr sz="1100"/>
            </a:lvl3pPr>
            <a:lvl4pPr marL="1027572" indent="0">
              <a:lnSpc>
                <a:spcPts val="1350"/>
              </a:lnSpc>
              <a:spcBef>
                <a:spcPts val="0"/>
              </a:spcBef>
              <a:buNone/>
              <a:defRPr sz="1100"/>
            </a:lvl4pPr>
            <a:lvl5pPr marL="1370096" indent="0">
              <a:lnSpc>
                <a:spcPts val="1350"/>
              </a:lnSpc>
              <a:spcBef>
                <a:spcPts val="0"/>
              </a:spcBef>
              <a:buNone/>
              <a:defRPr sz="1100"/>
            </a:lvl5pPr>
          </a:lstStyle>
          <a:p>
            <a:pPr lvl="0"/>
            <a:r>
              <a:rPr lang="en-US"/>
              <a:t>This is your Primary Title</a:t>
            </a:r>
          </a:p>
        </p:txBody>
      </p:sp>
    </p:spTree>
    <p:extLst>
      <p:ext uri="{BB962C8B-B14F-4D97-AF65-F5344CB8AC3E}">
        <p14:creationId xmlns:p14="http://schemas.microsoft.com/office/powerpoint/2010/main" val="1959608018"/>
      </p:ext>
    </p:extLst>
  </p:cSld>
  <p:clrMapOvr>
    <a:masterClrMapping/>
  </p:clrMapOvr>
  <p:transition spd="slow">
    <p:push dir="u"/>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Advanced 1/2 Image (Full Bleed)">
    <p:spTree>
      <p:nvGrpSpPr>
        <p:cNvPr id="1" name=""/>
        <p:cNvGrpSpPr/>
        <p:nvPr/>
      </p:nvGrpSpPr>
      <p:grpSpPr>
        <a:xfrm>
          <a:off x="0" y="0"/>
          <a:ext cx="0" cy="0"/>
          <a:chOff x="0" y="0"/>
          <a:chExt cx="0" cy="0"/>
        </a:xfrm>
      </p:grpSpPr>
      <p:sp>
        <p:nvSpPr>
          <p:cNvPr id="13" name="Picture Placeholder 9">
            <a:extLst>
              <a:ext uri="{FF2B5EF4-FFF2-40B4-BE49-F238E27FC236}">
                <a16:creationId xmlns="" xmlns:a16="http://schemas.microsoft.com/office/drawing/2014/main" id="{DA0F537B-2380-C640-8119-936AD7786464}"/>
              </a:ext>
            </a:extLst>
          </p:cNvPr>
          <p:cNvSpPr>
            <a:spLocks noGrp="1"/>
          </p:cNvSpPr>
          <p:nvPr>
            <p:ph type="pic" sz="quarter" idx="18" hasCustomPrompt="1"/>
          </p:nvPr>
        </p:nvSpPr>
        <p:spPr>
          <a:xfrm>
            <a:off x="4639091" y="-4119"/>
            <a:ext cx="4518288" cy="5147621"/>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4384"/>
              <a:gd name="connsiteY0" fmla="*/ 0 h 6857810"/>
              <a:gd name="connsiteX1" fmla="*/ 6015601 w 6024384"/>
              <a:gd name="connsiteY1" fmla="*/ 1730351 h 6857810"/>
              <a:gd name="connsiteX2" fmla="*/ 6024384 w 6024384"/>
              <a:gd name="connsiteY2" fmla="*/ 6857810 h 6857810"/>
              <a:gd name="connsiteX3" fmla="*/ 583404 w 6024384"/>
              <a:gd name="connsiteY3" fmla="*/ 6847589 h 6857810"/>
              <a:gd name="connsiteX4" fmla="*/ 3682 w 6024384"/>
              <a:gd name="connsiteY4" fmla="*/ 6267867 h 6857810"/>
              <a:gd name="connsiteX5" fmla="*/ 0 w 6024384"/>
              <a:gd name="connsiteY5" fmla="*/ 0 h 6857810"/>
              <a:gd name="connsiteX0" fmla="*/ 0 w 6024384"/>
              <a:gd name="connsiteY0" fmla="*/ 5684 h 6863494"/>
              <a:gd name="connsiteX1" fmla="*/ 6002349 w 6024384"/>
              <a:gd name="connsiteY1" fmla="*/ 0 h 6863494"/>
              <a:gd name="connsiteX2" fmla="*/ 6024384 w 6024384"/>
              <a:gd name="connsiteY2" fmla="*/ 6863494 h 6863494"/>
              <a:gd name="connsiteX3" fmla="*/ 583404 w 6024384"/>
              <a:gd name="connsiteY3" fmla="*/ 6853273 h 6863494"/>
              <a:gd name="connsiteX4" fmla="*/ 3682 w 6024384"/>
              <a:gd name="connsiteY4" fmla="*/ 6273551 h 6863494"/>
              <a:gd name="connsiteX5" fmla="*/ 0 w 6024384"/>
              <a:gd name="connsiteY5" fmla="*/ 5684 h 6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24384" h="6863494">
                <a:moveTo>
                  <a:pt x="0" y="5684"/>
                </a:moveTo>
                <a:lnTo>
                  <a:pt x="6002349" y="0"/>
                </a:lnTo>
                <a:cubicBezTo>
                  <a:pt x="6003254" y="2146807"/>
                  <a:pt x="6023479" y="4716687"/>
                  <a:pt x="6024384" y="6863494"/>
                </a:cubicBezTo>
                <a:lnTo>
                  <a:pt x="583404" y="6853273"/>
                </a:lnTo>
                <a:cubicBezTo>
                  <a:pt x="263232" y="6853273"/>
                  <a:pt x="3682" y="6593723"/>
                  <a:pt x="3682" y="6273551"/>
                </a:cubicBezTo>
                <a:cubicBezTo>
                  <a:pt x="-1963" y="4751114"/>
                  <a:pt x="5645" y="1528121"/>
                  <a:pt x="0" y="5684"/>
                </a:cubicBezTo>
                <a:close/>
              </a:path>
            </a:pathLst>
          </a:custGeom>
          <a:noFill/>
        </p:spPr>
        <p:txBody>
          <a:bodyPr>
            <a:normAutofit/>
          </a:bodyPr>
          <a:lstStyle>
            <a:lvl1pPr marL="0" indent="0">
              <a:buNone/>
              <a:defRPr sz="1100">
                <a:solidFill>
                  <a:schemeClr val="tx1"/>
                </a:solidFill>
              </a:defRPr>
            </a:lvl1pPr>
          </a:lstStyle>
          <a:p>
            <a:r>
              <a:rPr lang="x-none"/>
              <a:t>Insert Photo</a:t>
            </a:r>
          </a:p>
        </p:txBody>
      </p:sp>
      <p:sp>
        <p:nvSpPr>
          <p:cNvPr id="7" name="Text Placeholder 6">
            <a:extLst>
              <a:ext uri="{FF2B5EF4-FFF2-40B4-BE49-F238E27FC236}">
                <a16:creationId xmlns="" xmlns:a16="http://schemas.microsoft.com/office/drawing/2014/main" id="{65925D82-457F-D84D-B8DF-D8ADFD7E71DF}"/>
              </a:ext>
            </a:extLst>
          </p:cNvPr>
          <p:cNvSpPr>
            <a:spLocks noGrp="1"/>
          </p:cNvSpPr>
          <p:nvPr>
            <p:ph type="body" sz="quarter" idx="14" hasCustomPrompt="1"/>
          </p:nvPr>
        </p:nvSpPr>
        <p:spPr>
          <a:xfrm>
            <a:off x="233362" y="2383723"/>
            <a:ext cx="4281488" cy="204590"/>
          </a:xfrm>
          <a:prstGeom prst="rect">
            <a:avLst/>
          </a:prstGeom>
        </p:spPr>
        <p:txBody>
          <a:bodyPr tIns="0" rIns="0" bIns="0" numCol="1">
            <a:noAutofit/>
          </a:bodyPr>
          <a:lstStyle>
            <a:lvl1pPr marL="0" indent="0">
              <a:lnSpc>
                <a:spcPct val="100000"/>
              </a:lnSpc>
              <a:spcBef>
                <a:spcPts val="0"/>
              </a:spcBef>
              <a:spcAft>
                <a:spcPts val="450"/>
              </a:spcAft>
              <a:buNone/>
              <a:defRPr sz="1400" b="1">
                <a:solidFill>
                  <a:schemeClr val="accent1"/>
                </a:solidFill>
              </a:defRPr>
            </a:lvl1pPr>
            <a:lvl2pPr marL="342506" indent="0">
              <a:lnSpc>
                <a:spcPts val="1350"/>
              </a:lnSpc>
              <a:spcBef>
                <a:spcPts val="0"/>
              </a:spcBef>
              <a:buNone/>
              <a:defRPr sz="1100"/>
            </a:lvl2pPr>
            <a:lvl3pPr marL="685051" indent="0">
              <a:lnSpc>
                <a:spcPts val="1350"/>
              </a:lnSpc>
              <a:spcBef>
                <a:spcPts val="0"/>
              </a:spcBef>
              <a:buNone/>
              <a:defRPr sz="1100"/>
            </a:lvl3pPr>
            <a:lvl4pPr marL="1027572" indent="0">
              <a:lnSpc>
                <a:spcPts val="1350"/>
              </a:lnSpc>
              <a:spcBef>
                <a:spcPts val="0"/>
              </a:spcBef>
              <a:buNone/>
              <a:defRPr sz="1100"/>
            </a:lvl4pPr>
            <a:lvl5pPr marL="1370096" indent="0">
              <a:lnSpc>
                <a:spcPts val="1350"/>
              </a:lnSpc>
              <a:spcBef>
                <a:spcPts val="0"/>
              </a:spcBef>
              <a:buNone/>
              <a:defRPr sz="1100"/>
            </a:lvl5pPr>
          </a:lstStyle>
          <a:p>
            <a:pPr lvl="0"/>
            <a:r>
              <a:rPr lang="en-US"/>
              <a:t>This is your Secondary Title</a:t>
            </a:r>
          </a:p>
        </p:txBody>
      </p:sp>
      <p:sp>
        <p:nvSpPr>
          <p:cNvPr id="12" name="Text Placeholder 6">
            <a:extLst>
              <a:ext uri="{FF2B5EF4-FFF2-40B4-BE49-F238E27FC236}">
                <a16:creationId xmlns="" xmlns:a16="http://schemas.microsoft.com/office/drawing/2014/main" id="{FD2406EE-A554-5348-AE6D-4D8B343E6201}"/>
              </a:ext>
            </a:extLst>
          </p:cNvPr>
          <p:cNvSpPr>
            <a:spLocks noGrp="1"/>
          </p:cNvSpPr>
          <p:nvPr>
            <p:ph type="body" sz="quarter" idx="15" hasCustomPrompt="1"/>
          </p:nvPr>
        </p:nvSpPr>
        <p:spPr>
          <a:xfrm>
            <a:off x="233362" y="2681930"/>
            <a:ext cx="4281488" cy="2144715"/>
          </a:xfrm>
          <a:prstGeom prst="rect">
            <a:avLst/>
          </a:prstGeom>
        </p:spPr>
        <p:txBody>
          <a:bodyPr tIns="0" rIns="0" bIns="0" numCol="1">
            <a:noAutofit/>
          </a:bodyPr>
          <a:lstStyle>
            <a:lvl1pPr marL="128489" indent="-128489">
              <a:lnSpc>
                <a:spcPct val="100000"/>
              </a:lnSpc>
              <a:spcBef>
                <a:spcPts val="0"/>
              </a:spcBef>
              <a:spcAft>
                <a:spcPts val="450"/>
              </a:spcAft>
              <a:buFont typeface="Arial" panose="020B0604020202020204" pitchFamily="34" charset="0"/>
              <a:buChar char="•"/>
              <a:defRPr sz="1100" b="0">
                <a:solidFill>
                  <a:schemeClr val="tx1"/>
                </a:solidFill>
              </a:defRPr>
            </a:lvl1pPr>
            <a:lvl2pPr marL="342506" indent="0">
              <a:lnSpc>
                <a:spcPts val="1350"/>
              </a:lnSpc>
              <a:spcBef>
                <a:spcPts val="0"/>
              </a:spcBef>
              <a:buNone/>
              <a:defRPr sz="1100"/>
            </a:lvl2pPr>
            <a:lvl3pPr marL="685051" indent="0">
              <a:lnSpc>
                <a:spcPts val="1350"/>
              </a:lnSpc>
              <a:spcBef>
                <a:spcPts val="0"/>
              </a:spcBef>
              <a:buNone/>
              <a:defRPr sz="1100"/>
            </a:lvl3pPr>
            <a:lvl4pPr marL="1027572" indent="0">
              <a:lnSpc>
                <a:spcPts val="1350"/>
              </a:lnSpc>
              <a:spcBef>
                <a:spcPts val="0"/>
              </a:spcBef>
              <a:buNone/>
              <a:defRPr sz="1100"/>
            </a:lvl4pPr>
            <a:lvl5pPr marL="1370096" indent="0">
              <a:lnSpc>
                <a:spcPts val="1350"/>
              </a:lnSpc>
              <a:spcBef>
                <a:spcPts val="0"/>
              </a:spcBef>
              <a:buNone/>
              <a:defRPr sz="1100"/>
            </a:lvl5pPr>
          </a:lstStyle>
          <a:p>
            <a:pPr lvl="0"/>
            <a:r>
              <a:rPr lang="en-US"/>
              <a:t>This is your Secondary text. </a:t>
            </a:r>
          </a:p>
        </p:txBody>
      </p:sp>
      <p:sp>
        <p:nvSpPr>
          <p:cNvPr id="17" name="タイトル プレースホルダ 1">
            <a:extLst>
              <a:ext uri="{FF2B5EF4-FFF2-40B4-BE49-F238E27FC236}">
                <a16:creationId xmlns="" xmlns:a16="http://schemas.microsoft.com/office/drawing/2014/main" id="{86D6FEA8-06E4-474A-8491-CD1DDAE7D0D7}"/>
              </a:ext>
            </a:extLst>
          </p:cNvPr>
          <p:cNvSpPr>
            <a:spLocks noGrp="1"/>
          </p:cNvSpPr>
          <p:nvPr>
            <p:ph type="title" hasCustomPrompt="1"/>
          </p:nvPr>
        </p:nvSpPr>
        <p:spPr>
          <a:xfrm>
            <a:off x="454559" y="121208"/>
            <a:ext cx="4060292" cy="51435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 xmlns:a16="http://schemas.microsoft.com/office/drawing/2014/main" id="{CEDBCF76-3461-2245-8BB1-FA50AE27F6CA}"/>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31" tIns="34289" rIns="68531" bIns="34289" rtlCol="0" anchor="ctr"/>
          <a:lstStyle/>
          <a:p>
            <a:pPr algn="ctr" defTabSz="685239"/>
            <a:endParaRPr kumimoji="1" lang="x-none" sz="1400">
              <a:solidFill>
                <a:srgbClr val="E1242A"/>
              </a:solidFill>
            </a:endParaRPr>
          </a:p>
        </p:txBody>
      </p:sp>
      <p:sp>
        <p:nvSpPr>
          <p:cNvPr id="22" name="スライド番号プレースホルダ 5">
            <a:extLst>
              <a:ext uri="{FF2B5EF4-FFF2-40B4-BE49-F238E27FC236}">
                <a16:creationId xmlns="" xmlns:a16="http://schemas.microsoft.com/office/drawing/2014/main" id="{FB98B4FE-9AC1-D142-89B5-4D3791685BC1}"/>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3365"/>
            <a:fld id="{E9B57936-92EF-4126-AE48-1D9D36D15E98}" type="slidenum">
              <a:rPr lang="ja-JP" altLang="en-US" smtClean="0">
                <a:solidFill>
                  <a:srgbClr val="34373F"/>
                </a:solidFill>
              </a:rPr>
              <a:pPr defTabSz="913365"/>
              <a:t>‹Nº›</a:t>
            </a:fld>
            <a:endParaRPr lang="ja-JP" altLang="en-US">
              <a:solidFill>
                <a:srgbClr val="34373F"/>
              </a:solidFill>
            </a:endParaRPr>
          </a:p>
        </p:txBody>
      </p:sp>
      <p:sp>
        <p:nvSpPr>
          <p:cNvPr id="23" name="Text Placeholder 6">
            <a:extLst>
              <a:ext uri="{FF2B5EF4-FFF2-40B4-BE49-F238E27FC236}">
                <a16:creationId xmlns="" xmlns:a16="http://schemas.microsoft.com/office/drawing/2014/main" id="{7D5A74AA-F0D3-9243-967D-FEA6F7A20BC7}"/>
              </a:ext>
            </a:extLst>
          </p:cNvPr>
          <p:cNvSpPr>
            <a:spLocks noGrp="1"/>
          </p:cNvSpPr>
          <p:nvPr>
            <p:ph type="body" sz="quarter" idx="16" hasCustomPrompt="1"/>
          </p:nvPr>
        </p:nvSpPr>
        <p:spPr>
          <a:xfrm>
            <a:off x="454558" y="4892253"/>
            <a:ext cx="4060292" cy="154210"/>
          </a:xfrm>
          <a:prstGeom prst="rect">
            <a:avLst/>
          </a:prstGeom>
        </p:spPr>
        <p:txBody>
          <a:bodyPr wrap="none" tIns="0" rIns="0" bIns="53967" numCol="1" anchor="ctr">
            <a:noAutofit/>
          </a:bodyPr>
          <a:lstStyle>
            <a:lvl1pPr marL="0" indent="0">
              <a:lnSpc>
                <a:spcPts val="1200"/>
              </a:lnSpc>
              <a:spcBef>
                <a:spcPts val="0"/>
              </a:spcBef>
              <a:spcAft>
                <a:spcPts val="450"/>
              </a:spcAft>
              <a:buFont typeface="Arial" panose="020B0604020202020204" pitchFamily="34" charset="0"/>
              <a:buNone/>
              <a:defRPr sz="600" b="0">
                <a:solidFill>
                  <a:schemeClr val="accent3"/>
                </a:solidFill>
              </a:defRPr>
            </a:lvl1pPr>
            <a:lvl2pPr marL="342506" indent="0">
              <a:lnSpc>
                <a:spcPts val="1350"/>
              </a:lnSpc>
              <a:spcBef>
                <a:spcPts val="0"/>
              </a:spcBef>
              <a:buNone/>
              <a:defRPr sz="1100"/>
            </a:lvl2pPr>
            <a:lvl3pPr marL="685051" indent="0">
              <a:lnSpc>
                <a:spcPts val="1350"/>
              </a:lnSpc>
              <a:spcBef>
                <a:spcPts val="0"/>
              </a:spcBef>
              <a:buNone/>
              <a:defRPr sz="1100"/>
            </a:lvl3pPr>
            <a:lvl4pPr marL="1027572" indent="0">
              <a:lnSpc>
                <a:spcPts val="1350"/>
              </a:lnSpc>
              <a:spcBef>
                <a:spcPts val="0"/>
              </a:spcBef>
              <a:buNone/>
              <a:defRPr sz="1100"/>
            </a:lvl4pPr>
            <a:lvl5pPr marL="1370096" indent="0">
              <a:lnSpc>
                <a:spcPts val="1350"/>
              </a:lnSpc>
              <a:spcBef>
                <a:spcPts val="0"/>
              </a:spcBef>
              <a:buNone/>
              <a:defRPr sz="1100"/>
            </a:lvl5pPr>
          </a:lstStyle>
          <a:p>
            <a:pPr lvl="0"/>
            <a:r>
              <a:rPr lang="en-US"/>
              <a:t>Private and confidential. For internal use only.</a:t>
            </a:r>
          </a:p>
        </p:txBody>
      </p:sp>
      <p:sp>
        <p:nvSpPr>
          <p:cNvPr id="19" name="Text Placeholder 2">
            <a:extLst>
              <a:ext uri="{FF2B5EF4-FFF2-40B4-BE49-F238E27FC236}">
                <a16:creationId xmlns="" xmlns:a16="http://schemas.microsoft.com/office/drawing/2014/main" id="{D16C870C-B0F9-5A43-81FD-66BD75CC33C7}"/>
              </a:ext>
            </a:extLst>
          </p:cNvPr>
          <p:cNvSpPr>
            <a:spLocks noGrp="1"/>
          </p:cNvSpPr>
          <p:nvPr>
            <p:ph type="body" sz="quarter" idx="20" hasCustomPrompt="1"/>
          </p:nvPr>
        </p:nvSpPr>
        <p:spPr>
          <a:xfrm>
            <a:off x="233367" y="1118532"/>
            <a:ext cx="4278665" cy="1098718"/>
          </a:xfrm>
        </p:spPr>
        <p:txBody>
          <a:bodyPr tIns="0" rIns="0" bIns="0" numCol="1" spcCol="94434">
            <a:noAutofit/>
          </a:bodyPr>
          <a:lstStyle>
            <a:lvl1pPr marL="0" indent="0">
              <a:lnSpc>
                <a:spcPct val="100000"/>
              </a:lnSpc>
              <a:spcBef>
                <a:spcPts val="0"/>
              </a:spcBef>
              <a:buNone/>
              <a:defRPr sz="1200" b="1"/>
            </a:lvl1pPr>
            <a:lvl2pPr marL="342506" indent="0">
              <a:buNone/>
              <a:defRPr sz="1400" b="1"/>
            </a:lvl2pPr>
            <a:lvl3pPr marL="685051" indent="0">
              <a:buNone/>
              <a:defRPr sz="1400" b="1"/>
            </a:lvl3pPr>
            <a:lvl4pPr marL="1027572" indent="0">
              <a:buNone/>
              <a:defRPr sz="1400" b="1"/>
            </a:lvl4pPr>
            <a:lvl5pPr marL="1370096" indent="0">
              <a:buNone/>
              <a:defRPr sz="1400" b="1"/>
            </a:lvl5pPr>
          </a:lstStyle>
          <a:p>
            <a:pPr lvl="0"/>
            <a:r>
              <a:rPr lang="en-US"/>
              <a:t>This is your Primary Text.</a:t>
            </a:r>
            <a:endParaRPr lang="x-none"/>
          </a:p>
        </p:txBody>
      </p:sp>
      <p:sp>
        <p:nvSpPr>
          <p:cNvPr id="20" name="Text Placeholder 6">
            <a:extLst>
              <a:ext uri="{FF2B5EF4-FFF2-40B4-BE49-F238E27FC236}">
                <a16:creationId xmlns="" xmlns:a16="http://schemas.microsoft.com/office/drawing/2014/main" id="{C64E591A-1A88-9244-AC81-5B42BFE347C0}"/>
              </a:ext>
            </a:extLst>
          </p:cNvPr>
          <p:cNvSpPr>
            <a:spLocks noGrp="1"/>
          </p:cNvSpPr>
          <p:nvPr>
            <p:ph type="body" sz="quarter" idx="21" hasCustomPrompt="1"/>
          </p:nvPr>
        </p:nvSpPr>
        <p:spPr>
          <a:xfrm>
            <a:off x="233367" y="820327"/>
            <a:ext cx="4278665" cy="204590"/>
          </a:xfrm>
        </p:spPr>
        <p:txBody>
          <a:bodyPr tIns="0" rIns="0" bIns="0" numCol="1">
            <a:noAutofit/>
          </a:bodyPr>
          <a:lstStyle>
            <a:lvl1pPr marL="0" indent="0">
              <a:lnSpc>
                <a:spcPct val="100000"/>
              </a:lnSpc>
              <a:spcBef>
                <a:spcPts val="0"/>
              </a:spcBef>
              <a:spcAft>
                <a:spcPts val="450"/>
              </a:spcAft>
              <a:buNone/>
              <a:defRPr sz="1500" b="1">
                <a:solidFill>
                  <a:schemeClr val="accent1"/>
                </a:solidFill>
              </a:defRPr>
            </a:lvl1pPr>
            <a:lvl2pPr marL="342506" indent="0">
              <a:lnSpc>
                <a:spcPts val="1350"/>
              </a:lnSpc>
              <a:spcBef>
                <a:spcPts val="0"/>
              </a:spcBef>
              <a:buNone/>
              <a:defRPr sz="1100"/>
            </a:lvl2pPr>
            <a:lvl3pPr marL="685051" indent="0">
              <a:lnSpc>
                <a:spcPts val="1350"/>
              </a:lnSpc>
              <a:spcBef>
                <a:spcPts val="0"/>
              </a:spcBef>
              <a:buNone/>
              <a:defRPr sz="1100"/>
            </a:lvl3pPr>
            <a:lvl4pPr marL="1027572" indent="0">
              <a:lnSpc>
                <a:spcPts val="1350"/>
              </a:lnSpc>
              <a:spcBef>
                <a:spcPts val="0"/>
              </a:spcBef>
              <a:buNone/>
              <a:defRPr sz="1100"/>
            </a:lvl4pPr>
            <a:lvl5pPr marL="1370096" indent="0">
              <a:lnSpc>
                <a:spcPts val="1350"/>
              </a:lnSpc>
              <a:spcBef>
                <a:spcPts val="0"/>
              </a:spcBef>
              <a:buNone/>
              <a:defRPr sz="1100"/>
            </a:lvl5pPr>
          </a:lstStyle>
          <a:p>
            <a:pPr lvl="0"/>
            <a:r>
              <a:rPr lang="en-US"/>
              <a:t>This is your Primary Title</a:t>
            </a:r>
          </a:p>
        </p:txBody>
      </p:sp>
    </p:spTree>
    <p:extLst>
      <p:ext uri="{BB962C8B-B14F-4D97-AF65-F5344CB8AC3E}">
        <p14:creationId xmlns:p14="http://schemas.microsoft.com/office/powerpoint/2010/main" val="116086134"/>
      </p:ext>
    </p:extLst>
  </p:cSld>
  <p:clrMapOvr>
    <a:masterClrMapping/>
  </p:clrMapOvr>
  <p:transition spd="slow">
    <p:push dir="u"/>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Advanced 1/3 Image">
    <p:spTree>
      <p:nvGrpSpPr>
        <p:cNvPr id="1" name=""/>
        <p:cNvGrpSpPr/>
        <p:nvPr/>
      </p:nvGrpSpPr>
      <p:grpSpPr>
        <a:xfrm>
          <a:off x="0" y="0"/>
          <a:ext cx="0" cy="0"/>
          <a:chOff x="0" y="0"/>
          <a:chExt cx="0" cy="0"/>
        </a:xfrm>
      </p:grpSpPr>
      <p:sp>
        <p:nvSpPr>
          <p:cNvPr id="7" name="Text Placeholder 6">
            <a:extLst>
              <a:ext uri="{FF2B5EF4-FFF2-40B4-BE49-F238E27FC236}">
                <a16:creationId xmlns="" xmlns:a16="http://schemas.microsoft.com/office/drawing/2014/main" id="{65925D82-457F-D84D-B8DF-D8ADFD7E71DF}"/>
              </a:ext>
            </a:extLst>
          </p:cNvPr>
          <p:cNvSpPr>
            <a:spLocks noGrp="1"/>
          </p:cNvSpPr>
          <p:nvPr>
            <p:ph type="body" sz="quarter" idx="14" hasCustomPrompt="1"/>
          </p:nvPr>
        </p:nvSpPr>
        <p:spPr>
          <a:xfrm>
            <a:off x="233362" y="2383723"/>
            <a:ext cx="5745032" cy="204590"/>
          </a:xfrm>
          <a:prstGeom prst="rect">
            <a:avLst/>
          </a:prstGeom>
        </p:spPr>
        <p:txBody>
          <a:bodyPr tIns="0" rIns="0" bIns="0" numCol="1">
            <a:noAutofit/>
          </a:bodyPr>
          <a:lstStyle>
            <a:lvl1pPr marL="0" indent="0">
              <a:lnSpc>
                <a:spcPct val="100000"/>
              </a:lnSpc>
              <a:spcBef>
                <a:spcPts val="0"/>
              </a:spcBef>
              <a:spcAft>
                <a:spcPts val="450"/>
              </a:spcAft>
              <a:buNone/>
              <a:defRPr sz="1400" b="1">
                <a:solidFill>
                  <a:schemeClr val="accent1"/>
                </a:solidFill>
              </a:defRPr>
            </a:lvl1pPr>
            <a:lvl2pPr marL="342506" indent="0">
              <a:lnSpc>
                <a:spcPts val="1350"/>
              </a:lnSpc>
              <a:spcBef>
                <a:spcPts val="0"/>
              </a:spcBef>
              <a:buNone/>
              <a:defRPr sz="1100"/>
            </a:lvl2pPr>
            <a:lvl3pPr marL="685051" indent="0">
              <a:lnSpc>
                <a:spcPts val="1350"/>
              </a:lnSpc>
              <a:spcBef>
                <a:spcPts val="0"/>
              </a:spcBef>
              <a:buNone/>
              <a:defRPr sz="1100"/>
            </a:lvl3pPr>
            <a:lvl4pPr marL="1027572" indent="0">
              <a:lnSpc>
                <a:spcPts val="1350"/>
              </a:lnSpc>
              <a:spcBef>
                <a:spcPts val="0"/>
              </a:spcBef>
              <a:buNone/>
              <a:defRPr sz="1100"/>
            </a:lvl4pPr>
            <a:lvl5pPr marL="1370096" indent="0">
              <a:lnSpc>
                <a:spcPts val="1350"/>
              </a:lnSpc>
              <a:spcBef>
                <a:spcPts val="0"/>
              </a:spcBef>
              <a:buNone/>
              <a:defRPr sz="1100"/>
            </a:lvl5pPr>
          </a:lstStyle>
          <a:p>
            <a:pPr lvl="0"/>
            <a:r>
              <a:rPr lang="en-US"/>
              <a:t>This is your Secondary Title</a:t>
            </a:r>
          </a:p>
        </p:txBody>
      </p:sp>
      <p:sp>
        <p:nvSpPr>
          <p:cNvPr id="12" name="Text Placeholder 6">
            <a:extLst>
              <a:ext uri="{FF2B5EF4-FFF2-40B4-BE49-F238E27FC236}">
                <a16:creationId xmlns="" xmlns:a16="http://schemas.microsoft.com/office/drawing/2014/main" id="{FD2406EE-A554-5348-AE6D-4D8B343E6201}"/>
              </a:ext>
            </a:extLst>
          </p:cNvPr>
          <p:cNvSpPr>
            <a:spLocks noGrp="1"/>
          </p:cNvSpPr>
          <p:nvPr>
            <p:ph type="body" sz="quarter" idx="15" hasCustomPrompt="1"/>
          </p:nvPr>
        </p:nvSpPr>
        <p:spPr>
          <a:xfrm>
            <a:off x="233364" y="2681928"/>
            <a:ext cx="5747855" cy="2144716"/>
          </a:xfrm>
          <a:prstGeom prst="rect">
            <a:avLst/>
          </a:prstGeom>
        </p:spPr>
        <p:txBody>
          <a:bodyPr tIns="0" rIns="0" bIns="0" numCol="2" spcCol="94434">
            <a:noAutofit/>
          </a:bodyPr>
          <a:lstStyle>
            <a:lvl1pPr marL="128489" indent="-128489">
              <a:lnSpc>
                <a:spcPct val="100000"/>
              </a:lnSpc>
              <a:spcBef>
                <a:spcPts val="0"/>
              </a:spcBef>
              <a:spcAft>
                <a:spcPts val="450"/>
              </a:spcAft>
              <a:buFont typeface="Arial" panose="020B0604020202020204" pitchFamily="34" charset="0"/>
              <a:buChar char="•"/>
              <a:defRPr sz="1100" b="0">
                <a:solidFill>
                  <a:schemeClr val="tx1"/>
                </a:solidFill>
              </a:defRPr>
            </a:lvl1pPr>
            <a:lvl2pPr marL="342506" indent="0">
              <a:lnSpc>
                <a:spcPts val="1350"/>
              </a:lnSpc>
              <a:spcBef>
                <a:spcPts val="0"/>
              </a:spcBef>
              <a:buNone/>
              <a:defRPr sz="1100"/>
            </a:lvl2pPr>
            <a:lvl3pPr marL="685051" indent="0">
              <a:lnSpc>
                <a:spcPts val="1350"/>
              </a:lnSpc>
              <a:spcBef>
                <a:spcPts val="0"/>
              </a:spcBef>
              <a:buNone/>
              <a:defRPr sz="1100"/>
            </a:lvl3pPr>
            <a:lvl4pPr marL="1027572" indent="0">
              <a:lnSpc>
                <a:spcPts val="1350"/>
              </a:lnSpc>
              <a:spcBef>
                <a:spcPts val="0"/>
              </a:spcBef>
              <a:buNone/>
              <a:defRPr sz="1100"/>
            </a:lvl4pPr>
            <a:lvl5pPr marL="1370096" indent="0">
              <a:lnSpc>
                <a:spcPts val="1350"/>
              </a:lnSpc>
              <a:spcBef>
                <a:spcPts val="0"/>
              </a:spcBef>
              <a:buNone/>
              <a:defRPr sz="1100"/>
            </a:lvl5pPr>
          </a:lstStyle>
          <a:p>
            <a:pPr lvl="0"/>
            <a:r>
              <a:rPr lang="en-US"/>
              <a:t>This is your Secondary text.</a:t>
            </a:r>
          </a:p>
        </p:txBody>
      </p:sp>
      <p:sp>
        <p:nvSpPr>
          <p:cNvPr id="11" name="Picture Placeholder 9">
            <a:extLst>
              <a:ext uri="{FF2B5EF4-FFF2-40B4-BE49-F238E27FC236}">
                <a16:creationId xmlns="" xmlns:a16="http://schemas.microsoft.com/office/drawing/2014/main" id="{B54C5EE8-C42D-B549-B4D4-C0F00D68A42B}"/>
              </a:ext>
            </a:extLst>
          </p:cNvPr>
          <p:cNvSpPr>
            <a:spLocks noGrp="1"/>
          </p:cNvSpPr>
          <p:nvPr>
            <p:ph type="pic" sz="quarter" idx="18" hasCustomPrompt="1"/>
          </p:nvPr>
        </p:nvSpPr>
        <p:spPr>
          <a:xfrm>
            <a:off x="6102722" y="820325"/>
            <a:ext cx="3052125" cy="3998652"/>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9500" h="5131753">
                <a:moveTo>
                  <a:pt x="0" y="6946"/>
                </a:moveTo>
                <a:lnTo>
                  <a:pt x="4069425" y="0"/>
                </a:lnTo>
                <a:cubicBezTo>
                  <a:pt x="4070330" y="2146807"/>
                  <a:pt x="4062788" y="2966138"/>
                  <a:pt x="4063693" y="5112945"/>
                </a:cubicBezTo>
                <a:lnTo>
                  <a:pt x="596656" y="5131753"/>
                </a:lnTo>
                <a:cubicBezTo>
                  <a:pt x="276484" y="5131753"/>
                  <a:pt x="16934" y="4872203"/>
                  <a:pt x="16934" y="4552031"/>
                </a:cubicBezTo>
                <a:cubicBezTo>
                  <a:pt x="11289" y="3029594"/>
                  <a:pt x="5645" y="1529383"/>
                  <a:pt x="0" y="6946"/>
                </a:cubicBezTo>
                <a:close/>
              </a:path>
            </a:pathLst>
          </a:custGeom>
          <a:noFill/>
        </p:spPr>
        <p:txBody>
          <a:bodyPr>
            <a:normAutofit/>
          </a:bodyPr>
          <a:lstStyle>
            <a:lvl1pPr marL="0" indent="0">
              <a:buNone/>
              <a:defRPr sz="1100">
                <a:solidFill>
                  <a:schemeClr val="tx1"/>
                </a:solidFill>
              </a:defRPr>
            </a:lvl1pPr>
          </a:lstStyle>
          <a:p>
            <a:r>
              <a:rPr lang="x-none"/>
              <a:t>Insert Photo</a:t>
            </a:r>
          </a:p>
        </p:txBody>
      </p:sp>
      <p:pic>
        <p:nvPicPr>
          <p:cNvPr id="14" name="Picture 13" descr="Takeda">
            <a:extLst>
              <a:ext uri="{FF2B5EF4-FFF2-40B4-BE49-F238E27FC236}">
                <a16:creationId xmlns="" xmlns:a16="http://schemas.microsoft.com/office/drawing/2014/main" id="{334C6D4B-D00D-0346-BC97-8DCE371C28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09748" y="-1211"/>
            <a:ext cx="1272174" cy="705585"/>
          </a:xfrm>
          <a:prstGeom prst="rect">
            <a:avLst/>
          </a:prstGeom>
        </p:spPr>
      </p:pic>
      <p:sp>
        <p:nvSpPr>
          <p:cNvPr id="17" name="タイトル プレースホルダ 1">
            <a:extLst>
              <a:ext uri="{FF2B5EF4-FFF2-40B4-BE49-F238E27FC236}">
                <a16:creationId xmlns="" xmlns:a16="http://schemas.microsoft.com/office/drawing/2014/main" id="{CCEDFD04-9A53-9241-851E-1D01DC555ACC}"/>
              </a:ext>
            </a:extLst>
          </p:cNvPr>
          <p:cNvSpPr>
            <a:spLocks noGrp="1"/>
          </p:cNvSpPr>
          <p:nvPr>
            <p:ph type="title" hasCustomPrompt="1"/>
          </p:nvPr>
        </p:nvSpPr>
        <p:spPr>
          <a:xfrm>
            <a:off x="454559" y="121208"/>
            <a:ext cx="7455190" cy="51435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Footer Placeholder 8">
            <a:extLst>
              <a:ext uri="{FF2B5EF4-FFF2-40B4-BE49-F238E27FC236}">
                <a16:creationId xmlns="" xmlns:a16="http://schemas.microsoft.com/office/drawing/2014/main" id="{1E1D8887-7EAE-1A40-9285-7C632FEAA8BF}"/>
              </a:ext>
            </a:extLst>
          </p:cNvPr>
          <p:cNvSpPr>
            <a:spLocks noGrp="1"/>
          </p:cNvSpPr>
          <p:nvPr>
            <p:ph type="ftr" sz="quarter" idx="3"/>
          </p:nvPr>
        </p:nvSpPr>
        <p:spPr>
          <a:xfrm>
            <a:off x="5824538" y="4892251"/>
            <a:ext cx="3086100" cy="147098"/>
          </a:xfrm>
          <a:prstGeom prst="rect">
            <a:avLst/>
          </a:prstGeom>
        </p:spPr>
        <p:txBody>
          <a:bodyPr vert="horz" lIns="68531" tIns="34289" rIns="0" bIns="34289" rtlCol="0" anchor="ctr"/>
          <a:lstStyle>
            <a:lvl1pPr algn="r">
              <a:defRPr sz="600" b="1" spc="75" baseline="0">
                <a:solidFill>
                  <a:schemeClr val="tx1"/>
                </a:solidFill>
              </a:defRPr>
            </a:lvl1pPr>
          </a:lstStyle>
          <a:p>
            <a:r>
              <a:rPr lang="x-none">
                <a:solidFill>
                  <a:srgbClr val="34373F"/>
                </a:solidFill>
              </a:rPr>
              <a:t> </a:t>
            </a:r>
          </a:p>
        </p:txBody>
      </p:sp>
      <p:sp>
        <p:nvSpPr>
          <p:cNvPr id="23" name="Rectangle 22">
            <a:extLst>
              <a:ext uri="{FF2B5EF4-FFF2-40B4-BE49-F238E27FC236}">
                <a16:creationId xmlns="" xmlns:a16="http://schemas.microsoft.com/office/drawing/2014/main" id="{365B3EBD-E4F5-8E40-B07A-C04F3B1E7F2C}"/>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31" tIns="34289" rIns="68531" bIns="34289" rtlCol="0" anchor="ctr"/>
          <a:lstStyle/>
          <a:p>
            <a:pPr algn="ctr" defTabSz="685239"/>
            <a:endParaRPr kumimoji="1" lang="x-none" sz="1400">
              <a:solidFill>
                <a:srgbClr val="E1242A"/>
              </a:solidFill>
            </a:endParaRPr>
          </a:p>
        </p:txBody>
      </p:sp>
      <p:sp>
        <p:nvSpPr>
          <p:cNvPr id="26" name="スライド番号プレースホルダ 5">
            <a:extLst>
              <a:ext uri="{FF2B5EF4-FFF2-40B4-BE49-F238E27FC236}">
                <a16:creationId xmlns="" xmlns:a16="http://schemas.microsoft.com/office/drawing/2014/main" id="{3D5D14EF-A351-224D-8142-E1BEE44BBC99}"/>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3365"/>
            <a:fld id="{E9B57936-92EF-4126-AE48-1D9D36D15E98}" type="slidenum">
              <a:rPr lang="ja-JP" altLang="en-US" smtClean="0">
                <a:solidFill>
                  <a:srgbClr val="34373F"/>
                </a:solidFill>
              </a:rPr>
              <a:pPr defTabSz="913365"/>
              <a:t>‹Nº›</a:t>
            </a:fld>
            <a:endParaRPr lang="ja-JP" altLang="en-US">
              <a:solidFill>
                <a:srgbClr val="34373F"/>
              </a:solidFill>
            </a:endParaRPr>
          </a:p>
        </p:txBody>
      </p:sp>
      <p:sp>
        <p:nvSpPr>
          <p:cNvPr id="27" name="Text Placeholder 6">
            <a:extLst>
              <a:ext uri="{FF2B5EF4-FFF2-40B4-BE49-F238E27FC236}">
                <a16:creationId xmlns="" xmlns:a16="http://schemas.microsoft.com/office/drawing/2014/main" id="{4D0A49B6-0BCC-C545-BF97-504B63062FEC}"/>
              </a:ext>
            </a:extLst>
          </p:cNvPr>
          <p:cNvSpPr>
            <a:spLocks noGrp="1"/>
          </p:cNvSpPr>
          <p:nvPr>
            <p:ph type="body" sz="quarter" idx="16" hasCustomPrompt="1"/>
          </p:nvPr>
        </p:nvSpPr>
        <p:spPr>
          <a:xfrm>
            <a:off x="454559" y="4892253"/>
            <a:ext cx="5226261" cy="154210"/>
          </a:xfrm>
          <a:prstGeom prst="rect">
            <a:avLst/>
          </a:prstGeom>
        </p:spPr>
        <p:txBody>
          <a:bodyPr wrap="none" tIns="0" rIns="0" bIns="53967" numCol="1" anchor="ctr">
            <a:noAutofit/>
          </a:bodyPr>
          <a:lstStyle>
            <a:lvl1pPr marL="0" indent="0">
              <a:lnSpc>
                <a:spcPts val="1200"/>
              </a:lnSpc>
              <a:spcBef>
                <a:spcPts val="0"/>
              </a:spcBef>
              <a:spcAft>
                <a:spcPts val="450"/>
              </a:spcAft>
              <a:buFont typeface="Arial" panose="020B0604020202020204" pitchFamily="34" charset="0"/>
              <a:buNone/>
              <a:defRPr sz="600" b="0">
                <a:solidFill>
                  <a:schemeClr val="accent3"/>
                </a:solidFill>
              </a:defRPr>
            </a:lvl1pPr>
            <a:lvl2pPr marL="342506" indent="0">
              <a:lnSpc>
                <a:spcPts val="1350"/>
              </a:lnSpc>
              <a:spcBef>
                <a:spcPts val="0"/>
              </a:spcBef>
              <a:buNone/>
              <a:defRPr sz="1100"/>
            </a:lvl2pPr>
            <a:lvl3pPr marL="685051" indent="0">
              <a:lnSpc>
                <a:spcPts val="1350"/>
              </a:lnSpc>
              <a:spcBef>
                <a:spcPts val="0"/>
              </a:spcBef>
              <a:buNone/>
              <a:defRPr sz="1100"/>
            </a:lvl3pPr>
            <a:lvl4pPr marL="1027572" indent="0">
              <a:lnSpc>
                <a:spcPts val="1350"/>
              </a:lnSpc>
              <a:spcBef>
                <a:spcPts val="0"/>
              </a:spcBef>
              <a:buNone/>
              <a:defRPr sz="1100"/>
            </a:lvl4pPr>
            <a:lvl5pPr marL="1370096" indent="0">
              <a:lnSpc>
                <a:spcPts val="1350"/>
              </a:lnSpc>
              <a:spcBef>
                <a:spcPts val="0"/>
              </a:spcBef>
              <a:buNone/>
              <a:defRPr sz="1100"/>
            </a:lvl5pPr>
          </a:lstStyle>
          <a:p>
            <a:pPr lvl="0"/>
            <a:r>
              <a:rPr lang="en-US"/>
              <a:t>Private and confidential. For internal use only.</a:t>
            </a:r>
          </a:p>
        </p:txBody>
      </p:sp>
      <p:sp>
        <p:nvSpPr>
          <p:cNvPr id="15" name="Text Placeholder 2">
            <a:extLst>
              <a:ext uri="{FF2B5EF4-FFF2-40B4-BE49-F238E27FC236}">
                <a16:creationId xmlns="" xmlns:a16="http://schemas.microsoft.com/office/drawing/2014/main" id="{D82FCE78-36AB-904B-98A8-CE3FFB1555E3}"/>
              </a:ext>
            </a:extLst>
          </p:cNvPr>
          <p:cNvSpPr>
            <a:spLocks noGrp="1"/>
          </p:cNvSpPr>
          <p:nvPr>
            <p:ph type="body" sz="quarter" idx="20" hasCustomPrompt="1"/>
          </p:nvPr>
        </p:nvSpPr>
        <p:spPr>
          <a:xfrm>
            <a:off x="233366" y="1118532"/>
            <a:ext cx="5745031" cy="1098718"/>
          </a:xfrm>
        </p:spPr>
        <p:txBody>
          <a:bodyPr tIns="0" rIns="0" bIns="0" numCol="1" spcCol="94434">
            <a:noAutofit/>
          </a:bodyPr>
          <a:lstStyle>
            <a:lvl1pPr marL="0" indent="0">
              <a:lnSpc>
                <a:spcPct val="100000"/>
              </a:lnSpc>
              <a:spcBef>
                <a:spcPts val="0"/>
              </a:spcBef>
              <a:buNone/>
              <a:defRPr sz="1200" b="1"/>
            </a:lvl1pPr>
            <a:lvl2pPr marL="342506" indent="0">
              <a:buNone/>
              <a:defRPr sz="1400" b="1"/>
            </a:lvl2pPr>
            <a:lvl3pPr marL="685051" indent="0">
              <a:buNone/>
              <a:defRPr sz="1400" b="1"/>
            </a:lvl3pPr>
            <a:lvl4pPr marL="1027572" indent="0">
              <a:buNone/>
              <a:defRPr sz="1400" b="1"/>
            </a:lvl4pPr>
            <a:lvl5pPr marL="1370096" indent="0">
              <a:buNone/>
              <a:defRPr sz="1400" b="1"/>
            </a:lvl5pPr>
          </a:lstStyle>
          <a:p>
            <a:pPr lvl="0"/>
            <a:r>
              <a:rPr lang="en-US"/>
              <a:t>This is your Primary Text.</a:t>
            </a:r>
            <a:endParaRPr lang="x-none"/>
          </a:p>
        </p:txBody>
      </p:sp>
      <p:sp>
        <p:nvSpPr>
          <p:cNvPr id="18" name="Text Placeholder 6">
            <a:extLst>
              <a:ext uri="{FF2B5EF4-FFF2-40B4-BE49-F238E27FC236}">
                <a16:creationId xmlns="" xmlns:a16="http://schemas.microsoft.com/office/drawing/2014/main" id="{72ECF95F-F25E-8248-A0F3-BB1749A1B406}"/>
              </a:ext>
            </a:extLst>
          </p:cNvPr>
          <p:cNvSpPr>
            <a:spLocks noGrp="1"/>
          </p:cNvSpPr>
          <p:nvPr>
            <p:ph type="body" sz="quarter" idx="21" hasCustomPrompt="1"/>
          </p:nvPr>
        </p:nvSpPr>
        <p:spPr>
          <a:xfrm>
            <a:off x="233366" y="820327"/>
            <a:ext cx="5745031" cy="204590"/>
          </a:xfrm>
        </p:spPr>
        <p:txBody>
          <a:bodyPr tIns="0" rIns="0" bIns="0" numCol="1">
            <a:noAutofit/>
          </a:bodyPr>
          <a:lstStyle>
            <a:lvl1pPr marL="0" indent="0">
              <a:lnSpc>
                <a:spcPct val="100000"/>
              </a:lnSpc>
              <a:spcBef>
                <a:spcPts val="0"/>
              </a:spcBef>
              <a:spcAft>
                <a:spcPts val="450"/>
              </a:spcAft>
              <a:buNone/>
              <a:defRPr sz="1500" b="1">
                <a:solidFill>
                  <a:schemeClr val="accent1"/>
                </a:solidFill>
              </a:defRPr>
            </a:lvl1pPr>
            <a:lvl2pPr marL="342506" indent="0">
              <a:lnSpc>
                <a:spcPts val="1350"/>
              </a:lnSpc>
              <a:spcBef>
                <a:spcPts val="0"/>
              </a:spcBef>
              <a:buNone/>
              <a:defRPr sz="1100"/>
            </a:lvl2pPr>
            <a:lvl3pPr marL="685051" indent="0">
              <a:lnSpc>
                <a:spcPts val="1350"/>
              </a:lnSpc>
              <a:spcBef>
                <a:spcPts val="0"/>
              </a:spcBef>
              <a:buNone/>
              <a:defRPr sz="1100"/>
            </a:lvl3pPr>
            <a:lvl4pPr marL="1027572" indent="0">
              <a:lnSpc>
                <a:spcPts val="1350"/>
              </a:lnSpc>
              <a:spcBef>
                <a:spcPts val="0"/>
              </a:spcBef>
              <a:buNone/>
              <a:defRPr sz="1100"/>
            </a:lvl4pPr>
            <a:lvl5pPr marL="1370096" indent="0">
              <a:lnSpc>
                <a:spcPts val="1350"/>
              </a:lnSpc>
              <a:spcBef>
                <a:spcPts val="0"/>
              </a:spcBef>
              <a:buNone/>
              <a:defRPr sz="1100"/>
            </a:lvl5pPr>
          </a:lstStyle>
          <a:p>
            <a:pPr lvl="0"/>
            <a:r>
              <a:rPr lang="en-US"/>
              <a:t>This is your Primary Title</a:t>
            </a:r>
          </a:p>
        </p:txBody>
      </p:sp>
    </p:spTree>
    <p:extLst>
      <p:ext uri="{BB962C8B-B14F-4D97-AF65-F5344CB8AC3E}">
        <p14:creationId xmlns:p14="http://schemas.microsoft.com/office/powerpoint/2010/main" val="2004322830"/>
      </p:ext>
    </p:extLst>
  </p:cSld>
  <p:clrMapOvr>
    <a:masterClrMapping/>
  </p:clrMapOvr>
  <p:transition spd="slow">
    <p:push dir="u"/>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Advanced 1/3 Image (Full Bleed)">
    <p:spTree>
      <p:nvGrpSpPr>
        <p:cNvPr id="1" name=""/>
        <p:cNvGrpSpPr/>
        <p:nvPr/>
      </p:nvGrpSpPr>
      <p:grpSpPr>
        <a:xfrm>
          <a:off x="0" y="0"/>
          <a:ext cx="0" cy="0"/>
          <a:chOff x="0" y="0"/>
          <a:chExt cx="0" cy="0"/>
        </a:xfrm>
      </p:grpSpPr>
      <p:sp>
        <p:nvSpPr>
          <p:cNvPr id="7" name="Text Placeholder 6">
            <a:extLst>
              <a:ext uri="{FF2B5EF4-FFF2-40B4-BE49-F238E27FC236}">
                <a16:creationId xmlns="" xmlns:a16="http://schemas.microsoft.com/office/drawing/2014/main" id="{65925D82-457F-D84D-B8DF-D8ADFD7E71DF}"/>
              </a:ext>
            </a:extLst>
          </p:cNvPr>
          <p:cNvSpPr>
            <a:spLocks noGrp="1"/>
          </p:cNvSpPr>
          <p:nvPr>
            <p:ph type="body" sz="quarter" idx="14" hasCustomPrompt="1"/>
          </p:nvPr>
        </p:nvSpPr>
        <p:spPr>
          <a:xfrm>
            <a:off x="233362" y="2383723"/>
            <a:ext cx="4281488" cy="204590"/>
          </a:xfrm>
          <a:prstGeom prst="rect">
            <a:avLst/>
          </a:prstGeom>
        </p:spPr>
        <p:txBody>
          <a:bodyPr tIns="0" rIns="0" bIns="0" numCol="1">
            <a:noAutofit/>
          </a:bodyPr>
          <a:lstStyle>
            <a:lvl1pPr marL="0" indent="0">
              <a:lnSpc>
                <a:spcPct val="100000"/>
              </a:lnSpc>
              <a:spcBef>
                <a:spcPts val="0"/>
              </a:spcBef>
              <a:spcAft>
                <a:spcPts val="450"/>
              </a:spcAft>
              <a:buNone/>
              <a:defRPr sz="1400" b="1">
                <a:solidFill>
                  <a:schemeClr val="accent1"/>
                </a:solidFill>
              </a:defRPr>
            </a:lvl1pPr>
            <a:lvl2pPr marL="342506" indent="0">
              <a:lnSpc>
                <a:spcPts val="1350"/>
              </a:lnSpc>
              <a:spcBef>
                <a:spcPts val="0"/>
              </a:spcBef>
              <a:buNone/>
              <a:defRPr sz="1100"/>
            </a:lvl2pPr>
            <a:lvl3pPr marL="685051" indent="0">
              <a:lnSpc>
                <a:spcPts val="1350"/>
              </a:lnSpc>
              <a:spcBef>
                <a:spcPts val="0"/>
              </a:spcBef>
              <a:buNone/>
              <a:defRPr sz="1100"/>
            </a:lvl3pPr>
            <a:lvl4pPr marL="1027572" indent="0">
              <a:lnSpc>
                <a:spcPts val="1350"/>
              </a:lnSpc>
              <a:spcBef>
                <a:spcPts val="0"/>
              </a:spcBef>
              <a:buNone/>
              <a:defRPr sz="1100"/>
            </a:lvl4pPr>
            <a:lvl5pPr marL="1370096" indent="0">
              <a:lnSpc>
                <a:spcPts val="1350"/>
              </a:lnSpc>
              <a:spcBef>
                <a:spcPts val="0"/>
              </a:spcBef>
              <a:buNone/>
              <a:defRPr sz="1100"/>
            </a:lvl5pPr>
          </a:lstStyle>
          <a:p>
            <a:pPr lvl="0"/>
            <a:r>
              <a:rPr lang="en-US"/>
              <a:t>This is your Secondary Title</a:t>
            </a:r>
          </a:p>
        </p:txBody>
      </p:sp>
      <p:sp>
        <p:nvSpPr>
          <p:cNvPr id="12" name="Text Placeholder 6">
            <a:extLst>
              <a:ext uri="{FF2B5EF4-FFF2-40B4-BE49-F238E27FC236}">
                <a16:creationId xmlns="" xmlns:a16="http://schemas.microsoft.com/office/drawing/2014/main" id="{FD2406EE-A554-5348-AE6D-4D8B343E6201}"/>
              </a:ext>
            </a:extLst>
          </p:cNvPr>
          <p:cNvSpPr>
            <a:spLocks noGrp="1"/>
          </p:cNvSpPr>
          <p:nvPr>
            <p:ph type="body" sz="quarter" idx="15" hasCustomPrompt="1"/>
          </p:nvPr>
        </p:nvSpPr>
        <p:spPr>
          <a:xfrm>
            <a:off x="233364" y="2681928"/>
            <a:ext cx="5747855" cy="2144716"/>
          </a:xfrm>
          <a:prstGeom prst="rect">
            <a:avLst/>
          </a:prstGeom>
        </p:spPr>
        <p:txBody>
          <a:bodyPr tIns="0" rIns="0" bIns="0" numCol="2" spcCol="94434">
            <a:noAutofit/>
          </a:bodyPr>
          <a:lstStyle>
            <a:lvl1pPr marL="128489" indent="-128489">
              <a:lnSpc>
                <a:spcPct val="100000"/>
              </a:lnSpc>
              <a:spcBef>
                <a:spcPts val="0"/>
              </a:spcBef>
              <a:spcAft>
                <a:spcPts val="450"/>
              </a:spcAft>
              <a:buFont typeface="Arial" panose="020B0604020202020204" pitchFamily="34" charset="0"/>
              <a:buChar char="•"/>
              <a:defRPr sz="1100" b="0">
                <a:solidFill>
                  <a:schemeClr val="tx1"/>
                </a:solidFill>
              </a:defRPr>
            </a:lvl1pPr>
            <a:lvl2pPr marL="342506" indent="0">
              <a:lnSpc>
                <a:spcPts val="1350"/>
              </a:lnSpc>
              <a:spcBef>
                <a:spcPts val="0"/>
              </a:spcBef>
              <a:buNone/>
              <a:defRPr sz="1100"/>
            </a:lvl2pPr>
            <a:lvl3pPr marL="685051" indent="0">
              <a:lnSpc>
                <a:spcPts val="1350"/>
              </a:lnSpc>
              <a:spcBef>
                <a:spcPts val="0"/>
              </a:spcBef>
              <a:buNone/>
              <a:defRPr sz="1100"/>
            </a:lvl3pPr>
            <a:lvl4pPr marL="1027572" indent="0">
              <a:lnSpc>
                <a:spcPts val="1350"/>
              </a:lnSpc>
              <a:spcBef>
                <a:spcPts val="0"/>
              </a:spcBef>
              <a:buNone/>
              <a:defRPr sz="1100"/>
            </a:lvl4pPr>
            <a:lvl5pPr marL="1370096" indent="0">
              <a:lnSpc>
                <a:spcPts val="1350"/>
              </a:lnSpc>
              <a:spcBef>
                <a:spcPts val="0"/>
              </a:spcBef>
              <a:buNone/>
              <a:defRPr sz="1100"/>
            </a:lvl5pPr>
          </a:lstStyle>
          <a:p>
            <a:pPr lvl="0"/>
            <a:r>
              <a:rPr lang="en-US"/>
              <a:t>This is your Secondary text.</a:t>
            </a:r>
          </a:p>
        </p:txBody>
      </p:sp>
      <p:sp>
        <p:nvSpPr>
          <p:cNvPr id="11" name="Picture Placeholder 9">
            <a:extLst>
              <a:ext uri="{FF2B5EF4-FFF2-40B4-BE49-F238E27FC236}">
                <a16:creationId xmlns="" xmlns:a16="http://schemas.microsoft.com/office/drawing/2014/main" id="{B54C5EE8-C42D-B549-B4D4-C0F00D68A42B}"/>
              </a:ext>
            </a:extLst>
          </p:cNvPr>
          <p:cNvSpPr>
            <a:spLocks noGrp="1"/>
          </p:cNvSpPr>
          <p:nvPr>
            <p:ph type="pic" sz="quarter" idx="18" hasCustomPrompt="1"/>
          </p:nvPr>
        </p:nvSpPr>
        <p:spPr>
          <a:xfrm>
            <a:off x="6092782" y="-1034"/>
            <a:ext cx="3057710" cy="5145632"/>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 name="connsiteX0" fmla="*/ 0 w 4082753"/>
              <a:gd name="connsiteY0" fmla="*/ 2 h 6874096"/>
              <a:gd name="connsiteX1" fmla="*/ 4082678 w 4082753"/>
              <a:gd name="connsiteY1" fmla="*/ 1742343 h 6874096"/>
              <a:gd name="connsiteX2" fmla="*/ 4076946 w 4082753"/>
              <a:gd name="connsiteY2" fmla="*/ 6855288 h 6874096"/>
              <a:gd name="connsiteX3" fmla="*/ 609909 w 4082753"/>
              <a:gd name="connsiteY3" fmla="*/ 6874096 h 6874096"/>
              <a:gd name="connsiteX4" fmla="*/ 30187 w 4082753"/>
              <a:gd name="connsiteY4" fmla="*/ 6294374 h 6874096"/>
              <a:gd name="connsiteX5" fmla="*/ 0 w 4082753"/>
              <a:gd name="connsiteY5" fmla="*/ 2 h 6874096"/>
              <a:gd name="connsiteX0" fmla="*/ 0 w 4095958"/>
              <a:gd name="connsiteY0" fmla="*/ 6946 h 6881040"/>
              <a:gd name="connsiteX1" fmla="*/ 4095930 w 4095958"/>
              <a:gd name="connsiteY1" fmla="*/ 0 h 6881040"/>
              <a:gd name="connsiteX2" fmla="*/ 4076946 w 4095958"/>
              <a:gd name="connsiteY2" fmla="*/ 6862232 h 6881040"/>
              <a:gd name="connsiteX3" fmla="*/ 609909 w 4095958"/>
              <a:gd name="connsiteY3" fmla="*/ 6881040 h 6881040"/>
              <a:gd name="connsiteX4" fmla="*/ 30187 w 4095958"/>
              <a:gd name="connsiteY4" fmla="*/ 6301318 h 6881040"/>
              <a:gd name="connsiteX5" fmla="*/ 0 w 4095958"/>
              <a:gd name="connsiteY5" fmla="*/ 6946 h 6881040"/>
              <a:gd name="connsiteX0" fmla="*/ 0 w 4076946"/>
              <a:gd name="connsiteY0" fmla="*/ 0 h 6874094"/>
              <a:gd name="connsiteX1" fmla="*/ 3870643 w 4076946"/>
              <a:gd name="connsiteY1" fmla="*/ 191837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0 h 6874094"/>
              <a:gd name="connsiteX1" fmla="*/ 4069426 w 4076946"/>
              <a:gd name="connsiteY1" fmla="*/ 19559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99710 h 6854535"/>
              <a:gd name="connsiteX1" fmla="*/ 4069426 w 4076946"/>
              <a:gd name="connsiteY1" fmla="*/ 0 h 6854535"/>
              <a:gd name="connsiteX2" fmla="*/ 4076946 w 4076946"/>
              <a:gd name="connsiteY2" fmla="*/ 6835727 h 6854535"/>
              <a:gd name="connsiteX3" fmla="*/ 609909 w 4076946"/>
              <a:gd name="connsiteY3" fmla="*/ 6854535 h 6854535"/>
              <a:gd name="connsiteX4" fmla="*/ 30187 w 4076946"/>
              <a:gd name="connsiteY4" fmla="*/ 6274813 h 6854535"/>
              <a:gd name="connsiteX5" fmla="*/ 0 w 4076946"/>
              <a:gd name="connsiteY5" fmla="*/ 99710 h 6854535"/>
              <a:gd name="connsiteX0" fmla="*/ 0 w 4076946"/>
              <a:gd name="connsiteY0" fmla="*/ 0 h 6860842"/>
              <a:gd name="connsiteX1" fmla="*/ 4069426 w 4076946"/>
              <a:gd name="connsiteY1" fmla="*/ 6307 h 6860842"/>
              <a:gd name="connsiteX2" fmla="*/ 4076946 w 4076946"/>
              <a:gd name="connsiteY2" fmla="*/ 6842034 h 6860842"/>
              <a:gd name="connsiteX3" fmla="*/ 609909 w 4076946"/>
              <a:gd name="connsiteY3" fmla="*/ 6860842 h 6860842"/>
              <a:gd name="connsiteX4" fmla="*/ 30187 w 4076946"/>
              <a:gd name="connsiteY4" fmla="*/ 6281120 h 6860842"/>
              <a:gd name="connsiteX5" fmla="*/ 0 w 4076946"/>
              <a:gd name="connsiteY5" fmla="*/ 0 h 686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76946" h="6860842">
                <a:moveTo>
                  <a:pt x="0" y="0"/>
                </a:moveTo>
                <a:lnTo>
                  <a:pt x="4069426" y="6307"/>
                </a:lnTo>
                <a:cubicBezTo>
                  <a:pt x="4070331" y="2153114"/>
                  <a:pt x="4076041" y="4695227"/>
                  <a:pt x="4076946" y="6842034"/>
                </a:cubicBezTo>
                <a:lnTo>
                  <a:pt x="609909" y="6860842"/>
                </a:lnTo>
                <a:cubicBezTo>
                  <a:pt x="289737" y="6860842"/>
                  <a:pt x="30187" y="6601292"/>
                  <a:pt x="30187" y="6281120"/>
                </a:cubicBezTo>
                <a:cubicBezTo>
                  <a:pt x="24542" y="4758683"/>
                  <a:pt x="5645" y="1522437"/>
                  <a:pt x="0" y="0"/>
                </a:cubicBezTo>
                <a:close/>
              </a:path>
            </a:pathLst>
          </a:custGeom>
          <a:noFill/>
        </p:spPr>
        <p:txBody>
          <a:bodyPr>
            <a:normAutofit/>
          </a:bodyPr>
          <a:lstStyle>
            <a:lvl1pPr marL="0" indent="0">
              <a:buNone/>
              <a:defRPr sz="1100">
                <a:solidFill>
                  <a:schemeClr val="tx1"/>
                </a:solidFill>
              </a:defRPr>
            </a:lvl1pPr>
          </a:lstStyle>
          <a:p>
            <a:r>
              <a:rPr lang="x-none"/>
              <a:t>Insert Photo</a:t>
            </a:r>
          </a:p>
        </p:txBody>
      </p:sp>
      <p:sp>
        <p:nvSpPr>
          <p:cNvPr id="17" name="タイトル プレースホルダ 1">
            <a:extLst>
              <a:ext uri="{FF2B5EF4-FFF2-40B4-BE49-F238E27FC236}">
                <a16:creationId xmlns="" xmlns:a16="http://schemas.microsoft.com/office/drawing/2014/main" id="{6FB24DD6-99CB-CE43-A787-C9F60DC95F8F}"/>
              </a:ext>
            </a:extLst>
          </p:cNvPr>
          <p:cNvSpPr>
            <a:spLocks noGrp="1"/>
          </p:cNvSpPr>
          <p:nvPr>
            <p:ph type="title" hasCustomPrompt="1"/>
          </p:nvPr>
        </p:nvSpPr>
        <p:spPr>
          <a:xfrm>
            <a:off x="454563" y="121208"/>
            <a:ext cx="5526659" cy="51435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 xmlns:a16="http://schemas.microsoft.com/office/drawing/2014/main" id="{77130E5B-E573-584B-8C83-F8409492B14B}"/>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31" tIns="34289" rIns="68531" bIns="34289" rtlCol="0" anchor="ctr"/>
          <a:lstStyle/>
          <a:p>
            <a:pPr algn="ctr" defTabSz="685239"/>
            <a:endParaRPr kumimoji="1" lang="x-none" sz="1400">
              <a:solidFill>
                <a:srgbClr val="E1242A"/>
              </a:solidFill>
            </a:endParaRPr>
          </a:p>
        </p:txBody>
      </p:sp>
      <p:sp>
        <p:nvSpPr>
          <p:cNvPr id="21" name="スライド番号プレースホルダ 5">
            <a:extLst>
              <a:ext uri="{FF2B5EF4-FFF2-40B4-BE49-F238E27FC236}">
                <a16:creationId xmlns="" xmlns:a16="http://schemas.microsoft.com/office/drawing/2014/main" id="{C55CC856-2ADD-F44F-96B6-03734457CCF1}"/>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3365"/>
            <a:fld id="{E9B57936-92EF-4126-AE48-1D9D36D15E98}" type="slidenum">
              <a:rPr lang="ja-JP" altLang="en-US" smtClean="0">
                <a:solidFill>
                  <a:srgbClr val="34373F"/>
                </a:solidFill>
              </a:rPr>
              <a:pPr defTabSz="913365"/>
              <a:t>‹Nº›</a:t>
            </a:fld>
            <a:endParaRPr lang="ja-JP" altLang="en-US">
              <a:solidFill>
                <a:srgbClr val="34373F"/>
              </a:solidFill>
            </a:endParaRPr>
          </a:p>
        </p:txBody>
      </p:sp>
      <p:sp>
        <p:nvSpPr>
          <p:cNvPr id="22" name="Text Placeholder 6">
            <a:extLst>
              <a:ext uri="{FF2B5EF4-FFF2-40B4-BE49-F238E27FC236}">
                <a16:creationId xmlns="" xmlns:a16="http://schemas.microsoft.com/office/drawing/2014/main" id="{DB94AACD-56D4-F146-AFC0-5CBE6630C5AA}"/>
              </a:ext>
            </a:extLst>
          </p:cNvPr>
          <p:cNvSpPr>
            <a:spLocks noGrp="1"/>
          </p:cNvSpPr>
          <p:nvPr>
            <p:ph type="body" sz="quarter" idx="16" hasCustomPrompt="1"/>
          </p:nvPr>
        </p:nvSpPr>
        <p:spPr>
          <a:xfrm>
            <a:off x="454559" y="4892253"/>
            <a:ext cx="5226261" cy="154210"/>
          </a:xfrm>
          <a:prstGeom prst="rect">
            <a:avLst/>
          </a:prstGeom>
        </p:spPr>
        <p:txBody>
          <a:bodyPr wrap="none" tIns="0" rIns="0" bIns="53967" numCol="1" anchor="ctr">
            <a:noAutofit/>
          </a:bodyPr>
          <a:lstStyle>
            <a:lvl1pPr marL="0" indent="0">
              <a:lnSpc>
                <a:spcPts val="1200"/>
              </a:lnSpc>
              <a:spcBef>
                <a:spcPts val="0"/>
              </a:spcBef>
              <a:spcAft>
                <a:spcPts val="450"/>
              </a:spcAft>
              <a:buFont typeface="Arial" panose="020B0604020202020204" pitchFamily="34" charset="0"/>
              <a:buNone/>
              <a:defRPr sz="600" b="0">
                <a:solidFill>
                  <a:schemeClr val="accent3"/>
                </a:solidFill>
              </a:defRPr>
            </a:lvl1pPr>
            <a:lvl2pPr marL="342506" indent="0">
              <a:lnSpc>
                <a:spcPts val="1350"/>
              </a:lnSpc>
              <a:spcBef>
                <a:spcPts val="0"/>
              </a:spcBef>
              <a:buNone/>
              <a:defRPr sz="1100"/>
            </a:lvl2pPr>
            <a:lvl3pPr marL="685051" indent="0">
              <a:lnSpc>
                <a:spcPts val="1350"/>
              </a:lnSpc>
              <a:spcBef>
                <a:spcPts val="0"/>
              </a:spcBef>
              <a:buNone/>
              <a:defRPr sz="1100"/>
            </a:lvl3pPr>
            <a:lvl4pPr marL="1027572" indent="0">
              <a:lnSpc>
                <a:spcPts val="1350"/>
              </a:lnSpc>
              <a:spcBef>
                <a:spcPts val="0"/>
              </a:spcBef>
              <a:buNone/>
              <a:defRPr sz="1100"/>
            </a:lvl4pPr>
            <a:lvl5pPr marL="1370096" indent="0">
              <a:lnSpc>
                <a:spcPts val="1350"/>
              </a:lnSpc>
              <a:spcBef>
                <a:spcPts val="0"/>
              </a:spcBef>
              <a:buNone/>
              <a:defRPr sz="1100"/>
            </a:lvl5pPr>
          </a:lstStyle>
          <a:p>
            <a:pPr lvl="0"/>
            <a:r>
              <a:rPr lang="en-US"/>
              <a:t>Private and confidential. For internal use only.</a:t>
            </a:r>
          </a:p>
        </p:txBody>
      </p:sp>
      <p:sp>
        <p:nvSpPr>
          <p:cNvPr id="19" name="Text Placeholder 2">
            <a:extLst>
              <a:ext uri="{FF2B5EF4-FFF2-40B4-BE49-F238E27FC236}">
                <a16:creationId xmlns="" xmlns:a16="http://schemas.microsoft.com/office/drawing/2014/main" id="{73A8AA34-7C7D-A24F-AF24-5158DD2AB0ED}"/>
              </a:ext>
            </a:extLst>
          </p:cNvPr>
          <p:cNvSpPr>
            <a:spLocks noGrp="1"/>
          </p:cNvSpPr>
          <p:nvPr>
            <p:ph type="body" sz="quarter" idx="20" hasCustomPrompt="1"/>
          </p:nvPr>
        </p:nvSpPr>
        <p:spPr>
          <a:xfrm>
            <a:off x="233365" y="1118532"/>
            <a:ext cx="5745032" cy="1098718"/>
          </a:xfrm>
        </p:spPr>
        <p:txBody>
          <a:bodyPr tIns="0" rIns="0" bIns="0" numCol="1" spcCol="94434">
            <a:noAutofit/>
          </a:bodyPr>
          <a:lstStyle>
            <a:lvl1pPr marL="0" indent="0">
              <a:lnSpc>
                <a:spcPct val="100000"/>
              </a:lnSpc>
              <a:spcBef>
                <a:spcPts val="0"/>
              </a:spcBef>
              <a:buNone/>
              <a:defRPr sz="1200" b="1"/>
            </a:lvl1pPr>
            <a:lvl2pPr marL="342506" indent="0">
              <a:buNone/>
              <a:defRPr sz="1400" b="1"/>
            </a:lvl2pPr>
            <a:lvl3pPr marL="685051" indent="0">
              <a:buNone/>
              <a:defRPr sz="1400" b="1"/>
            </a:lvl3pPr>
            <a:lvl4pPr marL="1027572" indent="0">
              <a:buNone/>
              <a:defRPr sz="1400" b="1"/>
            </a:lvl4pPr>
            <a:lvl5pPr marL="1370096" indent="0">
              <a:buNone/>
              <a:defRPr sz="1400" b="1"/>
            </a:lvl5pPr>
          </a:lstStyle>
          <a:p>
            <a:pPr lvl="0"/>
            <a:r>
              <a:rPr lang="en-US"/>
              <a:t>This is your Primary Text.</a:t>
            </a:r>
            <a:endParaRPr lang="x-none"/>
          </a:p>
        </p:txBody>
      </p:sp>
      <p:sp>
        <p:nvSpPr>
          <p:cNvPr id="20" name="Text Placeholder 6">
            <a:extLst>
              <a:ext uri="{FF2B5EF4-FFF2-40B4-BE49-F238E27FC236}">
                <a16:creationId xmlns="" xmlns:a16="http://schemas.microsoft.com/office/drawing/2014/main" id="{8F4B55CE-CF3E-7E44-A66A-599621CA5C5F}"/>
              </a:ext>
            </a:extLst>
          </p:cNvPr>
          <p:cNvSpPr>
            <a:spLocks noGrp="1"/>
          </p:cNvSpPr>
          <p:nvPr>
            <p:ph type="body" sz="quarter" idx="21" hasCustomPrompt="1"/>
          </p:nvPr>
        </p:nvSpPr>
        <p:spPr>
          <a:xfrm>
            <a:off x="233362" y="820327"/>
            <a:ext cx="5745032" cy="204590"/>
          </a:xfrm>
        </p:spPr>
        <p:txBody>
          <a:bodyPr tIns="0" rIns="0" bIns="0" numCol="1">
            <a:noAutofit/>
          </a:bodyPr>
          <a:lstStyle>
            <a:lvl1pPr marL="0" indent="0">
              <a:lnSpc>
                <a:spcPct val="100000"/>
              </a:lnSpc>
              <a:spcBef>
                <a:spcPts val="0"/>
              </a:spcBef>
              <a:spcAft>
                <a:spcPts val="450"/>
              </a:spcAft>
              <a:buNone/>
              <a:defRPr sz="1500" b="1">
                <a:solidFill>
                  <a:schemeClr val="accent1"/>
                </a:solidFill>
              </a:defRPr>
            </a:lvl1pPr>
            <a:lvl2pPr marL="342506" indent="0">
              <a:lnSpc>
                <a:spcPts val="1350"/>
              </a:lnSpc>
              <a:spcBef>
                <a:spcPts val="0"/>
              </a:spcBef>
              <a:buNone/>
              <a:defRPr sz="1100"/>
            </a:lvl2pPr>
            <a:lvl3pPr marL="685051" indent="0">
              <a:lnSpc>
                <a:spcPts val="1350"/>
              </a:lnSpc>
              <a:spcBef>
                <a:spcPts val="0"/>
              </a:spcBef>
              <a:buNone/>
              <a:defRPr sz="1100"/>
            </a:lvl3pPr>
            <a:lvl4pPr marL="1027572" indent="0">
              <a:lnSpc>
                <a:spcPts val="1350"/>
              </a:lnSpc>
              <a:spcBef>
                <a:spcPts val="0"/>
              </a:spcBef>
              <a:buNone/>
              <a:defRPr sz="1100"/>
            </a:lvl4pPr>
            <a:lvl5pPr marL="1370096" indent="0">
              <a:lnSpc>
                <a:spcPts val="1350"/>
              </a:lnSpc>
              <a:spcBef>
                <a:spcPts val="0"/>
              </a:spcBef>
              <a:buNone/>
              <a:defRPr sz="1100"/>
            </a:lvl5pPr>
          </a:lstStyle>
          <a:p>
            <a:pPr lvl="0"/>
            <a:r>
              <a:rPr lang="en-US"/>
              <a:t>This is your Primary Title</a:t>
            </a:r>
          </a:p>
        </p:txBody>
      </p:sp>
    </p:spTree>
    <p:extLst>
      <p:ext uri="{BB962C8B-B14F-4D97-AF65-F5344CB8AC3E}">
        <p14:creationId xmlns:p14="http://schemas.microsoft.com/office/powerpoint/2010/main" val="1945996351"/>
      </p:ext>
    </p:extLst>
  </p:cSld>
  <p:clrMapOvr>
    <a:masterClrMapping/>
  </p:clrMapOvr>
  <p:transition spd="slow">
    <p:push dir="u"/>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Advanced Image 4-Column">
    <p:spTree>
      <p:nvGrpSpPr>
        <p:cNvPr id="1" name=""/>
        <p:cNvGrpSpPr/>
        <p:nvPr/>
      </p:nvGrpSpPr>
      <p:grpSpPr>
        <a:xfrm>
          <a:off x="0" y="0"/>
          <a:ext cx="0" cy="0"/>
          <a:chOff x="0" y="0"/>
          <a:chExt cx="0" cy="0"/>
        </a:xfrm>
      </p:grpSpPr>
      <p:sp>
        <p:nvSpPr>
          <p:cNvPr id="22" name="Picture Placeholder 9">
            <a:extLst>
              <a:ext uri="{FF2B5EF4-FFF2-40B4-BE49-F238E27FC236}">
                <a16:creationId xmlns="" xmlns:a16="http://schemas.microsoft.com/office/drawing/2014/main" id="{21DF8897-54F9-C24F-8261-0C5418827A6D}"/>
              </a:ext>
            </a:extLst>
          </p:cNvPr>
          <p:cNvSpPr>
            <a:spLocks noGrp="1"/>
          </p:cNvSpPr>
          <p:nvPr>
            <p:ph type="pic" sz="quarter" idx="10" hasCustomPrompt="1"/>
          </p:nvPr>
        </p:nvSpPr>
        <p:spPr>
          <a:xfrm>
            <a:off x="6833086" y="2307248"/>
            <a:ext cx="2079031" cy="2354227"/>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marR="0" indent="0" algn="l" defTabSz="685052"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1100">
                <a:solidFill>
                  <a:schemeClr val="tx1"/>
                </a:solidFill>
              </a:defRPr>
            </a:lvl1pPr>
          </a:lstStyle>
          <a:p>
            <a:pPr marL="0" marR="0" lvl="0" indent="0" algn="l" defTabSz="685052"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x-none"/>
              <a:t>Insert Picture/Text Block</a:t>
            </a:r>
          </a:p>
          <a:p>
            <a:endParaRPr lang="x-none"/>
          </a:p>
        </p:txBody>
      </p:sp>
      <p:sp>
        <p:nvSpPr>
          <p:cNvPr id="23" name="Picture Placeholder 9">
            <a:extLst>
              <a:ext uri="{FF2B5EF4-FFF2-40B4-BE49-F238E27FC236}">
                <a16:creationId xmlns="" xmlns:a16="http://schemas.microsoft.com/office/drawing/2014/main" id="{8D6B3691-FCAC-8A46-AA30-DEB2A719C7B2}"/>
              </a:ext>
            </a:extLst>
          </p:cNvPr>
          <p:cNvSpPr>
            <a:spLocks noGrp="1"/>
          </p:cNvSpPr>
          <p:nvPr>
            <p:ph type="pic" sz="quarter" idx="18" hasCustomPrompt="1"/>
          </p:nvPr>
        </p:nvSpPr>
        <p:spPr>
          <a:xfrm>
            <a:off x="233543" y="2307248"/>
            <a:ext cx="2079031" cy="2354227"/>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100">
                <a:solidFill>
                  <a:schemeClr val="tx1"/>
                </a:solidFill>
              </a:defRPr>
            </a:lvl1pPr>
          </a:lstStyle>
          <a:p>
            <a:r>
              <a:rPr lang="x-none"/>
              <a:t>Insert Picture/Text Block</a:t>
            </a:r>
          </a:p>
        </p:txBody>
      </p:sp>
      <p:sp>
        <p:nvSpPr>
          <p:cNvPr id="24" name="Picture Placeholder 9">
            <a:extLst>
              <a:ext uri="{FF2B5EF4-FFF2-40B4-BE49-F238E27FC236}">
                <a16:creationId xmlns="" xmlns:a16="http://schemas.microsoft.com/office/drawing/2014/main" id="{AA8F528A-C9DE-0B46-881A-43E0F9B6F677}"/>
              </a:ext>
            </a:extLst>
          </p:cNvPr>
          <p:cNvSpPr>
            <a:spLocks noGrp="1"/>
          </p:cNvSpPr>
          <p:nvPr>
            <p:ph type="pic" sz="quarter" idx="19" hasCustomPrompt="1"/>
          </p:nvPr>
        </p:nvSpPr>
        <p:spPr>
          <a:xfrm>
            <a:off x="2433371" y="2307248"/>
            <a:ext cx="2079031" cy="2354227"/>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100">
                <a:solidFill>
                  <a:schemeClr val="tx1"/>
                </a:solidFill>
              </a:defRPr>
            </a:lvl1pPr>
          </a:lstStyle>
          <a:p>
            <a:r>
              <a:rPr lang="x-none"/>
              <a:t>Insert Picture/Text Block</a:t>
            </a:r>
          </a:p>
        </p:txBody>
      </p:sp>
      <p:sp>
        <p:nvSpPr>
          <p:cNvPr id="25" name="Picture Placeholder 9">
            <a:extLst>
              <a:ext uri="{FF2B5EF4-FFF2-40B4-BE49-F238E27FC236}">
                <a16:creationId xmlns="" xmlns:a16="http://schemas.microsoft.com/office/drawing/2014/main" id="{E01CF285-75D7-154A-ACF2-9393FB0B38D0}"/>
              </a:ext>
            </a:extLst>
          </p:cNvPr>
          <p:cNvSpPr>
            <a:spLocks noGrp="1"/>
          </p:cNvSpPr>
          <p:nvPr>
            <p:ph type="pic" sz="quarter" idx="20" hasCustomPrompt="1"/>
          </p:nvPr>
        </p:nvSpPr>
        <p:spPr>
          <a:xfrm>
            <a:off x="4633220" y="2307248"/>
            <a:ext cx="2079031" cy="2354227"/>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100">
                <a:solidFill>
                  <a:schemeClr val="tx1"/>
                </a:solidFill>
              </a:defRPr>
            </a:lvl1pPr>
          </a:lstStyle>
          <a:p>
            <a:r>
              <a:rPr lang="en-US"/>
              <a:t>Insert Picture/Text Block</a:t>
            </a:r>
          </a:p>
          <a:p>
            <a:endParaRPr lang="en-US"/>
          </a:p>
          <a:p>
            <a:endParaRPr lang="x-none"/>
          </a:p>
        </p:txBody>
      </p:sp>
      <p:pic>
        <p:nvPicPr>
          <p:cNvPr id="14" name="Picture 13" descr="Takeda">
            <a:extLst>
              <a:ext uri="{FF2B5EF4-FFF2-40B4-BE49-F238E27FC236}">
                <a16:creationId xmlns="" xmlns:a16="http://schemas.microsoft.com/office/drawing/2014/main" id="{47FD433F-488A-9D46-BDF0-87D0F082AE4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09748" y="-1211"/>
            <a:ext cx="1272174" cy="705585"/>
          </a:xfrm>
          <a:prstGeom prst="rect">
            <a:avLst/>
          </a:prstGeom>
        </p:spPr>
      </p:pic>
      <p:sp>
        <p:nvSpPr>
          <p:cNvPr id="18" name="タイトル プレースホルダ 1">
            <a:extLst>
              <a:ext uri="{FF2B5EF4-FFF2-40B4-BE49-F238E27FC236}">
                <a16:creationId xmlns="" xmlns:a16="http://schemas.microsoft.com/office/drawing/2014/main" id="{4FBB8310-69E6-7C4E-A4B1-C022B6FEE2CE}"/>
              </a:ext>
            </a:extLst>
          </p:cNvPr>
          <p:cNvSpPr>
            <a:spLocks noGrp="1"/>
          </p:cNvSpPr>
          <p:nvPr>
            <p:ph type="title" hasCustomPrompt="1"/>
          </p:nvPr>
        </p:nvSpPr>
        <p:spPr>
          <a:xfrm>
            <a:off x="454559" y="121208"/>
            <a:ext cx="7455190" cy="51435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 xmlns:a16="http://schemas.microsoft.com/office/drawing/2014/main" id="{4EF39473-C435-3C4E-9C7B-048D52C3CC92}"/>
              </a:ext>
            </a:extLst>
          </p:cNvPr>
          <p:cNvSpPr>
            <a:spLocks noGrp="1"/>
          </p:cNvSpPr>
          <p:nvPr>
            <p:ph type="ftr" sz="quarter" idx="3"/>
          </p:nvPr>
        </p:nvSpPr>
        <p:spPr>
          <a:xfrm>
            <a:off x="5824538" y="4892251"/>
            <a:ext cx="3086100" cy="147098"/>
          </a:xfrm>
          <a:prstGeom prst="rect">
            <a:avLst/>
          </a:prstGeom>
        </p:spPr>
        <p:txBody>
          <a:bodyPr vert="horz" lIns="68531" tIns="34289" rIns="0" bIns="34289" rtlCol="0" anchor="ctr"/>
          <a:lstStyle>
            <a:lvl1pPr algn="r">
              <a:defRPr sz="600" b="1" spc="75" baseline="0">
                <a:solidFill>
                  <a:schemeClr val="tx1"/>
                </a:solidFill>
              </a:defRPr>
            </a:lvl1pPr>
          </a:lstStyle>
          <a:p>
            <a:r>
              <a:rPr lang="en-US">
                <a:solidFill>
                  <a:srgbClr val="34373F"/>
                </a:solidFill>
              </a:rPr>
              <a:t> </a:t>
            </a:r>
            <a:endParaRPr lang="x-none">
              <a:solidFill>
                <a:srgbClr val="34373F"/>
              </a:solidFill>
            </a:endParaRPr>
          </a:p>
        </p:txBody>
      </p:sp>
      <p:sp>
        <p:nvSpPr>
          <p:cNvPr id="21" name="Rectangle 20">
            <a:extLst>
              <a:ext uri="{FF2B5EF4-FFF2-40B4-BE49-F238E27FC236}">
                <a16:creationId xmlns="" xmlns:a16="http://schemas.microsoft.com/office/drawing/2014/main" id="{0FEF9AE6-D84E-9F43-9506-6676EC51B210}"/>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31" tIns="34289" rIns="68531" bIns="34289" rtlCol="0" anchor="ctr"/>
          <a:lstStyle/>
          <a:p>
            <a:pPr algn="ctr" defTabSz="685239"/>
            <a:endParaRPr kumimoji="1" lang="x-none" sz="1400">
              <a:solidFill>
                <a:srgbClr val="E1242A"/>
              </a:solidFill>
            </a:endParaRPr>
          </a:p>
        </p:txBody>
      </p:sp>
      <p:sp>
        <p:nvSpPr>
          <p:cNvPr id="28" name="スライド番号プレースホルダ 5">
            <a:extLst>
              <a:ext uri="{FF2B5EF4-FFF2-40B4-BE49-F238E27FC236}">
                <a16:creationId xmlns="" xmlns:a16="http://schemas.microsoft.com/office/drawing/2014/main" id="{F964ADE6-9B0D-EC45-959C-FEEA5CDDFBA9}"/>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3365"/>
            <a:fld id="{E9B57936-92EF-4126-AE48-1D9D36D15E98}" type="slidenum">
              <a:rPr lang="ja-JP" altLang="en-US" smtClean="0">
                <a:solidFill>
                  <a:srgbClr val="34373F"/>
                </a:solidFill>
              </a:rPr>
              <a:pPr defTabSz="913365"/>
              <a:t>‹Nº›</a:t>
            </a:fld>
            <a:endParaRPr lang="ja-JP" altLang="en-US">
              <a:solidFill>
                <a:srgbClr val="34373F"/>
              </a:solidFill>
            </a:endParaRPr>
          </a:p>
        </p:txBody>
      </p:sp>
      <p:sp>
        <p:nvSpPr>
          <p:cNvPr id="29" name="Text Placeholder 6">
            <a:extLst>
              <a:ext uri="{FF2B5EF4-FFF2-40B4-BE49-F238E27FC236}">
                <a16:creationId xmlns="" xmlns:a16="http://schemas.microsoft.com/office/drawing/2014/main" id="{870D8562-3CE7-7044-9BB0-2068A81BF5CB}"/>
              </a:ext>
            </a:extLst>
          </p:cNvPr>
          <p:cNvSpPr>
            <a:spLocks noGrp="1"/>
          </p:cNvSpPr>
          <p:nvPr>
            <p:ph type="body" sz="quarter" idx="16" hasCustomPrompt="1"/>
          </p:nvPr>
        </p:nvSpPr>
        <p:spPr>
          <a:xfrm>
            <a:off x="454559" y="4892253"/>
            <a:ext cx="5226261" cy="154210"/>
          </a:xfrm>
          <a:prstGeom prst="rect">
            <a:avLst/>
          </a:prstGeom>
        </p:spPr>
        <p:txBody>
          <a:bodyPr wrap="none" tIns="0" rIns="0" bIns="53967" numCol="1" anchor="ctr">
            <a:noAutofit/>
          </a:bodyPr>
          <a:lstStyle>
            <a:lvl1pPr marL="0" indent="0">
              <a:lnSpc>
                <a:spcPts val="1200"/>
              </a:lnSpc>
              <a:spcBef>
                <a:spcPts val="0"/>
              </a:spcBef>
              <a:spcAft>
                <a:spcPts val="450"/>
              </a:spcAft>
              <a:buFont typeface="Arial" panose="020B0604020202020204" pitchFamily="34" charset="0"/>
              <a:buNone/>
              <a:defRPr sz="600" b="0">
                <a:solidFill>
                  <a:schemeClr val="accent3"/>
                </a:solidFill>
              </a:defRPr>
            </a:lvl1pPr>
            <a:lvl2pPr marL="342506" indent="0">
              <a:lnSpc>
                <a:spcPts val="1350"/>
              </a:lnSpc>
              <a:spcBef>
                <a:spcPts val="0"/>
              </a:spcBef>
              <a:buNone/>
              <a:defRPr sz="1100"/>
            </a:lvl2pPr>
            <a:lvl3pPr marL="685051" indent="0">
              <a:lnSpc>
                <a:spcPts val="1350"/>
              </a:lnSpc>
              <a:spcBef>
                <a:spcPts val="0"/>
              </a:spcBef>
              <a:buNone/>
              <a:defRPr sz="1100"/>
            </a:lvl3pPr>
            <a:lvl4pPr marL="1027572" indent="0">
              <a:lnSpc>
                <a:spcPts val="1350"/>
              </a:lnSpc>
              <a:spcBef>
                <a:spcPts val="0"/>
              </a:spcBef>
              <a:buNone/>
              <a:defRPr sz="1100"/>
            </a:lvl4pPr>
            <a:lvl5pPr marL="1370096" indent="0">
              <a:lnSpc>
                <a:spcPts val="1350"/>
              </a:lnSpc>
              <a:spcBef>
                <a:spcPts val="0"/>
              </a:spcBef>
              <a:buNone/>
              <a:defRPr sz="1100"/>
            </a:lvl5pPr>
          </a:lstStyle>
          <a:p>
            <a:pPr lvl="0"/>
            <a:r>
              <a:rPr lang="en-US"/>
              <a:t>Private and confidential. For internal use only.</a:t>
            </a:r>
          </a:p>
        </p:txBody>
      </p:sp>
      <p:sp>
        <p:nvSpPr>
          <p:cNvPr id="19" name="Text Placeholder 2">
            <a:extLst>
              <a:ext uri="{FF2B5EF4-FFF2-40B4-BE49-F238E27FC236}">
                <a16:creationId xmlns="" xmlns:a16="http://schemas.microsoft.com/office/drawing/2014/main" id="{099C450B-0755-7D4A-9672-E700D6F2E50A}"/>
              </a:ext>
            </a:extLst>
          </p:cNvPr>
          <p:cNvSpPr>
            <a:spLocks noGrp="1"/>
          </p:cNvSpPr>
          <p:nvPr>
            <p:ph type="body" sz="quarter" idx="21" hasCustomPrompt="1"/>
          </p:nvPr>
        </p:nvSpPr>
        <p:spPr>
          <a:xfrm>
            <a:off x="233365" y="1118532"/>
            <a:ext cx="8677274" cy="1098718"/>
          </a:xfrm>
        </p:spPr>
        <p:txBody>
          <a:bodyPr tIns="0" rIns="0" bIns="0" numCol="1" spcCol="94434">
            <a:noAutofit/>
          </a:bodyPr>
          <a:lstStyle>
            <a:lvl1pPr marL="0" indent="0">
              <a:lnSpc>
                <a:spcPct val="100000"/>
              </a:lnSpc>
              <a:spcBef>
                <a:spcPts val="0"/>
              </a:spcBef>
              <a:buNone/>
              <a:defRPr sz="1200" b="1"/>
            </a:lvl1pPr>
            <a:lvl2pPr marL="342506" indent="0">
              <a:buNone/>
              <a:defRPr sz="1400" b="1"/>
            </a:lvl2pPr>
            <a:lvl3pPr marL="685051" indent="0">
              <a:buNone/>
              <a:defRPr sz="1400" b="1"/>
            </a:lvl3pPr>
            <a:lvl4pPr marL="1027572" indent="0">
              <a:buNone/>
              <a:defRPr sz="1400" b="1"/>
            </a:lvl4pPr>
            <a:lvl5pPr marL="1370096" indent="0">
              <a:buNone/>
              <a:defRPr sz="1400" b="1"/>
            </a:lvl5pPr>
          </a:lstStyle>
          <a:p>
            <a:pPr lvl="0"/>
            <a:r>
              <a:rPr lang="en-US"/>
              <a:t>This is your Primary Text.</a:t>
            </a:r>
            <a:endParaRPr lang="x-none"/>
          </a:p>
        </p:txBody>
      </p:sp>
      <p:sp>
        <p:nvSpPr>
          <p:cNvPr id="20" name="Text Placeholder 6">
            <a:extLst>
              <a:ext uri="{FF2B5EF4-FFF2-40B4-BE49-F238E27FC236}">
                <a16:creationId xmlns="" xmlns:a16="http://schemas.microsoft.com/office/drawing/2014/main" id="{705B1BEB-AC9F-9643-A446-ABE1DDB96144}"/>
              </a:ext>
            </a:extLst>
          </p:cNvPr>
          <p:cNvSpPr>
            <a:spLocks noGrp="1"/>
          </p:cNvSpPr>
          <p:nvPr>
            <p:ph type="body" sz="quarter" idx="22" hasCustomPrompt="1"/>
          </p:nvPr>
        </p:nvSpPr>
        <p:spPr>
          <a:xfrm>
            <a:off x="233362" y="820327"/>
            <a:ext cx="8677274" cy="204590"/>
          </a:xfrm>
        </p:spPr>
        <p:txBody>
          <a:bodyPr tIns="0" rIns="0" bIns="0" numCol="1">
            <a:noAutofit/>
          </a:bodyPr>
          <a:lstStyle>
            <a:lvl1pPr marL="0" indent="0">
              <a:lnSpc>
                <a:spcPct val="100000"/>
              </a:lnSpc>
              <a:spcBef>
                <a:spcPts val="0"/>
              </a:spcBef>
              <a:spcAft>
                <a:spcPts val="450"/>
              </a:spcAft>
              <a:buNone/>
              <a:defRPr sz="1500" b="1">
                <a:solidFill>
                  <a:schemeClr val="accent1"/>
                </a:solidFill>
              </a:defRPr>
            </a:lvl1pPr>
            <a:lvl2pPr marL="342506" indent="0">
              <a:lnSpc>
                <a:spcPts val="1350"/>
              </a:lnSpc>
              <a:spcBef>
                <a:spcPts val="0"/>
              </a:spcBef>
              <a:buNone/>
              <a:defRPr sz="1100"/>
            </a:lvl2pPr>
            <a:lvl3pPr marL="685051" indent="0">
              <a:lnSpc>
                <a:spcPts val="1350"/>
              </a:lnSpc>
              <a:spcBef>
                <a:spcPts val="0"/>
              </a:spcBef>
              <a:buNone/>
              <a:defRPr sz="1100"/>
            </a:lvl3pPr>
            <a:lvl4pPr marL="1027572" indent="0">
              <a:lnSpc>
                <a:spcPts val="1350"/>
              </a:lnSpc>
              <a:spcBef>
                <a:spcPts val="0"/>
              </a:spcBef>
              <a:buNone/>
              <a:defRPr sz="1100"/>
            </a:lvl4pPr>
            <a:lvl5pPr marL="1370096" indent="0">
              <a:lnSpc>
                <a:spcPts val="1350"/>
              </a:lnSpc>
              <a:spcBef>
                <a:spcPts val="0"/>
              </a:spcBef>
              <a:buNone/>
              <a:defRPr sz="1100"/>
            </a:lvl5pPr>
          </a:lstStyle>
          <a:p>
            <a:pPr lvl="0"/>
            <a:r>
              <a:rPr lang="en-US"/>
              <a:t>This is your Primary Title</a:t>
            </a:r>
          </a:p>
        </p:txBody>
      </p:sp>
    </p:spTree>
    <p:extLst>
      <p:ext uri="{BB962C8B-B14F-4D97-AF65-F5344CB8AC3E}">
        <p14:creationId xmlns:p14="http://schemas.microsoft.com/office/powerpoint/2010/main" val="3928401963"/>
      </p:ext>
    </p:extLst>
  </p:cSld>
  <p:clrMapOvr>
    <a:masterClrMapping/>
  </p:clrMapOvr>
  <p:transition spd="slow">
    <p:push dir="u"/>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Advanced Chart Full Width">
    <p:spTree>
      <p:nvGrpSpPr>
        <p:cNvPr id="1" name=""/>
        <p:cNvGrpSpPr/>
        <p:nvPr/>
      </p:nvGrpSpPr>
      <p:grpSpPr>
        <a:xfrm>
          <a:off x="0" y="0"/>
          <a:ext cx="0" cy="0"/>
          <a:chOff x="0" y="0"/>
          <a:chExt cx="0" cy="0"/>
        </a:xfrm>
      </p:grpSpPr>
      <p:sp>
        <p:nvSpPr>
          <p:cNvPr id="8" name="Chart Placeholder 7">
            <a:extLst>
              <a:ext uri="{FF2B5EF4-FFF2-40B4-BE49-F238E27FC236}">
                <a16:creationId xmlns="" xmlns:a16="http://schemas.microsoft.com/office/drawing/2014/main" id="{A6D4E593-FDCC-D14E-9C5E-5F309E415C26}"/>
              </a:ext>
            </a:extLst>
          </p:cNvPr>
          <p:cNvSpPr>
            <a:spLocks noGrp="1"/>
          </p:cNvSpPr>
          <p:nvPr>
            <p:ph type="chart" sz="quarter" idx="21" hasCustomPrompt="1"/>
          </p:nvPr>
        </p:nvSpPr>
        <p:spPr>
          <a:xfrm>
            <a:off x="231917" y="2307216"/>
            <a:ext cx="8678721" cy="2505292"/>
          </a:xfrm>
          <a:prstGeom prst="rect">
            <a:avLst/>
          </a:prstGeom>
        </p:spPr>
        <p:txBody>
          <a:bodyPr>
            <a:normAutofit/>
          </a:bodyPr>
          <a:lstStyle>
            <a:lvl1pPr marL="0" indent="0">
              <a:buNone/>
              <a:defRPr sz="1100"/>
            </a:lvl1pPr>
          </a:lstStyle>
          <a:p>
            <a:r>
              <a:rPr lang="x-none"/>
              <a:t>Insert Chart</a:t>
            </a:r>
          </a:p>
        </p:txBody>
      </p:sp>
      <p:pic>
        <p:nvPicPr>
          <p:cNvPr id="11" name="Picture 10" descr="Takeda">
            <a:extLst>
              <a:ext uri="{FF2B5EF4-FFF2-40B4-BE49-F238E27FC236}">
                <a16:creationId xmlns="" xmlns:a16="http://schemas.microsoft.com/office/drawing/2014/main" id="{7EBA21A8-EE4B-6E4B-A794-3FEA5B1599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09748" y="-1211"/>
            <a:ext cx="1272174" cy="705585"/>
          </a:xfrm>
          <a:prstGeom prst="rect">
            <a:avLst/>
          </a:prstGeom>
        </p:spPr>
      </p:pic>
      <p:sp>
        <p:nvSpPr>
          <p:cNvPr id="12" name="タイトル プレースホルダ 1">
            <a:extLst>
              <a:ext uri="{FF2B5EF4-FFF2-40B4-BE49-F238E27FC236}">
                <a16:creationId xmlns="" xmlns:a16="http://schemas.microsoft.com/office/drawing/2014/main" id="{75E45CD2-2EBD-AE47-837E-9F752C565F73}"/>
              </a:ext>
            </a:extLst>
          </p:cNvPr>
          <p:cNvSpPr>
            <a:spLocks noGrp="1"/>
          </p:cNvSpPr>
          <p:nvPr>
            <p:ph type="title" hasCustomPrompt="1"/>
          </p:nvPr>
        </p:nvSpPr>
        <p:spPr>
          <a:xfrm>
            <a:off x="454559" y="121208"/>
            <a:ext cx="7455190" cy="51435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 xmlns:a16="http://schemas.microsoft.com/office/drawing/2014/main" id="{2DC26CE8-1DEF-EE42-861C-B0406E8DC23D}"/>
              </a:ext>
            </a:extLst>
          </p:cNvPr>
          <p:cNvSpPr>
            <a:spLocks noGrp="1"/>
          </p:cNvSpPr>
          <p:nvPr>
            <p:ph type="ftr" sz="quarter" idx="3"/>
          </p:nvPr>
        </p:nvSpPr>
        <p:spPr>
          <a:xfrm>
            <a:off x="5824538" y="4892251"/>
            <a:ext cx="3086100" cy="147098"/>
          </a:xfrm>
          <a:prstGeom prst="rect">
            <a:avLst/>
          </a:prstGeom>
        </p:spPr>
        <p:txBody>
          <a:bodyPr vert="horz" lIns="68531" tIns="34289" rIns="0" bIns="34289" rtlCol="0" anchor="ctr"/>
          <a:lstStyle>
            <a:lvl1pPr algn="r">
              <a:defRPr sz="600" b="1" spc="75" baseline="0">
                <a:solidFill>
                  <a:schemeClr val="tx1"/>
                </a:solidFill>
              </a:defRPr>
            </a:lvl1pPr>
          </a:lstStyle>
          <a:p>
            <a:r>
              <a:rPr lang="x-none">
                <a:solidFill>
                  <a:srgbClr val="34373F"/>
                </a:solidFill>
              </a:rPr>
              <a:t> </a:t>
            </a:r>
          </a:p>
        </p:txBody>
      </p:sp>
      <p:sp>
        <p:nvSpPr>
          <p:cNvPr id="20" name="Rectangle 19">
            <a:extLst>
              <a:ext uri="{FF2B5EF4-FFF2-40B4-BE49-F238E27FC236}">
                <a16:creationId xmlns="" xmlns:a16="http://schemas.microsoft.com/office/drawing/2014/main" id="{4436966D-3DF0-4D41-9D26-4860D147F807}"/>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31" tIns="34289" rIns="68531" bIns="34289" rtlCol="0" anchor="ctr"/>
          <a:lstStyle/>
          <a:p>
            <a:pPr algn="ctr" defTabSz="685239"/>
            <a:endParaRPr kumimoji="1" lang="x-none" sz="1400">
              <a:solidFill>
                <a:srgbClr val="E1242A"/>
              </a:solidFill>
            </a:endParaRPr>
          </a:p>
        </p:txBody>
      </p:sp>
      <p:sp>
        <p:nvSpPr>
          <p:cNvPr id="23" name="スライド番号プレースホルダ 5">
            <a:extLst>
              <a:ext uri="{FF2B5EF4-FFF2-40B4-BE49-F238E27FC236}">
                <a16:creationId xmlns="" xmlns:a16="http://schemas.microsoft.com/office/drawing/2014/main" id="{600920FB-2D44-F645-865D-89FFECB09573}"/>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3365"/>
            <a:fld id="{E9B57936-92EF-4126-AE48-1D9D36D15E98}" type="slidenum">
              <a:rPr lang="ja-JP" altLang="en-US" smtClean="0">
                <a:solidFill>
                  <a:srgbClr val="34373F"/>
                </a:solidFill>
              </a:rPr>
              <a:pPr defTabSz="913365"/>
              <a:t>‹Nº›</a:t>
            </a:fld>
            <a:endParaRPr lang="ja-JP" altLang="en-US">
              <a:solidFill>
                <a:srgbClr val="34373F"/>
              </a:solidFill>
            </a:endParaRPr>
          </a:p>
        </p:txBody>
      </p:sp>
      <p:sp>
        <p:nvSpPr>
          <p:cNvPr id="24" name="Text Placeholder 6">
            <a:extLst>
              <a:ext uri="{FF2B5EF4-FFF2-40B4-BE49-F238E27FC236}">
                <a16:creationId xmlns="" xmlns:a16="http://schemas.microsoft.com/office/drawing/2014/main" id="{07DE8F7E-1418-1C4C-A62B-2385714992F7}"/>
              </a:ext>
            </a:extLst>
          </p:cNvPr>
          <p:cNvSpPr>
            <a:spLocks noGrp="1"/>
          </p:cNvSpPr>
          <p:nvPr>
            <p:ph type="body" sz="quarter" idx="16" hasCustomPrompt="1"/>
          </p:nvPr>
        </p:nvSpPr>
        <p:spPr>
          <a:xfrm>
            <a:off x="454559" y="4892253"/>
            <a:ext cx="5226261" cy="154210"/>
          </a:xfrm>
          <a:prstGeom prst="rect">
            <a:avLst/>
          </a:prstGeom>
        </p:spPr>
        <p:txBody>
          <a:bodyPr wrap="none" tIns="0" rIns="0" bIns="53967" numCol="1" anchor="ctr">
            <a:noAutofit/>
          </a:bodyPr>
          <a:lstStyle>
            <a:lvl1pPr marL="0" indent="0">
              <a:lnSpc>
                <a:spcPts val="1200"/>
              </a:lnSpc>
              <a:spcBef>
                <a:spcPts val="0"/>
              </a:spcBef>
              <a:spcAft>
                <a:spcPts val="450"/>
              </a:spcAft>
              <a:buFont typeface="Arial" panose="020B0604020202020204" pitchFamily="34" charset="0"/>
              <a:buNone/>
              <a:defRPr sz="600" b="0">
                <a:solidFill>
                  <a:schemeClr val="accent3"/>
                </a:solidFill>
              </a:defRPr>
            </a:lvl1pPr>
            <a:lvl2pPr marL="342506" indent="0">
              <a:lnSpc>
                <a:spcPts val="1350"/>
              </a:lnSpc>
              <a:spcBef>
                <a:spcPts val="0"/>
              </a:spcBef>
              <a:buNone/>
              <a:defRPr sz="1100"/>
            </a:lvl2pPr>
            <a:lvl3pPr marL="685051" indent="0">
              <a:lnSpc>
                <a:spcPts val="1350"/>
              </a:lnSpc>
              <a:spcBef>
                <a:spcPts val="0"/>
              </a:spcBef>
              <a:buNone/>
              <a:defRPr sz="1100"/>
            </a:lvl3pPr>
            <a:lvl4pPr marL="1027572" indent="0">
              <a:lnSpc>
                <a:spcPts val="1350"/>
              </a:lnSpc>
              <a:spcBef>
                <a:spcPts val="0"/>
              </a:spcBef>
              <a:buNone/>
              <a:defRPr sz="1100"/>
            </a:lvl4pPr>
            <a:lvl5pPr marL="1370096" indent="0">
              <a:lnSpc>
                <a:spcPts val="1350"/>
              </a:lnSpc>
              <a:spcBef>
                <a:spcPts val="0"/>
              </a:spcBef>
              <a:buNone/>
              <a:defRPr sz="1100"/>
            </a:lvl5pPr>
          </a:lstStyle>
          <a:p>
            <a:pPr lvl="0"/>
            <a:r>
              <a:rPr lang="en-US"/>
              <a:t>Private and confidential. For internal use only.</a:t>
            </a:r>
          </a:p>
        </p:txBody>
      </p:sp>
      <p:sp>
        <p:nvSpPr>
          <p:cNvPr id="14" name="Text Placeholder 2">
            <a:extLst>
              <a:ext uri="{FF2B5EF4-FFF2-40B4-BE49-F238E27FC236}">
                <a16:creationId xmlns="" xmlns:a16="http://schemas.microsoft.com/office/drawing/2014/main" id="{628A960D-6A45-6744-9BDB-7070B443CC64}"/>
              </a:ext>
            </a:extLst>
          </p:cNvPr>
          <p:cNvSpPr>
            <a:spLocks noGrp="1"/>
          </p:cNvSpPr>
          <p:nvPr>
            <p:ph type="body" sz="quarter" idx="20" hasCustomPrompt="1"/>
          </p:nvPr>
        </p:nvSpPr>
        <p:spPr>
          <a:xfrm>
            <a:off x="233365" y="1118532"/>
            <a:ext cx="8677274" cy="1098718"/>
          </a:xfrm>
        </p:spPr>
        <p:txBody>
          <a:bodyPr tIns="0" rIns="0" bIns="0" numCol="1" spcCol="94434">
            <a:noAutofit/>
          </a:bodyPr>
          <a:lstStyle>
            <a:lvl1pPr marL="0" indent="0">
              <a:lnSpc>
                <a:spcPct val="100000"/>
              </a:lnSpc>
              <a:spcBef>
                <a:spcPts val="0"/>
              </a:spcBef>
              <a:buNone/>
              <a:defRPr sz="1200" b="1"/>
            </a:lvl1pPr>
            <a:lvl2pPr marL="342506" indent="0">
              <a:buNone/>
              <a:defRPr sz="1400" b="1"/>
            </a:lvl2pPr>
            <a:lvl3pPr marL="685051" indent="0">
              <a:buNone/>
              <a:defRPr sz="1400" b="1"/>
            </a:lvl3pPr>
            <a:lvl4pPr marL="1027572" indent="0">
              <a:buNone/>
              <a:defRPr sz="1400" b="1"/>
            </a:lvl4pPr>
            <a:lvl5pPr marL="1370096" indent="0">
              <a:buNone/>
              <a:defRPr sz="1400" b="1"/>
            </a:lvl5pPr>
          </a:lstStyle>
          <a:p>
            <a:pPr lvl="0"/>
            <a:r>
              <a:rPr lang="en-US"/>
              <a:t>This is your Primary Text.</a:t>
            </a:r>
            <a:endParaRPr lang="x-none"/>
          </a:p>
        </p:txBody>
      </p:sp>
      <p:sp>
        <p:nvSpPr>
          <p:cNvPr id="15" name="Text Placeholder 6">
            <a:extLst>
              <a:ext uri="{FF2B5EF4-FFF2-40B4-BE49-F238E27FC236}">
                <a16:creationId xmlns="" xmlns:a16="http://schemas.microsoft.com/office/drawing/2014/main" id="{21493179-5EA4-604B-A9DF-BDA818F0166A}"/>
              </a:ext>
            </a:extLst>
          </p:cNvPr>
          <p:cNvSpPr>
            <a:spLocks noGrp="1"/>
          </p:cNvSpPr>
          <p:nvPr>
            <p:ph type="body" sz="quarter" idx="22" hasCustomPrompt="1"/>
          </p:nvPr>
        </p:nvSpPr>
        <p:spPr>
          <a:xfrm>
            <a:off x="233362" y="820327"/>
            <a:ext cx="8677274" cy="204590"/>
          </a:xfrm>
        </p:spPr>
        <p:txBody>
          <a:bodyPr tIns="0" rIns="0" bIns="0" numCol="1">
            <a:noAutofit/>
          </a:bodyPr>
          <a:lstStyle>
            <a:lvl1pPr marL="0" indent="0">
              <a:lnSpc>
                <a:spcPct val="100000"/>
              </a:lnSpc>
              <a:spcBef>
                <a:spcPts val="0"/>
              </a:spcBef>
              <a:spcAft>
                <a:spcPts val="450"/>
              </a:spcAft>
              <a:buNone/>
              <a:defRPr sz="1500" b="1">
                <a:solidFill>
                  <a:schemeClr val="accent1"/>
                </a:solidFill>
              </a:defRPr>
            </a:lvl1pPr>
            <a:lvl2pPr marL="342506" indent="0">
              <a:lnSpc>
                <a:spcPts val="1350"/>
              </a:lnSpc>
              <a:spcBef>
                <a:spcPts val="0"/>
              </a:spcBef>
              <a:buNone/>
              <a:defRPr sz="1100"/>
            </a:lvl2pPr>
            <a:lvl3pPr marL="685051" indent="0">
              <a:lnSpc>
                <a:spcPts val="1350"/>
              </a:lnSpc>
              <a:spcBef>
                <a:spcPts val="0"/>
              </a:spcBef>
              <a:buNone/>
              <a:defRPr sz="1100"/>
            </a:lvl3pPr>
            <a:lvl4pPr marL="1027572" indent="0">
              <a:lnSpc>
                <a:spcPts val="1350"/>
              </a:lnSpc>
              <a:spcBef>
                <a:spcPts val="0"/>
              </a:spcBef>
              <a:buNone/>
              <a:defRPr sz="1100"/>
            </a:lvl4pPr>
            <a:lvl5pPr marL="1370096" indent="0">
              <a:lnSpc>
                <a:spcPts val="1350"/>
              </a:lnSpc>
              <a:spcBef>
                <a:spcPts val="0"/>
              </a:spcBef>
              <a:buNone/>
              <a:defRPr sz="1100"/>
            </a:lvl5pPr>
          </a:lstStyle>
          <a:p>
            <a:pPr lvl="0"/>
            <a:r>
              <a:rPr lang="en-US"/>
              <a:t>This is your Primary Title</a:t>
            </a:r>
          </a:p>
        </p:txBody>
      </p:sp>
    </p:spTree>
    <p:extLst>
      <p:ext uri="{BB962C8B-B14F-4D97-AF65-F5344CB8AC3E}">
        <p14:creationId xmlns:p14="http://schemas.microsoft.com/office/powerpoint/2010/main" val="2425039858"/>
      </p:ext>
    </p:extLst>
  </p:cSld>
  <p:clrMapOvr>
    <a:masterClrMapping/>
  </p:clrMapOvr>
  <p:transition spd="slow">
    <p:push dir="u"/>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Advanced Chart 2/3">
    <p:spTree>
      <p:nvGrpSpPr>
        <p:cNvPr id="1" name=""/>
        <p:cNvGrpSpPr/>
        <p:nvPr/>
      </p:nvGrpSpPr>
      <p:grpSpPr>
        <a:xfrm>
          <a:off x="0" y="0"/>
          <a:ext cx="0" cy="0"/>
          <a:chOff x="0" y="0"/>
          <a:chExt cx="0" cy="0"/>
        </a:xfrm>
      </p:grpSpPr>
      <p:sp>
        <p:nvSpPr>
          <p:cNvPr id="8" name="Chart Placeholder 7">
            <a:extLst>
              <a:ext uri="{FF2B5EF4-FFF2-40B4-BE49-F238E27FC236}">
                <a16:creationId xmlns="" xmlns:a16="http://schemas.microsoft.com/office/drawing/2014/main" id="{A6D4E593-FDCC-D14E-9C5E-5F309E415C26}"/>
              </a:ext>
            </a:extLst>
          </p:cNvPr>
          <p:cNvSpPr>
            <a:spLocks noGrp="1"/>
          </p:cNvSpPr>
          <p:nvPr>
            <p:ph type="chart" sz="quarter" idx="21" hasCustomPrompt="1"/>
          </p:nvPr>
        </p:nvSpPr>
        <p:spPr>
          <a:xfrm>
            <a:off x="3170429" y="820325"/>
            <a:ext cx="5740219" cy="3992181"/>
          </a:xfrm>
          <a:prstGeom prst="rect">
            <a:avLst/>
          </a:prstGeom>
        </p:spPr>
        <p:txBody>
          <a:bodyPr>
            <a:normAutofit/>
          </a:bodyPr>
          <a:lstStyle>
            <a:lvl1pPr marL="0" indent="0">
              <a:buNone/>
              <a:defRPr sz="1100"/>
            </a:lvl1pPr>
          </a:lstStyle>
          <a:p>
            <a:r>
              <a:rPr lang="x-none"/>
              <a:t>Insert Chart</a:t>
            </a:r>
          </a:p>
        </p:txBody>
      </p:sp>
      <p:sp>
        <p:nvSpPr>
          <p:cNvPr id="9" name="Text Placeholder 6">
            <a:extLst>
              <a:ext uri="{FF2B5EF4-FFF2-40B4-BE49-F238E27FC236}">
                <a16:creationId xmlns="" xmlns:a16="http://schemas.microsoft.com/office/drawing/2014/main" id="{EF65D74B-37DA-0D46-8B56-9B362C84E6B9}"/>
              </a:ext>
            </a:extLst>
          </p:cNvPr>
          <p:cNvSpPr>
            <a:spLocks noGrp="1"/>
          </p:cNvSpPr>
          <p:nvPr>
            <p:ph type="body" sz="quarter" idx="14" hasCustomPrompt="1"/>
          </p:nvPr>
        </p:nvSpPr>
        <p:spPr>
          <a:xfrm>
            <a:off x="233367" y="2383723"/>
            <a:ext cx="2813975" cy="204590"/>
          </a:xfrm>
          <a:prstGeom prst="rect">
            <a:avLst/>
          </a:prstGeom>
        </p:spPr>
        <p:txBody>
          <a:bodyPr tIns="0" rIns="0" bIns="0" numCol="1">
            <a:noAutofit/>
          </a:bodyPr>
          <a:lstStyle>
            <a:lvl1pPr marL="0" indent="0">
              <a:lnSpc>
                <a:spcPct val="100000"/>
              </a:lnSpc>
              <a:spcBef>
                <a:spcPts val="0"/>
              </a:spcBef>
              <a:spcAft>
                <a:spcPts val="450"/>
              </a:spcAft>
              <a:buNone/>
              <a:defRPr sz="1400" b="1">
                <a:solidFill>
                  <a:schemeClr val="accent1"/>
                </a:solidFill>
              </a:defRPr>
            </a:lvl1pPr>
            <a:lvl2pPr marL="342506" indent="0">
              <a:lnSpc>
                <a:spcPts val="1350"/>
              </a:lnSpc>
              <a:spcBef>
                <a:spcPts val="0"/>
              </a:spcBef>
              <a:buNone/>
              <a:defRPr sz="1100"/>
            </a:lvl2pPr>
            <a:lvl3pPr marL="685051" indent="0">
              <a:lnSpc>
                <a:spcPts val="1350"/>
              </a:lnSpc>
              <a:spcBef>
                <a:spcPts val="0"/>
              </a:spcBef>
              <a:buNone/>
              <a:defRPr sz="1100"/>
            </a:lvl3pPr>
            <a:lvl4pPr marL="1027572" indent="0">
              <a:lnSpc>
                <a:spcPts val="1350"/>
              </a:lnSpc>
              <a:spcBef>
                <a:spcPts val="0"/>
              </a:spcBef>
              <a:buNone/>
              <a:defRPr sz="1100"/>
            </a:lvl4pPr>
            <a:lvl5pPr marL="1370096" indent="0">
              <a:lnSpc>
                <a:spcPts val="1350"/>
              </a:lnSpc>
              <a:spcBef>
                <a:spcPts val="0"/>
              </a:spcBef>
              <a:buNone/>
              <a:defRPr sz="1100"/>
            </a:lvl5pPr>
          </a:lstStyle>
          <a:p>
            <a:pPr lvl="0"/>
            <a:r>
              <a:rPr lang="en-US"/>
              <a:t>This is your Secondary Title</a:t>
            </a:r>
          </a:p>
        </p:txBody>
      </p:sp>
      <p:sp>
        <p:nvSpPr>
          <p:cNvPr id="10" name="Text Placeholder 6">
            <a:extLst>
              <a:ext uri="{FF2B5EF4-FFF2-40B4-BE49-F238E27FC236}">
                <a16:creationId xmlns="" xmlns:a16="http://schemas.microsoft.com/office/drawing/2014/main" id="{BF5F6A26-5AAA-884F-A319-DE9881530AA7}"/>
              </a:ext>
            </a:extLst>
          </p:cNvPr>
          <p:cNvSpPr>
            <a:spLocks noGrp="1"/>
          </p:cNvSpPr>
          <p:nvPr>
            <p:ph type="body" sz="quarter" idx="15" hasCustomPrompt="1"/>
          </p:nvPr>
        </p:nvSpPr>
        <p:spPr>
          <a:xfrm>
            <a:off x="233367" y="2681929"/>
            <a:ext cx="2813975" cy="2130578"/>
          </a:xfrm>
          <a:prstGeom prst="rect">
            <a:avLst/>
          </a:prstGeom>
        </p:spPr>
        <p:txBody>
          <a:bodyPr tIns="0" rIns="0" bIns="0" numCol="1">
            <a:noAutofit/>
          </a:bodyPr>
          <a:lstStyle>
            <a:lvl1pPr marL="128489" indent="-128489">
              <a:lnSpc>
                <a:spcPct val="100000"/>
              </a:lnSpc>
              <a:spcBef>
                <a:spcPts val="0"/>
              </a:spcBef>
              <a:spcAft>
                <a:spcPts val="450"/>
              </a:spcAft>
              <a:buFont typeface="Arial" panose="020B0604020202020204" pitchFamily="34" charset="0"/>
              <a:buChar char="•"/>
              <a:defRPr sz="1100" b="0">
                <a:solidFill>
                  <a:schemeClr val="tx1"/>
                </a:solidFill>
              </a:defRPr>
            </a:lvl1pPr>
            <a:lvl2pPr marL="342506" indent="0">
              <a:lnSpc>
                <a:spcPts val="1350"/>
              </a:lnSpc>
              <a:spcBef>
                <a:spcPts val="0"/>
              </a:spcBef>
              <a:buNone/>
              <a:defRPr sz="1100"/>
            </a:lvl2pPr>
            <a:lvl3pPr marL="685051" indent="0">
              <a:lnSpc>
                <a:spcPts val="1350"/>
              </a:lnSpc>
              <a:spcBef>
                <a:spcPts val="0"/>
              </a:spcBef>
              <a:buNone/>
              <a:defRPr sz="1100"/>
            </a:lvl3pPr>
            <a:lvl4pPr marL="1027572" indent="0">
              <a:lnSpc>
                <a:spcPts val="1350"/>
              </a:lnSpc>
              <a:spcBef>
                <a:spcPts val="0"/>
              </a:spcBef>
              <a:buNone/>
              <a:defRPr sz="1100"/>
            </a:lvl4pPr>
            <a:lvl5pPr marL="1370096" indent="0">
              <a:lnSpc>
                <a:spcPts val="1350"/>
              </a:lnSpc>
              <a:spcBef>
                <a:spcPts val="0"/>
              </a:spcBef>
              <a:buNone/>
              <a:defRPr sz="1100"/>
            </a:lvl5pPr>
          </a:lstStyle>
          <a:p>
            <a:pPr lvl="0"/>
            <a:r>
              <a:rPr lang="en-US"/>
              <a:t>This is your Secondary text.</a:t>
            </a:r>
          </a:p>
        </p:txBody>
      </p:sp>
      <p:pic>
        <p:nvPicPr>
          <p:cNvPr id="12" name="Picture 11" descr="Takeda">
            <a:extLst>
              <a:ext uri="{FF2B5EF4-FFF2-40B4-BE49-F238E27FC236}">
                <a16:creationId xmlns="" xmlns:a16="http://schemas.microsoft.com/office/drawing/2014/main" id="{5D7AA9CA-E651-9E48-B0F3-BDDA45B353E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09748" y="-1211"/>
            <a:ext cx="1272174" cy="705585"/>
          </a:xfrm>
          <a:prstGeom prst="rect">
            <a:avLst/>
          </a:prstGeom>
        </p:spPr>
      </p:pic>
      <p:sp>
        <p:nvSpPr>
          <p:cNvPr id="13" name="タイトル プレースホルダ 1">
            <a:extLst>
              <a:ext uri="{FF2B5EF4-FFF2-40B4-BE49-F238E27FC236}">
                <a16:creationId xmlns="" xmlns:a16="http://schemas.microsoft.com/office/drawing/2014/main" id="{2256F400-EDA8-7F44-BF13-278518497C9E}"/>
              </a:ext>
            </a:extLst>
          </p:cNvPr>
          <p:cNvSpPr>
            <a:spLocks noGrp="1"/>
          </p:cNvSpPr>
          <p:nvPr>
            <p:ph type="title" hasCustomPrompt="1"/>
          </p:nvPr>
        </p:nvSpPr>
        <p:spPr>
          <a:xfrm>
            <a:off x="454559" y="121208"/>
            <a:ext cx="7455190" cy="51435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5" name="Footer Placeholder 8">
            <a:extLst>
              <a:ext uri="{FF2B5EF4-FFF2-40B4-BE49-F238E27FC236}">
                <a16:creationId xmlns="" xmlns:a16="http://schemas.microsoft.com/office/drawing/2014/main" id="{7136781B-A49B-0A42-B748-01C379A12FF6}"/>
              </a:ext>
            </a:extLst>
          </p:cNvPr>
          <p:cNvSpPr>
            <a:spLocks noGrp="1"/>
          </p:cNvSpPr>
          <p:nvPr>
            <p:ph type="ftr" sz="quarter" idx="3"/>
          </p:nvPr>
        </p:nvSpPr>
        <p:spPr>
          <a:xfrm>
            <a:off x="5824538" y="4892251"/>
            <a:ext cx="3086100" cy="147098"/>
          </a:xfrm>
          <a:prstGeom prst="rect">
            <a:avLst/>
          </a:prstGeom>
        </p:spPr>
        <p:txBody>
          <a:bodyPr vert="horz" lIns="68531" tIns="34289" rIns="0" bIns="34289" rtlCol="0" anchor="ctr"/>
          <a:lstStyle>
            <a:lvl1pPr algn="r">
              <a:defRPr sz="600" b="1" spc="75" baseline="0">
                <a:solidFill>
                  <a:schemeClr val="tx1"/>
                </a:solidFill>
              </a:defRPr>
            </a:lvl1pPr>
          </a:lstStyle>
          <a:p>
            <a:r>
              <a:rPr lang="x-none">
                <a:solidFill>
                  <a:srgbClr val="34373F"/>
                </a:solidFill>
              </a:rPr>
              <a:t> </a:t>
            </a:r>
          </a:p>
        </p:txBody>
      </p:sp>
      <p:sp>
        <p:nvSpPr>
          <p:cNvPr id="21" name="Rectangle 20">
            <a:extLst>
              <a:ext uri="{FF2B5EF4-FFF2-40B4-BE49-F238E27FC236}">
                <a16:creationId xmlns="" xmlns:a16="http://schemas.microsoft.com/office/drawing/2014/main" id="{EAC2B0AC-7801-6C42-BA03-0669DC118159}"/>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31" tIns="34289" rIns="68531" bIns="34289" rtlCol="0" anchor="ctr"/>
          <a:lstStyle/>
          <a:p>
            <a:pPr algn="ctr" defTabSz="685239"/>
            <a:endParaRPr kumimoji="1" lang="x-none" sz="1400">
              <a:solidFill>
                <a:srgbClr val="E1242A"/>
              </a:solidFill>
            </a:endParaRPr>
          </a:p>
        </p:txBody>
      </p:sp>
      <p:sp>
        <p:nvSpPr>
          <p:cNvPr id="24" name="スライド番号プレースホルダ 5">
            <a:extLst>
              <a:ext uri="{FF2B5EF4-FFF2-40B4-BE49-F238E27FC236}">
                <a16:creationId xmlns="" xmlns:a16="http://schemas.microsoft.com/office/drawing/2014/main" id="{71FCF96E-3BB8-0745-B029-6B6BE4291274}"/>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3365"/>
            <a:fld id="{E9B57936-92EF-4126-AE48-1D9D36D15E98}" type="slidenum">
              <a:rPr lang="ja-JP" altLang="en-US" smtClean="0">
                <a:solidFill>
                  <a:srgbClr val="34373F"/>
                </a:solidFill>
              </a:rPr>
              <a:pPr defTabSz="913365"/>
              <a:t>‹Nº›</a:t>
            </a:fld>
            <a:endParaRPr lang="ja-JP" altLang="en-US">
              <a:solidFill>
                <a:srgbClr val="34373F"/>
              </a:solidFill>
            </a:endParaRPr>
          </a:p>
        </p:txBody>
      </p:sp>
      <p:sp>
        <p:nvSpPr>
          <p:cNvPr id="25" name="Text Placeholder 6">
            <a:extLst>
              <a:ext uri="{FF2B5EF4-FFF2-40B4-BE49-F238E27FC236}">
                <a16:creationId xmlns="" xmlns:a16="http://schemas.microsoft.com/office/drawing/2014/main" id="{875659DC-941F-AA40-8336-C3B1BF32BAD6}"/>
              </a:ext>
            </a:extLst>
          </p:cNvPr>
          <p:cNvSpPr>
            <a:spLocks noGrp="1"/>
          </p:cNvSpPr>
          <p:nvPr>
            <p:ph type="body" sz="quarter" idx="16" hasCustomPrompt="1"/>
          </p:nvPr>
        </p:nvSpPr>
        <p:spPr>
          <a:xfrm>
            <a:off x="454559" y="4892253"/>
            <a:ext cx="5226261" cy="154210"/>
          </a:xfrm>
          <a:prstGeom prst="rect">
            <a:avLst/>
          </a:prstGeom>
        </p:spPr>
        <p:txBody>
          <a:bodyPr wrap="none" tIns="0" rIns="0" bIns="53967" numCol="1" anchor="ctr">
            <a:noAutofit/>
          </a:bodyPr>
          <a:lstStyle>
            <a:lvl1pPr marL="0" indent="0">
              <a:lnSpc>
                <a:spcPts val="1200"/>
              </a:lnSpc>
              <a:spcBef>
                <a:spcPts val="0"/>
              </a:spcBef>
              <a:spcAft>
                <a:spcPts val="450"/>
              </a:spcAft>
              <a:buFont typeface="Arial" panose="020B0604020202020204" pitchFamily="34" charset="0"/>
              <a:buNone/>
              <a:defRPr sz="600" b="0">
                <a:solidFill>
                  <a:schemeClr val="accent3"/>
                </a:solidFill>
              </a:defRPr>
            </a:lvl1pPr>
            <a:lvl2pPr marL="342506" indent="0">
              <a:lnSpc>
                <a:spcPts val="1350"/>
              </a:lnSpc>
              <a:spcBef>
                <a:spcPts val="0"/>
              </a:spcBef>
              <a:buNone/>
              <a:defRPr sz="1100"/>
            </a:lvl2pPr>
            <a:lvl3pPr marL="685051" indent="0">
              <a:lnSpc>
                <a:spcPts val="1350"/>
              </a:lnSpc>
              <a:spcBef>
                <a:spcPts val="0"/>
              </a:spcBef>
              <a:buNone/>
              <a:defRPr sz="1100"/>
            </a:lvl3pPr>
            <a:lvl4pPr marL="1027572" indent="0">
              <a:lnSpc>
                <a:spcPts val="1350"/>
              </a:lnSpc>
              <a:spcBef>
                <a:spcPts val="0"/>
              </a:spcBef>
              <a:buNone/>
              <a:defRPr sz="1100"/>
            </a:lvl4pPr>
            <a:lvl5pPr marL="1370096" indent="0">
              <a:lnSpc>
                <a:spcPts val="1350"/>
              </a:lnSpc>
              <a:spcBef>
                <a:spcPts val="0"/>
              </a:spcBef>
              <a:buNone/>
              <a:defRPr sz="1100"/>
            </a:lvl5pPr>
          </a:lstStyle>
          <a:p>
            <a:pPr lvl="0"/>
            <a:r>
              <a:rPr lang="en-US"/>
              <a:t>Private and confidential. For internal use only.</a:t>
            </a:r>
          </a:p>
        </p:txBody>
      </p:sp>
      <p:sp>
        <p:nvSpPr>
          <p:cNvPr id="17" name="Text Placeholder 2">
            <a:extLst>
              <a:ext uri="{FF2B5EF4-FFF2-40B4-BE49-F238E27FC236}">
                <a16:creationId xmlns="" xmlns:a16="http://schemas.microsoft.com/office/drawing/2014/main" id="{45375A5A-6A84-7145-B49C-982F84619406}"/>
              </a:ext>
            </a:extLst>
          </p:cNvPr>
          <p:cNvSpPr>
            <a:spLocks noGrp="1"/>
          </p:cNvSpPr>
          <p:nvPr>
            <p:ph type="body" sz="quarter" idx="20" hasCustomPrompt="1"/>
          </p:nvPr>
        </p:nvSpPr>
        <p:spPr>
          <a:xfrm>
            <a:off x="233363" y="1118532"/>
            <a:ext cx="2813974" cy="1098718"/>
          </a:xfrm>
        </p:spPr>
        <p:txBody>
          <a:bodyPr tIns="0" rIns="0" bIns="0" numCol="1" spcCol="94434">
            <a:noAutofit/>
          </a:bodyPr>
          <a:lstStyle>
            <a:lvl1pPr marL="0" indent="0">
              <a:lnSpc>
                <a:spcPct val="100000"/>
              </a:lnSpc>
              <a:spcBef>
                <a:spcPts val="0"/>
              </a:spcBef>
              <a:buNone/>
              <a:defRPr sz="1200" b="1"/>
            </a:lvl1pPr>
            <a:lvl2pPr marL="342506" indent="0">
              <a:buNone/>
              <a:defRPr sz="1400" b="1"/>
            </a:lvl2pPr>
            <a:lvl3pPr marL="685051" indent="0">
              <a:buNone/>
              <a:defRPr sz="1400" b="1"/>
            </a:lvl3pPr>
            <a:lvl4pPr marL="1027572" indent="0">
              <a:buNone/>
              <a:defRPr sz="1400" b="1"/>
            </a:lvl4pPr>
            <a:lvl5pPr marL="1370096" indent="0">
              <a:buNone/>
              <a:defRPr sz="1400" b="1"/>
            </a:lvl5pPr>
          </a:lstStyle>
          <a:p>
            <a:pPr lvl="0"/>
            <a:r>
              <a:rPr lang="en-US"/>
              <a:t>This is your Primary Text.</a:t>
            </a:r>
            <a:endParaRPr lang="x-none"/>
          </a:p>
        </p:txBody>
      </p:sp>
      <p:sp>
        <p:nvSpPr>
          <p:cNvPr id="18" name="Text Placeholder 6">
            <a:extLst>
              <a:ext uri="{FF2B5EF4-FFF2-40B4-BE49-F238E27FC236}">
                <a16:creationId xmlns="" xmlns:a16="http://schemas.microsoft.com/office/drawing/2014/main" id="{5F7E9041-544E-3547-AC30-65F55E91E1ED}"/>
              </a:ext>
            </a:extLst>
          </p:cNvPr>
          <p:cNvSpPr>
            <a:spLocks noGrp="1"/>
          </p:cNvSpPr>
          <p:nvPr>
            <p:ph type="body" sz="quarter" idx="22" hasCustomPrompt="1"/>
          </p:nvPr>
        </p:nvSpPr>
        <p:spPr>
          <a:xfrm>
            <a:off x="233363" y="820327"/>
            <a:ext cx="2813974" cy="204590"/>
          </a:xfrm>
        </p:spPr>
        <p:txBody>
          <a:bodyPr tIns="0" rIns="0" bIns="0" numCol="1">
            <a:noAutofit/>
          </a:bodyPr>
          <a:lstStyle>
            <a:lvl1pPr marL="0" indent="0">
              <a:lnSpc>
                <a:spcPct val="100000"/>
              </a:lnSpc>
              <a:spcBef>
                <a:spcPts val="0"/>
              </a:spcBef>
              <a:spcAft>
                <a:spcPts val="450"/>
              </a:spcAft>
              <a:buNone/>
              <a:defRPr sz="1500" b="1">
                <a:solidFill>
                  <a:schemeClr val="accent1"/>
                </a:solidFill>
              </a:defRPr>
            </a:lvl1pPr>
            <a:lvl2pPr marL="342506" indent="0">
              <a:lnSpc>
                <a:spcPts val="1350"/>
              </a:lnSpc>
              <a:spcBef>
                <a:spcPts val="0"/>
              </a:spcBef>
              <a:buNone/>
              <a:defRPr sz="1100"/>
            </a:lvl2pPr>
            <a:lvl3pPr marL="685051" indent="0">
              <a:lnSpc>
                <a:spcPts val="1350"/>
              </a:lnSpc>
              <a:spcBef>
                <a:spcPts val="0"/>
              </a:spcBef>
              <a:buNone/>
              <a:defRPr sz="1100"/>
            </a:lvl3pPr>
            <a:lvl4pPr marL="1027572" indent="0">
              <a:lnSpc>
                <a:spcPts val="1350"/>
              </a:lnSpc>
              <a:spcBef>
                <a:spcPts val="0"/>
              </a:spcBef>
              <a:buNone/>
              <a:defRPr sz="1100"/>
            </a:lvl4pPr>
            <a:lvl5pPr marL="1370096" indent="0">
              <a:lnSpc>
                <a:spcPts val="1350"/>
              </a:lnSpc>
              <a:spcBef>
                <a:spcPts val="0"/>
              </a:spcBef>
              <a:buNone/>
              <a:defRPr sz="1100"/>
            </a:lvl5pPr>
          </a:lstStyle>
          <a:p>
            <a:pPr lvl="0"/>
            <a:r>
              <a:rPr lang="en-US"/>
              <a:t>This is your Primary Title</a:t>
            </a:r>
          </a:p>
        </p:txBody>
      </p:sp>
    </p:spTree>
    <p:extLst>
      <p:ext uri="{BB962C8B-B14F-4D97-AF65-F5344CB8AC3E}">
        <p14:creationId xmlns:p14="http://schemas.microsoft.com/office/powerpoint/2010/main" val="1218926345"/>
      </p:ext>
    </p:extLst>
  </p:cSld>
  <p:clrMapOvr>
    <a:masterClrMapping/>
  </p:clrMapOvr>
  <p:transition spd="slow">
    <p:push dir="u"/>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Advanced Chart 2 Column">
    <p:spTree>
      <p:nvGrpSpPr>
        <p:cNvPr id="1" name=""/>
        <p:cNvGrpSpPr/>
        <p:nvPr/>
      </p:nvGrpSpPr>
      <p:grpSpPr>
        <a:xfrm>
          <a:off x="0" y="0"/>
          <a:ext cx="0" cy="0"/>
          <a:chOff x="0" y="0"/>
          <a:chExt cx="0" cy="0"/>
        </a:xfrm>
      </p:grpSpPr>
      <p:sp>
        <p:nvSpPr>
          <p:cNvPr id="8" name="Chart Placeholder 7">
            <a:extLst>
              <a:ext uri="{FF2B5EF4-FFF2-40B4-BE49-F238E27FC236}">
                <a16:creationId xmlns="" xmlns:a16="http://schemas.microsoft.com/office/drawing/2014/main" id="{A6D4E593-FDCC-D14E-9C5E-5F309E415C26}"/>
              </a:ext>
            </a:extLst>
          </p:cNvPr>
          <p:cNvSpPr>
            <a:spLocks noGrp="1"/>
          </p:cNvSpPr>
          <p:nvPr>
            <p:ph type="chart" sz="quarter" idx="21" hasCustomPrompt="1"/>
          </p:nvPr>
        </p:nvSpPr>
        <p:spPr>
          <a:xfrm>
            <a:off x="231917" y="2307216"/>
            <a:ext cx="4281488" cy="2505292"/>
          </a:xfrm>
          <a:prstGeom prst="rect">
            <a:avLst/>
          </a:prstGeom>
        </p:spPr>
        <p:txBody>
          <a:bodyPr>
            <a:normAutofit/>
          </a:bodyPr>
          <a:lstStyle>
            <a:lvl1pPr marL="0" indent="0">
              <a:buNone/>
              <a:defRPr sz="1100"/>
            </a:lvl1pPr>
          </a:lstStyle>
          <a:p>
            <a:r>
              <a:rPr lang="x-none"/>
              <a:t>Insert Chart</a:t>
            </a:r>
          </a:p>
        </p:txBody>
      </p:sp>
      <p:sp>
        <p:nvSpPr>
          <p:cNvPr id="9" name="Chart Placeholder 7">
            <a:extLst>
              <a:ext uri="{FF2B5EF4-FFF2-40B4-BE49-F238E27FC236}">
                <a16:creationId xmlns="" xmlns:a16="http://schemas.microsoft.com/office/drawing/2014/main" id="{F1FC7466-185A-8B44-ABF0-5410C1127700}"/>
              </a:ext>
            </a:extLst>
          </p:cNvPr>
          <p:cNvSpPr>
            <a:spLocks noGrp="1"/>
          </p:cNvSpPr>
          <p:nvPr>
            <p:ph type="chart" sz="quarter" idx="22" hasCustomPrompt="1"/>
          </p:nvPr>
        </p:nvSpPr>
        <p:spPr>
          <a:xfrm>
            <a:off x="4654627" y="2307216"/>
            <a:ext cx="4281488" cy="2505292"/>
          </a:xfrm>
          <a:prstGeom prst="rect">
            <a:avLst/>
          </a:prstGeom>
        </p:spPr>
        <p:txBody>
          <a:bodyPr>
            <a:normAutofit/>
          </a:bodyPr>
          <a:lstStyle>
            <a:lvl1pPr marL="0" indent="0">
              <a:buNone/>
              <a:defRPr sz="1100"/>
            </a:lvl1pPr>
          </a:lstStyle>
          <a:p>
            <a:r>
              <a:rPr lang="x-none"/>
              <a:t>Insert Chart</a:t>
            </a:r>
          </a:p>
        </p:txBody>
      </p:sp>
      <p:pic>
        <p:nvPicPr>
          <p:cNvPr id="10" name="Picture 9" descr="Takeda">
            <a:extLst>
              <a:ext uri="{FF2B5EF4-FFF2-40B4-BE49-F238E27FC236}">
                <a16:creationId xmlns="" xmlns:a16="http://schemas.microsoft.com/office/drawing/2014/main" id="{F183604A-2112-D443-8B35-2DFEE7121A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09748" y="-1211"/>
            <a:ext cx="1272174" cy="705585"/>
          </a:xfrm>
          <a:prstGeom prst="rect">
            <a:avLst/>
          </a:prstGeom>
        </p:spPr>
      </p:pic>
      <p:sp>
        <p:nvSpPr>
          <p:cNvPr id="12" name="タイトル プレースホルダ 1">
            <a:extLst>
              <a:ext uri="{FF2B5EF4-FFF2-40B4-BE49-F238E27FC236}">
                <a16:creationId xmlns="" xmlns:a16="http://schemas.microsoft.com/office/drawing/2014/main" id="{906CE02B-33D8-B048-A73D-781A3402C2B1}"/>
              </a:ext>
            </a:extLst>
          </p:cNvPr>
          <p:cNvSpPr>
            <a:spLocks noGrp="1"/>
          </p:cNvSpPr>
          <p:nvPr>
            <p:ph type="title" hasCustomPrompt="1"/>
          </p:nvPr>
        </p:nvSpPr>
        <p:spPr>
          <a:xfrm>
            <a:off x="454559" y="121208"/>
            <a:ext cx="7455190" cy="51435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4" name="Footer Placeholder 8">
            <a:extLst>
              <a:ext uri="{FF2B5EF4-FFF2-40B4-BE49-F238E27FC236}">
                <a16:creationId xmlns="" xmlns:a16="http://schemas.microsoft.com/office/drawing/2014/main" id="{C2587943-8F51-3542-B7BE-5781719445F9}"/>
              </a:ext>
            </a:extLst>
          </p:cNvPr>
          <p:cNvSpPr>
            <a:spLocks noGrp="1"/>
          </p:cNvSpPr>
          <p:nvPr>
            <p:ph type="ftr" sz="quarter" idx="3"/>
          </p:nvPr>
        </p:nvSpPr>
        <p:spPr>
          <a:xfrm>
            <a:off x="5824538" y="4892251"/>
            <a:ext cx="3086100" cy="147098"/>
          </a:xfrm>
          <a:prstGeom prst="rect">
            <a:avLst/>
          </a:prstGeom>
        </p:spPr>
        <p:txBody>
          <a:bodyPr vert="horz" lIns="68531" tIns="34289" rIns="0" bIns="34289" rtlCol="0" anchor="ctr"/>
          <a:lstStyle>
            <a:lvl1pPr algn="r">
              <a:defRPr sz="600" b="1" spc="75" baseline="0">
                <a:solidFill>
                  <a:schemeClr val="tx1"/>
                </a:solidFill>
              </a:defRPr>
            </a:lvl1pPr>
          </a:lstStyle>
          <a:p>
            <a:r>
              <a:rPr lang="x-none">
                <a:solidFill>
                  <a:srgbClr val="34373F"/>
                </a:solidFill>
              </a:rPr>
              <a:t> </a:t>
            </a:r>
          </a:p>
        </p:txBody>
      </p:sp>
      <p:sp>
        <p:nvSpPr>
          <p:cNvPr id="17" name="Rectangle 16">
            <a:extLst>
              <a:ext uri="{FF2B5EF4-FFF2-40B4-BE49-F238E27FC236}">
                <a16:creationId xmlns="" xmlns:a16="http://schemas.microsoft.com/office/drawing/2014/main" id="{B679FB0B-7616-F04F-9B4C-586869A82E96}"/>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31" tIns="34289" rIns="68531" bIns="34289" rtlCol="0" anchor="ctr"/>
          <a:lstStyle/>
          <a:p>
            <a:pPr algn="ctr" defTabSz="685239"/>
            <a:endParaRPr kumimoji="1" lang="x-none" sz="1400">
              <a:solidFill>
                <a:srgbClr val="E1242A"/>
              </a:solidFill>
            </a:endParaRPr>
          </a:p>
        </p:txBody>
      </p:sp>
      <p:sp>
        <p:nvSpPr>
          <p:cNvPr id="22" name="スライド番号プレースホルダ 5">
            <a:extLst>
              <a:ext uri="{FF2B5EF4-FFF2-40B4-BE49-F238E27FC236}">
                <a16:creationId xmlns="" xmlns:a16="http://schemas.microsoft.com/office/drawing/2014/main" id="{8AFBB1AB-19B7-1347-93F8-D14235DD2317}"/>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3365"/>
            <a:fld id="{E9B57936-92EF-4126-AE48-1D9D36D15E98}" type="slidenum">
              <a:rPr lang="ja-JP" altLang="en-US" smtClean="0">
                <a:solidFill>
                  <a:srgbClr val="34373F"/>
                </a:solidFill>
              </a:rPr>
              <a:pPr defTabSz="913365"/>
              <a:t>‹Nº›</a:t>
            </a:fld>
            <a:endParaRPr lang="ja-JP" altLang="en-US">
              <a:solidFill>
                <a:srgbClr val="34373F"/>
              </a:solidFill>
            </a:endParaRPr>
          </a:p>
        </p:txBody>
      </p:sp>
      <p:sp>
        <p:nvSpPr>
          <p:cNvPr id="23" name="Text Placeholder 6">
            <a:extLst>
              <a:ext uri="{FF2B5EF4-FFF2-40B4-BE49-F238E27FC236}">
                <a16:creationId xmlns="" xmlns:a16="http://schemas.microsoft.com/office/drawing/2014/main" id="{1C168495-CA79-E440-A93B-B87B36748352}"/>
              </a:ext>
            </a:extLst>
          </p:cNvPr>
          <p:cNvSpPr>
            <a:spLocks noGrp="1"/>
          </p:cNvSpPr>
          <p:nvPr>
            <p:ph type="body" sz="quarter" idx="16" hasCustomPrompt="1"/>
          </p:nvPr>
        </p:nvSpPr>
        <p:spPr>
          <a:xfrm>
            <a:off x="454559" y="4892253"/>
            <a:ext cx="5226261" cy="154210"/>
          </a:xfrm>
          <a:prstGeom prst="rect">
            <a:avLst/>
          </a:prstGeom>
        </p:spPr>
        <p:txBody>
          <a:bodyPr wrap="none" tIns="0" rIns="0" bIns="53967" numCol="1" anchor="ctr">
            <a:noAutofit/>
          </a:bodyPr>
          <a:lstStyle>
            <a:lvl1pPr marL="0" indent="0">
              <a:lnSpc>
                <a:spcPts val="1200"/>
              </a:lnSpc>
              <a:spcBef>
                <a:spcPts val="0"/>
              </a:spcBef>
              <a:spcAft>
                <a:spcPts val="450"/>
              </a:spcAft>
              <a:buFont typeface="Arial" panose="020B0604020202020204" pitchFamily="34" charset="0"/>
              <a:buNone/>
              <a:defRPr sz="600" b="0">
                <a:solidFill>
                  <a:schemeClr val="accent3"/>
                </a:solidFill>
              </a:defRPr>
            </a:lvl1pPr>
            <a:lvl2pPr marL="342506" indent="0">
              <a:lnSpc>
                <a:spcPts val="1350"/>
              </a:lnSpc>
              <a:spcBef>
                <a:spcPts val="0"/>
              </a:spcBef>
              <a:buNone/>
              <a:defRPr sz="1100"/>
            </a:lvl2pPr>
            <a:lvl3pPr marL="685051" indent="0">
              <a:lnSpc>
                <a:spcPts val="1350"/>
              </a:lnSpc>
              <a:spcBef>
                <a:spcPts val="0"/>
              </a:spcBef>
              <a:buNone/>
              <a:defRPr sz="1100"/>
            </a:lvl3pPr>
            <a:lvl4pPr marL="1027572" indent="0">
              <a:lnSpc>
                <a:spcPts val="1350"/>
              </a:lnSpc>
              <a:spcBef>
                <a:spcPts val="0"/>
              </a:spcBef>
              <a:buNone/>
              <a:defRPr sz="1100"/>
            </a:lvl4pPr>
            <a:lvl5pPr marL="1370096" indent="0">
              <a:lnSpc>
                <a:spcPts val="1350"/>
              </a:lnSpc>
              <a:spcBef>
                <a:spcPts val="0"/>
              </a:spcBef>
              <a:buNone/>
              <a:defRPr sz="1100"/>
            </a:lvl5pPr>
          </a:lstStyle>
          <a:p>
            <a:pPr lvl="0"/>
            <a:r>
              <a:rPr lang="en-US"/>
              <a:t>Private and confidential. For internal use only.</a:t>
            </a:r>
          </a:p>
        </p:txBody>
      </p:sp>
      <p:sp>
        <p:nvSpPr>
          <p:cNvPr id="15" name="Text Placeholder 2">
            <a:extLst>
              <a:ext uri="{FF2B5EF4-FFF2-40B4-BE49-F238E27FC236}">
                <a16:creationId xmlns="" xmlns:a16="http://schemas.microsoft.com/office/drawing/2014/main" id="{F6F06E4B-A978-4E46-AE6C-67B54F7E34D5}"/>
              </a:ext>
            </a:extLst>
          </p:cNvPr>
          <p:cNvSpPr>
            <a:spLocks noGrp="1"/>
          </p:cNvSpPr>
          <p:nvPr>
            <p:ph type="body" sz="quarter" idx="20" hasCustomPrompt="1"/>
          </p:nvPr>
        </p:nvSpPr>
        <p:spPr>
          <a:xfrm>
            <a:off x="233364" y="1118532"/>
            <a:ext cx="8702752" cy="1098718"/>
          </a:xfrm>
        </p:spPr>
        <p:txBody>
          <a:bodyPr tIns="0" rIns="0" bIns="0" numCol="2" spcCol="94434">
            <a:noAutofit/>
          </a:bodyPr>
          <a:lstStyle>
            <a:lvl1pPr marL="0" indent="0">
              <a:lnSpc>
                <a:spcPct val="100000"/>
              </a:lnSpc>
              <a:spcBef>
                <a:spcPts val="0"/>
              </a:spcBef>
              <a:buNone/>
              <a:defRPr sz="1200" b="1"/>
            </a:lvl1pPr>
            <a:lvl2pPr marL="342506" indent="0">
              <a:buNone/>
              <a:defRPr sz="1400" b="1"/>
            </a:lvl2pPr>
            <a:lvl3pPr marL="685051" indent="0">
              <a:buNone/>
              <a:defRPr sz="1400" b="1"/>
            </a:lvl3pPr>
            <a:lvl4pPr marL="1027572" indent="0">
              <a:buNone/>
              <a:defRPr sz="1400" b="1"/>
            </a:lvl4pPr>
            <a:lvl5pPr marL="1370096" indent="0">
              <a:buNone/>
              <a:defRPr sz="1400" b="1"/>
            </a:lvl5pPr>
          </a:lstStyle>
          <a:p>
            <a:pPr lvl="0"/>
            <a:r>
              <a:rPr lang="en-US"/>
              <a:t>This is your Primary Text.</a:t>
            </a:r>
            <a:endParaRPr lang="x-none"/>
          </a:p>
        </p:txBody>
      </p:sp>
      <p:sp>
        <p:nvSpPr>
          <p:cNvPr id="18" name="Text Placeholder 6">
            <a:extLst>
              <a:ext uri="{FF2B5EF4-FFF2-40B4-BE49-F238E27FC236}">
                <a16:creationId xmlns="" xmlns:a16="http://schemas.microsoft.com/office/drawing/2014/main" id="{3FF373A1-4E48-6C48-A075-153436CF76DC}"/>
              </a:ext>
            </a:extLst>
          </p:cNvPr>
          <p:cNvSpPr>
            <a:spLocks noGrp="1"/>
          </p:cNvSpPr>
          <p:nvPr>
            <p:ph type="body" sz="quarter" idx="23" hasCustomPrompt="1"/>
          </p:nvPr>
        </p:nvSpPr>
        <p:spPr>
          <a:xfrm>
            <a:off x="233364" y="820327"/>
            <a:ext cx="8702752" cy="204590"/>
          </a:xfrm>
        </p:spPr>
        <p:txBody>
          <a:bodyPr tIns="0" rIns="0" bIns="0" numCol="1">
            <a:noAutofit/>
          </a:bodyPr>
          <a:lstStyle>
            <a:lvl1pPr marL="0" indent="0">
              <a:lnSpc>
                <a:spcPct val="100000"/>
              </a:lnSpc>
              <a:spcBef>
                <a:spcPts val="0"/>
              </a:spcBef>
              <a:spcAft>
                <a:spcPts val="450"/>
              </a:spcAft>
              <a:buNone/>
              <a:defRPr sz="1500" b="1">
                <a:solidFill>
                  <a:schemeClr val="accent1"/>
                </a:solidFill>
              </a:defRPr>
            </a:lvl1pPr>
            <a:lvl2pPr marL="342506" indent="0">
              <a:lnSpc>
                <a:spcPts val="1350"/>
              </a:lnSpc>
              <a:spcBef>
                <a:spcPts val="0"/>
              </a:spcBef>
              <a:buNone/>
              <a:defRPr sz="1100"/>
            </a:lvl2pPr>
            <a:lvl3pPr marL="685051" indent="0">
              <a:lnSpc>
                <a:spcPts val="1350"/>
              </a:lnSpc>
              <a:spcBef>
                <a:spcPts val="0"/>
              </a:spcBef>
              <a:buNone/>
              <a:defRPr sz="1100"/>
            </a:lvl3pPr>
            <a:lvl4pPr marL="1027572" indent="0">
              <a:lnSpc>
                <a:spcPts val="1350"/>
              </a:lnSpc>
              <a:spcBef>
                <a:spcPts val="0"/>
              </a:spcBef>
              <a:buNone/>
              <a:defRPr sz="1100"/>
            </a:lvl4pPr>
            <a:lvl5pPr marL="1370096" indent="0">
              <a:lnSpc>
                <a:spcPts val="1350"/>
              </a:lnSpc>
              <a:spcBef>
                <a:spcPts val="0"/>
              </a:spcBef>
              <a:buNone/>
              <a:defRPr sz="1100"/>
            </a:lvl5pPr>
          </a:lstStyle>
          <a:p>
            <a:pPr lvl="0"/>
            <a:r>
              <a:rPr lang="en-US"/>
              <a:t>This is your Primary Title</a:t>
            </a:r>
          </a:p>
        </p:txBody>
      </p:sp>
    </p:spTree>
    <p:extLst>
      <p:ext uri="{BB962C8B-B14F-4D97-AF65-F5344CB8AC3E}">
        <p14:creationId xmlns:p14="http://schemas.microsoft.com/office/powerpoint/2010/main" val="3961038211"/>
      </p:ext>
    </p:extLst>
  </p:cSld>
  <p:clrMapOvr>
    <a:masterClrMapping/>
  </p:clrMapOvr>
  <p:transition spd="slow">
    <p:push dir="u"/>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Advanced Chart 3 Column">
    <p:spTree>
      <p:nvGrpSpPr>
        <p:cNvPr id="1" name=""/>
        <p:cNvGrpSpPr/>
        <p:nvPr/>
      </p:nvGrpSpPr>
      <p:grpSpPr>
        <a:xfrm>
          <a:off x="0" y="0"/>
          <a:ext cx="0" cy="0"/>
          <a:chOff x="0" y="0"/>
          <a:chExt cx="0" cy="0"/>
        </a:xfrm>
      </p:grpSpPr>
      <p:sp>
        <p:nvSpPr>
          <p:cNvPr id="8" name="Chart Placeholder 7">
            <a:extLst>
              <a:ext uri="{FF2B5EF4-FFF2-40B4-BE49-F238E27FC236}">
                <a16:creationId xmlns="" xmlns:a16="http://schemas.microsoft.com/office/drawing/2014/main" id="{A6D4E593-FDCC-D14E-9C5E-5F309E415C26}"/>
              </a:ext>
            </a:extLst>
          </p:cNvPr>
          <p:cNvSpPr>
            <a:spLocks noGrp="1"/>
          </p:cNvSpPr>
          <p:nvPr>
            <p:ph type="chart" sz="quarter" idx="21" hasCustomPrompt="1"/>
          </p:nvPr>
        </p:nvSpPr>
        <p:spPr>
          <a:xfrm>
            <a:off x="231919" y="2307216"/>
            <a:ext cx="2818358" cy="2505292"/>
          </a:xfrm>
          <a:prstGeom prst="rect">
            <a:avLst/>
          </a:prstGeom>
        </p:spPr>
        <p:txBody>
          <a:bodyPr>
            <a:normAutofit/>
          </a:bodyPr>
          <a:lstStyle>
            <a:lvl1pPr marL="0" indent="0">
              <a:buNone/>
              <a:defRPr sz="1100"/>
            </a:lvl1pPr>
          </a:lstStyle>
          <a:p>
            <a:r>
              <a:rPr lang="x-none"/>
              <a:t>Insert Chart</a:t>
            </a:r>
          </a:p>
        </p:txBody>
      </p:sp>
      <p:sp>
        <p:nvSpPr>
          <p:cNvPr id="10" name="Chart Placeholder 7">
            <a:extLst>
              <a:ext uri="{FF2B5EF4-FFF2-40B4-BE49-F238E27FC236}">
                <a16:creationId xmlns="" xmlns:a16="http://schemas.microsoft.com/office/drawing/2014/main" id="{8D9BD23C-1777-C442-B4B0-BADF450483EA}"/>
              </a:ext>
            </a:extLst>
          </p:cNvPr>
          <p:cNvSpPr>
            <a:spLocks noGrp="1"/>
          </p:cNvSpPr>
          <p:nvPr>
            <p:ph type="chart" sz="quarter" idx="22" hasCustomPrompt="1"/>
          </p:nvPr>
        </p:nvSpPr>
        <p:spPr>
          <a:xfrm>
            <a:off x="3162823" y="2307216"/>
            <a:ext cx="2818358" cy="2505292"/>
          </a:xfrm>
          <a:prstGeom prst="rect">
            <a:avLst/>
          </a:prstGeom>
        </p:spPr>
        <p:txBody>
          <a:bodyPr>
            <a:normAutofit/>
          </a:bodyPr>
          <a:lstStyle>
            <a:lvl1pPr marL="0" indent="0">
              <a:buNone/>
              <a:defRPr sz="1100"/>
            </a:lvl1pPr>
          </a:lstStyle>
          <a:p>
            <a:r>
              <a:rPr lang="x-none"/>
              <a:t>Insert Chart</a:t>
            </a:r>
          </a:p>
        </p:txBody>
      </p:sp>
      <p:sp>
        <p:nvSpPr>
          <p:cNvPr id="11" name="Chart Placeholder 7">
            <a:extLst>
              <a:ext uri="{FF2B5EF4-FFF2-40B4-BE49-F238E27FC236}">
                <a16:creationId xmlns="" xmlns:a16="http://schemas.microsoft.com/office/drawing/2014/main" id="{2D7D413C-2FF1-204A-83C6-B7426603B7C2}"/>
              </a:ext>
            </a:extLst>
          </p:cNvPr>
          <p:cNvSpPr>
            <a:spLocks noGrp="1"/>
          </p:cNvSpPr>
          <p:nvPr>
            <p:ph type="chart" sz="quarter" idx="23" hasCustomPrompt="1"/>
          </p:nvPr>
        </p:nvSpPr>
        <p:spPr>
          <a:xfrm>
            <a:off x="6092281" y="2307216"/>
            <a:ext cx="2818358" cy="2505292"/>
          </a:xfrm>
          <a:prstGeom prst="rect">
            <a:avLst/>
          </a:prstGeom>
        </p:spPr>
        <p:txBody>
          <a:bodyPr>
            <a:normAutofit/>
          </a:bodyPr>
          <a:lstStyle>
            <a:lvl1pPr marL="0" indent="0">
              <a:buNone/>
              <a:defRPr sz="1100"/>
            </a:lvl1pPr>
          </a:lstStyle>
          <a:p>
            <a:r>
              <a:rPr lang="x-none"/>
              <a:t>Insert Chart</a:t>
            </a:r>
          </a:p>
        </p:txBody>
      </p:sp>
      <p:pic>
        <p:nvPicPr>
          <p:cNvPr id="13" name="Picture 12" descr="Takeda">
            <a:extLst>
              <a:ext uri="{FF2B5EF4-FFF2-40B4-BE49-F238E27FC236}">
                <a16:creationId xmlns="" xmlns:a16="http://schemas.microsoft.com/office/drawing/2014/main" id="{0C4979BF-EBB2-214C-8087-7AC4B2163D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09748" y="-1211"/>
            <a:ext cx="1272174" cy="705585"/>
          </a:xfrm>
          <a:prstGeom prst="rect">
            <a:avLst/>
          </a:prstGeom>
        </p:spPr>
      </p:pic>
      <p:sp>
        <p:nvSpPr>
          <p:cNvPr id="17" name="タイトル プレースホルダ 1">
            <a:extLst>
              <a:ext uri="{FF2B5EF4-FFF2-40B4-BE49-F238E27FC236}">
                <a16:creationId xmlns="" xmlns:a16="http://schemas.microsoft.com/office/drawing/2014/main" id="{2FFB1535-D35E-D242-B225-DDF1C53BB8D4}"/>
              </a:ext>
            </a:extLst>
          </p:cNvPr>
          <p:cNvSpPr>
            <a:spLocks noGrp="1"/>
          </p:cNvSpPr>
          <p:nvPr>
            <p:ph type="title" hasCustomPrompt="1"/>
          </p:nvPr>
        </p:nvSpPr>
        <p:spPr>
          <a:xfrm>
            <a:off x="454559" y="121208"/>
            <a:ext cx="7455190" cy="51435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9" name="Footer Placeholder 8">
            <a:extLst>
              <a:ext uri="{FF2B5EF4-FFF2-40B4-BE49-F238E27FC236}">
                <a16:creationId xmlns="" xmlns:a16="http://schemas.microsoft.com/office/drawing/2014/main" id="{47DB5E3C-7053-3645-A234-760F5ED1236A}"/>
              </a:ext>
            </a:extLst>
          </p:cNvPr>
          <p:cNvSpPr>
            <a:spLocks noGrp="1"/>
          </p:cNvSpPr>
          <p:nvPr>
            <p:ph type="ftr" sz="quarter" idx="3"/>
          </p:nvPr>
        </p:nvSpPr>
        <p:spPr>
          <a:xfrm>
            <a:off x="5824538" y="4892251"/>
            <a:ext cx="3086100" cy="147098"/>
          </a:xfrm>
          <a:prstGeom prst="rect">
            <a:avLst/>
          </a:prstGeom>
        </p:spPr>
        <p:txBody>
          <a:bodyPr vert="horz" lIns="68531" tIns="34289" rIns="0" bIns="34289" rtlCol="0" anchor="ctr"/>
          <a:lstStyle>
            <a:lvl1pPr algn="r">
              <a:defRPr sz="600" b="1" spc="75" baseline="0">
                <a:solidFill>
                  <a:schemeClr val="tx1"/>
                </a:solidFill>
              </a:defRPr>
            </a:lvl1pPr>
          </a:lstStyle>
          <a:p>
            <a:r>
              <a:rPr lang="x-none">
                <a:solidFill>
                  <a:srgbClr val="34373F"/>
                </a:solidFill>
              </a:rPr>
              <a:t> </a:t>
            </a:r>
          </a:p>
        </p:txBody>
      </p:sp>
      <p:sp>
        <p:nvSpPr>
          <p:cNvPr id="22" name="Rectangle 21">
            <a:extLst>
              <a:ext uri="{FF2B5EF4-FFF2-40B4-BE49-F238E27FC236}">
                <a16:creationId xmlns="" xmlns:a16="http://schemas.microsoft.com/office/drawing/2014/main" id="{DEFC8CB7-67E9-8A46-B53F-F34ACE18BE87}"/>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31" tIns="34289" rIns="68531" bIns="34289" rtlCol="0" anchor="ctr"/>
          <a:lstStyle/>
          <a:p>
            <a:pPr algn="ctr" defTabSz="685239"/>
            <a:endParaRPr kumimoji="1" lang="x-none" sz="1400">
              <a:solidFill>
                <a:srgbClr val="E1242A"/>
              </a:solidFill>
            </a:endParaRPr>
          </a:p>
        </p:txBody>
      </p:sp>
      <p:sp>
        <p:nvSpPr>
          <p:cNvPr id="25" name="スライド番号プレースホルダ 5">
            <a:extLst>
              <a:ext uri="{FF2B5EF4-FFF2-40B4-BE49-F238E27FC236}">
                <a16:creationId xmlns="" xmlns:a16="http://schemas.microsoft.com/office/drawing/2014/main" id="{5EB1023E-4E73-AD49-83B0-D7B458250C6F}"/>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3365"/>
            <a:fld id="{E9B57936-92EF-4126-AE48-1D9D36D15E98}" type="slidenum">
              <a:rPr lang="ja-JP" altLang="en-US" smtClean="0">
                <a:solidFill>
                  <a:srgbClr val="34373F"/>
                </a:solidFill>
              </a:rPr>
              <a:pPr defTabSz="913365"/>
              <a:t>‹Nº›</a:t>
            </a:fld>
            <a:endParaRPr lang="ja-JP" altLang="en-US">
              <a:solidFill>
                <a:srgbClr val="34373F"/>
              </a:solidFill>
            </a:endParaRPr>
          </a:p>
        </p:txBody>
      </p:sp>
      <p:sp>
        <p:nvSpPr>
          <p:cNvPr id="26" name="Text Placeholder 6">
            <a:extLst>
              <a:ext uri="{FF2B5EF4-FFF2-40B4-BE49-F238E27FC236}">
                <a16:creationId xmlns="" xmlns:a16="http://schemas.microsoft.com/office/drawing/2014/main" id="{4942DB0C-137A-4E4C-B926-77CEECC512A8}"/>
              </a:ext>
            </a:extLst>
          </p:cNvPr>
          <p:cNvSpPr>
            <a:spLocks noGrp="1"/>
          </p:cNvSpPr>
          <p:nvPr>
            <p:ph type="body" sz="quarter" idx="16" hasCustomPrompt="1"/>
          </p:nvPr>
        </p:nvSpPr>
        <p:spPr>
          <a:xfrm>
            <a:off x="454559" y="4892253"/>
            <a:ext cx="5226261" cy="154210"/>
          </a:xfrm>
          <a:prstGeom prst="rect">
            <a:avLst/>
          </a:prstGeom>
        </p:spPr>
        <p:txBody>
          <a:bodyPr wrap="none" tIns="0" rIns="0" bIns="53967" numCol="1" anchor="ctr">
            <a:noAutofit/>
          </a:bodyPr>
          <a:lstStyle>
            <a:lvl1pPr marL="0" indent="0">
              <a:lnSpc>
                <a:spcPts val="1200"/>
              </a:lnSpc>
              <a:spcBef>
                <a:spcPts val="0"/>
              </a:spcBef>
              <a:spcAft>
                <a:spcPts val="450"/>
              </a:spcAft>
              <a:buFont typeface="Arial" panose="020B0604020202020204" pitchFamily="34" charset="0"/>
              <a:buNone/>
              <a:defRPr sz="600" b="0">
                <a:solidFill>
                  <a:schemeClr val="accent3"/>
                </a:solidFill>
              </a:defRPr>
            </a:lvl1pPr>
            <a:lvl2pPr marL="342506" indent="0">
              <a:lnSpc>
                <a:spcPts val="1350"/>
              </a:lnSpc>
              <a:spcBef>
                <a:spcPts val="0"/>
              </a:spcBef>
              <a:buNone/>
              <a:defRPr sz="1100"/>
            </a:lvl2pPr>
            <a:lvl3pPr marL="685051" indent="0">
              <a:lnSpc>
                <a:spcPts val="1350"/>
              </a:lnSpc>
              <a:spcBef>
                <a:spcPts val="0"/>
              </a:spcBef>
              <a:buNone/>
              <a:defRPr sz="1100"/>
            </a:lvl3pPr>
            <a:lvl4pPr marL="1027572" indent="0">
              <a:lnSpc>
                <a:spcPts val="1350"/>
              </a:lnSpc>
              <a:spcBef>
                <a:spcPts val="0"/>
              </a:spcBef>
              <a:buNone/>
              <a:defRPr sz="1100"/>
            </a:lvl4pPr>
            <a:lvl5pPr marL="1370096" indent="0">
              <a:lnSpc>
                <a:spcPts val="1350"/>
              </a:lnSpc>
              <a:spcBef>
                <a:spcPts val="0"/>
              </a:spcBef>
              <a:buNone/>
              <a:defRPr sz="1100"/>
            </a:lvl5pPr>
          </a:lstStyle>
          <a:p>
            <a:pPr lvl="0"/>
            <a:r>
              <a:rPr lang="en-US"/>
              <a:t>Private and confidential. For internal use only.</a:t>
            </a:r>
          </a:p>
        </p:txBody>
      </p:sp>
      <p:sp>
        <p:nvSpPr>
          <p:cNvPr id="15" name="Text Placeholder 2">
            <a:extLst>
              <a:ext uri="{FF2B5EF4-FFF2-40B4-BE49-F238E27FC236}">
                <a16:creationId xmlns="" xmlns:a16="http://schemas.microsoft.com/office/drawing/2014/main" id="{AD1171B1-AEC6-164D-8FE0-E0B9353A55BF}"/>
              </a:ext>
            </a:extLst>
          </p:cNvPr>
          <p:cNvSpPr>
            <a:spLocks noGrp="1"/>
          </p:cNvSpPr>
          <p:nvPr>
            <p:ph type="body" sz="quarter" idx="20" hasCustomPrompt="1"/>
          </p:nvPr>
        </p:nvSpPr>
        <p:spPr>
          <a:xfrm>
            <a:off x="233365" y="1118532"/>
            <a:ext cx="8677274" cy="1098718"/>
          </a:xfrm>
        </p:spPr>
        <p:txBody>
          <a:bodyPr tIns="0" rIns="0" bIns="0" numCol="2" spcCol="94434">
            <a:noAutofit/>
          </a:bodyPr>
          <a:lstStyle>
            <a:lvl1pPr marL="0" indent="0">
              <a:lnSpc>
                <a:spcPct val="100000"/>
              </a:lnSpc>
              <a:spcBef>
                <a:spcPts val="0"/>
              </a:spcBef>
              <a:buNone/>
              <a:defRPr sz="1200" b="1"/>
            </a:lvl1pPr>
            <a:lvl2pPr marL="342506" indent="0">
              <a:buNone/>
              <a:defRPr sz="1400" b="1"/>
            </a:lvl2pPr>
            <a:lvl3pPr marL="685051" indent="0">
              <a:buNone/>
              <a:defRPr sz="1400" b="1"/>
            </a:lvl3pPr>
            <a:lvl4pPr marL="1027572" indent="0">
              <a:buNone/>
              <a:defRPr sz="1400" b="1"/>
            </a:lvl4pPr>
            <a:lvl5pPr marL="1370096" indent="0">
              <a:buNone/>
              <a:defRPr sz="1400" b="1"/>
            </a:lvl5pPr>
          </a:lstStyle>
          <a:p>
            <a:pPr lvl="0"/>
            <a:r>
              <a:rPr lang="en-US"/>
              <a:t>This is your Primary Text.</a:t>
            </a:r>
            <a:endParaRPr lang="x-none"/>
          </a:p>
        </p:txBody>
      </p:sp>
      <p:sp>
        <p:nvSpPr>
          <p:cNvPr id="18" name="Text Placeholder 6">
            <a:extLst>
              <a:ext uri="{FF2B5EF4-FFF2-40B4-BE49-F238E27FC236}">
                <a16:creationId xmlns="" xmlns:a16="http://schemas.microsoft.com/office/drawing/2014/main" id="{66C4AA1F-8B09-5544-9C70-388A6E2940C9}"/>
              </a:ext>
            </a:extLst>
          </p:cNvPr>
          <p:cNvSpPr>
            <a:spLocks noGrp="1"/>
          </p:cNvSpPr>
          <p:nvPr>
            <p:ph type="body" sz="quarter" idx="24" hasCustomPrompt="1"/>
          </p:nvPr>
        </p:nvSpPr>
        <p:spPr>
          <a:xfrm>
            <a:off x="233362" y="820327"/>
            <a:ext cx="8677274" cy="204590"/>
          </a:xfrm>
        </p:spPr>
        <p:txBody>
          <a:bodyPr tIns="0" rIns="0" bIns="0" numCol="1">
            <a:noAutofit/>
          </a:bodyPr>
          <a:lstStyle>
            <a:lvl1pPr marL="0" indent="0">
              <a:lnSpc>
                <a:spcPct val="100000"/>
              </a:lnSpc>
              <a:spcBef>
                <a:spcPts val="0"/>
              </a:spcBef>
              <a:spcAft>
                <a:spcPts val="450"/>
              </a:spcAft>
              <a:buNone/>
              <a:defRPr sz="1500" b="1">
                <a:solidFill>
                  <a:schemeClr val="accent1"/>
                </a:solidFill>
              </a:defRPr>
            </a:lvl1pPr>
            <a:lvl2pPr marL="342506" indent="0">
              <a:lnSpc>
                <a:spcPts val="1350"/>
              </a:lnSpc>
              <a:spcBef>
                <a:spcPts val="0"/>
              </a:spcBef>
              <a:buNone/>
              <a:defRPr sz="1100"/>
            </a:lvl2pPr>
            <a:lvl3pPr marL="685051" indent="0">
              <a:lnSpc>
                <a:spcPts val="1350"/>
              </a:lnSpc>
              <a:spcBef>
                <a:spcPts val="0"/>
              </a:spcBef>
              <a:buNone/>
              <a:defRPr sz="1100"/>
            </a:lvl3pPr>
            <a:lvl4pPr marL="1027572" indent="0">
              <a:lnSpc>
                <a:spcPts val="1350"/>
              </a:lnSpc>
              <a:spcBef>
                <a:spcPts val="0"/>
              </a:spcBef>
              <a:buNone/>
              <a:defRPr sz="1100"/>
            </a:lvl4pPr>
            <a:lvl5pPr marL="1370096" indent="0">
              <a:lnSpc>
                <a:spcPts val="1350"/>
              </a:lnSpc>
              <a:spcBef>
                <a:spcPts val="0"/>
              </a:spcBef>
              <a:buNone/>
              <a:defRPr sz="1100"/>
            </a:lvl5pPr>
          </a:lstStyle>
          <a:p>
            <a:pPr lvl="0"/>
            <a:r>
              <a:rPr lang="en-US"/>
              <a:t>This is your Primary Title</a:t>
            </a:r>
          </a:p>
        </p:txBody>
      </p:sp>
    </p:spTree>
    <p:extLst>
      <p:ext uri="{BB962C8B-B14F-4D97-AF65-F5344CB8AC3E}">
        <p14:creationId xmlns:p14="http://schemas.microsoft.com/office/powerpoint/2010/main" val="2718433005"/>
      </p:ext>
    </p:extLst>
  </p:cSld>
  <p:clrMapOvr>
    <a:masterClrMapping/>
  </p:clrMapOvr>
  <p:transition spd="slow">
    <p:push dir="u"/>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_no logo straplin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232645" y="270085"/>
            <a:ext cx="554400" cy="357152"/>
          </a:xfrm>
          <a:prstGeom prst="rect">
            <a:avLst/>
          </a:prstGeom>
        </p:spPr>
      </p:pic>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l="10252" b="15723"/>
          <a:stretch/>
        </p:blipFill>
        <p:spPr>
          <a:xfrm>
            <a:off x="-8266" y="1509318"/>
            <a:ext cx="3996587" cy="3644116"/>
          </a:xfrm>
          <a:prstGeom prst="rect">
            <a:avLst/>
          </a:prstGeom>
        </p:spPr>
      </p:pic>
      <p:sp>
        <p:nvSpPr>
          <p:cNvPr id="7" name="Title 1"/>
          <p:cNvSpPr>
            <a:spLocks noGrp="1"/>
          </p:cNvSpPr>
          <p:nvPr>
            <p:ph type="ctrTitle"/>
          </p:nvPr>
        </p:nvSpPr>
        <p:spPr>
          <a:xfrm>
            <a:off x="354943" y="3281078"/>
            <a:ext cx="2739246" cy="512961"/>
          </a:xfrm>
          <a:prstGeom prst="rect">
            <a:avLst/>
          </a:prstGeom>
        </p:spPr>
        <p:txBody>
          <a:bodyPr anchor="ctr" anchorCtr="0"/>
          <a:lstStyle>
            <a:lvl1pPr>
              <a:lnSpc>
                <a:spcPts val="1950"/>
              </a:lnSpc>
              <a:defRPr sz="1950">
                <a:solidFill>
                  <a:schemeClr val="bg1"/>
                </a:solidFill>
              </a:defRPr>
            </a:lvl1pPr>
          </a:lstStyle>
          <a:p>
            <a:r>
              <a:rPr lang="en-US"/>
              <a:t>Click to edit Master title style</a:t>
            </a:r>
            <a:endParaRPr lang="en-GB"/>
          </a:p>
        </p:txBody>
      </p:sp>
      <p:sp>
        <p:nvSpPr>
          <p:cNvPr id="10" name="Subtitle 2"/>
          <p:cNvSpPr>
            <a:spLocks noGrp="1"/>
          </p:cNvSpPr>
          <p:nvPr>
            <p:ph type="subTitle" idx="1"/>
          </p:nvPr>
        </p:nvSpPr>
        <p:spPr>
          <a:xfrm>
            <a:off x="354943" y="4050672"/>
            <a:ext cx="2721600" cy="184666"/>
          </a:xfrm>
        </p:spPr>
        <p:txBody>
          <a:bodyPr wrap="square" anchor="b" anchorCtr="0">
            <a:spAutoFit/>
          </a:bodyPr>
          <a:lstStyle>
            <a:lvl1pPr marL="0" indent="0" algn="l">
              <a:spcAft>
                <a:spcPts val="0"/>
              </a:spcAft>
              <a:buNone/>
              <a:defRPr>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a:t>
            </a:r>
            <a:endParaRPr lang="en-GB"/>
          </a:p>
        </p:txBody>
      </p:sp>
    </p:spTree>
    <p:extLst>
      <p:ext uri="{BB962C8B-B14F-4D97-AF65-F5344CB8AC3E}">
        <p14:creationId xmlns:p14="http://schemas.microsoft.com/office/powerpoint/2010/main" val="4202281551"/>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1_SAG/OE Title only">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C1AE710-910A-45E8-987A-33B7FB043BE5}"/>
              </a:ext>
            </a:extLst>
          </p:cNvPr>
          <p:cNvSpPr>
            <a:spLocks noGrp="1"/>
          </p:cNvSpPr>
          <p:nvPr>
            <p:ph type="title"/>
          </p:nvPr>
        </p:nvSpPr>
        <p:spPr>
          <a:xfrm>
            <a:off x="454558" y="121208"/>
            <a:ext cx="8330390" cy="514351"/>
          </a:xfrm>
        </p:spPr>
        <p:txBody>
          <a:bodyPr>
            <a:normAutofit/>
          </a:bodyPr>
          <a:lstStyle>
            <a:lvl1pPr>
              <a:lnSpc>
                <a:spcPct val="100000"/>
              </a:lnSpc>
              <a:defRPr sz="2100"/>
            </a:lvl1pPr>
          </a:lstStyle>
          <a:p>
            <a:r>
              <a:rPr lang="en-US"/>
              <a:t>Click to edit Master title style</a:t>
            </a:r>
            <a:endParaRPr lang="en-GB"/>
          </a:p>
        </p:txBody>
      </p:sp>
      <p:sp>
        <p:nvSpPr>
          <p:cNvPr id="4" name="Rectangle 3">
            <a:extLst>
              <a:ext uri="{FF2B5EF4-FFF2-40B4-BE49-F238E27FC236}">
                <a16:creationId xmlns="" xmlns:a16="http://schemas.microsoft.com/office/drawing/2014/main" id="{8230ECF3-B977-4019-87B2-D64E68C02BAD}"/>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31" tIns="34289" rIns="68531" bIns="34289" rtlCol="0" anchor="ctr"/>
          <a:lstStyle/>
          <a:p>
            <a:pPr algn="ctr" defTabSz="685239"/>
            <a:endParaRPr kumimoji="1" lang="x-none" sz="1400">
              <a:solidFill>
                <a:srgbClr val="E1242A"/>
              </a:solidFill>
            </a:endParaRPr>
          </a:p>
        </p:txBody>
      </p:sp>
      <p:sp>
        <p:nvSpPr>
          <p:cNvPr id="7" name="Slide Number Placeholder 2">
            <a:extLst>
              <a:ext uri="{FF2B5EF4-FFF2-40B4-BE49-F238E27FC236}">
                <a16:creationId xmlns="" xmlns:a16="http://schemas.microsoft.com/office/drawing/2014/main" id="{3ECFC6FE-29FD-4627-9DF7-EBE2B7531CED}"/>
              </a:ext>
            </a:extLst>
          </p:cNvPr>
          <p:cNvSpPr>
            <a:spLocks noGrp="1"/>
          </p:cNvSpPr>
          <p:nvPr>
            <p:ph type="sldNum" sz="quarter" idx="4"/>
          </p:nvPr>
        </p:nvSpPr>
        <p:spPr>
          <a:xfrm>
            <a:off x="8844587" y="26391"/>
            <a:ext cx="309438" cy="274272"/>
          </a:xfrm>
          <a:prstGeom prst="rect">
            <a:avLst/>
          </a:prstGeom>
        </p:spPr>
        <p:txBody>
          <a:bodyPr anchor="ctr"/>
          <a:lstStyle>
            <a:lvl1pPr algn="ctr">
              <a:defRPr sz="900" b="1">
                <a:solidFill>
                  <a:srgbClr val="FF0000"/>
                </a:solidFill>
                <a:latin typeface="+mj-lt"/>
              </a:defRPr>
            </a:lvl1pPr>
          </a:lstStyle>
          <a:p>
            <a:pPr defTabSz="913365"/>
            <a:fld id="{E9B57936-92EF-4126-AE48-1D9D36D15E98}" type="slidenum">
              <a:rPr lang="ja-JP" altLang="en-US" smtClean="0"/>
              <a:pPr defTabSz="913365"/>
              <a:t>‹Nº›</a:t>
            </a:fld>
            <a:endParaRPr lang="ja-JP" altLang="en-US"/>
          </a:p>
        </p:txBody>
      </p:sp>
      <p:pic>
        <p:nvPicPr>
          <p:cNvPr id="5" name="Picture 4" descr="Takeda">
            <a:extLst>
              <a:ext uri="{FF2B5EF4-FFF2-40B4-BE49-F238E27FC236}">
                <a16:creationId xmlns="" xmlns:a16="http://schemas.microsoft.com/office/drawing/2014/main" id="{AB86B1F6-5D85-CD4E-A0A7-44787B0FAB6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31882" y="4724106"/>
            <a:ext cx="841292" cy="466606"/>
          </a:xfrm>
          <a:prstGeom prst="rect">
            <a:avLst/>
          </a:prstGeom>
        </p:spPr>
      </p:pic>
      <p:sp>
        <p:nvSpPr>
          <p:cNvPr id="8" name="TextBox 7">
            <a:extLst>
              <a:ext uri="{FF2B5EF4-FFF2-40B4-BE49-F238E27FC236}">
                <a16:creationId xmlns="" xmlns:a16="http://schemas.microsoft.com/office/drawing/2014/main" id="{F1C45704-C894-D1E7-70F3-E96451E02933}"/>
              </a:ext>
            </a:extLst>
          </p:cNvPr>
          <p:cNvSpPr txBox="1"/>
          <p:nvPr userDrawn="1"/>
        </p:nvSpPr>
        <p:spPr>
          <a:xfrm>
            <a:off x="391354" y="4953683"/>
            <a:ext cx="1474202" cy="161583"/>
          </a:xfrm>
          <a:prstGeom prst="rect">
            <a:avLst/>
          </a:prstGeom>
          <a:noFill/>
        </p:spPr>
        <p:txBody>
          <a:bodyPr wrap="none" lIns="68531" tIns="34289" rIns="68531" bIns="34289" rtlCol="0">
            <a:spAutoFit/>
          </a:bodyPr>
          <a:lstStyle/>
          <a:p>
            <a:pPr defTabSz="685239">
              <a:defRPr/>
            </a:pPr>
            <a:r>
              <a:rPr lang="en-US" sz="600">
                <a:solidFill>
                  <a:srgbClr val="34373F"/>
                </a:solidFill>
              </a:rPr>
              <a:t>Private and confidential. Do not distribute.</a:t>
            </a:r>
          </a:p>
        </p:txBody>
      </p:sp>
    </p:spTree>
    <p:extLst>
      <p:ext uri="{BB962C8B-B14F-4D97-AF65-F5344CB8AC3E}">
        <p14:creationId xmlns:p14="http://schemas.microsoft.com/office/powerpoint/2010/main" val="2206842995"/>
      </p:ext>
    </p:extLst>
  </p:cSld>
  <p:clrMapOvr>
    <a:masterClrMapping/>
  </p:clrMapOvr>
  <p:transition spd="slow">
    <p:push dir="u"/>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675D4F24-3AD1-7943-A1A9-EB84047B5123}"/>
              </a:ext>
            </a:extLst>
          </p:cNvPr>
          <p:cNvSpPr>
            <a:spLocks noGrp="1"/>
          </p:cNvSpPr>
          <p:nvPr>
            <p:ph type="body" sz="quarter" idx="13" hasCustomPrompt="1"/>
          </p:nvPr>
        </p:nvSpPr>
        <p:spPr>
          <a:xfrm>
            <a:off x="395289" y="926921"/>
            <a:ext cx="8343899" cy="3480567"/>
          </a:xfrm>
        </p:spPr>
        <p:txBody>
          <a:bodyPr/>
          <a:lstStyle>
            <a:lvl1pPr>
              <a:buClr>
                <a:srgbClr val="4C4948"/>
              </a:buClr>
              <a:defRPr>
                <a:solidFill>
                  <a:schemeClr val="tx2"/>
                </a:solidFill>
              </a:defRPr>
            </a:lvl1pPr>
            <a:lvl2pPr>
              <a:buClr>
                <a:srgbClr val="4C4948"/>
              </a:buClr>
              <a:defRPr>
                <a:solidFill>
                  <a:schemeClr val="tx2"/>
                </a:solidFill>
              </a:defRPr>
            </a:lvl2pPr>
            <a:lvl3pPr>
              <a:buClr>
                <a:srgbClr val="4C4948"/>
              </a:buClr>
              <a:defRPr>
                <a:solidFill>
                  <a:schemeClr val="tx2"/>
                </a:solidFill>
              </a:defRPr>
            </a:lvl3pPr>
            <a:lvl4pPr>
              <a:buClr>
                <a:srgbClr val="4C4948"/>
              </a:buClr>
              <a:defRPr>
                <a:solidFill>
                  <a:schemeClr val="tx2"/>
                </a:solidFill>
              </a:defRPr>
            </a:lvl4pPr>
            <a:lvl5pPr>
              <a:buClr>
                <a:srgbClr val="4C4948"/>
              </a:buClr>
              <a:defRPr>
                <a:solidFill>
                  <a:schemeClr val="tx2"/>
                </a:solidFill>
              </a:defRPr>
            </a:lvl5pPr>
          </a:lstStyle>
          <a:p>
            <a:pPr lvl="0"/>
            <a:r>
              <a:rPr lang="en-US"/>
              <a:t>Add your text her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 xmlns:a16="http://schemas.microsoft.com/office/drawing/2014/main" id="{FC71F690-8ECF-4851-9B1B-65F80621D3C2}"/>
              </a:ext>
            </a:extLst>
          </p:cNvPr>
          <p:cNvSpPr>
            <a:spLocks noGrp="1"/>
          </p:cNvSpPr>
          <p:nvPr>
            <p:ph type="body" sz="quarter" idx="14" hasCustomPrompt="1"/>
          </p:nvPr>
        </p:nvSpPr>
        <p:spPr>
          <a:xfrm>
            <a:off x="395289" y="4431374"/>
            <a:ext cx="7529513" cy="340727"/>
          </a:xfrm>
        </p:spPr>
        <p:txBody>
          <a:bodyPr bIns="0" anchor="b" anchorCtr="0">
            <a:noAutofit/>
          </a:bodyPr>
          <a:lstStyle>
            <a:lvl1pPr marL="0" indent="0">
              <a:spcBef>
                <a:spcPts val="0"/>
              </a:spcBef>
              <a:buFontTx/>
              <a:buNone/>
              <a:defRPr sz="700">
                <a:solidFill>
                  <a:srgbClr val="34373F"/>
                </a:solidFill>
              </a:defRPr>
            </a:lvl1pPr>
          </a:lstStyle>
          <a:p>
            <a:r>
              <a:rPr lang="en-US"/>
              <a:t>Footnotes.</a:t>
            </a:r>
          </a:p>
          <a:p>
            <a:r>
              <a:rPr lang="en-US"/>
              <a:t>Abbreviations.</a:t>
            </a:r>
          </a:p>
          <a:p>
            <a:r>
              <a:rPr lang="en-US"/>
              <a:t>References.</a:t>
            </a:r>
          </a:p>
        </p:txBody>
      </p:sp>
      <p:sp>
        <p:nvSpPr>
          <p:cNvPr id="5" name="Slide Number Placeholder 4">
            <a:extLst>
              <a:ext uri="{FF2B5EF4-FFF2-40B4-BE49-F238E27FC236}">
                <a16:creationId xmlns="" xmlns:a16="http://schemas.microsoft.com/office/drawing/2014/main" id="{D866840B-298E-4CFC-A58E-46D1C350B59F}"/>
              </a:ext>
            </a:extLst>
          </p:cNvPr>
          <p:cNvSpPr>
            <a:spLocks noGrp="1"/>
          </p:cNvSpPr>
          <p:nvPr>
            <p:ph type="sldNum" sz="quarter" idx="16"/>
          </p:nvPr>
        </p:nvSpPr>
        <p:spPr/>
        <p:txBody>
          <a:bodyPr/>
          <a:lstStyle/>
          <a:p>
            <a:fld id="{E9B57936-92EF-4126-AE48-1D9D36D15E98}" type="slidenum">
              <a:rPr lang="ja-JP" altLang="en-US" smtClean="0">
                <a:solidFill>
                  <a:srgbClr val="34373F"/>
                </a:solidFill>
              </a:rPr>
              <a:pPr/>
              <a:t>‹Nº›</a:t>
            </a:fld>
            <a:endParaRPr lang="ja-JP" altLang="en-US">
              <a:solidFill>
                <a:srgbClr val="34373F"/>
              </a:solidFill>
            </a:endParaRPr>
          </a:p>
        </p:txBody>
      </p:sp>
      <p:sp>
        <p:nvSpPr>
          <p:cNvPr id="8" name="Title 7">
            <a:extLst>
              <a:ext uri="{FF2B5EF4-FFF2-40B4-BE49-F238E27FC236}">
                <a16:creationId xmlns="" xmlns:a16="http://schemas.microsoft.com/office/drawing/2014/main" id="{8F0341E0-7C1E-44B6-B63F-9834CF4F1267}"/>
              </a:ext>
            </a:extLst>
          </p:cNvPr>
          <p:cNvSpPr>
            <a:spLocks noGrp="1"/>
          </p:cNvSpPr>
          <p:nvPr>
            <p:ph type="title"/>
          </p:nvPr>
        </p:nvSpPr>
        <p:spPr>
          <a:xfrm>
            <a:off x="395289" y="99585"/>
            <a:ext cx="7357234" cy="527957"/>
          </a:xfrm>
        </p:spPr>
        <p:txBody>
          <a:bodyPr bIns="0"/>
          <a:lstStyle/>
          <a:p>
            <a:r>
              <a:rPr lang="en-US"/>
              <a:t>Click to edit Master title style</a:t>
            </a:r>
          </a:p>
        </p:txBody>
      </p:sp>
      <p:sp>
        <p:nvSpPr>
          <p:cNvPr id="6" name="Footer Placeholder 5">
            <a:extLst>
              <a:ext uri="{FF2B5EF4-FFF2-40B4-BE49-F238E27FC236}">
                <a16:creationId xmlns="" xmlns:a16="http://schemas.microsoft.com/office/drawing/2014/main" id="{A139C958-1D42-46C5-9663-C1E0F49EEACC}"/>
              </a:ext>
            </a:extLst>
          </p:cNvPr>
          <p:cNvSpPr>
            <a:spLocks noGrp="1"/>
          </p:cNvSpPr>
          <p:nvPr>
            <p:ph type="ftr" sz="quarter" idx="17"/>
          </p:nvPr>
        </p:nvSpPr>
        <p:spPr/>
        <p:txBody>
          <a:bodyPr/>
          <a:lstStyle/>
          <a:p>
            <a:r>
              <a:rPr lang="es-AR" altLang="ja-JP">
                <a:solidFill>
                  <a:srgbClr val="34373F"/>
                </a:solidFill>
              </a:rPr>
              <a:t>Reunión Grupo de Trabajo Dengue - 19 de abril de 2023 - No distribuir, confidencial</a:t>
            </a:r>
            <a:endParaRPr lang="ja-JP" altLang="en-US" sz="200">
              <a:solidFill>
                <a:srgbClr val="34373F"/>
              </a:solidFill>
            </a:endParaRPr>
          </a:p>
        </p:txBody>
      </p:sp>
    </p:spTree>
    <p:extLst>
      <p:ext uri="{BB962C8B-B14F-4D97-AF65-F5344CB8AC3E}">
        <p14:creationId xmlns:p14="http://schemas.microsoft.com/office/powerpoint/2010/main" val="2111193119"/>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1_Standard 1-Column Text">
    <p:spTree>
      <p:nvGrpSpPr>
        <p:cNvPr id="1" name=""/>
        <p:cNvGrpSpPr/>
        <p:nvPr/>
      </p:nvGrpSpPr>
      <p:grpSpPr>
        <a:xfrm>
          <a:off x="0" y="0"/>
          <a:ext cx="0" cy="0"/>
          <a:chOff x="0" y="0"/>
          <a:chExt cx="0" cy="0"/>
        </a:xfrm>
      </p:grpSpPr>
      <p:sp>
        <p:nvSpPr>
          <p:cNvPr id="12" name="Text Placeholder 6">
            <a:extLst>
              <a:ext uri="{FF2B5EF4-FFF2-40B4-BE49-F238E27FC236}">
                <a16:creationId xmlns="" xmlns:a16="http://schemas.microsoft.com/office/drawing/2014/main" id="{FD2406EE-A554-5348-AE6D-4D8B343E6201}"/>
              </a:ext>
            </a:extLst>
          </p:cNvPr>
          <p:cNvSpPr>
            <a:spLocks noGrp="1"/>
          </p:cNvSpPr>
          <p:nvPr>
            <p:ph type="body" sz="quarter" idx="15" hasCustomPrompt="1"/>
          </p:nvPr>
        </p:nvSpPr>
        <p:spPr>
          <a:xfrm>
            <a:off x="233363" y="826793"/>
            <a:ext cx="8677275" cy="3996643"/>
          </a:xfrm>
          <a:prstGeom prst="rect">
            <a:avLst/>
          </a:prstGeom>
        </p:spPr>
        <p:txBody>
          <a:bodyPr tIns="0" rIns="0" bIns="0" numCol="1">
            <a:normAutofit/>
          </a:bodyPr>
          <a:lstStyle>
            <a:lvl1pPr marL="0" indent="0">
              <a:lnSpc>
                <a:spcPct val="100000"/>
              </a:lnSpc>
              <a:spcBef>
                <a:spcPts val="0"/>
              </a:spcBef>
              <a:spcAft>
                <a:spcPts val="450"/>
              </a:spcAft>
              <a:buFont typeface="Arial" panose="020B0604020202020204" pitchFamily="34" charset="0"/>
              <a:buNone/>
              <a:defRPr sz="1200" b="0">
                <a:solidFill>
                  <a:schemeClr val="tx1"/>
                </a:solidFill>
              </a:defRPr>
            </a:lvl1pPr>
            <a:lvl2pPr marL="342506" indent="0">
              <a:lnSpc>
                <a:spcPts val="1350"/>
              </a:lnSpc>
              <a:spcBef>
                <a:spcPts val="0"/>
              </a:spcBef>
              <a:buNone/>
              <a:defRPr sz="1100"/>
            </a:lvl2pPr>
            <a:lvl3pPr marL="685051" indent="0">
              <a:lnSpc>
                <a:spcPts val="1350"/>
              </a:lnSpc>
              <a:spcBef>
                <a:spcPts val="0"/>
              </a:spcBef>
              <a:buNone/>
              <a:defRPr sz="1100"/>
            </a:lvl3pPr>
            <a:lvl4pPr marL="1027572" indent="0">
              <a:lnSpc>
                <a:spcPts val="1350"/>
              </a:lnSpc>
              <a:spcBef>
                <a:spcPts val="0"/>
              </a:spcBef>
              <a:buNone/>
              <a:defRPr sz="1100"/>
            </a:lvl4pPr>
            <a:lvl5pPr marL="1370096" indent="0">
              <a:lnSpc>
                <a:spcPts val="1350"/>
              </a:lnSpc>
              <a:spcBef>
                <a:spcPts val="0"/>
              </a:spcBef>
              <a:buNone/>
              <a:defRPr sz="1100"/>
            </a:lvl5pPr>
          </a:lstStyle>
          <a:p>
            <a:pPr lvl="0"/>
            <a:r>
              <a:rPr lang="en-US"/>
              <a:t>This is a one-column layout. Click to add content</a:t>
            </a:r>
          </a:p>
        </p:txBody>
      </p:sp>
      <p:sp>
        <p:nvSpPr>
          <p:cNvPr id="22" name="タイトル プレースホルダ 1">
            <a:extLst>
              <a:ext uri="{FF2B5EF4-FFF2-40B4-BE49-F238E27FC236}">
                <a16:creationId xmlns="" xmlns:a16="http://schemas.microsoft.com/office/drawing/2014/main" id="{86D2E5B8-9E2B-DB46-A55A-5F26569C4F99}"/>
              </a:ext>
            </a:extLst>
          </p:cNvPr>
          <p:cNvSpPr>
            <a:spLocks noGrp="1"/>
          </p:cNvSpPr>
          <p:nvPr>
            <p:ph type="title" hasCustomPrompt="1"/>
          </p:nvPr>
        </p:nvSpPr>
        <p:spPr>
          <a:xfrm>
            <a:off x="454559" y="121208"/>
            <a:ext cx="7455190" cy="51435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a:extLst>
              <a:ext uri="{FF2B5EF4-FFF2-40B4-BE49-F238E27FC236}">
                <a16:creationId xmlns="" xmlns:a16="http://schemas.microsoft.com/office/drawing/2014/main" id="{51A4825E-63A1-564F-BC3A-FBC167ECE5EB}"/>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3365"/>
            <a:fld id="{E9B57936-92EF-4126-AE48-1D9D36D15E98}" type="slidenum">
              <a:rPr lang="ja-JP" altLang="en-US" smtClean="0">
                <a:solidFill>
                  <a:srgbClr val="34373F"/>
                </a:solidFill>
              </a:rPr>
              <a:pPr defTabSz="913365"/>
              <a:t>‹Nº›</a:t>
            </a:fld>
            <a:endParaRPr lang="ja-JP" altLang="en-US">
              <a:solidFill>
                <a:srgbClr val="34373F"/>
              </a:solidFill>
            </a:endParaRPr>
          </a:p>
        </p:txBody>
      </p:sp>
      <p:sp>
        <p:nvSpPr>
          <p:cNvPr id="21" name="Rectangle 20">
            <a:extLst>
              <a:ext uri="{FF2B5EF4-FFF2-40B4-BE49-F238E27FC236}">
                <a16:creationId xmlns="" xmlns:a16="http://schemas.microsoft.com/office/drawing/2014/main" id="{FCF9CDB0-5730-E246-B31F-F5963CF8EFDC}"/>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31" tIns="34289" rIns="68531" bIns="34289" rtlCol="0" anchor="ctr"/>
          <a:lstStyle/>
          <a:p>
            <a:pPr algn="ctr" defTabSz="685239"/>
            <a:endParaRPr kumimoji="1" lang="x-none" sz="1400">
              <a:solidFill>
                <a:srgbClr val="E1242A"/>
              </a:solidFill>
            </a:endParaRPr>
          </a:p>
        </p:txBody>
      </p:sp>
      <p:pic>
        <p:nvPicPr>
          <p:cNvPr id="9" name="Picture 8">
            <a:extLst>
              <a:ext uri="{FF2B5EF4-FFF2-40B4-BE49-F238E27FC236}">
                <a16:creationId xmlns="" xmlns:a16="http://schemas.microsoft.com/office/drawing/2014/main" id="{2F85A9C0-408D-409A-9C66-EC94F1A7CAE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937746" y="4604928"/>
            <a:ext cx="1008126" cy="603504"/>
          </a:xfrm>
          <a:prstGeom prst="rect">
            <a:avLst/>
          </a:prstGeom>
        </p:spPr>
      </p:pic>
      <p:pic>
        <p:nvPicPr>
          <p:cNvPr id="11" name="Picture 12" descr="Takeda_Logo_Pos_RGB.emf">
            <a:extLst>
              <a:ext uri="{FF2B5EF4-FFF2-40B4-BE49-F238E27FC236}">
                <a16:creationId xmlns="" xmlns:a16="http://schemas.microsoft.com/office/drawing/2014/main" id="{D1FC7823-0381-4A75-A618-7FD9A985CE9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7975658" y="233604"/>
            <a:ext cx="772806" cy="259904"/>
          </a:xfrm>
          <a:prstGeom prst="rect">
            <a:avLst/>
          </a:prstGeom>
          <a:noFill/>
          <a:ln w="9525">
            <a:noFill/>
            <a:miter lim="800000"/>
            <a:headEnd/>
            <a:tailEnd/>
          </a:ln>
        </p:spPr>
      </p:pic>
    </p:spTree>
    <p:extLst>
      <p:ext uri="{BB962C8B-B14F-4D97-AF65-F5344CB8AC3E}">
        <p14:creationId xmlns:p14="http://schemas.microsoft.com/office/powerpoint/2010/main" val="2416107914"/>
      </p:ext>
    </p:extLst>
  </p:cSld>
  <p:clrMapOvr>
    <a:masterClrMapping/>
  </p:clrMapOvr>
  <p:transition spd="slow">
    <p:push dir="u"/>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userDrawn="1">
  <p:cSld name="Blank w/ Title (Ligh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2791E102-F015-C78A-47B6-E9A6357A4664}"/>
              </a:ext>
            </a:extLst>
          </p:cNvPr>
          <p:cNvSpPr>
            <a:spLocks noGrp="1"/>
          </p:cNvSpPr>
          <p:nvPr>
            <p:ph type="title" hasCustomPrompt="1"/>
          </p:nvPr>
        </p:nvSpPr>
        <p:spPr/>
        <p:txBody>
          <a:bodyPr/>
          <a:lstStyle>
            <a:lvl1pPr>
              <a:defRPr>
                <a:solidFill>
                  <a:schemeClr val="tx2"/>
                </a:solidFill>
              </a:defRPr>
            </a:lvl1pPr>
          </a:lstStyle>
          <a:p>
            <a:r>
              <a:rPr lang="en-US"/>
              <a:t>Enter title here</a:t>
            </a:r>
            <a:endParaRPr lang="en-GB"/>
          </a:p>
        </p:txBody>
      </p:sp>
      <p:sp>
        <p:nvSpPr>
          <p:cNvPr id="3" name="Footer Placeholder 2">
            <a:extLst>
              <a:ext uri="{FF2B5EF4-FFF2-40B4-BE49-F238E27FC236}">
                <a16:creationId xmlns="" xmlns:a16="http://schemas.microsoft.com/office/drawing/2014/main" id="{D7FB5E98-4ADD-3B20-06BA-EA0D13A6542A}"/>
              </a:ext>
            </a:extLst>
          </p:cNvPr>
          <p:cNvSpPr>
            <a:spLocks noGrp="1"/>
          </p:cNvSpPr>
          <p:nvPr>
            <p:ph type="ftr" sz="quarter" idx="10"/>
          </p:nvPr>
        </p:nvSpPr>
        <p:spPr/>
        <p:txBody>
          <a:bodyPr/>
          <a:lstStyle/>
          <a:p>
            <a:r>
              <a:rPr lang="es-AR">
                <a:solidFill>
                  <a:srgbClr val="34373F"/>
                </a:solidFill>
              </a:rPr>
              <a:t>Reunión Grupo de Trabajo Dengue - 19 de abril de 2023 - No distribuir, confidencial</a:t>
            </a:r>
            <a:endParaRPr lang="en-GB">
              <a:solidFill>
                <a:srgbClr val="34373F"/>
              </a:solidFill>
            </a:endParaRPr>
          </a:p>
        </p:txBody>
      </p:sp>
      <p:sp>
        <p:nvSpPr>
          <p:cNvPr id="4" name="Slide Number Placeholder 3">
            <a:extLst>
              <a:ext uri="{FF2B5EF4-FFF2-40B4-BE49-F238E27FC236}">
                <a16:creationId xmlns="" xmlns:a16="http://schemas.microsoft.com/office/drawing/2014/main" id="{A42EA920-1055-F026-0BE2-8DFAFD83F4F6}"/>
              </a:ext>
            </a:extLst>
          </p:cNvPr>
          <p:cNvSpPr>
            <a:spLocks noGrp="1"/>
          </p:cNvSpPr>
          <p:nvPr>
            <p:ph type="sldNum" sz="quarter" idx="11"/>
          </p:nvPr>
        </p:nvSpPr>
        <p:spPr/>
        <p:txBody>
          <a:bodyPr/>
          <a:lstStyle/>
          <a:p>
            <a:fld id="{6C2D6B06-1DB8-4E35-8DFF-019CD55AEF0F}" type="slidenum">
              <a:rPr lang="en-GB" smtClean="0">
                <a:solidFill>
                  <a:srgbClr val="34373F"/>
                </a:solidFill>
              </a:rPr>
              <a:pPr/>
              <a:t>‹Nº›</a:t>
            </a:fld>
            <a:endParaRPr lang="en-GB">
              <a:solidFill>
                <a:srgbClr val="34373F"/>
              </a:solidFill>
            </a:endParaRPr>
          </a:p>
        </p:txBody>
      </p:sp>
    </p:spTree>
    <p:extLst>
      <p:ext uri="{BB962C8B-B14F-4D97-AF65-F5344CB8AC3E}">
        <p14:creationId xmlns:p14="http://schemas.microsoft.com/office/powerpoint/2010/main" val="464735052"/>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2_Standard 1-Column Text">
    <p:spTree>
      <p:nvGrpSpPr>
        <p:cNvPr id="1" name=""/>
        <p:cNvGrpSpPr/>
        <p:nvPr/>
      </p:nvGrpSpPr>
      <p:grpSpPr>
        <a:xfrm>
          <a:off x="0" y="0"/>
          <a:ext cx="0" cy="0"/>
          <a:chOff x="0" y="0"/>
          <a:chExt cx="0" cy="0"/>
        </a:xfrm>
      </p:grpSpPr>
      <p:pic>
        <p:nvPicPr>
          <p:cNvPr id="14" name="Picture 13" descr="Takeda">
            <a:extLst>
              <a:ext uri="{FF2B5EF4-FFF2-40B4-BE49-F238E27FC236}">
                <a16:creationId xmlns=""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09748" y="-1211"/>
            <a:ext cx="1272174" cy="705585"/>
          </a:xfrm>
          <a:prstGeom prst="rect">
            <a:avLst/>
          </a:prstGeom>
        </p:spPr>
      </p:pic>
      <p:sp>
        <p:nvSpPr>
          <p:cNvPr id="22" name="タイトル プレースホルダ 1">
            <a:extLst>
              <a:ext uri="{FF2B5EF4-FFF2-40B4-BE49-F238E27FC236}">
                <a16:creationId xmlns="" xmlns:a16="http://schemas.microsoft.com/office/drawing/2014/main" id="{86D2E5B8-9E2B-DB46-A55A-5F26569C4F99}"/>
              </a:ext>
            </a:extLst>
          </p:cNvPr>
          <p:cNvSpPr>
            <a:spLocks noGrp="1"/>
          </p:cNvSpPr>
          <p:nvPr>
            <p:ph type="title" hasCustomPrompt="1"/>
          </p:nvPr>
        </p:nvSpPr>
        <p:spPr>
          <a:xfrm>
            <a:off x="454559" y="121208"/>
            <a:ext cx="7455190" cy="51435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5" name="Rectangle 4">
            <a:extLst>
              <a:ext uri="{FF2B5EF4-FFF2-40B4-BE49-F238E27FC236}">
                <a16:creationId xmlns="" xmlns:a16="http://schemas.microsoft.com/office/drawing/2014/main" id="{12D1C143-C900-4302-B629-6C343D115039}"/>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31" tIns="34289" rIns="68531" bIns="34289" rtlCol="0" anchor="ctr"/>
          <a:lstStyle/>
          <a:p>
            <a:pPr algn="ctr" defTabSz="685239">
              <a:defRPr/>
            </a:pPr>
            <a:endParaRPr kumimoji="1" lang="x-none" sz="1400">
              <a:solidFill>
                <a:srgbClr val="E1242A"/>
              </a:solidFill>
            </a:endParaRPr>
          </a:p>
        </p:txBody>
      </p:sp>
      <p:sp>
        <p:nvSpPr>
          <p:cNvPr id="6" name="スライド番号プレースホルダ 5">
            <a:extLst>
              <a:ext uri="{FF2B5EF4-FFF2-40B4-BE49-F238E27FC236}">
                <a16:creationId xmlns="" xmlns:a16="http://schemas.microsoft.com/office/drawing/2014/main" id="{F97834FE-3404-479B-9513-039B29CD293C}"/>
              </a:ext>
            </a:extLst>
          </p:cNvPr>
          <p:cNvSpPr>
            <a:spLocks noGrp="1"/>
          </p:cNvSpPr>
          <p:nvPr>
            <p:ph type="sldNum" sz="quarter" idx="4"/>
          </p:nvPr>
        </p:nvSpPr>
        <p:spPr>
          <a:xfrm>
            <a:off x="233363" y="4867276"/>
            <a:ext cx="442392" cy="172074"/>
          </a:xfrm>
          <a:prstGeom prst="rect">
            <a:avLst/>
          </a:prstGeom>
        </p:spPr>
        <p:txBody>
          <a:bodyPr vert="horz" lIns="0" tIns="34283" rIns="0" bIns="34283" rtlCol="0" anchor="ctr"/>
          <a:lstStyle>
            <a:lvl1pPr algn="l">
              <a:defRPr sz="800" b="1" i="0">
                <a:solidFill>
                  <a:schemeClr val="tx1"/>
                </a:solidFill>
                <a:latin typeface="+mn-lt"/>
                <a:ea typeface="メイリオ" pitchFamily="50" charset="-128"/>
                <a:cs typeface="Calibri" panose="020F0502020204030204" pitchFamily="34" charset="0"/>
              </a:defRPr>
            </a:lvl1pPr>
          </a:lstStyle>
          <a:p>
            <a:pPr defTabSz="913365">
              <a:defRPr/>
            </a:pPr>
            <a:fld id="{E9B57936-92EF-4126-AE48-1D9D36D15E98}" type="slidenum">
              <a:rPr lang="ja-JP" altLang="en-US" smtClean="0">
                <a:solidFill>
                  <a:srgbClr val="34373F"/>
                </a:solidFill>
              </a:rPr>
              <a:pPr defTabSz="913365">
                <a:defRPr/>
              </a:pPr>
              <a:t>‹Nº›</a:t>
            </a:fld>
            <a:endParaRPr lang="ja-JP" altLang="en-US">
              <a:solidFill>
                <a:srgbClr val="34373F"/>
              </a:solidFill>
            </a:endParaRPr>
          </a:p>
        </p:txBody>
      </p:sp>
    </p:spTree>
    <p:extLst>
      <p:ext uri="{BB962C8B-B14F-4D97-AF65-F5344CB8AC3E}">
        <p14:creationId xmlns:p14="http://schemas.microsoft.com/office/powerpoint/2010/main" val="1936677540"/>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タイトルとコンテンツ">
    <p:spTree>
      <p:nvGrpSpPr>
        <p:cNvPr id="1" name=""/>
        <p:cNvGrpSpPr/>
        <p:nvPr/>
      </p:nvGrpSpPr>
      <p:grpSpPr>
        <a:xfrm>
          <a:off x="0" y="0"/>
          <a:ext cx="0" cy="0"/>
          <a:chOff x="0" y="0"/>
          <a:chExt cx="0" cy="0"/>
        </a:xfrm>
      </p:grpSpPr>
      <p:sp>
        <p:nvSpPr>
          <p:cNvPr id="3" name="コンテンツ プレースホルダ 2"/>
          <p:cNvSpPr>
            <a:spLocks noGrp="1"/>
          </p:cNvSpPr>
          <p:nvPr>
            <p:ph idx="1" hasCustomPrompt="1"/>
          </p:nvPr>
        </p:nvSpPr>
        <p:spPr/>
        <p:txBody>
          <a:bodyPr>
            <a:normAutofit/>
          </a:bodyPr>
          <a:lstStyle>
            <a:lvl1pPr marL="342605" marR="0" indent="-342605" algn="l" defTabSz="685239" rtl="0" eaLnBrk="1" fontAlgn="auto" latinLnBrk="0" hangingPunct="1">
              <a:lnSpc>
                <a:spcPct val="100000"/>
              </a:lnSpc>
              <a:spcBef>
                <a:spcPct val="20000"/>
              </a:spcBef>
              <a:spcAft>
                <a:spcPts val="0"/>
              </a:spcAft>
              <a:buClr>
                <a:srgbClr val="4C4948"/>
              </a:buClr>
              <a:buSzTx/>
              <a:buFont typeface="Arial" panose="020B0604020202020204" pitchFamily="34" charset="0"/>
              <a:buChar char="•"/>
              <a:tabLst/>
              <a:defRPr sz="2000" baseline="0">
                <a:solidFill>
                  <a:schemeClr val="accent2"/>
                </a:solidFill>
                <a:latin typeface="Calibri" pitchFamily="34" charset="0"/>
                <a:cs typeface="Calibri" pitchFamily="34" charset="0"/>
              </a:defRPr>
            </a:lvl1pPr>
            <a:lvl2pPr marL="556751" marR="0" indent="-214148" algn="l" defTabSz="685239" rtl="0" eaLnBrk="1" fontAlgn="auto" latinLnBrk="0" hangingPunct="1">
              <a:lnSpc>
                <a:spcPct val="100000"/>
              </a:lnSpc>
              <a:spcBef>
                <a:spcPct val="20000"/>
              </a:spcBef>
              <a:spcAft>
                <a:spcPts val="0"/>
              </a:spcAft>
              <a:buClr>
                <a:srgbClr val="4C4948"/>
              </a:buClr>
              <a:buSzTx/>
              <a:buFont typeface="Arial" pitchFamily="34" charset="0"/>
              <a:buChar char="–"/>
              <a:tabLst/>
              <a:defRPr sz="1400" baseline="0">
                <a:solidFill>
                  <a:srgbClr val="231815"/>
                </a:solidFill>
                <a:latin typeface="Calibri" pitchFamily="34" charset="0"/>
                <a:cs typeface="Calibri" pitchFamily="34" charset="0"/>
              </a:defRPr>
            </a:lvl2pPr>
            <a:lvl3pPr marL="856556" marR="0" indent="-171318" algn="l" defTabSz="685239" rtl="0" eaLnBrk="1" fontAlgn="auto" latinLnBrk="0" hangingPunct="1">
              <a:lnSpc>
                <a:spcPct val="100000"/>
              </a:lnSpc>
              <a:spcBef>
                <a:spcPct val="20000"/>
              </a:spcBef>
              <a:spcAft>
                <a:spcPts val="0"/>
              </a:spcAft>
              <a:buClr>
                <a:srgbClr val="4C4948"/>
              </a:buClr>
              <a:buSzTx/>
              <a:buFont typeface="Arial" pitchFamily="34" charset="0"/>
              <a:buChar char="•"/>
              <a:tabLst/>
              <a:defRPr sz="1200" baseline="0">
                <a:solidFill>
                  <a:srgbClr val="231815"/>
                </a:solidFill>
                <a:latin typeface="Calibri" pitchFamily="34" charset="0"/>
                <a:cs typeface="Calibri" pitchFamily="34" charset="0"/>
              </a:defRPr>
            </a:lvl3pPr>
            <a:lvl4pPr marL="1199160" marR="0" indent="-171318" algn="l" defTabSz="685239" rtl="0" eaLnBrk="1" fontAlgn="auto" latinLnBrk="0" hangingPunct="1">
              <a:lnSpc>
                <a:spcPct val="100000"/>
              </a:lnSpc>
              <a:spcBef>
                <a:spcPct val="20000"/>
              </a:spcBef>
              <a:spcAft>
                <a:spcPts val="0"/>
              </a:spcAft>
              <a:buClr>
                <a:srgbClr val="4C4948"/>
              </a:buClr>
              <a:buSzTx/>
              <a:buFont typeface="Arial" pitchFamily="34" charset="0"/>
              <a:buChar char="–"/>
              <a:tabLst/>
              <a:defRPr sz="1100" baseline="0">
                <a:solidFill>
                  <a:srgbClr val="231815"/>
                </a:solidFill>
                <a:latin typeface="Calibri" pitchFamily="34" charset="0"/>
                <a:cs typeface="Calibri" pitchFamily="34" charset="0"/>
              </a:defRPr>
            </a:lvl4pPr>
            <a:lvl5pPr marL="1541765" marR="0" indent="-171318" algn="l" defTabSz="685239" rtl="0" eaLnBrk="1" fontAlgn="auto" latinLnBrk="0" hangingPunct="1">
              <a:lnSpc>
                <a:spcPct val="100000"/>
              </a:lnSpc>
              <a:spcBef>
                <a:spcPct val="20000"/>
              </a:spcBef>
              <a:spcAft>
                <a:spcPts val="0"/>
              </a:spcAft>
              <a:buClr>
                <a:srgbClr val="4C4948"/>
              </a:buClr>
              <a:buSzTx/>
              <a:buFont typeface="Arial" pitchFamily="34" charset="0"/>
              <a:buChar char="»"/>
              <a:tabLst/>
              <a:defRPr sz="1100" baseline="0">
                <a:solidFill>
                  <a:srgbClr val="231815"/>
                </a:solidFill>
                <a:latin typeface="Calibri" pitchFamily="34" charset="0"/>
                <a:cs typeface="Calibri" pitchFamily="34" charset="0"/>
              </a:defRPr>
            </a:lvl5pPr>
          </a:lstStyle>
          <a:p>
            <a:pPr marL="342605" marR="0" lvl="0" indent="-342605" algn="l" defTabSz="685239" rtl="0" eaLnBrk="1" fontAlgn="auto" latinLnBrk="0" hangingPunct="1">
              <a:lnSpc>
                <a:spcPct val="100000"/>
              </a:lnSpc>
              <a:spcBef>
                <a:spcPct val="20000"/>
              </a:spcBef>
              <a:spcAft>
                <a:spcPts val="0"/>
              </a:spcAft>
              <a:buClr>
                <a:srgbClr val="4C4948"/>
              </a:buClr>
              <a:buSzTx/>
              <a:buFont typeface="Arial" panose="020B0604020202020204" pitchFamily="34" charset="0"/>
              <a:buChar char="•"/>
              <a:tabLst/>
              <a:defRPr/>
            </a:pPr>
            <a:r>
              <a:rPr kumimoji="1" lang="en-US" sz="2000" b="0" i="0" u="none" strike="noStrike" kern="1200" cap="none" spc="0" normalizeH="0" baseline="0" noProof="0">
                <a:ln>
                  <a:noFill/>
                </a:ln>
                <a:solidFill>
                  <a:srgbClr val="4C4948"/>
                </a:solidFill>
                <a:effectLst/>
                <a:uLnTx/>
                <a:uFillTx/>
                <a:latin typeface="Calibri" pitchFamily="34" charset="0"/>
                <a:ea typeface="メイリオ" pitchFamily="50" charset="-128"/>
                <a:cs typeface="Calibri" pitchFamily="34" charset="0"/>
              </a:rPr>
              <a:t>Add your content here</a:t>
            </a:r>
          </a:p>
          <a:p>
            <a:pPr marL="556751" marR="0" lvl="1" indent="-214148" algn="l" defTabSz="685239" rtl="0" eaLnBrk="1" fontAlgn="auto" latinLnBrk="0" hangingPunct="1">
              <a:lnSpc>
                <a:spcPct val="100000"/>
              </a:lnSpc>
              <a:spcBef>
                <a:spcPct val="20000"/>
              </a:spcBef>
              <a:spcAft>
                <a:spcPts val="0"/>
              </a:spcAft>
              <a:buClr>
                <a:srgbClr val="4C4948"/>
              </a:buClr>
              <a:buSzTx/>
              <a:buFont typeface="Arial" pitchFamily="34" charset="0"/>
              <a:buChar char="–"/>
              <a:tabLst/>
              <a:defRPr/>
            </a:pPr>
            <a:r>
              <a:rPr kumimoji="1" lang="en-US" sz="1800" b="0" i="0" u="none" strike="noStrike" kern="1200" cap="none" spc="0" normalizeH="0" baseline="0" noProof="0">
                <a:ln>
                  <a:noFill/>
                </a:ln>
                <a:solidFill>
                  <a:srgbClr val="4C4948"/>
                </a:solidFill>
                <a:effectLst/>
                <a:uLnTx/>
                <a:uFillTx/>
                <a:latin typeface="Calibri" pitchFamily="34" charset="0"/>
                <a:ea typeface="メイリオ" pitchFamily="50" charset="-128"/>
                <a:cs typeface="Calibri" pitchFamily="34" charset="0"/>
              </a:rPr>
              <a:t>Second level</a:t>
            </a:r>
          </a:p>
          <a:p>
            <a:pPr marL="856556" marR="0" lvl="2" indent="-171318" algn="l" defTabSz="685239" rtl="0" eaLnBrk="1" fontAlgn="auto" latinLnBrk="0" hangingPunct="1">
              <a:lnSpc>
                <a:spcPct val="100000"/>
              </a:lnSpc>
              <a:spcBef>
                <a:spcPct val="20000"/>
              </a:spcBef>
              <a:spcAft>
                <a:spcPts val="0"/>
              </a:spcAft>
              <a:buClr>
                <a:srgbClr val="4C4948"/>
              </a:buClr>
              <a:buSzTx/>
              <a:buFont typeface="Arial" pitchFamily="34" charset="0"/>
              <a:buChar char="•"/>
              <a:tabLst/>
              <a:defRPr/>
            </a:pPr>
            <a:r>
              <a:rPr kumimoji="1" lang="en-US" sz="1700" b="0" i="0" u="none" strike="noStrike" kern="1200" cap="none" spc="0" normalizeH="0" baseline="0" noProof="0">
                <a:ln>
                  <a:noFill/>
                </a:ln>
                <a:solidFill>
                  <a:srgbClr val="4C4948"/>
                </a:solidFill>
                <a:effectLst/>
                <a:uLnTx/>
                <a:uFillTx/>
                <a:latin typeface="Calibri" pitchFamily="34" charset="0"/>
                <a:ea typeface="メイリオ" pitchFamily="50" charset="-128"/>
                <a:cs typeface="Calibri" pitchFamily="34" charset="0"/>
              </a:rPr>
              <a:t>Third level</a:t>
            </a:r>
          </a:p>
          <a:p>
            <a:pPr marL="1199160" marR="0" lvl="3" indent="-171318" algn="l" defTabSz="685239" rtl="0" eaLnBrk="1" fontAlgn="auto" latinLnBrk="0" hangingPunct="1">
              <a:lnSpc>
                <a:spcPct val="100000"/>
              </a:lnSpc>
              <a:spcBef>
                <a:spcPct val="20000"/>
              </a:spcBef>
              <a:spcAft>
                <a:spcPts val="0"/>
              </a:spcAft>
              <a:buClr>
                <a:srgbClr val="4C4948"/>
              </a:buClr>
              <a:buSzTx/>
              <a:buFont typeface="Arial" pitchFamily="34" charset="0"/>
              <a:buChar char="–"/>
              <a:tabLst/>
              <a:defRPr/>
            </a:pPr>
            <a:r>
              <a:rPr kumimoji="1" lang="en-US" sz="1500" b="0" i="0" u="none" strike="noStrike" kern="1200" cap="none" spc="0" normalizeH="0" baseline="0" noProof="0">
                <a:ln>
                  <a:noFill/>
                </a:ln>
                <a:solidFill>
                  <a:srgbClr val="4C4948"/>
                </a:solidFill>
                <a:effectLst/>
                <a:uLnTx/>
                <a:uFillTx/>
                <a:latin typeface="Calibri" pitchFamily="34" charset="0"/>
                <a:ea typeface="メイリオ" pitchFamily="50" charset="-128"/>
                <a:cs typeface="Calibri" pitchFamily="34" charset="0"/>
              </a:rPr>
              <a:t>Fourth level</a:t>
            </a:r>
          </a:p>
          <a:p>
            <a:pPr marL="1541765" marR="0" lvl="4" indent="-171318" algn="l" defTabSz="685239" rtl="0" eaLnBrk="1" fontAlgn="auto" latinLnBrk="0" hangingPunct="1">
              <a:lnSpc>
                <a:spcPct val="100000"/>
              </a:lnSpc>
              <a:spcBef>
                <a:spcPct val="20000"/>
              </a:spcBef>
              <a:spcAft>
                <a:spcPts val="0"/>
              </a:spcAft>
              <a:buClr>
                <a:srgbClr val="4C4948"/>
              </a:buClr>
              <a:buSzTx/>
              <a:buFont typeface="Arial" pitchFamily="34" charset="0"/>
              <a:buChar char="»"/>
              <a:tabLst/>
              <a:defRPr/>
            </a:pPr>
            <a:r>
              <a:rPr kumimoji="1" lang="en-US" sz="1500" b="0" i="0" u="none" strike="noStrike" kern="1200" cap="none" spc="0" normalizeH="0" baseline="0" noProof="0">
                <a:ln>
                  <a:noFill/>
                </a:ln>
                <a:solidFill>
                  <a:srgbClr val="4C4948"/>
                </a:solidFill>
                <a:effectLst/>
                <a:uLnTx/>
                <a:uFillTx/>
                <a:latin typeface="Calibri" pitchFamily="34" charset="0"/>
                <a:ea typeface="メイリオ" pitchFamily="50" charset="-128"/>
                <a:cs typeface="Calibri" pitchFamily="34" charset="0"/>
              </a:rPr>
              <a:t>Fifth level</a:t>
            </a:r>
            <a:endParaRPr kumimoji="1" lang="ja-JP" altLang="en-US"/>
          </a:p>
        </p:txBody>
      </p:sp>
      <p:sp>
        <p:nvSpPr>
          <p:cNvPr id="7" name="Title 14">
            <a:extLst>
              <a:ext uri="{FF2B5EF4-FFF2-40B4-BE49-F238E27FC236}">
                <a16:creationId xmlns="" xmlns:a16="http://schemas.microsoft.com/office/drawing/2014/main" id="{ACC062CD-A904-0F41-8348-B090B7D80016}"/>
              </a:ext>
            </a:extLst>
          </p:cNvPr>
          <p:cNvSpPr>
            <a:spLocks noGrp="1"/>
          </p:cNvSpPr>
          <p:nvPr>
            <p:ph type="title" hasCustomPrompt="1"/>
          </p:nvPr>
        </p:nvSpPr>
        <p:spPr>
          <a:xfrm>
            <a:off x="395288" y="226800"/>
            <a:ext cx="7290144" cy="515700"/>
          </a:xfrm>
        </p:spPr>
        <p:txBody>
          <a:bodyPr/>
          <a:lstStyle>
            <a:lvl1pPr>
              <a:defRPr sz="1800">
                <a:solidFill>
                  <a:srgbClr val="4C4948"/>
                </a:solidFill>
                <a:latin typeface="Calibri" panose="020F0502020204030204" pitchFamily="34" charset="0"/>
                <a:cs typeface="Calibri" panose="020F0502020204030204" pitchFamily="34" charset="0"/>
              </a:defRPr>
            </a:lvl1pPr>
          </a:lstStyle>
          <a:p>
            <a:r>
              <a:rPr lang="en-US"/>
              <a:t>Add your title here</a:t>
            </a:r>
          </a:p>
        </p:txBody>
      </p:sp>
      <p:sp>
        <p:nvSpPr>
          <p:cNvPr id="10" name="Slide Number Placeholder 2">
            <a:extLst>
              <a:ext uri="{FF2B5EF4-FFF2-40B4-BE49-F238E27FC236}">
                <a16:creationId xmlns="" xmlns:a16="http://schemas.microsoft.com/office/drawing/2014/main" id="{E66FFE87-AC99-D545-8637-52F42D6E6547}"/>
              </a:ext>
            </a:extLst>
          </p:cNvPr>
          <p:cNvSpPr>
            <a:spLocks noGrp="1"/>
          </p:cNvSpPr>
          <p:nvPr>
            <p:ph type="sldNum" sz="quarter" idx="4"/>
          </p:nvPr>
        </p:nvSpPr>
        <p:spPr>
          <a:xfrm>
            <a:off x="3" y="4748454"/>
            <a:ext cx="486833" cy="292687"/>
          </a:xfrm>
          <a:prstGeom prst="rect">
            <a:avLst/>
          </a:prstGeom>
        </p:spPr>
        <p:txBody>
          <a:bodyPr rIns="0" anchor="ctr" anchorCtr="0"/>
          <a:lstStyle>
            <a:lvl1pPr algn="r">
              <a:defRPr sz="800" b="0" i="0">
                <a:solidFill>
                  <a:schemeClr val="accent3"/>
                </a:solidFill>
                <a:latin typeface="Calibri" panose="020F0502020204030204" pitchFamily="34" charset="0"/>
                <a:cs typeface="Calibri" panose="020F0502020204030204" pitchFamily="34" charset="0"/>
              </a:defRPr>
            </a:lvl1pPr>
          </a:lstStyle>
          <a:p>
            <a:pPr>
              <a:defRPr/>
            </a:pPr>
            <a:fld id="{E9B57936-92EF-4126-AE48-1D9D36D15E98}" type="slidenum">
              <a:rPr lang="ja-JP" altLang="en-US" smtClean="0">
                <a:solidFill>
                  <a:srgbClr val="34373F"/>
                </a:solidFill>
              </a:rPr>
              <a:pPr>
                <a:defRPr/>
              </a:pPr>
              <a:t>‹Nº›</a:t>
            </a:fld>
            <a:endParaRPr lang="ja-JP" altLang="en-US">
              <a:solidFill>
                <a:srgbClr val="34373F"/>
              </a:solidFill>
            </a:endParaRPr>
          </a:p>
        </p:txBody>
      </p:sp>
      <p:sp>
        <p:nvSpPr>
          <p:cNvPr id="11" name="Footer Placeholder 4">
            <a:extLst>
              <a:ext uri="{FF2B5EF4-FFF2-40B4-BE49-F238E27FC236}">
                <a16:creationId xmlns="" xmlns:a16="http://schemas.microsoft.com/office/drawing/2014/main" id="{AF0B85ED-B35C-F940-9C41-40AD55C5EB03}"/>
              </a:ext>
            </a:extLst>
          </p:cNvPr>
          <p:cNvSpPr>
            <a:spLocks noGrp="1"/>
          </p:cNvSpPr>
          <p:nvPr>
            <p:ph type="ftr" sz="quarter" idx="3"/>
          </p:nvPr>
        </p:nvSpPr>
        <p:spPr>
          <a:xfrm>
            <a:off x="486833" y="4748422"/>
            <a:ext cx="7447713" cy="292688"/>
          </a:xfrm>
          <a:prstGeom prst="rect">
            <a:avLst/>
          </a:prstGeom>
        </p:spPr>
        <p:txBody>
          <a:bodyPr lIns="53967" anchor="ctr" anchorCtr="0"/>
          <a:lstStyle>
            <a:lvl1pPr>
              <a:defRPr sz="800" b="0" i="0">
                <a:solidFill>
                  <a:schemeClr val="accent3"/>
                </a:solidFill>
                <a:latin typeface="Calibri" panose="020F0502020204030204" pitchFamily="34" charset="0"/>
                <a:cs typeface="Calibri" panose="020F0502020204030204" pitchFamily="34" charset="0"/>
              </a:defRPr>
            </a:lvl1pPr>
          </a:lstStyle>
          <a:p>
            <a:pPr algn="l">
              <a:defRPr/>
            </a:pPr>
            <a:endParaRPr lang="ja-JP" altLang="en-US" spc="0">
              <a:solidFill>
                <a:srgbClr val="34373F"/>
              </a:solidFill>
            </a:endParaRPr>
          </a:p>
        </p:txBody>
      </p:sp>
      <p:sp>
        <p:nvSpPr>
          <p:cNvPr id="6" name="Text Placeholder 3">
            <a:extLst>
              <a:ext uri="{FF2B5EF4-FFF2-40B4-BE49-F238E27FC236}">
                <a16:creationId xmlns="" xmlns:a16="http://schemas.microsoft.com/office/drawing/2014/main" id="{B08CFEF5-24AE-495E-BBF3-2FCF473E5A90}"/>
              </a:ext>
            </a:extLst>
          </p:cNvPr>
          <p:cNvSpPr>
            <a:spLocks noGrp="1"/>
          </p:cNvSpPr>
          <p:nvPr>
            <p:ph type="body" sz="quarter" idx="14" hasCustomPrompt="1"/>
          </p:nvPr>
        </p:nvSpPr>
        <p:spPr>
          <a:xfrm>
            <a:off x="404820" y="4407727"/>
            <a:ext cx="7529513" cy="340519"/>
          </a:xfrm>
        </p:spPr>
        <p:txBody>
          <a:bodyPr bIns="0" anchor="b" anchorCtr="0">
            <a:noAutofit/>
          </a:bodyPr>
          <a:lstStyle>
            <a:lvl1pPr marL="0" indent="0">
              <a:spcBef>
                <a:spcPts val="0"/>
              </a:spcBef>
              <a:buFontTx/>
              <a:buNone/>
              <a:defRPr sz="700"/>
            </a:lvl1pPr>
          </a:lstStyle>
          <a:p>
            <a:pPr lvl="0"/>
            <a:r>
              <a:rPr lang="en-US"/>
              <a:t>Abbreviations and references</a:t>
            </a:r>
          </a:p>
        </p:txBody>
      </p:sp>
    </p:spTree>
    <p:custDataLst>
      <p:tags r:id="rId1"/>
    </p:custDataLst>
    <p:extLst>
      <p:ext uri="{BB962C8B-B14F-4D97-AF65-F5344CB8AC3E}">
        <p14:creationId xmlns:p14="http://schemas.microsoft.com/office/powerpoint/2010/main" val="3676429479"/>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タイトルのみ">
    <p:spTree>
      <p:nvGrpSpPr>
        <p:cNvPr id="1" name=""/>
        <p:cNvGrpSpPr/>
        <p:nvPr/>
      </p:nvGrpSpPr>
      <p:grpSpPr>
        <a:xfrm>
          <a:off x="0" y="0"/>
          <a:ext cx="0" cy="0"/>
          <a:chOff x="0" y="0"/>
          <a:chExt cx="0" cy="0"/>
        </a:xfrm>
      </p:grpSpPr>
      <p:sp>
        <p:nvSpPr>
          <p:cNvPr id="15" name="Title 14">
            <a:extLst>
              <a:ext uri="{FF2B5EF4-FFF2-40B4-BE49-F238E27FC236}">
                <a16:creationId xmlns="" xmlns:a16="http://schemas.microsoft.com/office/drawing/2014/main" id="{4729DF11-77EA-7E4D-999C-4E7EA206B8A6}"/>
              </a:ext>
            </a:extLst>
          </p:cNvPr>
          <p:cNvSpPr>
            <a:spLocks noGrp="1"/>
          </p:cNvSpPr>
          <p:nvPr>
            <p:ph type="title" hasCustomPrompt="1"/>
          </p:nvPr>
        </p:nvSpPr>
        <p:spPr>
          <a:xfrm>
            <a:off x="395291" y="99585"/>
            <a:ext cx="7290145" cy="527957"/>
          </a:xfrm>
        </p:spPr>
        <p:txBody>
          <a:bodyPr/>
          <a:lstStyle>
            <a:lvl1pPr>
              <a:defRPr>
                <a:solidFill>
                  <a:schemeClr val="accent2"/>
                </a:solidFill>
                <a:latin typeface="Calibri" panose="020F0502020204030204" pitchFamily="34" charset="0"/>
                <a:cs typeface="Calibri" panose="020F0502020204030204" pitchFamily="34" charset="0"/>
              </a:defRPr>
            </a:lvl1pPr>
          </a:lstStyle>
          <a:p>
            <a:r>
              <a:rPr lang="en-US"/>
              <a:t>Add your title here</a:t>
            </a:r>
          </a:p>
        </p:txBody>
      </p:sp>
      <p:sp>
        <p:nvSpPr>
          <p:cNvPr id="3" name="Text Placeholder 2">
            <a:extLst>
              <a:ext uri="{FF2B5EF4-FFF2-40B4-BE49-F238E27FC236}">
                <a16:creationId xmlns="" xmlns:a16="http://schemas.microsoft.com/office/drawing/2014/main" id="{675D4F24-3AD1-7943-A1A9-EB84047B5123}"/>
              </a:ext>
            </a:extLst>
          </p:cNvPr>
          <p:cNvSpPr>
            <a:spLocks noGrp="1"/>
          </p:cNvSpPr>
          <p:nvPr>
            <p:ph type="body" sz="quarter" idx="13" hasCustomPrompt="1"/>
          </p:nvPr>
        </p:nvSpPr>
        <p:spPr>
          <a:xfrm>
            <a:off x="404814" y="926920"/>
            <a:ext cx="8343899" cy="3697059"/>
          </a:xfrm>
        </p:spPr>
        <p:txBody>
          <a:bodyPr/>
          <a:lstStyle>
            <a:lvl1pPr>
              <a:buClr>
                <a:srgbClr val="4C4948"/>
              </a:buClr>
              <a:defRPr>
                <a:solidFill>
                  <a:schemeClr val="accent2"/>
                </a:solidFill>
              </a:defRPr>
            </a:lvl1pPr>
            <a:lvl2pPr>
              <a:buClr>
                <a:srgbClr val="4C4948"/>
              </a:buClr>
              <a:defRPr>
                <a:solidFill>
                  <a:schemeClr val="accent2"/>
                </a:solidFill>
              </a:defRPr>
            </a:lvl2pPr>
            <a:lvl3pPr>
              <a:buClr>
                <a:srgbClr val="4C4948"/>
              </a:buClr>
              <a:defRPr>
                <a:solidFill>
                  <a:schemeClr val="accent2"/>
                </a:solidFill>
              </a:defRPr>
            </a:lvl3pPr>
            <a:lvl4pPr>
              <a:buClr>
                <a:srgbClr val="4C4948"/>
              </a:buClr>
              <a:defRPr>
                <a:solidFill>
                  <a:schemeClr val="accent2"/>
                </a:solidFill>
              </a:defRPr>
            </a:lvl4pPr>
            <a:lvl5pPr>
              <a:buClr>
                <a:srgbClr val="4C4948"/>
              </a:buClr>
              <a:defRPr>
                <a:solidFill>
                  <a:schemeClr val="accent2"/>
                </a:solidFill>
              </a:defRPr>
            </a:lvl5pPr>
          </a:lstStyle>
          <a:p>
            <a:pPr lvl="0"/>
            <a:r>
              <a:rPr lang="en-US"/>
              <a:t>Add your content here</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2">
            <a:extLst>
              <a:ext uri="{FF2B5EF4-FFF2-40B4-BE49-F238E27FC236}">
                <a16:creationId xmlns="" xmlns:a16="http://schemas.microsoft.com/office/drawing/2014/main" id="{5E38DCC3-D6DE-9A44-B5C4-5BC5A32CA652}"/>
              </a:ext>
            </a:extLst>
          </p:cNvPr>
          <p:cNvSpPr>
            <a:spLocks noGrp="1"/>
          </p:cNvSpPr>
          <p:nvPr>
            <p:ph type="sldNum" sz="quarter" idx="4"/>
          </p:nvPr>
        </p:nvSpPr>
        <p:spPr>
          <a:xfrm>
            <a:off x="3" y="4748454"/>
            <a:ext cx="486833" cy="292687"/>
          </a:xfrm>
          <a:prstGeom prst="rect">
            <a:avLst/>
          </a:prstGeom>
        </p:spPr>
        <p:txBody>
          <a:bodyPr rIns="0" anchor="ctr" anchorCtr="0"/>
          <a:lstStyle>
            <a:lvl1pPr algn="r">
              <a:defRPr sz="800" b="0" i="0">
                <a:solidFill>
                  <a:schemeClr val="accent3"/>
                </a:solidFill>
                <a:latin typeface="Calibri" panose="020F0502020204030204" pitchFamily="34" charset="0"/>
                <a:cs typeface="Calibri" panose="020F0502020204030204" pitchFamily="34" charset="0"/>
              </a:defRPr>
            </a:lvl1pPr>
          </a:lstStyle>
          <a:p>
            <a:pPr>
              <a:defRPr/>
            </a:pPr>
            <a:fld id="{E9B57936-92EF-4126-AE48-1D9D36D15E98}" type="slidenum">
              <a:rPr lang="ja-JP" altLang="en-US" smtClean="0">
                <a:solidFill>
                  <a:srgbClr val="34373F"/>
                </a:solidFill>
              </a:rPr>
              <a:pPr>
                <a:defRPr/>
              </a:pPr>
              <a:t>‹Nº›</a:t>
            </a:fld>
            <a:endParaRPr lang="ja-JP" altLang="en-US">
              <a:solidFill>
                <a:srgbClr val="34373F"/>
              </a:solidFill>
            </a:endParaRPr>
          </a:p>
        </p:txBody>
      </p:sp>
      <p:sp>
        <p:nvSpPr>
          <p:cNvPr id="4" name="Text Placeholder 3">
            <a:extLst>
              <a:ext uri="{FF2B5EF4-FFF2-40B4-BE49-F238E27FC236}">
                <a16:creationId xmlns="" xmlns:a16="http://schemas.microsoft.com/office/drawing/2014/main" id="{FC71F690-8ECF-4851-9B1B-65F80621D3C2}"/>
              </a:ext>
            </a:extLst>
          </p:cNvPr>
          <p:cNvSpPr>
            <a:spLocks noGrp="1"/>
          </p:cNvSpPr>
          <p:nvPr>
            <p:ph type="body" sz="quarter" idx="14" hasCustomPrompt="1"/>
          </p:nvPr>
        </p:nvSpPr>
        <p:spPr>
          <a:xfrm>
            <a:off x="404820" y="4407727"/>
            <a:ext cx="7529513" cy="340519"/>
          </a:xfrm>
        </p:spPr>
        <p:txBody>
          <a:bodyPr anchor="b" anchorCtr="0">
            <a:noAutofit/>
          </a:bodyPr>
          <a:lstStyle>
            <a:lvl1pPr marL="0" indent="0">
              <a:spcBef>
                <a:spcPts val="0"/>
              </a:spcBef>
              <a:buFontTx/>
              <a:buNone/>
              <a:defRPr sz="700"/>
            </a:lvl1pPr>
          </a:lstStyle>
          <a:p>
            <a:pPr lvl="0"/>
            <a:r>
              <a:rPr lang="en-US"/>
              <a:t>Abbreviations and references</a:t>
            </a:r>
          </a:p>
        </p:txBody>
      </p:sp>
      <p:sp>
        <p:nvSpPr>
          <p:cNvPr id="7" name="Footer Placeholder 4">
            <a:extLst>
              <a:ext uri="{FF2B5EF4-FFF2-40B4-BE49-F238E27FC236}">
                <a16:creationId xmlns="" xmlns:a16="http://schemas.microsoft.com/office/drawing/2014/main" id="{E35028AA-0F21-4977-945E-83238930D25E}"/>
              </a:ext>
            </a:extLst>
          </p:cNvPr>
          <p:cNvSpPr>
            <a:spLocks noGrp="1"/>
          </p:cNvSpPr>
          <p:nvPr>
            <p:ph type="ftr" sz="quarter" idx="3"/>
          </p:nvPr>
        </p:nvSpPr>
        <p:spPr>
          <a:xfrm>
            <a:off x="486834" y="4748422"/>
            <a:ext cx="7450913" cy="292688"/>
          </a:xfrm>
          <a:prstGeom prst="rect">
            <a:avLst/>
          </a:prstGeom>
        </p:spPr>
        <p:txBody>
          <a:bodyPr lIns="53967" anchor="ctr" anchorCtr="0"/>
          <a:lstStyle>
            <a:lvl1pPr>
              <a:defRPr sz="800" b="0" i="0">
                <a:solidFill>
                  <a:schemeClr val="accent3"/>
                </a:solidFill>
                <a:latin typeface="Calibri" panose="020F0502020204030204" pitchFamily="34" charset="0"/>
                <a:cs typeface="Calibri" panose="020F0502020204030204" pitchFamily="34" charset="0"/>
              </a:defRPr>
            </a:lvl1pPr>
          </a:lstStyle>
          <a:p>
            <a:pPr algn="l">
              <a:defRPr/>
            </a:pPr>
            <a:r>
              <a:rPr lang="en-US" altLang="ja-JP" spc="0" smtClean="0">
                <a:solidFill>
                  <a:srgbClr val="34373F"/>
                </a:solidFill>
              </a:rPr>
              <a:t>DEN-301 end of Part 3 FIR</a:t>
            </a:r>
            <a:endParaRPr lang="ja-JP" altLang="en-US" spc="0">
              <a:solidFill>
                <a:srgbClr val="34373F"/>
              </a:solidFill>
            </a:endParaRPr>
          </a:p>
        </p:txBody>
      </p:sp>
    </p:spTree>
    <p:extLst>
      <p:ext uri="{BB962C8B-B14F-4D97-AF65-F5344CB8AC3E}">
        <p14:creationId xmlns:p14="http://schemas.microsoft.com/office/powerpoint/2010/main" val="3822590580"/>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5481FA67-F7BC-3622-1F16-34B7A38A4978}"/>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 xmlns:a16="http://schemas.microsoft.com/office/drawing/2014/main" id="{AF1A9E1E-AA45-D4C0-496C-5306C2AE074F}"/>
              </a:ext>
            </a:extLst>
          </p:cNvPr>
          <p:cNvSpPr>
            <a:spLocks noGrp="1"/>
          </p:cNvSpPr>
          <p:nvPr>
            <p:ph type="subTitle" idx="1"/>
          </p:nvPr>
        </p:nvSpPr>
        <p:spPr>
          <a:xfrm>
            <a:off x="1143000" y="2701528"/>
            <a:ext cx="6858000" cy="1241822"/>
          </a:xfrm>
        </p:spPr>
        <p:txBody>
          <a:bodyPr/>
          <a:lstStyle>
            <a:lvl1pPr marL="0" indent="0" algn="ctr">
              <a:buNone/>
              <a:defRPr sz="1800"/>
            </a:lvl1pPr>
            <a:lvl2pPr marL="342605" indent="0" algn="ctr">
              <a:buNone/>
              <a:defRPr sz="1500"/>
            </a:lvl2pPr>
            <a:lvl3pPr marL="685239" indent="0" algn="ctr">
              <a:buNone/>
              <a:defRPr sz="1400"/>
            </a:lvl3pPr>
            <a:lvl4pPr marL="1027859" indent="0" algn="ctr">
              <a:buNone/>
              <a:defRPr sz="1200"/>
            </a:lvl4pPr>
            <a:lvl5pPr marL="1370478" indent="0" algn="ctr">
              <a:buNone/>
              <a:defRPr sz="1200"/>
            </a:lvl5pPr>
            <a:lvl6pPr marL="1713113" indent="0" algn="ctr">
              <a:buNone/>
              <a:defRPr sz="1200"/>
            </a:lvl6pPr>
            <a:lvl7pPr marL="2055716" indent="0" algn="ctr">
              <a:buNone/>
              <a:defRPr sz="1200"/>
            </a:lvl7pPr>
            <a:lvl8pPr marL="2398320" indent="0" algn="ctr">
              <a:buNone/>
              <a:defRPr sz="1200"/>
            </a:lvl8pPr>
            <a:lvl9pPr marL="2740925" indent="0" algn="ctr">
              <a:buNone/>
              <a:defRPr sz="1200"/>
            </a:lvl9pPr>
          </a:lstStyle>
          <a:p>
            <a:r>
              <a:rPr lang="en-US"/>
              <a:t>Click to edit Master subtitle style</a:t>
            </a:r>
          </a:p>
        </p:txBody>
      </p:sp>
      <p:sp>
        <p:nvSpPr>
          <p:cNvPr id="4" name="Date Placeholder 3">
            <a:extLst>
              <a:ext uri="{FF2B5EF4-FFF2-40B4-BE49-F238E27FC236}">
                <a16:creationId xmlns="" xmlns:a16="http://schemas.microsoft.com/office/drawing/2014/main" id="{0C916581-7DDA-3BBC-0DD7-522EB3B373C8}"/>
              </a:ext>
            </a:extLst>
          </p:cNvPr>
          <p:cNvSpPr>
            <a:spLocks noGrp="1"/>
          </p:cNvSpPr>
          <p:nvPr>
            <p:ph type="dt" sz="half" idx="10"/>
          </p:nvPr>
        </p:nvSpPr>
        <p:spPr/>
        <p:txBody>
          <a:bodyPr lIns="68531" tIns="34289" rIns="68531" bIns="34289"/>
          <a:lstStyle/>
          <a:p>
            <a:pPr defTabSz="685239">
              <a:defRPr/>
            </a:pPr>
            <a:fld id="{9C016E43-31F8-4CF4-A0BE-FD4C5D001450}" type="datetimeFigureOut">
              <a:rPr lang="en-US" sz="1400" smtClean="0">
                <a:solidFill>
                  <a:srgbClr val="34373F"/>
                </a:solidFill>
              </a:rPr>
              <a:pPr defTabSz="685239">
                <a:defRPr/>
              </a:pPr>
              <a:t>8/7/2024</a:t>
            </a:fld>
            <a:endParaRPr lang="en-US" sz="1400">
              <a:solidFill>
                <a:srgbClr val="34373F"/>
              </a:solidFill>
            </a:endParaRPr>
          </a:p>
        </p:txBody>
      </p:sp>
      <p:sp>
        <p:nvSpPr>
          <p:cNvPr id="5" name="Footer Placeholder 4">
            <a:extLst>
              <a:ext uri="{FF2B5EF4-FFF2-40B4-BE49-F238E27FC236}">
                <a16:creationId xmlns="" xmlns:a16="http://schemas.microsoft.com/office/drawing/2014/main" id="{51B2E16E-020B-7C26-3439-57CC60043708}"/>
              </a:ext>
            </a:extLst>
          </p:cNvPr>
          <p:cNvSpPr>
            <a:spLocks noGrp="1"/>
          </p:cNvSpPr>
          <p:nvPr>
            <p:ph type="ftr" sz="quarter" idx="11"/>
          </p:nvPr>
        </p:nvSpPr>
        <p:spPr/>
        <p:txBody>
          <a:bodyPr/>
          <a:lstStyle/>
          <a:p>
            <a:pPr algn="l">
              <a:defRPr/>
            </a:pPr>
            <a:endParaRPr lang="en-US" sz="1400" b="0" spc="0">
              <a:solidFill>
                <a:srgbClr val="34373F"/>
              </a:solidFill>
            </a:endParaRPr>
          </a:p>
        </p:txBody>
      </p:sp>
      <p:sp>
        <p:nvSpPr>
          <p:cNvPr id="6" name="Slide Number Placeholder 5">
            <a:extLst>
              <a:ext uri="{FF2B5EF4-FFF2-40B4-BE49-F238E27FC236}">
                <a16:creationId xmlns="" xmlns:a16="http://schemas.microsoft.com/office/drawing/2014/main" id="{1FAC5157-BCD5-A359-118E-DC2AF3DB8C88}"/>
              </a:ext>
            </a:extLst>
          </p:cNvPr>
          <p:cNvSpPr>
            <a:spLocks noGrp="1"/>
          </p:cNvSpPr>
          <p:nvPr>
            <p:ph type="sldNum" sz="quarter" idx="12"/>
          </p:nvPr>
        </p:nvSpPr>
        <p:spPr/>
        <p:txBody>
          <a:bodyPr/>
          <a:lstStyle/>
          <a:p>
            <a:pPr>
              <a:defRPr/>
            </a:pPr>
            <a:fld id="{24DF6B89-84A9-4767-B87B-99DED4C62E05}" type="slidenum">
              <a:rPr lang="en-US" smtClean="0">
                <a:solidFill>
                  <a:srgbClr val="34373F"/>
                </a:solidFill>
              </a:rPr>
              <a:pPr>
                <a:defRPr/>
              </a:pPr>
              <a:t>‹Nº›</a:t>
            </a:fld>
            <a:endParaRPr lang="en-US">
              <a:solidFill>
                <a:srgbClr val="34373F"/>
              </a:solidFill>
            </a:endParaRPr>
          </a:p>
        </p:txBody>
      </p:sp>
    </p:spTree>
    <p:extLst>
      <p:ext uri="{BB962C8B-B14F-4D97-AF65-F5344CB8AC3E}">
        <p14:creationId xmlns:p14="http://schemas.microsoft.com/office/powerpoint/2010/main" val="2086239430"/>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Title with Image">
    <p:spTree>
      <p:nvGrpSpPr>
        <p:cNvPr id="1" name=""/>
        <p:cNvGrpSpPr/>
        <p:nvPr/>
      </p:nvGrpSpPr>
      <p:grpSpPr>
        <a:xfrm>
          <a:off x="0" y="0"/>
          <a:ext cx="0" cy="0"/>
          <a:chOff x="0" y="0"/>
          <a:chExt cx="0" cy="0"/>
        </a:xfrm>
      </p:grpSpPr>
      <p:sp>
        <p:nvSpPr>
          <p:cNvPr id="19" name="Rectangle 6">
            <a:extLst>
              <a:ext uri="{FF2B5EF4-FFF2-40B4-BE49-F238E27FC236}">
                <a16:creationId xmlns="" xmlns:a16="http://schemas.microsoft.com/office/drawing/2014/main" id="{18D4B9FA-39D5-DC46-AEE9-0F3C6ECD9555}"/>
              </a:ext>
            </a:extLst>
          </p:cNvPr>
          <p:cNvSpPr/>
          <p:nvPr userDrawn="1"/>
        </p:nvSpPr>
        <p:spPr>
          <a:xfrm>
            <a:off x="0" y="3105000"/>
            <a:ext cx="107504" cy="1485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55" tIns="34289" rIns="68555" bIns="34289" anchor="ctr"/>
          <a:lstStyle/>
          <a:p>
            <a:pPr algn="ctr" defTabSz="685511"/>
            <a:endParaRPr lang="en-US" altLang="en-US" sz="1400">
              <a:solidFill>
                <a:srgbClr val="FFFFFF"/>
              </a:solidFill>
            </a:endParaRPr>
          </a:p>
        </p:txBody>
      </p:sp>
      <p:sp>
        <p:nvSpPr>
          <p:cNvPr id="21" name="Title 1">
            <a:extLst>
              <a:ext uri="{FF2B5EF4-FFF2-40B4-BE49-F238E27FC236}">
                <a16:creationId xmlns="" xmlns:a16="http://schemas.microsoft.com/office/drawing/2014/main" id="{BBB8651D-A822-B447-BA6F-5B2ACD54EA33}"/>
              </a:ext>
            </a:extLst>
          </p:cNvPr>
          <p:cNvSpPr>
            <a:spLocks noGrp="1"/>
          </p:cNvSpPr>
          <p:nvPr>
            <p:ph type="ctrTitle" hasCustomPrompt="1"/>
          </p:nvPr>
        </p:nvSpPr>
        <p:spPr>
          <a:xfrm>
            <a:off x="733673" y="3024910"/>
            <a:ext cx="6675924" cy="671442"/>
          </a:xfrm>
        </p:spPr>
        <p:txBody>
          <a:bodyPr wrap="square" tIns="0" rIns="0" bIns="0" anchor="b" anchorCtr="0">
            <a:noAutofit/>
          </a:bodyPr>
          <a:lstStyle>
            <a:lvl1pPr>
              <a:lnSpc>
                <a:spcPts val="2835"/>
              </a:lnSpc>
              <a:defRPr sz="2100" b="0" i="0" baseline="0">
                <a:solidFill>
                  <a:schemeClr val="tx2"/>
                </a:solidFill>
                <a:latin typeface="Calibri" pitchFamily="34" charset="0"/>
                <a:ea typeface="メイリオ" pitchFamily="50" charset="-128"/>
                <a:cs typeface="Calibri" pitchFamily="34" charset="0"/>
              </a:defRPr>
            </a:lvl1pPr>
          </a:lstStyle>
          <a:p>
            <a:r>
              <a:rPr lang="en-GB"/>
              <a:t>Click to enter Presentation Title</a:t>
            </a:r>
          </a:p>
        </p:txBody>
      </p:sp>
      <p:sp>
        <p:nvSpPr>
          <p:cNvPr id="13" name="Text Placeholder 8">
            <a:extLst>
              <a:ext uri="{FF2B5EF4-FFF2-40B4-BE49-F238E27FC236}">
                <a16:creationId xmlns="" xmlns:a16="http://schemas.microsoft.com/office/drawing/2014/main" id="{10C6B0C8-EB17-EC48-8410-BE88116D3ACD}"/>
              </a:ext>
            </a:extLst>
          </p:cNvPr>
          <p:cNvSpPr>
            <a:spLocks noGrp="1"/>
          </p:cNvSpPr>
          <p:nvPr>
            <p:ph type="body" sz="quarter" idx="13" hasCustomPrompt="1"/>
          </p:nvPr>
        </p:nvSpPr>
        <p:spPr>
          <a:xfrm>
            <a:off x="733425" y="3748420"/>
            <a:ext cx="6677100" cy="199800"/>
          </a:xfrm>
        </p:spPr>
        <p:txBody>
          <a:bodyPr>
            <a:noAutofit/>
          </a:bodyPr>
          <a:lstStyle>
            <a:lvl1pPr marL="0" indent="0">
              <a:buNone/>
              <a:defRPr sz="1200">
                <a:solidFill>
                  <a:schemeClr val="tx2"/>
                </a:solidFill>
              </a:defRPr>
            </a:lvl1pPr>
          </a:lstStyle>
          <a:p>
            <a:r>
              <a:rPr lang="en-US"/>
              <a:t>Date</a:t>
            </a:r>
          </a:p>
        </p:txBody>
      </p:sp>
      <p:sp>
        <p:nvSpPr>
          <p:cNvPr id="14" name="Text Placeholder 17">
            <a:extLst>
              <a:ext uri="{FF2B5EF4-FFF2-40B4-BE49-F238E27FC236}">
                <a16:creationId xmlns="" xmlns:a16="http://schemas.microsoft.com/office/drawing/2014/main" id="{F36B06DC-7895-8244-8724-6CDF07B1B8EC}"/>
              </a:ext>
            </a:extLst>
          </p:cNvPr>
          <p:cNvSpPr>
            <a:spLocks noGrp="1"/>
          </p:cNvSpPr>
          <p:nvPr>
            <p:ph type="body" sz="quarter" idx="11" hasCustomPrompt="1"/>
          </p:nvPr>
        </p:nvSpPr>
        <p:spPr>
          <a:xfrm>
            <a:off x="733425" y="4192697"/>
            <a:ext cx="6677100" cy="199800"/>
          </a:xfrm>
        </p:spPr>
        <p:txBody>
          <a:bodyPr>
            <a:noAutofit/>
          </a:bodyPr>
          <a:lstStyle>
            <a:lvl1pPr marL="0" indent="0">
              <a:buNone/>
              <a:defRPr sz="1200">
                <a:solidFill>
                  <a:schemeClr val="tx2"/>
                </a:solidFill>
              </a:defRPr>
            </a:lvl1pPr>
          </a:lstStyle>
          <a:p>
            <a:r>
              <a:rPr lang="en-US"/>
              <a:t>Department</a:t>
            </a:r>
          </a:p>
        </p:txBody>
      </p:sp>
      <p:sp>
        <p:nvSpPr>
          <p:cNvPr id="15" name="Text Placeholder 19">
            <a:extLst>
              <a:ext uri="{FF2B5EF4-FFF2-40B4-BE49-F238E27FC236}">
                <a16:creationId xmlns="" xmlns:a16="http://schemas.microsoft.com/office/drawing/2014/main" id="{6BDF6E0C-07EA-D14B-9328-D8C625F573A5}"/>
              </a:ext>
            </a:extLst>
          </p:cNvPr>
          <p:cNvSpPr>
            <a:spLocks noGrp="1"/>
          </p:cNvSpPr>
          <p:nvPr>
            <p:ph type="body" sz="quarter" idx="14" hasCustomPrompt="1"/>
          </p:nvPr>
        </p:nvSpPr>
        <p:spPr>
          <a:xfrm>
            <a:off x="733425" y="3970559"/>
            <a:ext cx="6677100" cy="199800"/>
          </a:xfrm>
        </p:spPr>
        <p:txBody>
          <a:bodyPr>
            <a:noAutofit/>
          </a:bodyPr>
          <a:lstStyle>
            <a:lvl1pPr marL="0" indent="0">
              <a:buNone/>
              <a:defRPr sz="1200">
                <a:solidFill>
                  <a:schemeClr val="tx2"/>
                </a:solidFill>
              </a:defRPr>
            </a:lvl1pPr>
          </a:lstStyle>
          <a:p>
            <a:r>
              <a:rPr lang="en-US"/>
              <a:t>Name, Job Title</a:t>
            </a:r>
          </a:p>
        </p:txBody>
      </p:sp>
      <p:sp>
        <p:nvSpPr>
          <p:cNvPr id="20" name="Picture Placeholder 3">
            <a:extLst>
              <a:ext uri="{FF2B5EF4-FFF2-40B4-BE49-F238E27FC236}">
                <a16:creationId xmlns="" xmlns:a16="http://schemas.microsoft.com/office/drawing/2014/main" id="{902F3095-EA6E-F94A-AF04-18ED691DEB75}"/>
              </a:ext>
            </a:extLst>
          </p:cNvPr>
          <p:cNvSpPr>
            <a:spLocks noGrp="1"/>
          </p:cNvSpPr>
          <p:nvPr>
            <p:ph type="pic" sz="quarter" idx="17"/>
          </p:nvPr>
        </p:nvSpPr>
        <p:spPr>
          <a:xfrm>
            <a:off x="0" y="0"/>
            <a:ext cx="9144000" cy="2571750"/>
          </a:xfrm>
        </p:spPr>
        <p:txBody>
          <a:bodyPr/>
          <a:lstStyle/>
          <a:p>
            <a:endParaRPr lang="en-US"/>
          </a:p>
        </p:txBody>
      </p:sp>
      <p:pic>
        <p:nvPicPr>
          <p:cNvPr id="11" name="Picture 12" descr="Takeda_Logo_Pos_RGB.emf">
            <a:extLst>
              <a:ext uri="{FF2B5EF4-FFF2-40B4-BE49-F238E27FC236}">
                <a16:creationId xmlns="" xmlns:a16="http://schemas.microsoft.com/office/drawing/2014/main" id="{D003522B-CA1C-7940-9AC3-1D158FB0AF1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7533829" y="3105001"/>
            <a:ext cx="876500" cy="294776"/>
          </a:xfrm>
          <a:prstGeom prst="rect">
            <a:avLst/>
          </a:prstGeom>
          <a:noFill/>
          <a:ln w="9525">
            <a:noFill/>
            <a:miter lim="800000"/>
            <a:headEnd/>
            <a:tailEnd/>
          </a:ln>
        </p:spPr>
      </p:pic>
      <p:pic>
        <p:nvPicPr>
          <p:cNvPr id="12" name="Picture 11">
            <a:extLst>
              <a:ext uri="{FF2B5EF4-FFF2-40B4-BE49-F238E27FC236}">
                <a16:creationId xmlns="" xmlns:a16="http://schemas.microsoft.com/office/drawing/2014/main" id="{F0A45412-5330-3C4E-8BF0-9B1FA353B3C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462935" y="4104437"/>
            <a:ext cx="1134142" cy="678942"/>
          </a:xfrm>
          <a:prstGeom prst="rect">
            <a:avLst/>
          </a:prstGeom>
        </p:spPr>
      </p:pic>
      <p:sp>
        <p:nvSpPr>
          <p:cNvPr id="3" name="Text Placeholder 2">
            <a:extLst>
              <a:ext uri="{FF2B5EF4-FFF2-40B4-BE49-F238E27FC236}">
                <a16:creationId xmlns="" xmlns:a16="http://schemas.microsoft.com/office/drawing/2014/main" id="{D73E1AEB-2338-4C68-8D78-7C54C62807A2}"/>
              </a:ext>
            </a:extLst>
          </p:cNvPr>
          <p:cNvSpPr>
            <a:spLocks noGrp="1"/>
          </p:cNvSpPr>
          <p:nvPr>
            <p:ph type="body" sz="quarter" idx="19" hasCustomPrompt="1"/>
          </p:nvPr>
        </p:nvSpPr>
        <p:spPr>
          <a:xfrm>
            <a:off x="733425" y="4414837"/>
            <a:ext cx="6677100" cy="199800"/>
          </a:xfrm>
        </p:spPr>
        <p:txBody>
          <a:bodyPr>
            <a:noAutofit/>
          </a:bodyPr>
          <a:lstStyle>
            <a:lvl1pPr marL="0" indent="0">
              <a:buNone/>
              <a:defRPr sz="1200"/>
            </a:lvl1pPr>
            <a:lvl2pPr marL="342749" indent="0">
              <a:buNone/>
              <a:defRPr sz="1200"/>
            </a:lvl2pPr>
            <a:lvl3pPr marL="685511" indent="0">
              <a:buNone/>
              <a:defRPr sz="1200"/>
            </a:lvl3pPr>
            <a:lvl4pPr marL="1028267" indent="0">
              <a:buNone/>
              <a:defRPr sz="1200"/>
            </a:lvl4pPr>
            <a:lvl5pPr marL="1371022" indent="0">
              <a:buNone/>
              <a:defRPr sz="1200"/>
            </a:lvl5pPr>
          </a:lstStyle>
          <a:p>
            <a:pPr lvl="0"/>
            <a:r>
              <a:rPr lang="en-US"/>
              <a:t>Company Name</a:t>
            </a:r>
          </a:p>
        </p:txBody>
      </p:sp>
      <p:sp>
        <p:nvSpPr>
          <p:cNvPr id="4" name="Slide Number Placeholder 3">
            <a:extLst>
              <a:ext uri="{FF2B5EF4-FFF2-40B4-BE49-F238E27FC236}">
                <a16:creationId xmlns="" xmlns:a16="http://schemas.microsoft.com/office/drawing/2014/main" id="{1B79BE7A-A26E-4F2D-ACA2-A5CE14ADC39F}"/>
              </a:ext>
            </a:extLst>
          </p:cNvPr>
          <p:cNvSpPr>
            <a:spLocks noGrp="1"/>
          </p:cNvSpPr>
          <p:nvPr>
            <p:ph type="sldNum" sz="quarter" idx="21"/>
          </p:nvPr>
        </p:nvSpPr>
        <p:spPr/>
        <p:txBody>
          <a:bodyPr/>
          <a:lstStyle/>
          <a:p>
            <a:fld id="{E9B57936-92EF-4126-AE48-1D9D36D15E98}" type="slidenum">
              <a:rPr lang="ja-JP" altLang="en-US" smtClean="0">
                <a:solidFill>
                  <a:srgbClr val="A1A4AC"/>
                </a:solidFill>
              </a:rPr>
              <a:pPr/>
              <a:t>‹Nº›</a:t>
            </a:fld>
            <a:endParaRPr lang="ja-JP" altLang="en-US">
              <a:solidFill>
                <a:srgbClr val="A1A4AC"/>
              </a:solidFill>
            </a:endParaRPr>
          </a:p>
        </p:txBody>
      </p:sp>
      <p:sp>
        <p:nvSpPr>
          <p:cNvPr id="5" name="Footer Placeholder 4">
            <a:extLst>
              <a:ext uri="{FF2B5EF4-FFF2-40B4-BE49-F238E27FC236}">
                <a16:creationId xmlns="" xmlns:a16="http://schemas.microsoft.com/office/drawing/2014/main" id="{76CA4C1B-8891-44A3-B999-5E0855BC6AAC}"/>
              </a:ext>
            </a:extLst>
          </p:cNvPr>
          <p:cNvSpPr>
            <a:spLocks noGrp="1"/>
          </p:cNvSpPr>
          <p:nvPr>
            <p:ph type="ftr" sz="quarter" idx="22"/>
          </p:nvPr>
        </p:nvSpPr>
        <p:spPr/>
        <p:txBody>
          <a:bodyPr/>
          <a:lstStyle/>
          <a:p>
            <a:r>
              <a:rPr lang="en-GB" altLang="ja-JP">
                <a:solidFill>
                  <a:srgbClr val="000000">
                    <a:tint val="75000"/>
                  </a:srgbClr>
                </a:solidFill>
              </a:rPr>
              <a:t>Long-term efficacy and safety of Takeda’s dengue vaccine candidate (TAK-003) after 4.5 years of follow-up | TBC | Approval </a:t>
            </a:r>
            <a:r>
              <a:rPr lang="en-US" altLang="ja-JP">
                <a:solidFill>
                  <a:srgbClr val="000000">
                    <a:tint val="75000"/>
                  </a:srgbClr>
                </a:solidFill>
              </a:rPr>
              <a:t>date: March 2023</a:t>
            </a:r>
            <a:endParaRPr lang="ja-JP" altLang="en-US" sz="100">
              <a:solidFill>
                <a:srgbClr val="000000">
                  <a:tint val="75000"/>
                </a:srgbClr>
              </a:solidFill>
            </a:endParaRPr>
          </a:p>
        </p:txBody>
      </p:sp>
    </p:spTree>
    <p:extLst>
      <p:ext uri="{BB962C8B-B14F-4D97-AF65-F5344CB8AC3E}">
        <p14:creationId xmlns:p14="http://schemas.microsoft.com/office/powerpoint/2010/main" val="1131797296"/>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9" name="Rectangle 6">
            <a:extLst>
              <a:ext uri="{FF2B5EF4-FFF2-40B4-BE49-F238E27FC236}">
                <a16:creationId xmlns="" xmlns:a16="http://schemas.microsoft.com/office/drawing/2014/main" id="{18D4B9FA-39D5-DC46-AEE9-0F3C6ECD9555}"/>
              </a:ext>
            </a:extLst>
          </p:cNvPr>
          <p:cNvSpPr/>
          <p:nvPr userDrawn="1"/>
        </p:nvSpPr>
        <p:spPr>
          <a:xfrm>
            <a:off x="0" y="519522"/>
            <a:ext cx="107504" cy="40704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55" tIns="34289" rIns="68555" bIns="34289" anchor="ctr"/>
          <a:lstStyle/>
          <a:p>
            <a:pPr algn="ctr" defTabSz="685511"/>
            <a:endParaRPr lang="en-US" altLang="en-US" sz="1400">
              <a:solidFill>
                <a:srgbClr val="FFFFFF"/>
              </a:solidFill>
            </a:endParaRPr>
          </a:p>
        </p:txBody>
      </p:sp>
      <p:sp>
        <p:nvSpPr>
          <p:cNvPr id="21" name="Title 1">
            <a:extLst>
              <a:ext uri="{FF2B5EF4-FFF2-40B4-BE49-F238E27FC236}">
                <a16:creationId xmlns="" xmlns:a16="http://schemas.microsoft.com/office/drawing/2014/main" id="{BBB8651D-A822-B447-BA6F-5B2ACD54EA33}"/>
              </a:ext>
            </a:extLst>
          </p:cNvPr>
          <p:cNvSpPr>
            <a:spLocks noGrp="1"/>
          </p:cNvSpPr>
          <p:nvPr>
            <p:ph type="ctrTitle" hasCustomPrompt="1"/>
          </p:nvPr>
        </p:nvSpPr>
        <p:spPr>
          <a:xfrm>
            <a:off x="733671" y="1417374"/>
            <a:ext cx="5845440" cy="2308757"/>
          </a:xfrm>
        </p:spPr>
        <p:txBody>
          <a:bodyPr wrap="square" tIns="0" rIns="0" bIns="0" anchor="ctr" anchorCtr="0">
            <a:noAutofit/>
          </a:bodyPr>
          <a:lstStyle>
            <a:lvl1pPr>
              <a:lnSpc>
                <a:spcPts val="2835"/>
              </a:lnSpc>
              <a:defRPr sz="2100" b="0" i="0" baseline="0">
                <a:solidFill>
                  <a:schemeClr val="tx2"/>
                </a:solidFill>
                <a:latin typeface="Calibri" pitchFamily="34" charset="0"/>
                <a:ea typeface="メイリオ" pitchFamily="50" charset="-128"/>
                <a:cs typeface="Calibri" pitchFamily="34" charset="0"/>
              </a:defRPr>
            </a:lvl1pPr>
          </a:lstStyle>
          <a:p>
            <a:r>
              <a:rPr lang="en-US" altLang="ja-JP"/>
              <a:t>Click to enter Presentation Title</a:t>
            </a:r>
            <a:endParaRPr lang="en-GB"/>
          </a:p>
        </p:txBody>
      </p:sp>
      <p:pic>
        <p:nvPicPr>
          <p:cNvPr id="22" name="Picture 12" descr="Takeda_Logo_Pos_RGB.emf">
            <a:extLst>
              <a:ext uri="{FF2B5EF4-FFF2-40B4-BE49-F238E27FC236}">
                <a16:creationId xmlns="" xmlns:a16="http://schemas.microsoft.com/office/drawing/2014/main" id="{C149A174-44EE-8840-8DF2-A61115CADF3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733672" y="519522"/>
            <a:ext cx="876500" cy="294776"/>
          </a:xfrm>
          <a:prstGeom prst="rect">
            <a:avLst/>
          </a:prstGeom>
          <a:noFill/>
          <a:ln w="9525">
            <a:noFill/>
            <a:miter lim="800000"/>
            <a:headEnd/>
            <a:tailEnd/>
          </a:ln>
        </p:spPr>
      </p:pic>
      <p:sp>
        <p:nvSpPr>
          <p:cNvPr id="13" name="Text Placeholder 8">
            <a:extLst>
              <a:ext uri="{FF2B5EF4-FFF2-40B4-BE49-F238E27FC236}">
                <a16:creationId xmlns="" xmlns:a16="http://schemas.microsoft.com/office/drawing/2014/main" id="{B2B05F68-B197-814D-B205-23942323983F}"/>
              </a:ext>
            </a:extLst>
          </p:cNvPr>
          <p:cNvSpPr>
            <a:spLocks noGrp="1"/>
          </p:cNvSpPr>
          <p:nvPr>
            <p:ph type="body" sz="quarter" idx="13" hasCustomPrompt="1"/>
          </p:nvPr>
        </p:nvSpPr>
        <p:spPr>
          <a:xfrm>
            <a:off x="733425" y="3748420"/>
            <a:ext cx="5856300" cy="199800"/>
          </a:xfrm>
        </p:spPr>
        <p:txBody>
          <a:bodyPr>
            <a:noAutofit/>
          </a:bodyPr>
          <a:lstStyle>
            <a:lvl1pPr marL="0" indent="0">
              <a:buNone/>
              <a:defRPr sz="1200">
                <a:solidFill>
                  <a:schemeClr val="tx2"/>
                </a:solidFill>
              </a:defRPr>
            </a:lvl1pPr>
          </a:lstStyle>
          <a:p>
            <a:r>
              <a:rPr lang="en-US"/>
              <a:t>Date</a:t>
            </a:r>
          </a:p>
        </p:txBody>
      </p:sp>
      <p:sp>
        <p:nvSpPr>
          <p:cNvPr id="14" name="Text Placeholder 17">
            <a:extLst>
              <a:ext uri="{FF2B5EF4-FFF2-40B4-BE49-F238E27FC236}">
                <a16:creationId xmlns="" xmlns:a16="http://schemas.microsoft.com/office/drawing/2014/main" id="{35BA5041-95B8-DA43-9B0D-A51F8EB9AE8C}"/>
              </a:ext>
            </a:extLst>
          </p:cNvPr>
          <p:cNvSpPr>
            <a:spLocks noGrp="1"/>
          </p:cNvSpPr>
          <p:nvPr>
            <p:ph type="body" sz="quarter" idx="11" hasCustomPrompt="1"/>
          </p:nvPr>
        </p:nvSpPr>
        <p:spPr>
          <a:xfrm>
            <a:off x="733547" y="4192697"/>
            <a:ext cx="5855724" cy="199800"/>
          </a:xfrm>
        </p:spPr>
        <p:txBody>
          <a:bodyPr>
            <a:noAutofit/>
          </a:bodyPr>
          <a:lstStyle>
            <a:lvl1pPr marL="0" indent="0">
              <a:buNone/>
              <a:defRPr sz="1200">
                <a:solidFill>
                  <a:schemeClr val="tx2"/>
                </a:solidFill>
              </a:defRPr>
            </a:lvl1pPr>
          </a:lstStyle>
          <a:p>
            <a:r>
              <a:rPr lang="en-US"/>
              <a:t>Department</a:t>
            </a:r>
          </a:p>
        </p:txBody>
      </p:sp>
      <p:sp>
        <p:nvSpPr>
          <p:cNvPr id="16" name="Text Placeholder 19">
            <a:extLst>
              <a:ext uri="{FF2B5EF4-FFF2-40B4-BE49-F238E27FC236}">
                <a16:creationId xmlns="" xmlns:a16="http://schemas.microsoft.com/office/drawing/2014/main" id="{8170F29E-72F0-9043-B0D6-F30E440CFB8B}"/>
              </a:ext>
            </a:extLst>
          </p:cNvPr>
          <p:cNvSpPr>
            <a:spLocks noGrp="1"/>
          </p:cNvSpPr>
          <p:nvPr>
            <p:ph type="body" sz="quarter" idx="14" hasCustomPrompt="1"/>
          </p:nvPr>
        </p:nvSpPr>
        <p:spPr>
          <a:xfrm>
            <a:off x="733547" y="3970559"/>
            <a:ext cx="5855724" cy="199800"/>
          </a:xfrm>
        </p:spPr>
        <p:txBody>
          <a:bodyPr>
            <a:noAutofit/>
          </a:bodyPr>
          <a:lstStyle>
            <a:lvl1pPr marL="0" indent="0">
              <a:buNone/>
              <a:defRPr sz="1200">
                <a:solidFill>
                  <a:schemeClr val="tx2"/>
                </a:solidFill>
              </a:defRPr>
            </a:lvl1pPr>
          </a:lstStyle>
          <a:p>
            <a:r>
              <a:rPr lang="en-US"/>
              <a:t>Name, Job Title</a:t>
            </a:r>
          </a:p>
        </p:txBody>
      </p:sp>
      <p:pic>
        <p:nvPicPr>
          <p:cNvPr id="11" name="Picture 10">
            <a:extLst>
              <a:ext uri="{FF2B5EF4-FFF2-40B4-BE49-F238E27FC236}">
                <a16:creationId xmlns="" xmlns:a16="http://schemas.microsoft.com/office/drawing/2014/main" id="{E68C4E39-7A2C-C54A-89E6-D83490115C6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604706" y="340156"/>
            <a:ext cx="1134142" cy="678942"/>
          </a:xfrm>
          <a:prstGeom prst="rect">
            <a:avLst/>
          </a:prstGeom>
        </p:spPr>
      </p:pic>
      <p:sp>
        <p:nvSpPr>
          <p:cNvPr id="3" name="Text Placeholder 2">
            <a:extLst>
              <a:ext uri="{FF2B5EF4-FFF2-40B4-BE49-F238E27FC236}">
                <a16:creationId xmlns="" xmlns:a16="http://schemas.microsoft.com/office/drawing/2014/main" id="{D09022C1-C69C-4071-9785-A9344EEC9E86}"/>
              </a:ext>
            </a:extLst>
          </p:cNvPr>
          <p:cNvSpPr>
            <a:spLocks noGrp="1"/>
          </p:cNvSpPr>
          <p:nvPr>
            <p:ph type="body" sz="quarter" idx="19" hasCustomPrompt="1"/>
          </p:nvPr>
        </p:nvSpPr>
        <p:spPr>
          <a:xfrm>
            <a:off x="733425" y="4414837"/>
            <a:ext cx="5856300" cy="199800"/>
          </a:xfrm>
        </p:spPr>
        <p:txBody>
          <a:bodyPr>
            <a:noAutofit/>
          </a:bodyPr>
          <a:lstStyle>
            <a:lvl1pPr marL="0" indent="0">
              <a:buNone/>
              <a:defRPr sz="1200"/>
            </a:lvl1pPr>
            <a:lvl2pPr marL="342749" indent="0">
              <a:buNone/>
              <a:defRPr sz="1200"/>
            </a:lvl2pPr>
            <a:lvl3pPr marL="685511" indent="0">
              <a:buNone/>
              <a:defRPr sz="1200"/>
            </a:lvl3pPr>
            <a:lvl4pPr marL="1028267" indent="0">
              <a:buNone/>
              <a:defRPr sz="1200"/>
            </a:lvl4pPr>
            <a:lvl5pPr marL="1371022" indent="0">
              <a:buNone/>
              <a:defRPr sz="1200"/>
            </a:lvl5pPr>
          </a:lstStyle>
          <a:p>
            <a:pPr lvl="0"/>
            <a:r>
              <a:rPr lang="en-US"/>
              <a:t>Company Name</a:t>
            </a:r>
          </a:p>
        </p:txBody>
      </p:sp>
      <p:sp>
        <p:nvSpPr>
          <p:cNvPr id="4" name="Slide Number Placeholder 3">
            <a:extLst>
              <a:ext uri="{FF2B5EF4-FFF2-40B4-BE49-F238E27FC236}">
                <a16:creationId xmlns="" xmlns:a16="http://schemas.microsoft.com/office/drawing/2014/main" id="{B18B2ED7-FF41-4B61-BF13-6DE2674A496D}"/>
              </a:ext>
            </a:extLst>
          </p:cNvPr>
          <p:cNvSpPr>
            <a:spLocks noGrp="1"/>
          </p:cNvSpPr>
          <p:nvPr>
            <p:ph type="sldNum" sz="quarter" idx="21"/>
          </p:nvPr>
        </p:nvSpPr>
        <p:spPr/>
        <p:txBody>
          <a:bodyPr/>
          <a:lstStyle/>
          <a:p>
            <a:fld id="{E9B57936-92EF-4126-AE48-1D9D36D15E98}" type="slidenum">
              <a:rPr lang="ja-JP" altLang="en-US" smtClean="0">
                <a:solidFill>
                  <a:srgbClr val="A1A4AC"/>
                </a:solidFill>
              </a:rPr>
              <a:pPr/>
              <a:t>‹Nº›</a:t>
            </a:fld>
            <a:endParaRPr lang="ja-JP" altLang="en-US">
              <a:solidFill>
                <a:srgbClr val="A1A4AC"/>
              </a:solidFill>
            </a:endParaRPr>
          </a:p>
        </p:txBody>
      </p:sp>
      <p:sp>
        <p:nvSpPr>
          <p:cNvPr id="5" name="Footer Placeholder 4">
            <a:extLst>
              <a:ext uri="{FF2B5EF4-FFF2-40B4-BE49-F238E27FC236}">
                <a16:creationId xmlns="" xmlns:a16="http://schemas.microsoft.com/office/drawing/2014/main" id="{0B01F254-9374-4736-B0D3-552D9489DF29}"/>
              </a:ext>
            </a:extLst>
          </p:cNvPr>
          <p:cNvSpPr>
            <a:spLocks noGrp="1"/>
          </p:cNvSpPr>
          <p:nvPr>
            <p:ph type="ftr" sz="quarter" idx="22"/>
          </p:nvPr>
        </p:nvSpPr>
        <p:spPr/>
        <p:txBody>
          <a:bodyPr/>
          <a:lstStyle/>
          <a:p>
            <a:r>
              <a:rPr lang="en-GB" altLang="ja-JP">
                <a:solidFill>
                  <a:srgbClr val="000000">
                    <a:tint val="75000"/>
                  </a:srgbClr>
                </a:solidFill>
              </a:rPr>
              <a:t>Long-term efficacy and safety of Takeda’s dengue vaccine candidate (TAK-003) after 4.5 years of follow-up | TBC | Approval </a:t>
            </a:r>
            <a:r>
              <a:rPr lang="en-US" altLang="ja-JP">
                <a:solidFill>
                  <a:srgbClr val="000000">
                    <a:tint val="75000"/>
                  </a:srgbClr>
                </a:solidFill>
              </a:rPr>
              <a:t>date: March 2023</a:t>
            </a:r>
            <a:endParaRPr lang="ja-JP" altLang="en-US" sz="100">
              <a:solidFill>
                <a:srgbClr val="000000">
                  <a:tint val="75000"/>
                </a:srgbClr>
              </a:solidFill>
            </a:endParaRPr>
          </a:p>
        </p:txBody>
      </p:sp>
    </p:spTree>
    <p:extLst>
      <p:ext uri="{BB962C8B-B14F-4D97-AF65-F5344CB8AC3E}">
        <p14:creationId xmlns:p14="http://schemas.microsoft.com/office/powerpoint/2010/main" val="286981036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Title 4"/>
          <p:cNvSpPr>
            <a:spLocks noGrp="1"/>
          </p:cNvSpPr>
          <p:nvPr>
            <p:ph type="title"/>
          </p:nvPr>
        </p:nvSpPr>
        <p:spPr>
          <a:xfrm>
            <a:off x="365133" y="221107"/>
            <a:ext cx="7577139" cy="253916"/>
          </a:xfrm>
        </p:spPr>
        <p:txBody>
          <a:bodyPr/>
          <a:lstStyle/>
          <a:p>
            <a:r>
              <a:rPr lang="en-US"/>
              <a:t>Click to edit Master title style</a:t>
            </a:r>
            <a:endParaRPr lang="en-GB"/>
          </a:p>
        </p:txBody>
      </p:sp>
      <p:sp>
        <p:nvSpPr>
          <p:cNvPr id="16" name="Content Placeholder 15"/>
          <p:cNvSpPr>
            <a:spLocks noGrp="1"/>
          </p:cNvSpPr>
          <p:nvPr>
            <p:ph sz="quarter" idx="12"/>
          </p:nvPr>
        </p:nvSpPr>
        <p:spPr>
          <a:xfrm>
            <a:off x="365137" y="897117"/>
            <a:ext cx="8423275" cy="349391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Slide Number Placeholder 8"/>
          <p:cNvSpPr>
            <a:spLocks noGrp="1"/>
          </p:cNvSpPr>
          <p:nvPr>
            <p:ph type="sldNum" sz="quarter" idx="17"/>
          </p:nvPr>
        </p:nvSpPr>
        <p:spPr>
          <a:xfrm>
            <a:off x="8445385" y="4827993"/>
            <a:ext cx="352249" cy="273844"/>
          </a:xfrm>
        </p:spPr>
        <p:txBody>
          <a:bodyPr/>
          <a:lstStyle/>
          <a:p>
            <a:fld id="{9F9F533D-B52E-4A2F-BF72-0ADD2D94BD75}" type="slidenum">
              <a:rPr lang="en-GB" smtClean="0">
                <a:solidFill>
                  <a:srgbClr val="9A8B7D"/>
                </a:solidFill>
              </a:rPr>
              <a:pPr/>
              <a:t>‹Nº›</a:t>
            </a:fld>
            <a:endParaRPr lang="en-GB">
              <a:solidFill>
                <a:srgbClr val="9A8B7D"/>
              </a:solidFill>
            </a:endParaRPr>
          </a:p>
        </p:txBody>
      </p:sp>
      <p:sp>
        <p:nvSpPr>
          <p:cNvPr id="6" name="Text Placeholder 5"/>
          <p:cNvSpPr>
            <a:spLocks noGrp="1"/>
          </p:cNvSpPr>
          <p:nvPr>
            <p:ph type="body" sz="quarter" idx="18" hasCustomPrompt="1"/>
          </p:nvPr>
        </p:nvSpPr>
        <p:spPr>
          <a:xfrm>
            <a:off x="360944" y="4451293"/>
            <a:ext cx="8445820" cy="239383"/>
          </a:xfrm>
        </p:spPr>
        <p:txBody>
          <a:bodyPr wrap="square" anchor="b" anchorCtr="0">
            <a:noAutofit/>
          </a:bodyPr>
          <a:lstStyle>
            <a:lvl1pPr marL="0" indent="0">
              <a:buNone/>
              <a:defRPr sz="750" baseline="0"/>
            </a:lvl1pPr>
            <a:lvl2pPr marL="201122" indent="0">
              <a:buNone/>
              <a:defRPr sz="600"/>
            </a:lvl2pPr>
            <a:lvl3pPr marL="405000" indent="0">
              <a:buNone/>
              <a:defRPr sz="600"/>
            </a:lvl3pPr>
            <a:lvl4pPr marL="608316" indent="0">
              <a:buNone/>
              <a:defRPr sz="600"/>
            </a:lvl4pPr>
            <a:lvl5pPr marL="810000" indent="0">
              <a:buNone/>
              <a:defRPr sz="600"/>
            </a:lvl5pPr>
          </a:lstStyle>
          <a:p>
            <a:pPr lvl="0"/>
            <a:r>
              <a:rPr lang="en-US"/>
              <a:t>Insert Source text here</a:t>
            </a:r>
          </a:p>
        </p:txBody>
      </p:sp>
      <p:sp>
        <p:nvSpPr>
          <p:cNvPr id="7" name="Text Placeholder 6"/>
          <p:cNvSpPr>
            <a:spLocks noGrp="1"/>
          </p:cNvSpPr>
          <p:nvPr>
            <p:ph type="body" sz="quarter" idx="19" hasCustomPrompt="1"/>
          </p:nvPr>
        </p:nvSpPr>
        <p:spPr>
          <a:xfrm>
            <a:off x="358900" y="4827991"/>
            <a:ext cx="8043863" cy="270000"/>
          </a:xfrm>
        </p:spPr>
        <p:txBody>
          <a:bodyPr/>
          <a:lstStyle>
            <a:lvl1pPr marL="0" indent="0">
              <a:buNone/>
              <a:defRPr sz="600" baseline="0"/>
            </a:lvl1pPr>
          </a:lstStyle>
          <a:p>
            <a:pPr lvl="0"/>
            <a:r>
              <a:rPr lang="en-US"/>
              <a:t>Click to add references here</a:t>
            </a:r>
          </a:p>
        </p:txBody>
      </p:sp>
    </p:spTree>
    <p:extLst>
      <p:ext uri="{BB962C8B-B14F-4D97-AF65-F5344CB8AC3E}">
        <p14:creationId xmlns:p14="http://schemas.microsoft.com/office/powerpoint/2010/main" val="3161595613"/>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19" name="Rectangle 6">
            <a:extLst>
              <a:ext uri="{FF2B5EF4-FFF2-40B4-BE49-F238E27FC236}">
                <a16:creationId xmlns="" xmlns:a16="http://schemas.microsoft.com/office/drawing/2014/main" id="{18D4B9FA-39D5-DC46-AEE9-0F3C6ECD9555}"/>
              </a:ext>
            </a:extLst>
          </p:cNvPr>
          <p:cNvSpPr/>
          <p:nvPr userDrawn="1"/>
        </p:nvSpPr>
        <p:spPr>
          <a:xfrm>
            <a:off x="0" y="2006100"/>
            <a:ext cx="107504" cy="113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55" tIns="34289" rIns="68555" bIns="34289" anchor="ctr"/>
          <a:lstStyle/>
          <a:p>
            <a:pPr algn="ctr" defTabSz="685511"/>
            <a:endParaRPr lang="en-US" altLang="en-US" sz="1400">
              <a:solidFill>
                <a:srgbClr val="FFFFFF"/>
              </a:solidFill>
            </a:endParaRPr>
          </a:p>
        </p:txBody>
      </p:sp>
      <p:sp>
        <p:nvSpPr>
          <p:cNvPr id="21" name="Title 1">
            <a:extLst>
              <a:ext uri="{FF2B5EF4-FFF2-40B4-BE49-F238E27FC236}">
                <a16:creationId xmlns="" xmlns:a16="http://schemas.microsoft.com/office/drawing/2014/main" id="{BBB8651D-A822-B447-BA6F-5B2ACD54EA33}"/>
              </a:ext>
            </a:extLst>
          </p:cNvPr>
          <p:cNvSpPr>
            <a:spLocks noGrp="1"/>
          </p:cNvSpPr>
          <p:nvPr>
            <p:ph type="ctrTitle" hasCustomPrompt="1"/>
          </p:nvPr>
        </p:nvSpPr>
        <p:spPr>
          <a:xfrm>
            <a:off x="733671" y="2006102"/>
            <a:ext cx="5845440" cy="1134001"/>
          </a:xfrm>
        </p:spPr>
        <p:txBody>
          <a:bodyPr wrap="square" tIns="0" rIns="0" bIns="0" anchor="ctr" anchorCtr="0">
            <a:noAutofit/>
          </a:bodyPr>
          <a:lstStyle>
            <a:lvl1pPr>
              <a:lnSpc>
                <a:spcPts val="2835"/>
              </a:lnSpc>
              <a:defRPr sz="2100" b="0" i="0" baseline="0">
                <a:solidFill>
                  <a:schemeClr val="tx2"/>
                </a:solidFill>
                <a:latin typeface="Calibri" pitchFamily="34" charset="0"/>
                <a:ea typeface="メイリオ" pitchFamily="50" charset="-128"/>
                <a:cs typeface="Calibri" pitchFamily="34" charset="0"/>
              </a:defRPr>
            </a:lvl1pPr>
          </a:lstStyle>
          <a:p>
            <a:r>
              <a:rPr lang="en-GB"/>
              <a:t>Add your section title here</a:t>
            </a:r>
          </a:p>
        </p:txBody>
      </p:sp>
      <p:pic>
        <p:nvPicPr>
          <p:cNvPr id="8" name="Picture 12" descr="Takeda_Logo_Pos_RGB.emf">
            <a:extLst>
              <a:ext uri="{FF2B5EF4-FFF2-40B4-BE49-F238E27FC236}">
                <a16:creationId xmlns="" xmlns:a16="http://schemas.microsoft.com/office/drawing/2014/main" id="{1560E966-F000-3844-8319-54C2333D663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7975658" y="233604"/>
            <a:ext cx="772806" cy="259904"/>
          </a:xfrm>
          <a:prstGeom prst="rect">
            <a:avLst/>
          </a:prstGeom>
          <a:noFill/>
          <a:ln w="9525">
            <a:noFill/>
            <a:miter lim="800000"/>
            <a:headEnd/>
            <a:tailEnd/>
          </a:ln>
        </p:spPr>
      </p:pic>
      <p:pic>
        <p:nvPicPr>
          <p:cNvPr id="9" name="Picture 8">
            <a:extLst>
              <a:ext uri="{FF2B5EF4-FFF2-40B4-BE49-F238E27FC236}">
                <a16:creationId xmlns="" xmlns:a16="http://schemas.microsoft.com/office/drawing/2014/main" id="{E0653B6F-108F-2440-ACBE-14F409A1ADB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937746" y="4604928"/>
            <a:ext cx="1008126" cy="603504"/>
          </a:xfrm>
          <a:prstGeom prst="rect">
            <a:avLst/>
          </a:prstGeom>
        </p:spPr>
      </p:pic>
      <p:sp>
        <p:nvSpPr>
          <p:cNvPr id="3" name="Slide Number Placeholder 2">
            <a:extLst>
              <a:ext uri="{FF2B5EF4-FFF2-40B4-BE49-F238E27FC236}">
                <a16:creationId xmlns="" xmlns:a16="http://schemas.microsoft.com/office/drawing/2014/main" id="{F46F0BAC-8161-48BF-90C0-1FB60ED42732}"/>
              </a:ext>
            </a:extLst>
          </p:cNvPr>
          <p:cNvSpPr>
            <a:spLocks noGrp="1"/>
          </p:cNvSpPr>
          <p:nvPr>
            <p:ph type="sldNum" sz="quarter" idx="11"/>
          </p:nvPr>
        </p:nvSpPr>
        <p:spPr/>
        <p:txBody>
          <a:bodyPr/>
          <a:lstStyle/>
          <a:p>
            <a:fld id="{E9B57936-92EF-4126-AE48-1D9D36D15E98}" type="slidenum">
              <a:rPr lang="ja-JP" altLang="en-US" smtClean="0">
                <a:solidFill>
                  <a:srgbClr val="A1A4AC"/>
                </a:solidFill>
              </a:rPr>
              <a:pPr/>
              <a:t>‹Nº›</a:t>
            </a:fld>
            <a:endParaRPr lang="ja-JP" altLang="en-US">
              <a:solidFill>
                <a:srgbClr val="A1A4AC"/>
              </a:solidFill>
            </a:endParaRPr>
          </a:p>
        </p:txBody>
      </p:sp>
      <p:sp>
        <p:nvSpPr>
          <p:cNvPr id="2" name="Footer Placeholder 1">
            <a:extLst>
              <a:ext uri="{FF2B5EF4-FFF2-40B4-BE49-F238E27FC236}">
                <a16:creationId xmlns="" xmlns:a16="http://schemas.microsoft.com/office/drawing/2014/main" id="{3636BDCA-B376-4A50-9C0F-6977B57BF899}"/>
              </a:ext>
            </a:extLst>
          </p:cNvPr>
          <p:cNvSpPr>
            <a:spLocks noGrp="1"/>
          </p:cNvSpPr>
          <p:nvPr>
            <p:ph type="ftr" sz="quarter" idx="12"/>
          </p:nvPr>
        </p:nvSpPr>
        <p:spPr/>
        <p:txBody>
          <a:bodyPr/>
          <a:lstStyle/>
          <a:p>
            <a:r>
              <a:rPr lang="en-GB" altLang="ja-JP">
                <a:solidFill>
                  <a:srgbClr val="000000">
                    <a:tint val="75000"/>
                  </a:srgbClr>
                </a:solidFill>
              </a:rPr>
              <a:t>Long-term efficacy and safety of Takeda’s dengue vaccine candidate (TAK-003) after 4.5 years of follow-up | TBC | Approval </a:t>
            </a:r>
            <a:r>
              <a:rPr lang="en-US" altLang="ja-JP">
                <a:solidFill>
                  <a:srgbClr val="000000">
                    <a:tint val="75000"/>
                  </a:srgbClr>
                </a:solidFill>
              </a:rPr>
              <a:t>date: March 2023</a:t>
            </a:r>
            <a:endParaRPr lang="ja-JP" altLang="en-US" sz="100">
              <a:solidFill>
                <a:srgbClr val="000000">
                  <a:tint val="75000"/>
                </a:srgbClr>
              </a:solidFill>
            </a:endParaRPr>
          </a:p>
        </p:txBody>
      </p:sp>
    </p:spTree>
    <p:extLst>
      <p:ext uri="{BB962C8B-B14F-4D97-AF65-F5344CB8AC3E}">
        <p14:creationId xmlns:p14="http://schemas.microsoft.com/office/powerpoint/2010/main" val="3509891272"/>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675D4F24-3AD1-7943-A1A9-EB84047B5123}"/>
              </a:ext>
            </a:extLst>
          </p:cNvPr>
          <p:cNvSpPr>
            <a:spLocks noGrp="1"/>
          </p:cNvSpPr>
          <p:nvPr>
            <p:ph type="body" sz="quarter" idx="13" hasCustomPrompt="1"/>
          </p:nvPr>
        </p:nvSpPr>
        <p:spPr>
          <a:xfrm>
            <a:off x="395289" y="926921"/>
            <a:ext cx="8343899" cy="3480567"/>
          </a:xfrm>
        </p:spPr>
        <p:txBody>
          <a:bodyPr/>
          <a:lstStyle>
            <a:lvl1pPr>
              <a:buClr>
                <a:srgbClr val="4C4948"/>
              </a:buClr>
              <a:defRPr>
                <a:solidFill>
                  <a:schemeClr val="tx2"/>
                </a:solidFill>
              </a:defRPr>
            </a:lvl1pPr>
            <a:lvl2pPr>
              <a:buClr>
                <a:srgbClr val="4C4948"/>
              </a:buClr>
              <a:defRPr>
                <a:solidFill>
                  <a:schemeClr val="tx2"/>
                </a:solidFill>
              </a:defRPr>
            </a:lvl2pPr>
            <a:lvl3pPr>
              <a:buClr>
                <a:srgbClr val="4C4948"/>
              </a:buClr>
              <a:defRPr>
                <a:solidFill>
                  <a:schemeClr val="tx2"/>
                </a:solidFill>
              </a:defRPr>
            </a:lvl3pPr>
            <a:lvl4pPr>
              <a:buClr>
                <a:srgbClr val="4C4948"/>
              </a:buClr>
              <a:defRPr>
                <a:solidFill>
                  <a:schemeClr val="tx2"/>
                </a:solidFill>
              </a:defRPr>
            </a:lvl4pPr>
            <a:lvl5pPr>
              <a:buClr>
                <a:srgbClr val="4C4948"/>
              </a:buClr>
              <a:defRPr>
                <a:solidFill>
                  <a:schemeClr val="tx2"/>
                </a:solidFill>
              </a:defRPr>
            </a:lvl5pPr>
          </a:lstStyle>
          <a:p>
            <a:pPr lvl="0"/>
            <a:r>
              <a:rPr lang="en-US"/>
              <a:t>Add your text her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 xmlns:a16="http://schemas.microsoft.com/office/drawing/2014/main" id="{FC71F690-8ECF-4851-9B1B-65F80621D3C2}"/>
              </a:ext>
            </a:extLst>
          </p:cNvPr>
          <p:cNvSpPr>
            <a:spLocks noGrp="1"/>
          </p:cNvSpPr>
          <p:nvPr>
            <p:ph type="body" sz="quarter" idx="14" hasCustomPrompt="1"/>
          </p:nvPr>
        </p:nvSpPr>
        <p:spPr>
          <a:xfrm>
            <a:off x="395289" y="4431358"/>
            <a:ext cx="7529513" cy="340727"/>
          </a:xfrm>
        </p:spPr>
        <p:txBody>
          <a:bodyPr bIns="0" anchor="b" anchorCtr="0">
            <a:noAutofit/>
          </a:bodyPr>
          <a:lstStyle>
            <a:lvl1pPr marL="0" indent="0">
              <a:spcBef>
                <a:spcPts val="0"/>
              </a:spcBef>
              <a:buFontTx/>
              <a:buNone/>
              <a:defRPr sz="700">
                <a:solidFill>
                  <a:srgbClr val="34373F"/>
                </a:solidFill>
              </a:defRPr>
            </a:lvl1pPr>
          </a:lstStyle>
          <a:p>
            <a:r>
              <a:rPr lang="en-US"/>
              <a:t>Footnotes.</a:t>
            </a:r>
          </a:p>
          <a:p>
            <a:r>
              <a:rPr lang="en-US"/>
              <a:t>Abbreviations.</a:t>
            </a:r>
          </a:p>
          <a:p>
            <a:r>
              <a:rPr lang="en-US"/>
              <a:t>References.</a:t>
            </a:r>
          </a:p>
        </p:txBody>
      </p:sp>
      <p:sp>
        <p:nvSpPr>
          <p:cNvPr id="5" name="Slide Number Placeholder 4">
            <a:extLst>
              <a:ext uri="{FF2B5EF4-FFF2-40B4-BE49-F238E27FC236}">
                <a16:creationId xmlns="" xmlns:a16="http://schemas.microsoft.com/office/drawing/2014/main" id="{D866840B-298E-4CFC-A58E-46D1C350B59F}"/>
              </a:ext>
            </a:extLst>
          </p:cNvPr>
          <p:cNvSpPr>
            <a:spLocks noGrp="1"/>
          </p:cNvSpPr>
          <p:nvPr>
            <p:ph type="sldNum" sz="quarter" idx="16"/>
          </p:nvPr>
        </p:nvSpPr>
        <p:spPr/>
        <p:txBody>
          <a:bodyPr/>
          <a:lstStyle/>
          <a:p>
            <a:fld id="{E9B57936-92EF-4126-AE48-1D9D36D15E98}" type="slidenum">
              <a:rPr lang="ja-JP" altLang="en-US" smtClean="0">
                <a:solidFill>
                  <a:srgbClr val="A1A4AC"/>
                </a:solidFill>
              </a:rPr>
              <a:pPr/>
              <a:t>‹Nº›</a:t>
            </a:fld>
            <a:endParaRPr lang="ja-JP" altLang="en-US">
              <a:solidFill>
                <a:srgbClr val="A1A4AC"/>
              </a:solidFill>
            </a:endParaRPr>
          </a:p>
        </p:txBody>
      </p:sp>
      <p:sp>
        <p:nvSpPr>
          <p:cNvPr id="8" name="Title 7">
            <a:extLst>
              <a:ext uri="{FF2B5EF4-FFF2-40B4-BE49-F238E27FC236}">
                <a16:creationId xmlns="" xmlns:a16="http://schemas.microsoft.com/office/drawing/2014/main" id="{8F0341E0-7C1E-44B6-B63F-9834CF4F1267}"/>
              </a:ext>
            </a:extLst>
          </p:cNvPr>
          <p:cNvSpPr>
            <a:spLocks noGrp="1"/>
          </p:cNvSpPr>
          <p:nvPr>
            <p:ph type="title"/>
          </p:nvPr>
        </p:nvSpPr>
        <p:spPr>
          <a:xfrm>
            <a:off x="395289" y="99585"/>
            <a:ext cx="7357234" cy="527957"/>
          </a:xfrm>
        </p:spPr>
        <p:txBody>
          <a:bodyPr bIns="0"/>
          <a:lstStyle/>
          <a:p>
            <a:r>
              <a:rPr lang="en-US"/>
              <a:t>Click to edit Master title style</a:t>
            </a:r>
          </a:p>
        </p:txBody>
      </p:sp>
      <p:sp>
        <p:nvSpPr>
          <p:cNvPr id="6" name="Footer Placeholder 5">
            <a:extLst>
              <a:ext uri="{FF2B5EF4-FFF2-40B4-BE49-F238E27FC236}">
                <a16:creationId xmlns="" xmlns:a16="http://schemas.microsoft.com/office/drawing/2014/main" id="{A139C958-1D42-46C5-9663-C1E0F49EEACC}"/>
              </a:ext>
            </a:extLst>
          </p:cNvPr>
          <p:cNvSpPr>
            <a:spLocks noGrp="1"/>
          </p:cNvSpPr>
          <p:nvPr>
            <p:ph type="ftr" sz="quarter" idx="17"/>
          </p:nvPr>
        </p:nvSpPr>
        <p:spPr/>
        <p:txBody>
          <a:bodyPr/>
          <a:lstStyle/>
          <a:p>
            <a:r>
              <a:rPr lang="en-GB" altLang="ja-JP">
                <a:solidFill>
                  <a:srgbClr val="000000">
                    <a:tint val="75000"/>
                  </a:srgbClr>
                </a:solidFill>
              </a:rPr>
              <a:t>Long-term efficacy and safety of Takeda’s dengue vaccine candidate (TAK-003) after 4.5 years of follow-up | TBC | Approval </a:t>
            </a:r>
            <a:r>
              <a:rPr lang="en-US" altLang="ja-JP">
                <a:solidFill>
                  <a:srgbClr val="000000">
                    <a:tint val="75000"/>
                  </a:srgbClr>
                </a:solidFill>
              </a:rPr>
              <a:t>date: March 2023</a:t>
            </a:r>
            <a:endParaRPr lang="ja-JP" altLang="en-US" sz="200">
              <a:solidFill>
                <a:srgbClr val="000000">
                  <a:tint val="75000"/>
                </a:srgbClr>
              </a:solidFill>
            </a:endParaRPr>
          </a:p>
        </p:txBody>
      </p:sp>
    </p:spTree>
    <p:extLst>
      <p:ext uri="{BB962C8B-B14F-4D97-AF65-F5344CB8AC3E}">
        <p14:creationId xmlns:p14="http://schemas.microsoft.com/office/powerpoint/2010/main" val="823234469"/>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6" name="Text Placeholder 3">
            <a:extLst>
              <a:ext uri="{FF2B5EF4-FFF2-40B4-BE49-F238E27FC236}">
                <a16:creationId xmlns="" xmlns:a16="http://schemas.microsoft.com/office/drawing/2014/main" id="{B08CFEF5-24AE-495E-BBF3-2FCF473E5A90}"/>
              </a:ext>
            </a:extLst>
          </p:cNvPr>
          <p:cNvSpPr>
            <a:spLocks noGrp="1"/>
          </p:cNvSpPr>
          <p:nvPr>
            <p:ph type="body" sz="quarter" idx="14" hasCustomPrompt="1"/>
          </p:nvPr>
        </p:nvSpPr>
        <p:spPr>
          <a:xfrm>
            <a:off x="395289" y="4431358"/>
            <a:ext cx="7529513" cy="340727"/>
          </a:xfrm>
        </p:spPr>
        <p:txBody>
          <a:bodyPr bIns="0" anchor="b" anchorCtr="0">
            <a:noAutofit/>
          </a:bodyPr>
          <a:lstStyle>
            <a:lvl1pPr marL="0" indent="0">
              <a:spcBef>
                <a:spcPts val="0"/>
              </a:spcBef>
              <a:buFontTx/>
              <a:buNone/>
              <a:defRPr sz="700"/>
            </a:lvl1pPr>
          </a:lstStyle>
          <a:p>
            <a:r>
              <a:rPr lang="en-US"/>
              <a:t>Footnotes.</a:t>
            </a:r>
          </a:p>
          <a:p>
            <a:r>
              <a:rPr lang="en-US"/>
              <a:t>Abbreviations.</a:t>
            </a:r>
          </a:p>
          <a:p>
            <a:r>
              <a:rPr lang="en-US"/>
              <a:t>References.</a:t>
            </a:r>
          </a:p>
        </p:txBody>
      </p:sp>
      <p:sp>
        <p:nvSpPr>
          <p:cNvPr id="5" name="Slide Number Placeholder 4">
            <a:extLst>
              <a:ext uri="{FF2B5EF4-FFF2-40B4-BE49-F238E27FC236}">
                <a16:creationId xmlns="" xmlns:a16="http://schemas.microsoft.com/office/drawing/2014/main" id="{D62C38EF-9E03-4702-A967-554F359F12DA}"/>
              </a:ext>
            </a:extLst>
          </p:cNvPr>
          <p:cNvSpPr>
            <a:spLocks noGrp="1"/>
          </p:cNvSpPr>
          <p:nvPr>
            <p:ph type="sldNum" sz="quarter" idx="16"/>
          </p:nvPr>
        </p:nvSpPr>
        <p:spPr/>
        <p:txBody>
          <a:bodyPr/>
          <a:lstStyle/>
          <a:p>
            <a:fld id="{E9B57936-92EF-4126-AE48-1D9D36D15E98}" type="slidenum">
              <a:rPr lang="ja-JP" altLang="en-US" smtClean="0">
                <a:solidFill>
                  <a:srgbClr val="A1A4AC"/>
                </a:solidFill>
              </a:rPr>
              <a:pPr/>
              <a:t>‹Nº›</a:t>
            </a:fld>
            <a:endParaRPr lang="ja-JP" altLang="en-US">
              <a:solidFill>
                <a:srgbClr val="A1A4AC"/>
              </a:solidFill>
            </a:endParaRPr>
          </a:p>
        </p:txBody>
      </p:sp>
      <p:sp>
        <p:nvSpPr>
          <p:cNvPr id="8" name="Title 7">
            <a:extLst>
              <a:ext uri="{FF2B5EF4-FFF2-40B4-BE49-F238E27FC236}">
                <a16:creationId xmlns="" xmlns:a16="http://schemas.microsoft.com/office/drawing/2014/main" id="{4C912CFE-FD99-4A0D-9068-9156FF22F571}"/>
              </a:ext>
            </a:extLst>
          </p:cNvPr>
          <p:cNvSpPr>
            <a:spLocks noGrp="1"/>
          </p:cNvSpPr>
          <p:nvPr>
            <p:ph type="title"/>
          </p:nvPr>
        </p:nvSpPr>
        <p:spPr>
          <a:xfrm>
            <a:off x="395289" y="99585"/>
            <a:ext cx="7357234" cy="527957"/>
          </a:xfrm>
        </p:spPr>
        <p:txBody>
          <a:bodyPr/>
          <a:lstStyle/>
          <a:p>
            <a:r>
              <a:rPr lang="en-US"/>
              <a:t>Click to edit Master title style</a:t>
            </a:r>
          </a:p>
        </p:txBody>
      </p:sp>
      <p:sp>
        <p:nvSpPr>
          <p:cNvPr id="14" name="Content Placeholder 13">
            <a:extLst>
              <a:ext uri="{FF2B5EF4-FFF2-40B4-BE49-F238E27FC236}">
                <a16:creationId xmlns="" xmlns:a16="http://schemas.microsoft.com/office/drawing/2014/main" id="{BD455CB7-5206-463D-BED2-EAD28551A070}"/>
              </a:ext>
            </a:extLst>
          </p:cNvPr>
          <p:cNvSpPr>
            <a:spLocks noGrp="1"/>
          </p:cNvSpPr>
          <p:nvPr>
            <p:ph sz="quarter" idx="17" hasCustomPrompt="1"/>
          </p:nvPr>
        </p:nvSpPr>
        <p:spPr>
          <a:xfrm>
            <a:off x="395289" y="926920"/>
            <a:ext cx="8343899" cy="3480566"/>
          </a:xfrm>
        </p:spPr>
        <p:txBody>
          <a:bodyPr/>
          <a:lstStyle/>
          <a:p>
            <a:pPr lvl="0"/>
            <a:r>
              <a:rPr lang="en-US"/>
              <a:t>Add your content here</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 xmlns:a16="http://schemas.microsoft.com/office/drawing/2014/main" id="{58FB5C6F-365C-4BC7-A55F-F64700AA7CD4}"/>
              </a:ext>
            </a:extLst>
          </p:cNvPr>
          <p:cNvSpPr>
            <a:spLocks noGrp="1"/>
          </p:cNvSpPr>
          <p:nvPr>
            <p:ph type="ftr" sz="quarter" idx="18"/>
          </p:nvPr>
        </p:nvSpPr>
        <p:spPr/>
        <p:txBody>
          <a:bodyPr/>
          <a:lstStyle/>
          <a:p>
            <a:r>
              <a:rPr lang="en-GB" altLang="ja-JP">
                <a:solidFill>
                  <a:srgbClr val="000000">
                    <a:tint val="75000"/>
                  </a:srgbClr>
                </a:solidFill>
              </a:rPr>
              <a:t>Long-term efficacy and safety of Takeda’s dengue vaccine candidate (TAK-003) after 4.5 years of follow-up | TBC | Approval </a:t>
            </a:r>
            <a:r>
              <a:rPr lang="en-US" altLang="ja-JP">
                <a:solidFill>
                  <a:srgbClr val="000000">
                    <a:tint val="75000"/>
                  </a:srgbClr>
                </a:solidFill>
              </a:rPr>
              <a:t>date: March 2023</a:t>
            </a:r>
            <a:endParaRPr lang="ja-JP" altLang="en-US" sz="100">
              <a:solidFill>
                <a:srgbClr val="000000">
                  <a:tint val="75000"/>
                </a:srgbClr>
              </a:solidFill>
            </a:endParaRPr>
          </a:p>
        </p:txBody>
      </p:sp>
    </p:spTree>
    <p:extLst>
      <p:ext uri="{BB962C8B-B14F-4D97-AF65-F5344CB8AC3E}">
        <p14:creationId xmlns:p14="http://schemas.microsoft.com/office/powerpoint/2010/main" val="2731301794"/>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E129881-6E69-4223-8D15-63FA14B0CB4C}"/>
              </a:ext>
            </a:extLst>
          </p:cNvPr>
          <p:cNvSpPr>
            <a:spLocks noGrp="1"/>
          </p:cNvSpPr>
          <p:nvPr>
            <p:ph type="title"/>
          </p:nvPr>
        </p:nvSpPr>
        <p:spPr/>
        <p:txBody>
          <a:bodyPr/>
          <a:lstStyle/>
          <a:p>
            <a:r>
              <a:rPr lang="en-US"/>
              <a:t>Click to edit Master title style</a:t>
            </a:r>
          </a:p>
        </p:txBody>
      </p:sp>
      <p:sp>
        <p:nvSpPr>
          <p:cNvPr id="6" name="Content Placeholder 5">
            <a:extLst>
              <a:ext uri="{FF2B5EF4-FFF2-40B4-BE49-F238E27FC236}">
                <a16:creationId xmlns="" xmlns:a16="http://schemas.microsoft.com/office/drawing/2014/main" id="{5F0A8DA1-F9F6-4D74-B055-A738E3CE1D2A}"/>
              </a:ext>
            </a:extLst>
          </p:cNvPr>
          <p:cNvSpPr>
            <a:spLocks noGrp="1"/>
          </p:cNvSpPr>
          <p:nvPr>
            <p:ph sz="quarter" idx="12"/>
          </p:nvPr>
        </p:nvSpPr>
        <p:spPr>
          <a:xfrm>
            <a:off x="395298" y="926920"/>
            <a:ext cx="3641135" cy="34805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5">
            <a:extLst>
              <a:ext uri="{FF2B5EF4-FFF2-40B4-BE49-F238E27FC236}">
                <a16:creationId xmlns="" xmlns:a16="http://schemas.microsoft.com/office/drawing/2014/main" id="{8FB8791A-5714-4174-93D6-9FC70336EEB7}"/>
              </a:ext>
            </a:extLst>
          </p:cNvPr>
          <p:cNvSpPr>
            <a:spLocks noGrp="1"/>
          </p:cNvSpPr>
          <p:nvPr>
            <p:ph sz="quarter" idx="13"/>
          </p:nvPr>
        </p:nvSpPr>
        <p:spPr>
          <a:xfrm>
            <a:off x="4287103" y="926920"/>
            <a:ext cx="3641135" cy="348056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a:extLst>
              <a:ext uri="{FF2B5EF4-FFF2-40B4-BE49-F238E27FC236}">
                <a16:creationId xmlns="" xmlns:a16="http://schemas.microsoft.com/office/drawing/2014/main" id="{58223120-B955-4710-ACD4-F603408F08BD}"/>
              </a:ext>
            </a:extLst>
          </p:cNvPr>
          <p:cNvSpPr>
            <a:spLocks noGrp="1"/>
          </p:cNvSpPr>
          <p:nvPr>
            <p:ph type="body" sz="quarter" idx="14" hasCustomPrompt="1"/>
          </p:nvPr>
        </p:nvSpPr>
        <p:spPr>
          <a:xfrm>
            <a:off x="395289" y="4431358"/>
            <a:ext cx="7529513" cy="340727"/>
          </a:xfrm>
        </p:spPr>
        <p:txBody>
          <a:bodyPr bIns="0" anchor="b" anchorCtr="0">
            <a:noAutofit/>
          </a:bodyPr>
          <a:lstStyle>
            <a:lvl1pPr marL="0" indent="0">
              <a:spcBef>
                <a:spcPts val="0"/>
              </a:spcBef>
              <a:buFontTx/>
              <a:buNone/>
              <a:defRPr sz="700"/>
            </a:lvl1pPr>
          </a:lstStyle>
          <a:p>
            <a:r>
              <a:rPr lang="en-US"/>
              <a:t>Footnotes.</a:t>
            </a:r>
          </a:p>
          <a:p>
            <a:r>
              <a:rPr lang="en-US"/>
              <a:t>Abbreviations.</a:t>
            </a:r>
          </a:p>
          <a:p>
            <a:r>
              <a:rPr lang="en-US"/>
              <a:t>References.</a:t>
            </a:r>
          </a:p>
        </p:txBody>
      </p:sp>
      <p:sp>
        <p:nvSpPr>
          <p:cNvPr id="10" name="Slide Number Placeholder 9">
            <a:extLst>
              <a:ext uri="{FF2B5EF4-FFF2-40B4-BE49-F238E27FC236}">
                <a16:creationId xmlns="" xmlns:a16="http://schemas.microsoft.com/office/drawing/2014/main" id="{2D89B19E-B09D-4A01-BCC6-248802776290}"/>
              </a:ext>
            </a:extLst>
          </p:cNvPr>
          <p:cNvSpPr>
            <a:spLocks noGrp="1"/>
          </p:cNvSpPr>
          <p:nvPr>
            <p:ph type="sldNum" sz="quarter" idx="16"/>
          </p:nvPr>
        </p:nvSpPr>
        <p:spPr/>
        <p:txBody>
          <a:bodyPr/>
          <a:lstStyle/>
          <a:p>
            <a:fld id="{E9B57936-92EF-4126-AE48-1D9D36D15E98}" type="slidenum">
              <a:rPr lang="ja-JP" altLang="en-US" smtClean="0">
                <a:solidFill>
                  <a:srgbClr val="A1A4AC"/>
                </a:solidFill>
              </a:rPr>
              <a:pPr/>
              <a:t>‹Nº›</a:t>
            </a:fld>
            <a:endParaRPr lang="ja-JP" altLang="en-US">
              <a:solidFill>
                <a:srgbClr val="A1A4AC"/>
              </a:solidFill>
            </a:endParaRPr>
          </a:p>
        </p:txBody>
      </p:sp>
      <p:sp>
        <p:nvSpPr>
          <p:cNvPr id="4" name="Footer Placeholder 3">
            <a:extLst>
              <a:ext uri="{FF2B5EF4-FFF2-40B4-BE49-F238E27FC236}">
                <a16:creationId xmlns="" xmlns:a16="http://schemas.microsoft.com/office/drawing/2014/main" id="{51762CEE-A79A-45D3-9875-94BC3324923E}"/>
              </a:ext>
            </a:extLst>
          </p:cNvPr>
          <p:cNvSpPr>
            <a:spLocks noGrp="1"/>
          </p:cNvSpPr>
          <p:nvPr>
            <p:ph type="ftr" sz="quarter" idx="17"/>
          </p:nvPr>
        </p:nvSpPr>
        <p:spPr/>
        <p:txBody>
          <a:bodyPr/>
          <a:lstStyle/>
          <a:p>
            <a:r>
              <a:rPr lang="en-GB" altLang="ja-JP">
                <a:solidFill>
                  <a:srgbClr val="000000">
                    <a:tint val="75000"/>
                  </a:srgbClr>
                </a:solidFill>
              </a:rPr>
              <a:t>Long-term efficacy and safety of Takeda’s dengue vaccine candidate (TAK-003) after 4.5 years of follow-up | TBC | Approval </a:t>
            </a:r>
            <a:r>
              <a:rPr lang="en-US" altLang="ja-JP">
                <a:solidFill>
                  <a:srgbClr val="000000">
                    <a:tint val="75000"/>
                  </a:srgbClr>
                </a:solidFill>
              </a:rPr>
              <a:t>date: March 2023</a:t>
            </a:r>
            <a:endParaRPr lang="ja-JP" altLang="en-US" sz="100">
              <a:solidFill>
                <a:srgbClr val="000000">
                  <a:tint val="75000"/>
                </a:srgbClr>
              </a:solidFill>
            </a:endParaRPr>
          </a:p>
        </p:txBody>
      </p:sp>
    </p:spTree>
    <p:extLst>
      <p:ext uri="{BB962C8B-B14F-4D97-AF65-F5344CB8AC3E}">
        <p14:creationId xmlns:p14="http://schemas.microsoft.com/office/powerpoint/2010/main" val="2128565724"/>
      </p:ext>
    </p:extLst>
  </p:cSld>
  <p:clrMapOvr>
    <a:masterClrMapping/>
  </p:clrMapOvr>
  <p:extLst mod="1">
    <p:ext uri="{DCECCB84-F9BA-43D5-87BE-67443E8EF086}">
      <p15:sldGuideLst xmlns:p15="http://schemas.microsoft.com/office/powerpoint/2012/main"/>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44F408B-24E8-4FB6-AE04-197CC2CD7D0D}"/>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 xmlns:a16="http://schemas.microsoft.com/office/drawing/2014/main" id="{8B3088A4-9931-4BF0-A80E-31B01AC30FF8}"/>
              </a:ext>
            </a:extLst>
          </p:cNvPr>
          <p:cNvSpPr>
            <a:spLocks noGrp="1"/>
          </p:cNvSpPr>
          <p:nvPr>
            <p:ph type="sldNum" sz="quarter" idx="10"/>
          </p:nvPr>
        </p:nvSpPr>
        <p:spPr/>
        <p:txBody>
          <a:bodyPr/>
          <a:lstStyle/>
          <a:p>
            <a:fld id="{E9B57936-92EF-4126-AE48-1D9D36D15E98}" type="slidenum">
              <a:rPr lang="ja-JP" altLang="en-US" smtClean="0">
                <a:solidFill>
                  <a:srgbClr val="A1A4AC"/>
                </a:solidFill>
              </a:rPr>
              <a:pPr/>
              <a:t>‹Nº›</a:t>
            </a:fld>
            <a:endParaRPr lang="ja-JP" altLang="en-US">
              <a:solidFill>
                <a:srgbClr val="A1A4AC"/>
              </a:solidFill>
            </a:endParaRPr>
          </a:p>
        </p:txBody>
      </p:sp>
      <p:sp>
        <p:nvSpPr>
          <p:cNvPr id="4" name="Footer Placeholder 3">
            <a:extLst>
              <a:ext uri="{FF2B5EF4-FFF2-40B4-BE49-F238E27FC236}">
                <a16:creationId xmlns="" xmlns:a16="http://schemas.microsoft.com/office/drawing/2014/main" id="{0E749EFD-54C3-4F3F-B5B9-5977BA58250F}"/>
              </a:ext>
            </a:extLst>
          </p:cNvPr>
          <p:cNvSpPr>
            <a:spLocks noGrp="1"/>
          </p:cNvSpPr>
          <p:nvPr>
            <p:ph type="ftr" sz="quarter" idx="11"/>
          </p:nvPr>
        </p:nvSpPr>
        <p:spPr/>
        <p:txBody>
          <a:bodyPr/>
          <a:lstStyle/>
          <a:p>
            <a:r>
              <a:rPr lang="en-GB" altLang="ja-JP">
                <a:solidFill>
                  <a:srgbClr val="000000">
                    <a:tint val="75000"/>
                  </a:srgbClr>
                </a:solidFill>
              </a:rPr>
              <a:t>Long-term efficacy and safety of Takeda’s dengue vaccine candidate (TAK-003) after 4.5 years of follow-up | TBC | Approval </a:t>
            </a:r>
            <a:r>
              <a:rPr lang="en-US" altLang="ja-JP">
                <a:solidFill>
                  <a:srgbClr val="000000">
                    <a:tint val="75000"/>
                  </a:srgbClr>
                </a:solidFill>
              </a:rPr>
              <a:t>date: March 2023</a:t>
            </a:r>
            <a:endParaRPr lang="ja-JP" altLang="en-US" sz="100">
              <a:solidFill>
                <a:srgbClr val="000000">
                  <a:tint val="75000"/>
                </a:srgbClr>
              </a:solidFill>
            </a:endParaRPr>
          </a:p>
        </p:txBody>
      </p:sp>
    </p:spTree>
    <p:extLst>
      <p:ext uri="{BB962C8B-B14F-4D97-AF65-F5344CB8AC3E}">
        <p14:creationId xmlns:p14="http://schemas.microsoft.com/office/powerpoint/2010/main" val="3093126769"/>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Back Cover">
    <p:spTree>
      <p:nvGrpSpPr>
        <p:cNvPr id="1" name=""/>
        <p:cNvGrpSpPr/>
        <p:nvPr/>
      </p:nvGrpSpPr>
      <p:grpSpPr>
        <a:xfrm>
          <a:off x="0" y="0"/>
          <a:ext cx="0" cy="0"/>
          <a:chOff x="0" y="0"/>
          <a:chExt cx="0" cy="0"/>
        </a:xfrm>
      </p:grpSpPr>
      <p:sp>
        <p:nvSpPr>
          <p:cNvPr id="6" name="テキスト プレースホルダ 5"/>
          <p:cNvSpPr>
            <a:spLocks noGrp="1"/>
          </p:cNvSpPr>
          <p:nvPr>
            <p:ph type="body" sz="quarter" idx="10" hasCustomPrompt="1"/>
          </p:nvPr>
        </p:nvSpPr>
        <p:spPr>
          <a:xfrm>
            <a:off x="1943710" y="1924050"/>
            <a:ext cx="5256584" cy="1292352"/>
          </a:xfrm>
        </p:spPr>
        <p:txBody>
          <a:bodyPr anchor="ctr"/>
          <a:lstStyle>
            <a:lvl1pPr algn="ctr">
              <a:buNone/>
              <a:defRPr>
                <a:solidFill>
                  <a:schemeClr val="tx2"/>
                </a:solidFill>
                <a:latin typeface="Calibri" pitchFamily="34" charset="0"/>
                <a:ea typeface="+mj-ea"/>
                <a:cs typeface="Calibri" pitchFamily="34" charset="0"/>
              </a:defRPr>
            </a:lvl1pPr>
          </a:lstStyle>
          <a:p>
            <a:pPr lvl="0"/>
            <a:r>
              <a:rPr kumimoji="1" lang="en-US" altLang="ja-JP"/>
              <a:t>Click to add text</a:t>
            </a:r>
            <a:endParaRPr kumimoji="1" lang="ja-JP" altLang="en-US"/>
          </a:p>
        </p:txBody>
      </p:sp>
      <p:sp>
        <p:nvSpPr>
          <p:cNvPr id="8" name="TextBox 7">
            <a:extLst>
              <a:ext uri="{FF2B5EF4-FFF2-40B4-BE49-F238E27FC236}">
                <a16:creationId xmlns="" xmlns:a16="http://schemas.microsoft.com/office/drawing/2014/main" id="{2E616805-6DFB-0945-A003-D0CAF7C12BCF}"/>
              </a:ext>
            </a:extLst>
          </p:cNvPr>
          <p:cNvSpPr txBox="1"/>
          <p:nvPr userDrawn="1"/>
        </p:nvSpPr>
        <p:spPr>
          <a:xfrm>
            <a:off x="2744652" y="4843417"/>
            <a:ext cx="3654707" cy="253916"/>
          </a:xfrm>
          <a:prstGeom prst="rect">
            <a:avLst/>
          </a:prstGeom>
          <a:noFill/>
        </p:spPr>
        <p:txBody>
          <a:bodyPr wrap="square" lIns="68555" tIns="34289" rIns="68555" bIns="34289" rtlCol="0">
            <a:spAutoFit/>
          </a:bodyPr>
          <a:lstStyle/>
          <a:p>
            <a:pPr algn="ctr" defTabSz="685511"/>
            <a:r>
              <a:rPr lang="en-US" sz="600">
                <a:solidFill>
                  <a:srgbClr val="34373F"/>
                </a:solidFill>
              </a:rPr>
              <a:t>© 2019 Takeda Pharmaceutical Company Limited. All rights reserved</a:t>
            </a:r>
          </a:p>
          <a:p>
            <a:pPr algn="ctr" defTabSz="685511"/>
            <a:endParaRPr lang="en-US" sz="600">
              <a:solidFill>
                <a:srgbClr val="34373F"/>
              </a:solidFill>
            </a:endParaRPr>
          </a:p>
        </p:txBody>
      </p:sp>
      <p:pic>
        <p:nvPicPr>
          <p:cNvPr id="9" name="Picture 12" descr="Takeda_Logo_Pos_RGB.emf">
            <a:extLst>
              <a:ext uri="{FF2B5EF4-FFF2-40B4-BE49-F238E27FC236}">
                <a16:creationId xmlns="" xmlns:a16="http://schemas.microsoft.com/office/drawing/2014/main" id="{06211555-87D5-2840-BDB0-E8779633087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4040560" y="4088664"/>
            <a:ext cx="1062884" cy="357458"/>
          </a:xfrm>
          <a:prstGeom prst="rect">
            <a:avLst/>
          </a:prstGeom>
          <a:noFill/>
          <a:ln w="9525">
            <a:noFill/>
            <a:miter lim="800000"/>
            <a:headEnd/>
            <a:tailEnd/>
          </a:ln>
        </p:spPr>
      </p:pic>
    </p:spTree>
    <p:extLst>
      <p:ext uri="{BB962C8B-B14F-4D97-AF65-F5344CB8AC3E}">
        <p14:creationId xmlns:p14="http://schemas.microsoft.com/office/powerpoint/2010/main" val="3946351176"/>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userDrawn="1">
  <p:cSld name="タイトルとコンテンツ">
    <p:spTree>
      <p:nvGrpSpPr>
        <p:cNvPr id="1" name=""/>
        <p:cNvGrpSpPr/>
        <p:nvPr/>
      </p:nvGrpSpPr>
      <p:grpSpPr>
        <a:xfrm>
          <a:off x="0" y="0"/>
          <a:ext cx="0" cy="0"/>
          <a:chOff x="0" y="0"/>
          <a:chExt cx="0" cy="0"/>
        </a:xfrm>
      </p:grpSpPr>
      <p:sp>
        <p:nvSpPr>
          <p:cNvPr id="3" name="コンテンツ プレースホルダ 2"/>
          <p:cNvSpPr>
            <a:spLocks noGrp="1"/>
          </p:cNvSpPr>
          <p:nvPr>
            <p:ph idx="1" hasCustomPrompt="1"/>
          </p:nvPr>
        </p:nvSpPr>
        <p:spPr/>
        <p:txBody>
          <a:bodyPr>
            <a:normAutofit/>
          </a:bodyPr>
          <a:lstStyle>
            <a:lvl1pPr marL="342749" marR="0" indent="-342749" algn="l" defTabSz="685511" rtl="0" eaLnBrk="1" fontAlgn="auto" latinLnBrk="0" hangingPunct="1">
              <a:lnSpc>
                <a:spcPct val="100000"/>
              </a:lnSpc>
              <a:spcBef>
                <a:spcPct val="20000"/>
              </a:spcBef>
              <a:spcAft>
                <a:spcPts val="0"/>
              </a:spcAft>
              <a:buClr>
                <a:srgbClr val="4C4948"/>
              </a:buClr>
              <a:buSzTx/>
              <a:buFont typeface="Arial" panose="020B0604020202020204" pitchFamily="34" charset="0"/>
              <a:buChar char="•"/>
              <a:tabLst/>
              <a:defRPr sz="2000" baseline="0">
                <a:solidFill>
                  <a:schemeClr val="accent2"/>
                </a:solidFill>
                <a:latin typeface="Calibri" pitchFamily="34" charset="0"/>
                <a:cs typeface="Calibri" pitchFamily="34" charset="0"/>
              </a:defRPr>
            </a:lvl1pPr>
            <a:lvl2pPr marL="556975" marR="0" indent="-214228" algn="l" defTabSz="685511" rtl="0" eaLnBrk="1" fontAlgn="auto" latinLnBrk="0" hangingPunct="1">
              <a:lnSpc>
                <a:spcPct val="100000"/>
              </a:lnSpc>
              <a:spcBef>
                <a:spcPct val="20000"/>
              </a:spcBef>
              <a:spcAft>
                <a:spcPts val="0"/>
              </a:spcAft>
              <a:buClr>
                <a:srgbClr val="4C4948"/>
              </a:buClr>
              <a:buSzTx/>
              <a:buFont typeface="Arial" pitchFamily="34" charset="0"/>
              <a:buChar char="–"/>
              <a:tabLst/>
              <a:defRPr sz="1400" baseline="0">
                <a:solidFill>
                  <a:srgbClr val="231815"/>
                </a:solidFill>
                <a:latin typeface="Calibri" pitchFamily="34" charset="0"/>
                <a:cs typeface="Calibri" pitchFamily="34" charset="0"/>
              </a:defRPr>
            </a:lvl2pPr>
            <a:lvl3pPr marL="856892" marR="0" indent="-171382" algn="l" defTabSz="685511" rtl="0" eaLnBrk="1" fontAlgn="auto" latinLnBrk="0" hangingPunct="1">
              <a:lnSpc>
                <a:spcPct val="100000"/>
              </a:lnSpc>
              <a:spcBef>
                <a:spcPct val="20000"/>
              </a:spcBef>
              <a:spcAft>
                <a:spcPts val="0"/>
              </a:spcAft>
              <a:buClr>
                <a:srgbClr val="4C4948"/>
              </a:buClr>
              <a:buSzTx/>
              <a:buFont typeface="Arial" pitchFamily="34" charset="0"/>
              <a:buChar char="•"/>
              <a:tabLst/>
              <a:defRPr sz="1200" baseline="0">
                <a:solidFill>
                  <a:srgbClr val="231815"/>
                </a:solidFill>
                <a:latin typeface="Calibri" pitchFamily="34" charset="0"/>
                <a:cs typeface="Calibri" pitchFamily="34" charset="0"/>
              </a:defRPr>
            </a:lvl3pPr>
            <a:lvl4pPr marL="1199640" marR="0" indent="-171382" algn="l" defTabSz="685511" rtl="0" eaLnBrk="1" fontAlgn="auto" latinLnBrk="0" hangingPunct="1">
              <a:lnSpc>
                <a:spcPct val="100000"/>
              </a:lnSpc>
              <a:spcBef>
                <a:spcPct val="20000"/>
              </a:spcBef>
              <a:spcAft>
                <a:spcPts val="0"/>
              </a:spcAft>
              <a:buClr>
                <a:srgbClr val="4C4948"/>
              </a:buClr>
              <a:buSzTx/>
              <a:buFont typeface="Arial" pitchFamily="34" charset="0"/>
              <a:buChar char="–"/>
              <a:tabLst/>
              <a:defRPr sz="1100" baseline="0">
                <a:solidFill>
                  <a:srgbClr val="231815"/>
                </a:solidFill>
                <a:latin typeface="Calibri" pitchFamily="34" charset="0"/>
                <a:cs typeface="Calibri" pitchFamily="34" charset="0"/>
              </a:defRPr>
            </a:lvl4pPr>
            <a:lvl5pPr marL="1542389" marR="0" indent="-171382" algn="l" defTabSz="685511" rtl="0" eaLnBrk="1" fontAlgn="auto" latinLnBrk="0" hangingPunct="1">
              <a:lnSpc>
                <a:spcPct val="100000"/>
              </a:lnSpc>
              <a:spcBef>
                <a:spcPct val="20000"/>
              </a:spcBef>
              <a:spcAft>
                <a:spcPts val="0"/>
              </a:spcAft>
              <a:buClr>
                <a:srgbClr val="4C4948"/>
              </a:buClr>
              <a:buSzTx/>
              <a:buFont typeface="Arial" pitchFamily="34" charset="0"/>
              <a:buChar char="»"/>
              <a:tabLst/>
              <a:defRPr sz="1100" baseline="0">
                <a:solidFill>
                  <a:srgbClr val="231815"/>
                </a:solidFill>
                <a:latin typeface="Calibri" pitchFamily="34" charset="0"/>
                <a:cs typeface="Calibri" pitchFamily="34" charset="0"/>
              </a:defRPr>
            </a:lvl5pPr>
          </a:lstStyle>
          <a:p>
            <a:pPr marL="342749" marR="0" lvl="0" indent="-342749" algn="l" defTabSz="685511" rtl="0" eaLnBrk="1" fontAlgn="auto" latinLnBrk="0" hangingPunct="1">
              <a:lnSpc>
                <a:spcPct val="100000"/>
              </a:lnSpc>
              <a:spcBef>
                <a:spcPct val="20000"/>
              </a:spcBef>
              <a:spcAft>
                <a:spcPts val="0"/>
              </a:spcAft>
              <a:buClr>
                <a:srgbClr val="4C4948"/>
              </a:buClr>
              <a:buSzTx/>
              <a:buFont typeface="Arial" panose="020B0604020202020204" pitchFamily="34" charset="0"/>
              <a:buChar char="•"/>
              <a:tabLst/>
              <a:defRPr/>
            </a:pPr>
            <a:r>
              <a:rPr kumimoji="1" lang="en-US" sz="2000" b="0" i="0" u="none" strike="noStrike" kern="1200" cap="none" spc="0" normalizeH="0" baseline="0" noProof="0">
                <a:ln>
                  <a:noFill/>
                </a:ln>
                <a:solidFill>
                  <a:srgbClr val="4C4948"/>
                </a:solidFill>
                <a:effectLst/>
                <a:uLnTx/>
                <a:uFillTx/>
                <a:latin typeface="Calibri" pitchFamily="34" charset="0"/>
                <a:ea typeface="メイリオ" pitchFamily="50" charset="-128"/>
                <a:cs typeface="Calibri" pitchFamily="34" charset="0"/>
              </a:rPr>
              <a:t>Add your content here</a:t>
            </a:r>
          </a:p>
          <a:p>
            <a:pPr marL="556975" marR="0" lvl="1" indent="-214228" algn="l" defTabSz="685511" rtl="0" eaLnBrk="1" fontAlgn="auto" latinLnBrk="0" hangingPunct="1">
              <a:lnSpc>
                <a:spcPct val="100000"/>
              </a:lnSpc>
              <a:spcBef>
                <a:spcPct val="20000"/>
              </a:spcBef>
              <a:spcAft>
                <a:spcPts val="0"/>
              </a:spcAft>
              <a:buClr>
                <a:srgbClr val="4C4948"/>
              </a:buClr>
              <a:buSzTx/>
              <a:buFont typeface="Arial" pitchFamily="34" charset="0"/>
              <a:buChar char="–"/>
              <a:tabLst/>
              <a:defRPr/>
            </a:pPr>
            <a:r>
              <a:rPr kumimoji="1" lang="en-US" sz="1800" b="0" i="0" u="none" strike="noStrike" kern="1200" cap="none" spc="0" normalizeH="0" baseline="0" noProof="0">
                <a:ln>
                  <a:noFill/>
                </a:ln>
                <a:solidFill>
                  <a:srgbClr val="4C4948"/>
                </a:solidFill>
                <a:effectLst/>
                <a:uLnTx/>
                <a:uFillTx/>
                <a:latin typeface="Calibri" pitchFamily="34" charset="0"/>
                <a:ea typeface="メイリオ" pitchFamily="50" charset="-128"/>
                <a:cs typeface="Calibri" pitchFamily="34" charset="0"/>
              </a:rPr>
              <a:t>Second level</a:t>
            </a:r>
          </a:p>
          <a:p>
            <a:pPr marL="856892" marR="0" lvl="2" indent="-171382" algn="l" defTabSz="685511" rtl="0" eaLnBrk="1" fontAlgn="auto" latinLnBrk="0" hangingPunct="1">
              <a:lnSpc>
                <a:spcPct val="100000"/>
              </a:lnSpc>
              <a:spcBef>
                <a:spcPct val="20000"/>
              </a:spcBef>
              <a:spcAft>
                <a:spcPts val="0"/>
              </a:spcAft>
              <a:buClr>
                <a:srgbClr val="4C4948"/>
              </a:buClr>
              <a:buSzTx/>
              <a:buFont typeface="Arial" pitchFamily="34" charset="0"/>
              <a:buChar char="•"/>
              <a:tabLst/>
              <a:defRPr/>
            </a:pPr>
            <a:r>
              <a:rPr kumimoji="1" lang="en-US" sz="1700" b="0" i="0" u="none" strike="noStrike" kern="1200" cap="none" spc="0" normalizeH="0" baseline="0" noProof="0">
                <a:ln>
                  <a:noFill/>
                </a:ln>
                <a:solidFill>
                  <a:srgbClr val="4C4948"/>
                </a:solidFill>
                <a:effectLst/>
                <a:uLnTx/>
                <a:uFillTx/>
                <a:latin typeface="Calibri" pitchFamily="34" charset="0"/>
                <a:ea typeface="メイリオ" pitchFamily="50" charset="-128"/>
                <a:cs typeface="Calibri" pitchFamily="34" charset="0"/>
              </a:rPr>
              <a:t>Third level</a:t>
            </a:r>
          </a:p>
          <a:p>
            <a:pPr marL="1199640" marR="0" lvl="3" indent="-171382" algn="l" defTabSz="685511" rtl="0" eaLnBrk="1" fontAlgn="auto" latinLnBrk="0" hangingPunct="1">
              <a:lnSpc>
                <a:spcPct val="100000"/>
              </a:lnSpc>
              <a:spcBef>
                <a:spcPct val="20000"/>
              </a:spcBef>
              <a:spcAft>
                <a:spcPts val="0"/>
              </a:spcAft>
              <a:buClr>
                <a:srgbClr val="4C4948"/>
              </a:buClr>
              <a:buSzTx/>
              <a:buFont typeface="Arial" pitchFamily="34" charset="0"/>
              <a:buChar char="–"/>
              <a:tabLst/>
              <a:defRPr/>
            </a:pPr>
            <a:r>
              <a:rPr kumimoji="1" lang="en-US" sz="1500" b="0" i="0" u="none" strike="noStrike" kern="1200" cap="none" spc="0" normalizeH="0" baseline="0" noProof="0">
                <a:ln>
                  <a:noFill/>
                </a:ln>
                <a:solidFill>
                  <a:srgbClr val="4C4948"/>
                </a:solidFill>
                <a:effectLst/>
                <a:uLnTx/>
                <a:uFillTx/>
                <a:latin typeface="Calibri" pitchFamily="34" charset="0"/>
                <a:ea typeface="メイリオ" pitchFamily="50" charset="-128"/>
                <a:cs typeface="Calibri" pitchFamily="34" charset="0"/>
              </a:rPr>
              <a:t>Fourth level</a:t>
            </a:r>
          </a:p>
          <a:p>
            <a:pPr marL="1542389" marR="0" lvl="4" indent="-171382" algn="l" defTabSz="685511" rtl="0" eaLnBrk="1" fontAlgn="auto" latinLnBrk="0" hangingPunct="1">
              <a:lnSpc>
                <a:spcPct val="100000"/>
              </a:lnSpc>
              <a:spcBef>
                <a:spcPct val="20000"/>
              </a:spcBef>
              <a:spcAft>
                <a:spcPts val="0"/>
              </a:spcAft>
              <a:buClr>
                <a:srgbClr val="4C4948"/>
              </a:buClr>
              <a:buSzTx/>
              <a:buFont typeface="Arial" pitchFamily="34" charset="0"/>
              <a:buChar char="»"/>
              <a:tabLst/>
              <a:defRPr/>
            </a:pPr>
            <a:r>
              <a:rPr kumimoji="1" lang="en-US" sz="1500" b="0" i="0" u="none" strike="noStrike" kern="1200" cap="none" spc="0" normalizeH="0" baseline="0" noProof="0">
                <a:ln>
                  <a:noFill/>
                </a:ln>
                <a:solidFill>
                  <a:srgbClr val="4C4948"/>
                </a:solidFill>
                <a:effectLst/>
                <a:uLnTx/>
                <a:uFillTx/>
                <a:latin typeface="Calibri" pitchFamily="34" charset="0"/>
                <a:ea typeface="メイリオ" pitchFamily="50" charset="-128"/>
                <a:cs typeface="Calibri" pitchFamily="34" charset="0"/>
              </a:rPr>
              <a:t>Fifth level</a:t>
            </a:r>
            <a:endParaRPr kumimoji="1" lang="ja-JP" altLang="en-US"/>
          </a:p>
        </p:txBody>
      </p:sp>
      <p:sp>
        <p:nvSpPr>
          <p:cNvPr id="7" name="Title 14">
            <a:extLst>
              <a:ext uri="{FF2B5EF4-FFF2-40B4-BE49-F238E27FC236}">
                <a16:creationId xmlns="" xmlns:a16="http://schemas.microsoft.com/office/drawing/2014/main" id="{ACC062CD-A904-0F41-8348-B090B7D80016}"/>
              </a:ext>
            </a:extLst>
          </p:cNvPr>
          <p:cNvSpPr>
            <a:spLocks noGrp="1"/>
          </p:cNvSpPr>
          <p:nvPr>
            <p:ph type="title" hasCustomPrompt="1"/>
          </p:nvPr>
        </p:nvSpPr>
        <p:spPr>
          <a:xfrm>
            <a:off x="395288" y="99585"/>
            <a:ext cx="7290144" cy="527957"/>
          </a:xfrm>
        </p:spPr>
        <p:txBody>
          <a:bodyPr/>
          <a:lstStyle>
            <a:lvl1pPr>
              <a:defRPr>
                <a:solidFill>
                  <a:schemeClr val="accent2"/>
                </a:solidFill>
                <a:latin typeface="Calibri" panose="020F0502020204030204" pitchFamily="34" charset="0"/>
                <a:cs typeface="Calibri" panose="020F0502020204030204" pitchFamily="34" charset="0"/>
              </a:defRPr>
            </a:lvl1pPr>
          </a:lstStyle>
          <a:p>
            <a:r>
              <a:rPr lang="en-US"/>
              <a:t>Add your title here</a:t>
            </a:r>
          </a:p>
        </p:txBody>
      </p:sp>
      <p:sp>
        <p:nvSpPr>
          <p:cNvPr id="10" name="Slide Number Placeholder 2">
            <a:extLst>
              <a:ext uri="{FF2B5EF4-FFF2-40B4-BE49-F238E27FC236}">
                <a16:creationId xmlns="" xmlns:a16="http://schemas.microsoft.com/office/drawing/2014/main" id="{E66FFE87-AC99-D545-8637-52F42D6E6547}"/>
              </a:ext>
            </a:extLst>
          </p:cNvPr>
          <p:cNvSpPr>
            <a:spLocks noGrp="1"/>
          </p:cNvSpPr>
          <p:nvPr>
            <p:ph type="sldNum" sz="quarter" idx="4"/>
          </p:nvPr>
        </p:nvSpPr>
        <p:spPr>
          <a:xfrm>
            <a:off x="3" y="4748438"/>
            <a:ext cx="486833" cy="292687"/>
          </a:xfrm>
          <a:prstGeom prst="rect">
            <a:avLst/>
          </a:prstGeom>
        </p:spPr>
        <p:txBody>
          <a:bodyPr rIns="0" anchor="ctr" anchorCtr="0"/>
          <a:lstStyle>
            <a:lvl1pPr algn="r">
              <a:defRPr sz="800" b="0" i="0">
                <a:solidFill>
                  <a:schemeClr val="accent3"/>
                </a:solidFill>
                <a:latin typeface="Calibri" panose="020F0502020204030204" pitchFamily="34" charset="0"/>
                <a:cs typeface="Calibri" panose="020F0502020204030204" pitchFamily="34" charset="0"/>
              </a:defRPr>
            </a:lvl1pPr>
          </a:lstStyle>
          <a:p>
            <a:fld id="{E9B57936-92EF-4126-AE48-1D9D36D15E98}" type="slidenum">
              <a:rPr lang="ja-JP" altLang="en-US" smtClean="0">
                <a:solidFill>
                  <a:srgbClr val="A1A4AC"/>
                </a:solidFill>
              </a:rPr>
              <a:pPr/>
              <a:t>‹Nº›</a:t>
            </a:fld>
            <a:endParaRPr lang="ja-JP" altLang="en-US">
              <a:solidFill>
                <a:srgbClr val="A1A4AC"/>
              </a:solidFill>
            </a:endParaRPr>
          </a:p>
        </p:txBody>
      </p:sp>
      <p:sp>
        <p:nvSpPr>
          <p:cNvPr id="11" name="Footer Placeholder 4">
            <a:extLst>
              <a:ext uri="{FF2B5EF4-FFF2-40B4-BE49-F238E27FC236}">
                <a16:creationId xmlns="" xmlns:a16="http://schemas.microsoft.com/office/drawing/2014/main" id="{AF0B85ED-B35C-F940-9C41-40AD55C5EB03}"/>
              </a:ext>
            </a:extLst>
          </p:cNvPr>
          <p:cNvSpPr>
            <a:spLocks noGrp="1"/>
          </p:cNvSpPr>
          <p:nvPr>
            <p:ph type="ftr" sz="quarter" idx="3"/>
          </p:nvPr>
        </p:nvSpPr>
        <p:spPr>
          <a:xfrm>
            <a:off x="486833" y="4748422"/>
            <a:ext cx="7447713" cy="292688"/>
          </a:xfrm>
          <a:prstGeom prst="rect">
            <a:avLst/>
          </a:prstGeom>
        </p:spPr>
        <p:txBody>
          <a:bodyPr lIns="53983" anchor="ctr" anchorCtr="0"/>
          <a:lstStyle>
            <a:lvl1pPr>
              <a:defRPr sz="800" b="0" i="0">
                <a:solidFill>
                  <a:schemeClr val="accent3"/>
                </a:solidFill>
                <a:latin typeface="Calibri" panose="020F0502020204030204" pitchFamily="34" charset="0"/>
                <a:cs typeface="Calibri" panose="020F0502020204030204" pitchFamily="34" charset="0"/>
              </a:defRPr>
            </a:lvl1pPr>
          </a:lstStyle>
          <a:p>
            <a:r>
              <a:rPr lang="en-GB" altLang="ja-JP">
                <a:solidFill>
                  <a:srgbClr val="A1A4AC"/>
                </a:solidFill>
              </a:rPr>
              <a:t>Long-term efficacy and safety of Takeda’s dengue vaccine candidate (TAK-003) after 4.5 years of follow-up | TBC | Approval date: March 2023</a:t>
            </a:r>
            <a:endParaRPr lang="ja-JP" altLang="en-US">
              <a:solidFill>
                <a:srgbClr val="A1A4AC"/>
              </a:solidFill>
            </a:endParaRPr>
          </a:p>
        </p:txBody>
      </p:sp>
      <p:sp>
        <p:nvSpPr>
          <p:cNvPr id="6" name="Text Placeholder 3">
            <a:extLst>
              <a:ext uri="{FF2B5EF4-FFF2-40B4-BE49-F238E27FC236}">
                <a16:creationId xmlns="" xmlns:a16="http://schemas.microsoft.com/office/drawing/2014/main" id="{B08CFEF5-24AE-495E-BBF3-2FCF473E5A90}"/>
              </a:ext>
            </a:extLst>
          </p:cNvPr>
          <p:cNvSpPr>
            <a:spLocks noGrp="1"/>
          </p:cNvSpPr>
          <p:nvPr>
            <p:ph type="body" sz="quarter" idx="14" hasCustomPrompt="1"/>
          </p:nvPr>
        </p:nvSpPr>
        <p:spPr>
          <a:xfrm>
            <a:off x="404820" y="4407711"/>
            <a:ext cx="7529513" cy="340519"/>
          </a:xfrm>
        </p:spPr>
        <p:txBody>
          <a:bodyPr anchor="b" anchorCtr="0">
            <a:noAutofit/>
          </a:bodyPr>
          <a:lstStyle>
            <a:lvl1pPr marL="0" indent="0">
              <a:spcBef>
                <a:spcPts val="0"/>
              </a:spcBef>
              <a:buFontTx/>
              <a:buNone/>
              <a:defRPr sz="700"/>
            </a:lvl1pPr>
          </a:lstStyle>
          <a:p>
            <a:pPr lvl="0"/>
            <a:r>
              <a:rPr lang="en-US"/>
              <a:t>Abbreviations and references</a:t>
            </a:r>
          </a:p>
        </p:txBody>
      </p:sp>
    </p:spTree>
    <p:extLst>
      <p:ext uri="{BB962C8B-B14F-4D97-AF65-F5344CB8AC3E}">
        <p14:creationId xmlns:p14="http://schemas.microsoft.com/office/powerpoint/2010/main" val="2448505656"/>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Blank w/ Title (Ligh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2791E102-F015-C78A-47B6-E9A6357A4664}"/>
              </a:ext>
            </a:extLst>
          </p:cNvPr>
          <p:cNvSpPr>
            <a:spLocks noGrp="1"/>
          </p:cNvSpPr>
          <p:nvPr>
            <p:ph type="title" hasCustomPrompt="1"/>
          </p:nvPr>
        </p:nvSpPr>
        <p:spPr/>
        <p:txBody>
          <a:bodyPr/>
          <a:lstStyle>
            <a:lvl1pPr>
              <a:defRPr>
                <a:solidFill>
                  <a:schemeClr val="tx2"/>
                </a:solidFill>
              </a:defRPr>
            </a:lvl1pPr>
          </a:lstStyle>
          <a:p>
            <a:r>
              <a:rPr lang="en-US"/>
              <a:t>Enter title here</a:t>
            </a:r>
            <a:endParaRPr lang="en-GB"/>
          </a:p>
        </p:txBody>
      </p:sp>
      <p:sp>
        <p:nvSpPr>
          <p:cNvPr id="3" name="Footer Placeholder 2">
            <a:extLst>
              <a:ext uri="{FF2B5EF4-FFF2-40B4-BE49-F238E27FC236}">
                <a16:creationId xmlns="" xmlns:a16="http://schemas.microsoft.com/office/drawing/2014/main" id="{D7FB5E98-4ADD-3B20-06BA-EA0D13A6542A}"/>
              </a:ext>
            </a:extLst>
          </p:cNvPr>
          <p:cNvSpPr>
            <a:spLocks noGrp="1"/>
          </p:cNvSpPr>
          <p:nvPr>
            <p:ph type="ftr" sz="quarter" idx="10"/>
          </p:nvPr>
        </p:nvSpPr>
        <p:spPr/>
        <p:txBody>
          <a:bodyPr/>
          <a:lstStyle/>
          <a:p>
            <a:r>
              <a:rPr lang="en-GB">
                <a:solidFill>
                  <a:srgbClr val="000000">
                    <a:tint val="75000"/>
                  </a:srgbClr>
                </a:solidFill>
              </a:rPr>
              <a:t>Long-term efficacy and safety of Takeda’s dengue vaccine candidate (TAK-003) after 4.5 years of follow-up | TBC | Approval date: March 2023</a:t>
            </a:r>
          </a:p>
        </p:txBody>
      </p:sp>
      <p:sp>
        <p:nvSpPr>
          <p:cNvPr id="4" name="Slide Number Placeholder 3">
            <a:extLst>
              <a:ext uri="{FF2B5EF4-FFF2-40B4-BE49-F238E27FC236}">
                <a16:creationId xmlns="" xmlns:a16="http://schemas.microsoft.com/office/drawing/2014/main" id="{A42EA920-1055-F026-0BE2-8DFAFD83F4F6}"/>
              </a:ext>
            </a:extLst>
          </p:cNvPr>
          <p:cNvSpPr>
            <a:spLocks noGrp="1"/>
          </p:cNvSpPr>
          <p:nvPr>
            <p:ph type="sldNum" sz="quarter" idx="11"/>
          </p:nvPr>
        </p:nvSpPr>
        <p:spPr/>
        <p:txBody>
          <a:bodyPr/>
          <a:lstStyle/>
          <a:p>
            <a:fld id="{6C2D6B06-1DB8-4E35-8DFF-019CD55AEF0F}" type="slidenum">
              <a:rPr lang="en-GB" smtClean="0">
                <a:solidFill>
                  <a:srgbClr val="A1A4AC"/>
                </a:solidFill>
              </a:rPr>
              <a:pPr/>
              <a:t>‹Nº›</a:t>
            </a:fld>
            <a:endParaRPr lang="en-GB">
              <a:solidFill>
                <a:srgbClr val="A1A4AC"/>
              </a:solidFill>
            </a:endParaRPr>
          </a:p>
        </p:txBody>
      </p:sp>
    </p:spTree>
    <p:extLst>
      <p:ext uri="{BB962C8B-B14F-4D97-AF65-F5344CB8AC3E}">
        <p14:creationId xmlns:p14="http://schemas.microsoft.com/office/powerpoint/2010/main" val="3923989492"/>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2_Standard 1-Column Text">
    <p:spTree>
      <p:nvGrpSpPr>
        <p:cNvPr id="1" name=""/>
        <p:cNvGrpSpPr/>
        <p:nvPr/>
      </p:nvGrpSpPr>
      <p:grpSpPr>
        <a:xfrm>
          <a:off x="0" y="0"/>
          <a:ext cx="0" cy="0"/>
          <a:chOff x="0" y="0"/>
          <a:chExt cx="0" cy="0"/>
        </a:xfrm>
      </p:grpSpPr>
      <p:pic>
        <p:nvPicPr>
          <p:cNvPr id="14" name="Picture 13" descr="Takeda">
            <a:extLst>
              <a:ext uri="{FF2B5EF4-FFF2-40B4-BE49-F238E27FC236}">
                <a16:creationId xmlns=""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09748" y="-1211"/>
            <a:ext cx="1272174" cy="705585"/>
          </a:xfrm>
          <a:prstGeom prst="rect">
            <a:avLst/>
          </a:prstGeom>
        </p:spPr>
      </p:pic>
      <p:sp>
        <p:nvSpPr>
          <p:cNvPr id="22" name="タイトル プレースホルダ 1">
            <a:extLst>
              <a:ext uri="{FF2B5EF4-FFF2-40B4-BE49-F238E27FC236}">
                <a16:creationId xmlns="" xmlns:a16="http://schemas.microsoft.com/office/drawing/2014/main" id="{86D2E5B8-9E2B-DB46-A55A-5F26569C4F99}"/>
              </a:ext>
            </a:extLst>
          </p:cNvPr>
          <p:cNvSpPr>
            <a:spLocks noGrp="1"/>
          </p:cNvSpPr>
          <p:nvPr>
            <p:ph type="title" hasCustomPrompt="1"/>
          </p:nvPr>
        </p:nvSpPr>
        <p:spPr>
          <a:xfrm>
            <a:off x="454559" y="121208"/>
            <a:ext cx="7455190" cy="51435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5" name="Rectangle 4">
            <a:extLst>
              <a:ext uri="{FF2B5EF4-FFF2-40B4-BE49-F238E27FC236}">
                <a16:creationId xmlns="" xmlns:a16="http://schemas.microsoft.com/office/drawing/2014/main" id="{12D1C143-C900-4302-B629-6C343D115039}"/>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55" tIns="34289" rIns="68555" bIns="34289" rtlCol="0" anchor="ctr"/>
          <a:lstStyle/>
          <a:p>
            <a:pPr algn="ctr" defTabSz="685511">
              <a:defRPr/>
            </a:pPr>
            <a:endParaRPr kumimoji="1" lang="x-none" sz="1400">
              <a:solidFill>
                <a:srgbClr val="E1242A"/>
              </a:solidFill>
            </a:endParaRPr>
          </a:p>
        </p:txBody>
      </p:sp>
      <p:sp>
        <p:nvSpPr>
          <p:cNvPr id="6" name="スライド番号プレースホルダ 5">
            <a:extLst>
              <a:ext uri="{FF2B5EF4-FFF2-40B4-BE49-F238E27FC236}">
                <a16:creationId xmlns="" xmlns:a16="http://schemas.microsoft.com/office/drawing/2014/main" id="{F97834FE-3404-479B-9513-039B29CD293C}"/>
              </a:ext>
            </a:extLst>
          </p:cNvPr>
          <p:cNvSpPr>
            <a:spLocks noGrp="1"/>
          </p:cNvSpPr>
          <p:nvPr>
            <p:ph type="sldNum" sz="quarter" idx="4"/>
          </p:nvPr>
        </p:nvSpPr>
        <p:spPr>
          <a:xfrm>
            <a:off x="233363" y="4867276"/>
            <a:ext cx="442392" cy="172074"/>
          </a:xfrm>
          <a:prstGeom prst="rect">
            <a:avLst/>
          </a:prstGeom>
        </p:spPr>
        <p:txBody>
          <a:bodyPr vert="horz" lIns="0" tIns="34283" rIns="0" bIns="34283" rtlCol="0" anchor="ctr"/>
          <a:lstStyle>
            <a:lvl1pPr algn="l">
              <a:defRPr sz="800" b="1" i="0">
                <a:solidFill>
                  <a:schemeClr val="tx1"/>
                </a:solidFill>
                <a:latin typeface="+mn-lt"/>
                <a:ea typeface="メイリオ" pitchFamily="50" charset="-128"/>
                <a:cs typeface="Calibri" panose="020F0502020204030204" pitchFamily="34" charset="0"/>
              </a:defRPr>
            </a:lvl1pPr>
          </a:lstStyle>
          <a:p>
            <a:pPr defTabSz="913725">
              <a:defRPr/>
            </a:pPr>
            <a:fld id="{E9B57936-92EF-4126-AE48-1D9D36D15E98}" type="slidenum">
              <a:rPr lang="ja-JP" altLang="en-US" smtClean="0">
                <a:solidFill>
                  <a:srgbClr val="34373F"/>
                </a:solidFill>
              </a:rPr>
              <a:pPr defTabSz="913725">
                <a:defRPr/>
              </a:pPr>
              <a:t>‹Nº›</a:t>
            </a:fld>
            <a:endParaRPr lang="ja-JP" altLang="en-US">
              <a:solidFill>
                <a:srgbClr val="34373F"/>
              </a:solidFill>
            </a:endParaRPr>
          </a:p>
        </p:txBody>
      </p:sp>
    </p:spTree>
    <p:extLst>
      <p:ext uri="{BB962C8B-B14F-4D97-AF65-F5344CB8AC3E}">
        <p14:creationId xmlns:p14="http://schemas.microsoft.com/office/powerpoint/2010/main" val="1154724434"/>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Standard 1-Column Text">
    <p:spTree>
      <p:nvGrpSpPr>
        <p:cNvPr id="1" name=""/>
        <p:cNvGrpSpPr/>
        <p:nvPr/>
      </p:nvGrpSpPr>
      <p:grpSpPr>
        <a:xfrm>
          <a:off x="0" y="0"/>
          <a:ext cx="0" cy="0"/>
          <a:chOff x="0" y="0"/>
          <a:chExt cx="0" cy="0"/>
        </a:xfrm>
      </p:grpSpPr>
      <p:sp>
        <p:nvSpPr>
          <p:cNvPr id="12" name="Text Placeholder 6">
            <a:extLst>
              <a:ext uri="{FF2B5EF4-FFF2-40B4-BE49-F238E27FC236}">
                <a16:creationId xmlns="" xmlns:a16="http://schemas.microsoft.com/office/drawing/2014/main" id="{FD2406EE-A554-5348-AE6D-4D8B343E6201}"/>
              </a:ext>
            </a:extLst>
          </p:cNvPr>
          <p:cNvSpPr>
            <a:spLocks noGrp="1"/>
          </p:cNvSpPr>
          <p:nvPr>
            <p:ph type="body" sz="quarter" idx="15" hasCustomPrompt="1"/>
          </p:nvPr>
        </p:nvSpPr>
        <p:spPr>
          <a:xfrm>
            <a:off x="233363" y="826793"/>
            <a:ext cx="8677275" cy="3996643"/>
          </a:xfrm>
          <a:prstGeom prst="rect">
            <a:avLst/>
          </a:prstGeom>
        </p:spPr>
        <p:txBody>
          <a:bodyPr tIns="0" rIns="0" bIns="0" numCol="1">
            <a:normAutofit/>
          </a:bodyPr>
          <a:lstStyle>
            <a:lvl1pPr marL="0" indent="0">
              <a:lnSpc>
                <a:spcPct val="100000"/>
              </a:lnSpc>
              <a:spcBef>
                <a:spcPts val="0"/>
              </a:spcBef>
              <a:spcAft>
                <a:spcPts val="450"/>
              </a:spcAft>
              <a:buFont typeface="Arial" panose="020B0604020202020204" pitchFamily="34" charset="0"/>
              <a:buNone/>
              <a:defRPr sz="1200" b="0">
                <a:solidFill>
                  <a:schemeClr val="tx1"/>
                </a:solidFill>
              </a:defRPr>
            </a:lvl1pPr>
            <a:lvl2pPr marL="342650" indent="0">
              <a:lnSpc>
                <a:spcPts val="1350"/>
              </a:lnSpc>
              <a:spcBef>
                <a:spcPts val="0"/>
              </a:spcBef>
              <a:buNone/>
              <a:defRPr sz="1100"/>
            </a:lvl2pPr>
            <a:lvl3pPr marL="685323" indent="0">
              <a:lnSpc>
                <a:spcPts val="1350"/>
              </a:lnSpc>
              <a:spcBef>
                <a:spcPts val="0"/>
              </a:spcBef>
              <a:buNone/>
              <a:defRPr sz="1100"/>
            </a:lvl3pPr>
            <a:lvl4pPr marL="1027980" indent="0">
              <a:lnSpc>
                <a:spcPts val="1350"/>
              </a:lnSpc>
              <a:spcBef>
                <a:spcPts val="0"/>
              </a:spcBef>
              <a:buNone/>
              <a:defRPr sz="1100"/>
            </a:lvl4pPr>
            <a:lvl5pPr marL="1370640" indent="0">
              <a:lnSpc>
                <a:spcPts val="1350"/>
              </a:lnSpc>
              <a:spcBef>
                <a:spcPts val="0"/>
              </a:spcBef>
              <a:buNone/>
              <a:defRPr sz="1100"/>
            </a:lvl5pPr>
          </a:lstStyle>
          <a:p>
            <a:pPr lvl="0"/>
            <a:r>
              <a:rPr lang="en-US"/>
              <a:t>This is a one-column layout. Click to add content</a:t>
            </a:r>
          </a:p>
        </p:txBody>
      </p:sp>
      <p:sp>
        <p:nvSpPr>
          <p:cNvPr id="22" name="タイトル プレースホルダ 1">
            <a:extLst>
              <a:ext uri="{FF2B5EF4-FFF2-40B4-BE49-F238E27FC236}">
                <a16:creationId xmlns="" xmlns:a16="http://schemas.microsoft.com/office/drawing/2014/main" id="{86D2E5B8-9E2B-DB46-A55A-5F26569C4F99}"/>
              </a:ext>
            </a:extLst>
          </p:cNvPr>
          <p:cNvSpPr>
            <a:spLocks noGrp="1"/>
          </p:cNvSpPr>
          <p:nvPr>
            <p:ph type="title" hasCustomPrompt="1"/>
          </p:nvPr>
        </p:nvSpPr>
        <p:spPr>
          <a:xfrm>
            <a:off x="454559" y="121208"/>
            <a:ext cx="7455190" cy="51435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a:extLst>
              <a:ext uri="{FF2B5EF4-FFF2-40B4-BE49-F238E27FC236}">
                <a16:creationId xmlns="" xmlns:a16="http://schemas.microsoft.com/office/drawing/2014/main" id="{51A4825E-63A1-564F-BC3A-FBC167ECE5EB}"/>
              </a:ext>
            </a:extLst>
          </p:cNvPr>
          <p:cNvSpPr>
            <a:spLocks noGrp="1"/>
          </p:cNvSpPr>
          <p:nvPr>
            <p:ph type="sldNum" sz="quarter" idx="4"/>
          </p:nvPr>
        </p:nvSpPr>
        <p:spPr>
          <a:xfrm>
            <a:off x="233363" y="4892251"/>
            <a:ext cx="221196" cy="147098"/>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3725"/>
            <a:fld id="{E9B57936-92EF-4126-AE48-1D9D36D15E98}" type="slidenum">
              <a:rPr lang="ja-JP" altLang="en-US" smtClean="0">
                <a:solidFill>
                  <a:srgbClr val="000000"/>
                </a:solidFill>
              </a:rPr>
              <a:pPr defTabSz="913725"/>
              <a:t>‹Nº›</a:t>
            </a:fld>
            <a:endParaRPr lang="ja-JP" altLang="en-US">
              <a:solidFill>
                <a:srgbClr val="000000"/>
              </a:solidFill>
            </a:endParaRPr>
          </a:p>
        </p:txBody>
      </p:sp>
      <p:sp>
        <p:nvSpPr>
          <p:cNvPr id="21" name="Rectangle 20">
            <a:extLst>
              <a:ext uri="{FF2B5EF4-FFF2-40B4-BE49-F238E27FC236}">
                <a16:creationId xmlns="" xmlns:a16="http://schemas.microsoft.com/office/drawing/2014/main" id="{FCF9CDB0-5730-E246-B31F-F5963CF8EFDC}"/>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55" tIns="34289" rIns="68555" bIns="34289" rtlCol="0" anchor="ctr"/>
          <a:lstStyle/>
          <a:p>
            <a:pPr algn="ctr" defTabSz="912690"/>
            <a:endParaRPr kumimoji="1" lang="x-none">
              <a:solidFill>
                <a:srgbClr val="E1242A"/>
              </a:solidFill>
            </a:endParaRPr>
          </a:p>
        </p:txBody>
      </p:sp>
      <p:pic>
        <p:nvPicPr>
          <p:cNvPr id="9" name="Picture 8">
            <a:extLst>
              <a:ext uri="{FF2B5EF4-FFF2-40B4-BE49-F238E27FC236}">
                <a16:creationId xmlns="" xmlns:a16="http://schemas.microsoft.com/office/drawing/2014/main" id="{2F85A9C0-408D-409A-9C66-EC94F1A7CAE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937746" y="4604928"/>
            <a:ext cx="1008126" cy="603504"/>
          </a:xfrm>
          <a:prstGeom prst="rect">
            <a:avLst/>
          </a:prstGeom>
        </p:spPr>
      </p:pic>
      <p:pic>
        <p:nvPicPr>
          <p:cNvPr id="11" name="Picture 12" descr="Takeda_Logo_Pos_RGB.emf">
            <a:extLst>
              <a:ext uri="{FF2B5EF4-FFF2-40B4-BE49-F238E27FC236}">
                <a16:creationId xmlns="" xmlns:a16="http://schemas.microsoft.com/office/drawing/2014/main" id="{D1FC7823-0381-4A75-A618-7FD9A985CE9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auto">
          <a:xfrm>
            <a:off x="7975658" y="233604"/>
            <a:ext cx="772806" cy="259904"/>
          </a:xfrm>
          <a:prstGeom prst="rect">
            <a:avLst/>
          </a:prstGeom>
          <a:noFill/>
          <a:ln w="9525">
            <a:noFill/>
            <a:miter lim="800000"/>
            <a:headEnd/>
            <a:tailEnd/>
          </a:ln>
        </p:spPr>
      </p:pic>
    </p:spTree>
    <p:extLst>
      <p:ext uri="{BB962C8B-B14F-4D97-AF65-F5344CB8AC3E}">
        <p14:creationId xmlns:p14="http://schemas.microsoft.com/office/powerpoint/2010/main" val="2006912062"/>
      </p:ext>
    </p:extLst>
  </p:cSld>
  <p:clrMapOvr>
    <a:masterClrMapping/>
  </p:clrMapOvr>
  <p:transition spd="slow">
    <p:push dir="u"/>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5" name="Title 4"/>
          <p:cNvSpPr>
            <a:spLocks noGrp="1"/>
          </p:cNvSpPr>
          <p:nvPr>
            <p:ph type="title"/>
          </p:nvPr>
        </p:nvSpPr>
        <p:spPr>
          <a:xfrm>
            <a:off x="365133" y="221107"/>
            <a:ext cx="7577139" cy="253916"/>
          </a:xfrm>
        </p:spPr>
        <p:txBody>
          <a:bodyPr/>
          <a:lstStyle/>
          <a:p>
            <a:r>
              <a:rPr lang="en-US"/>
              <a:t>Click to edit Master title style</a:t>
            </a:r>
            <a:endParaRPr lang="en-GB"/>
          </a:p>
        </p:txBody>
      </p:sp>
      <p:sp>
        <p:nvSpPr>
          <p:cNvPr id="16" name="Content Placeholder 15"/>
          <p:cNvSpPr>
            <a:spLocks noGrp="1"/>
          </p:cNvSpPr>
          <p:nvPr>
            <p:ph sz="quarter" idx="12"/>
          </p:nvPr>
        </p:nvSpPr>
        <p:spPr>
          <a:xfrm>
            <a:off x="365137" y="897117"/>
            <a:ext cx="8423275" cy="349391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2"/>
          <p:cNvSpPr>
            <a:spLocks noGrp="1"/>
          </p:cNvSpPr>
          <p:nvPr>
            <p:ph type="body" sz="quarter" idx="14" hasCustomPrompt="1"/>
          </p:nvPr>
        </p:nvSpPr>
        <p:spPr>
          <a:xfrm>
            <a:off x="365124" y="519477"/>
            <a:ext cx="7597776" cy="176213"/>
          </a:xfrm>
        </p:spPr>
        <p:txBody>
          <a:bodyPr anchor="t" anchorCtr="0"/>
          <a:lstStyle>
            <a:lvl1pPr marL="0" indent="0">
              <a:spcAft>
                <a:spcPts val="0"/>
              </a:spcAft>
              <a:buNone/>
              <a:defRPr sz="1350"/>
            </a:lvl1pPr>
            <a:lvl2pPr marL="203597" indent="0">
              <a:buNone/>
              <a:defRPr/>
            </a:lvl2pPr>
            <a:lvl3pPr marL="400050" indent="0">
              <a:buNone/>
              <a:defRPr/>
            </a:lvl3pPr>
            <a:lvl4pPr marL="611981" indent="0">
              <a:buNone/>
              <a:defRPr/>
            </a:lvl4pPr>
            <a:lvl5pPr marL="828675" indent="0">
              <a:buNone/>
              <a:defRPr/>
            </a:lvl5pPr>
          </a:lstStyle>
          <a:p>
            <a:pPr lvl="0"/>
            <a:r>
              <a:rPr lang="en-US"/>
              <a:t>Subtitle here if required</a:t>
            </a:r>
          </a:p>
        </p:txBody>
      </p:sp>
      <p:sp>
        <p:nvSpPr>
          <p:cNvPr id="9" name="Slide Number Placeholder 8"/>
          <p:cNvSpPr>
            <a:spLocks noGrp="1"/>
          </p:cNvSpPr>
          <p:nvPr>
            <p:ph type="sldNum" sz="quarter" idx="17"/>
          </p:nvPr>
        </p:nvSpPr>
        <p:spPr/>
        <p:txBody>
          <a:bodyPr/>
          <a:lstStyle/>
          <a:p>
            <a:fld id="{9F9F533D-B52E-4A2F-BF72-0ADD2D94BD75}" type="slidenum">
              <a:rPr lang="en-GB" smtClean="0">
                <a:solidFill>
                  <a:srgbClr val="9A8B7D"/>
                </a:solidFill>
              </a:rPr>
              <a:pPr/>
              <a:t>‹Nº›</a:t>
            </a:fld>
            <a:endParaRPr lang="en-GB">
              <a:solidFill>
                <a:srgbClr val="9A8B7D"/>
              </a:solidFill>
            </a:endParaRPr>
          </a:p>
        </p:txBody>
      </p:sp>
      <p:sp>
        <p:nvSpPr>
          <p:cNvPr id="11" name="Text Placeholder 6"/>
          <p:cNvSpPr>
            <a:spLocks noGrp="1"/>
          </p:cNvSpPr>
          <p:nvPr>
            <p:ph type="body" sz="quarter" idx="19" hasCustomPrompt="1"/>
          </p:nvPr>
        </p:nvSpPr>
        <p:spPr>
          <a:xfrm>
            <a:off x="358900" y="4827991"/>
            <a:ext cx="8043863" cy="297000"/>
          </a:xfrm>
        </p:spPr>
        <p:txBody>
          <a:bodyPr/>
          <a:lstStyle>
            <a:lvl1pPr marL="0" indent="0">
              <a:buNone/>
              <a:defRPr sz="600" baseline="0"/>
            </a:lvl1pPr>
          </a:lstStyle>
          <a:p>
            <a:pPr lvl="0"/>
            <a:r>
              <a:rPr lang="en-US"/>
              <a:t>Click to add references here</a:t>
            </a:r>
          </a:p>
        </p:txBody>
      </p:sp>
      <p:sp>
        <p:nvSpPr>
          <p:cNvPr id="12" name="Text Placeholder 5"/>
          <p:cNvSpPr>
            <a:spLocks noGrp="1"/>
          </p:cNvSpPr>
          <p:nvPr>
            <p:ph type="body" sz="quarter" idx="18" hasCustomPrompt="1"/>
          </p:nvPr>
        </p:nvSpPr>
        <p:spPr>
          <a:xfrm>
            <a:off x="360944" y="4451293"/>
            <a:ext cx="8445820" cy="239383"/>
          </a:xfrm>
        </p:spPr>
        <p:txBody>
          <a:bodyPr wrap="square" anchor="b" anchorCtr="0">
            <a:noAutofit/>
          </a:bodyPr>
          <a:lstStyle>
            <a:lvl1pPr marL="0" indent="0">
              <a:buNone/>
              <a:defRPr sz="750" baseline="0"/>
            </a:lvl1pPr>
            <a:lvl2pPr marL="201122" indent="0">
              <a:buNone/>
              <a:defRPr sz="600"/>
            </a:lvl2pPr>
            <a:lvl3pPr marL="405000" indent="0">
              <a:buNone/>
              <a:defRPr sz="600"/>
            </a:lvl3pPr>
            <a:lvl4pPr marL="608316" indent="0">
              <a:buNone/>
              <a:defRPr sz="600"/>
            </a:lvl4pPr>
            <a:lvl5pPr marL="810000" indent="0">
              <a:buNone/>
              <a:defRPr sz="600"/>
            </a:lvl5pPr>
          </a:lstStyle>
          <a:p>
            <a:pPr lvl="0"/>
            <a:r>
              <a:rPr lang="en-US"/>
              <a:t>Insert Source text here</a:t>
            </a:r>
          </a:p>
        </p:txBody>
      </p:sp>
    </p:spTree>
    <p:extLst>
      <p:ext uri="{BB962C8B-B14F-4D97-AF65-F5344CB8AC3E}">
        <p14:creationId xmlns:p14="http://schemas.microsoft.com/office/powerpoint/2010/main" val="764840350"/>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kumimoji="0" lang="es-ES" smtClean="0"/>
              <a:t>Haga clic para modificar el estilo de título del patrón</a:t>
            </a:r>
            <a:endParaRPr kumimoji="0" lang="en-US"/>
          </a:p>
        </p:txBody>
      </p:sp>
      <p:sp>
        <p:nvSpPr>
          <p:cNvPr id="3" name="2 Marcador de contenido"/>
          <p:cNvSpPr>
            <a:spLocks noGrp="1"/>
          </p:cNvSpPr>
          <p:nvPr>
            <p:ph idx="1"/>
          </p:nvPr>
        </p:nvSpPr>
        <p:spPr/>
        <p:txBody>
          <a:bodyPr/>
          <a:lstStyle/>
          <a:p>
            <a:pPr lvl="0" eaLnBrk="1" latinLnBrk="0" hangingPunct="1"/>
            <a:r>
              <a:rPr lang="es-ES" smtClean="0"/>
              <a:t>Haga clic para modificar el estilo de texto del patrón</a:t>
            </a:r>
          </a:p>
          <a:p>
            <a:pPr lvl="1" eaLnBrk="1" latinLnBrk="0" hangingPunct="1"/>
            <a:r>
              <a:rPr lang="es-ES" smtClean="0"/>
              <a:t>Segundo nivel</a:t>
            </a:r>
          </a:p>
          <a:p>
            <a:pPr lvl="2" eaLnBrk="1" latinLnBrk="0" hangingPunct="1"/>
            <a:r>
              <a:rPr lang="es-ES" smtClean="0"/>
              <a:t>Tercer nivel</a:t>
            </a:r>
          </a:p>
          <a:p>
            <a:pPr lvl="3" eaLnBrk="1" latinLnBrk="0" hangingPunct="1"/>
            <a:r>
              <a:rPr lang="es-ES" smtClean="0"/>
              <a:t>Cuarto nivel</a:t>
            </a:r>
          </a:p>
          <a:p>
            <a:pPr lvl="4" eaLnBrk="1" latinLnBrk="0" hangingPunct="1"/>
            <a:r>
              <a:rPr lang="es-ES" smtClean="0"/>
              <a:t>Quinto nivel</a:t>
            </a:r>
            <a:endParaRPr kumimoji="0" lang="en-US"/>
          </a:p>
        </p:txBody>
      </p:sp>
      <p:sp>
        <p:nvSpPr>
          <p:cNvPr id="4" name="3 Marcador de fecha"/>
          <p:cNvSpPr>
            <a:spLocks noGrp="1"/>
          </p:cNvSpPr>
          <p:nvPr>
            <p:ph type="dt" sz="half" idx="10"/>
          </p:nvPr>
        </p:nvSpPr>
        <p:spPr>
          <a:xfrm>
            <a:off x="6586536" y="459486"/>
            <a:ext cx="957264" cy="342900"/>
          </a:xfrm>
          <a:prstGeom prst="rect">
            <a:avLst/>
          </a:prstGeom>
        </p:spPr>
        <p:txBody>
          <a:bodyPr lIns="91430" tIns="45715" rIns="91430" bIns="45715"/>
          <a:lstStyle/>
          <a:p>
            <a:pPr defTabSz="912690"/>
            <a:fld id="{32099F8F-6F72-4552-9675-E6A73B760289}" type="datetimeFigureOut">
              <a:rPr lang="es-AR" smtClean="0">
                <a:solidFill>
                  <a:srgbClr val="438086"/>
                </a:solidFill>
              </a:rPr>
              <a:pPr defTabSz="912690"/>
              <a:t>7/8/2024</a:t>
            </a:fld>
            <a:endParaRPr lang="es-AR">
              <a:solidFill>
                <a:srgbClr val="438086"/>
              </a:solidFill>
            </a:endParaRPr>
          </a:p>
        </p:txBody>
      </p:sp>
      <p:sp>
        <p:nvSpPr>
          <p:cNvPr id="5" name="4 Marcador de pie de página"/>
          <p:cNvSpPr>
            <a:spLocks noGrp="1"/>
          </p:cNvSpPr>
          <p:nvPr>
            <p:ph type="ftr" sz="quarter" idx="11"/>
          </p:nvPr>
        </p:nvSpPr>
        <p:spPr/>
        <p:txBody>
          <a:bodyPr/>
          <a:lstStyle/>
          <a:p>
            <a:endParaRPr lang="es-AR">
              <a:solidFill>
                <a:srgbClr val="438086"/>
              </a:solidFill>
            </a:endParaRPr>
          </a:p>
        </p:txBody>
      </p:sp>
      <p:sp>
        <p:nvSpPr>
          <p:cNvPr id="6" name="5 Marcador de número de diapositiva"/>
          <p:cNvSpPr>
            <a:spLocks noGrp="1"/>
          </p:cNvSpPr>
          <p:nvPr>
            <p:ph type="sldNum" sz="quarter" idx="12"/>
          </p:nvPr>
        </p:nvSpPr>
        <p:spPr/>
        <p:txBody>
          <a:bodyPr/>
          <a:lstStyle/>
          <a:p>
            <a:fld id="{2F20CBE2-B0F0-4F11-A5D6-860EBEE691F4}" type="slidenum">
              <a:rPr lang="es-AR" smtClean="0">
                <a:solidFill>
                  <a:srgbClr val="A1A4AC"/>
                </a:solidFill>
              </a:rPr>
              <a:pPr/>
              <a:t>‹Nº›</a:t>
            </a:fld>
            <a:endParaRPr lang="es-AR">
              <a:solidFill>
                <a:srgbClr val="A1A4AC"/>
              </a:solidFill>
            </a:endParaRPr>
          </a:p>
        </p:txBody>
      </p:sp>
    </p:spTree>
    <p:extLst>
      <p:ext uri="{BB962C8B-B14F-4D97-AF65-F5344CB8AC3E}">
        <p14:creationId xmlns:p14="http://schemas.microsoft.com/office/powerpoint/2010/main" val="1082679000"/>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1_SAG/OE Title only">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C1AE710-910A-45E8-987A-33B7FB043BE5}"/>
              </a:ext>
            </a:extLst>
          </p:cNvPr>
          <p:cNvSpPr>
            <a:spLocks noGrp="1"/>
          </p:cNvSpPr>
          <p:nvPr>
            <p:ph type="title"/>
          </p:nvPr>
        </p:nvSpPr>
        <p:spPr>
          <a:xfrm>
            <a:off x="454558" y="121208"/>
            <a:ext cx="8330390" cy="514351"/>
          </a:xfrm>
        </p:spPr>
        <p:txBody>
          <a:bodyPr>
            <a:normAutofit/>
          </a:bodyPr>
          <a:lstStyle>
            <a:lvl1pPr>
              <a:lnSpc>
                <a:spcPct val="100000"/>
              </a:lnSpc>
              <a:defRPr sz="2100"/>
            </a:lvl1pPr>
          </a:lstStyle>
          <a:p>
            <a:r>
              <a:rPr lang="en-US"/>
              <a:t>Click to edit Master title style</a:t>
            </a:r>
            <a:endParaRPr lang="en-GB"/>
          </a:p>
        </p:txBody>
      </p:sp>
      <p:sp>
        <p:nvSpPr>
          <p:cNvPr id="4" name="Rectangle 3">
            <a:extLst>
              <a:ext uri="{FF2B5EF4-FFF2-40B4-BE49-F238E27FC236}">
                <a16:creationId xmlns="" xmlns:a16="http://schemas.microsoft.com/office/drawing/2014/main" id="{8230ECF3-B977-4019-87B2-D64E68C02BAD}"/>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lIns="68567" tIns="34289" rIns="68567" bIns="34289" rtlCol="0" anchor="ctr"/>
          <a:lstStyle/>
          <a:p>
            <a:pPr algn="ctr" defTabSz="685647"/>
            <a:endParaRPr kumimoji="1" lang="x-none" sz="1400">
              <a:solidFill>
                <a:srgbClr val="E1242A"/>
              </a:solidFill>
            </a:endParaRPr>
          </a:p>
        </p:txBody>
      </p:sp>
      <p:sp>
        <p:nvSpPr>
          <p:cNvPr id="7" name="Slide Number Placeholder 2">
            <a:extLst>
              <a:ext uri="{FF2B5EF4-FFF2-40B4-BE49-F238E27FC236}">
                <a16:creationId xmlns="" xmlns:a16="http://schemas.microsoft.com/office/drawing/2014/main" id="{3ECFC6FE-29FD-4627-9DF7-EBE2B7531CED}"/>
              </a:ext>
            </a:extLst>
          </p:cNvPr>
          <p:cNvSpPr>
            <a:spLocks noGrp="1"/>
          </p:cNvSpPr>
          <p:nvPr>
            <p:ph type="sldNum" sz="quarter" idx="4"/>
          </p:nvPr>
        </p:nvSpPr>
        <p:spPr>
          <a:xfrm>
            <a:off x="8844587" y="26391"/>
            <a:ext cx="309438" cy="274272"/>
          </a:xfrm>
          <a:prstGeom prst="rect">
            <a:avLst/>
          </a:prstGeom>
        </p:spPr>
        <p:txBody>
          <a:bodyPr anchor="ctr"/>
          <a:lstStyle>
            <a:lvl1pPr algn="ctr">
              <a:defRPr sz="900" b="1">
                <a:solidFill>
                  <a:srgbClr val="FF0000"/>
                </a:solidFill>
                <a:latin typeface="+mj-lt"/>
              </a:defRPr>
            </a:lvl1pPr>
          </a:lstStyle>
          <a:p>
            <a:pPr defTabSz="913905"/>
            <a:fld id="{E9B57936-92EF-4126-AE48-1D9D36D15E98}" type="slidenum">
              <a:rPr lang="ja-JP" altLang="en-US" smtClean="0"/>
              <a:pPr defTabSz="913905"/>
              <a:t>‹Nº›</a:t>
            </a:fld>
            <a:endParaRPr lang="ja-JP" altLang="en-US"/>
          </a:p>
        </p:txBody>
      </p:sp>
      <p:pic>
        <p:nvPicPr>
          <p:cNvPr id="5" name="Picture 4" descr="Takeda">
            <a:extLst>
              <a:ext uri="{FF2B5EF4-FFF2-40B4-BE49-F238E27FC236}">
                <a16:creationId xmlns="" xmlns:a16="http://schemas.microsoft.com/office/drawing/2014/main" id="{AB86B1F6-5D85-CD4E-A0A7-44787B0FAB6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31882" y="4724106"/>
            <a:ext cx="841292" cy="466606"/>
          </a:xfrm>
          <a:prstGeom prst="rect">
            <a:avLst/>
          </a:prstGeom>
        </p:spPr>
      </p:pic>
      <p:sp>
        <p:nvSpPr>
          <p:cNvPr id="8" name="TextBox 7">
            <a:extLst>
              <a:ext uri="{FF2B5EF4-FFF2-40B4-BE49-F238E27FC236}">
                <a16:creationId xmlns="" xmlns:a16="http://schemas.microsoft.com/office/drawing/2014/main" id="{F1C45704-C894-D1E7-70F3-E96451E02933}"/>
              </a:ext>
            </a:extLst>
          </p:cNvPr>
          <p:cNvSpPr txBox="1"/>
          <p:nvPr userDrawn="1"/>
        </p:nvSpPr>
        <p:spPr>
          <a:xfrm>
            <a:off x="391354" y="4953683"/>
            <a:ext cx="1474202" cy="161583"/>
          </a:xfrm>
          <a:prstGeom prst="rect">
            <a:avLst/>
          </a:prstGeom>
          <a:noFill/>
        </p:spPr>
        <p:txBody>
          <a:bodyPr wrap="none" lIns="68567" tIns="34289" rIns="68567" bIns="34289" rtlCol="0">
            <a:spAutoFit/>
          </a:bodyPr>
          <a:lstStyle/>
          <a:p>
            <a:pPr defTabSz="685647">
              <a:defRPr/>
            </a:pPr>
            <a:r>
              <a:rPr lang="en-US" sz="600">
                <a:solidFill>
                  <a:srgbClr val="34373F"/>
                </a:solidFill>
              </a:rPr>
              <a:t>Private and confidential. Do not distribute.</a:t>
            </a:r>
          </a:p>
        </p:txBody>
      </p:sp>
    </p:spTree>
    <p:extLst>
      <p:ext uri="{BB962C8B-B14F-4D97-AF65-F5344CB8AC3E}">
        <p14:creationId xmlns:p14="http://schemas.microsoft.com/office/powerpoint/2010/main" val="1043393146"/>
      </p:ext>
    </p:extLst>
  </p:cSld>
  <p:clrMapOvr>
    <a:masterClrMapping/>
  </p:clrMapOvr>
  <p:transition spd="slow">
    <p:push dir="u"/>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xmlns="" id="{E02383DA-65B3-044E-9E1B-2CC00A0B1CC6}"/>
              </a:ext>
            </a:extLst>
          </p:cNvPr>
          <p:cNvSpPr>
            <a:spLocks noGrp="1"/>
          </p:cNvSpPr>
          <p:nvPr>
            <p:ph type="ctrTitle" hasCustomPrompt="1"/>
          </p:nvPr>
        </p:nvSpPr>
        <p:spPr>
          <a:xfrm>
            <a:off x="896048" y="1727273"/>
            <a:ext cx="3266048" cy="844477"/>
          </a:xfrm>
          <a:prstGeom prst="rect">
            <a:avLst/>
          </a:prstGeom>
        </p:spPr>
        <p:txBody>
          <a:bodyPr wrap="square" lIns="0" tIns="0" rIns="0" bIns="0" anchor="t" anchorCtr="0">
            <a:normAutofit/>
          </a:bodyPr>
          <a:lstStyle>
            <a:lvl1pPr>
              <a:lnSpc>
                <a:spcPts val="2850"/>
              </a:lnSpc>
              <a:defRPr sz="2700" b="1" i="0" baseline="0">
                <a:solidFill>
                  <a:schemeClr val="tx1"/>
                </a:solidFill>
                <a:latin typeface="Calibri" panose="020F0502020204030204" pitchFamily="34" charset="0"/>
                <a:ea typeface="メイリオ" pitchFamily="50" charset="-128"/>
                <a:cs typeface="Calibri" pitchFamily="34" charset="0"/>
              </a:defRPr>
            </a:lvl1pPr>
          </a:lstStyle>
          <a:p>
            <a:r>
              <a:rPr lang="en-GB" dirty="0"/>
              <a:t>Click to add title</a:t>
            </a:r>
          </a:p>
        </p:txBody>
      </p:sp>
      <p:sp>
        <p:nvSpPr>
          <p:cNvPr id="20" name="Picture Placeholder 3">
            <a:extLst>
              <a:ext uri="{FF2B5EF4-FFF2-40B4-BE49-F238E27FC236}">
                <a16:creationId xmlns:a16="http://schemas.microsoft.com/office/drawing/2014/main" xmlns="" id="{902F3095-EA6E-F94A-AF04-18ED691DEB75}"/>
              </a:ext>
            </a:extLst>
          </p:cNvPr>
          <p:cNvSpPr>
            <a:spLocks noGrp="1"/>
          </p:cNvSpPr>
          <p:nvPr>
            <p:ph type="pic" sz="quarter" idx="17"/>
          </p:nvPr>
        </p:nvSpPr>
        <p:spPr>
          <a:xfrm>
            <a:off x="4399885" y="282136"/>
            <a:ext cx="4744900" cy="4581401"/>
          </a:xfrm>
          <a:custGeom>
            <a:avLst/>
            <a:gdLst>
              <a:gd name="connsiteX0" fmla="*/ 0 w 6462532"/>
              <a:gd name="connsiteY0" fmla="*/ 3052818 h 6105636"/>
              <a:gd name="connsiteX1" fmla="*/ 3052818 w 6462532"/>
              <a:gd name="connsiteY1" fmla="*/ 0 h 6105636"/>
              <a:gd name="connsiteX2" fmla="*/ 3409714 w 6462532"/>
              <a:gd name="connsiteY2" fmla="*/ 0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309764"/>
              <a:gd name="connsiteY0" fmla="*/ 3060215 h 6113033"/>
              <a:gd name="connsiteX1" fmla="*/ 3052818 w 7309764"/>
              <a:gd name="connsiteY1" fmla="*/ 7397 h 6113033"/>
              <a:gd name="connsiteX2" fmla="*/ 6592752 w 7309764"/>
              <a:gd name="connsiteY2" fmla="*/ 53695 h 6113033"/>
              <a:gd name="connsiteX3" fmla="*/ 6462532 w 7309764"/>
              <a:gd name="connsiteY3" fmla="*/ 3060215 h 6113033"/>
              <a:gd name="connsiteX4" fmla="*/ 6462532 w 7309764"/>
              <a:gd name="connsiteY4" fmla="*/ 3060215 h 6113033"/>
              <a:gd name="connsiteX5" fmla="*/ 3409714 w 7309764"/>
              <a:gd name="connsiteY5" fmla="*/ 6113033 h 6113033"/>
              <a:gd name="connsiteX6" fmla="*/ 3052818 w 7309764"/>
              <a:gd name="connsiteY6" fmla="*/ 6113033 h 6113033"/>
              <a:gd name="connsiteX7" fmla="*/ 0 w 7309764"/>
              <a:gd name="connsiteY7" fmla="*/ 3060215 h 6113033"/>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6750471"/>
              <a:gd name="connsiteY0" fmla="*/ 3052818 h 6105636"/>
              <a:gd name="connsiteX1" fmla="*/ 3052818 w 6750471"/>
              <a:gd name="connsiteY1" fmla="*/ 0 h 6105636"/>
              <a:gd name="connsiteX2" fmla="*/ 6395982 w 6750471"/>
              <a:gd name="connsiteY2" fmla="*/ 11574 h 6105636"/>
              <a:gd name="connsiteX3" fmla="*/ 6462532 w 6750471"/>
              <a:gd name="connsiteY3" fmla="*/ 3052818 h 6105636"/>
              <a:gd name="connsiteX4" fmla="*/ 6462532 w 6750471"/>
              <a:gd name="connsiteY4" fmla="*/ 3052818 h 6105636"/>
              <a:gd name="connsiteX5" fmla="*/ 3409714 w 6750471"/>
              <a:gd name="connsiteY5" fmla="*/ 6105636 h 6105636"/>
              <a:gd name="connsiteX6" fmla="*/ 3052818 w 6750471"/>
              <a:gd name="connsiteY6" fmla="*/ 6105636 h 6105636"/>
              <a:gd name="connsiteX7" fmla="*/ 0 w 6750471"/>
              <a:gd name="connsiteY7" fmla="*/ 3052818 h 6105636"/>
              <a:gd name="connsiteX0" fmla="*/ 0 w 6462532"/>
              <a:gd name="connsiteY0" fmla="*/ 3052818 h 6105636"/>
              <a:gd name="connsiteX1" fmla="*/ 3052818 w 6462532"/>
              <a:gd name="connsiteY1" fmla="*/ 0 h 6105636"/>
              <a:gd name="connsiteX2" fmla="*/ 6395982 w 6462532"/>
              <a:gd name="connsiteY2" fmla="*/ 11574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6462532 w 6477004"/>
              <a:gd name="connsiteY4" fmla="*/ 3052819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5756477 w 6477004"/>
              <a:gd name="connsiteY4" fmla="*/ 3018095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3409714 w 6477004"/>
              <a:gd name="connsiteY4" fmla="*/ 6105637 h 6105637"/>
              <a:gd name="connsiteX5" fmla="*/ 3052818 w 6477004"/>
              <a:gd name="connsiteY5" fmla="*/ 6105637 h 6105637"/>
              <a:gd name="connsiteX6" fmla="*/ 0 w 6477004"/>
              <a:gd name="connsiteY6" fmla="*/ 3052819 h 6105637"/>
              <a:gd name="connsiteX0" fmla="*/ 0 w 6477004"/>
              <a:gd name="connsiteY0" fmla="*/ 3052819 h 6108535"/>
              <a:gd name="connsiteX1" fmla="*/ 3052818 w 6477004"/>
              <a:gd name="connsiteY1" fmla="*/ 1 h 6108535"/>
              <a:gd name="connsiteX2" fmla="*/ 6477004 w 6477004"/>
              <a:gd name="connsiteY2" fmla="*/ 0 h 6108535"/>
              <a:gd name="connsiteX3" fmla="*/ 6462532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477004"/>
              <a:gd name="connsiteY0" fmla="*/ 3052819 h 6108535"/>
              <a:gd name="connsiteX1" fmla="*/ 3052818 w 6477004"/>
              <a:gd name="connsiteY1" fmla="*/ 1 h 6108535"/>
              <a:gd name="connsiteX2" fmla="*/ 6477004 w 6477004"/>
              <a:gd name="connsiteY2" fmla="*/ 0 h 6108535"/>
              <a:gd name="connsiteX3" fmla="*/ 6323635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326533"/>
              <a:gd name="connsiteY0" fmla="*/ 3052819 h 6108535"/>
              <a:gd name="connsiteX1" fmla="*/ 3052818 w 6326533"/>
              <a:gd name="connsiteY1" fmla="*/ 1 h 6108535"/>
              <a:gd name="connsiteX2" fmla="*/ 6326533 w 6326533"/>
              <a:gd name="connsiteY2" fmla="*/ 0 h 6108535"/>
              <a:gd name="connsiteX3" fmla="*/ 6323635 w 6326533"/>
              <a:gd name="connsiteY3" fmla="*/ 6108535 h 6108535"/>
              <a:gd name="connsiteX4" fmla="*/ 3409714 w 6326533"/>
              <a:gd name="connsiteY4" fmla="*/ 6105637 h 6108535"/>
              <a:gd name="connsiteX5" fmla="*/ 3052818 w 6326533"/>
              <a:gd name="connsiteY5" fmla="*/ 6105637 h 6108535"/>
              <a:gd name="connsiteX6" fmla="*/ 0 w 6326533"/>
              <a:gd name="connsiteY6" fmla="*/ 3052819 h 61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26533" h="6108535">
                <a:moveTo>
                  <a:pt x="0" y="3052819"/>
                </a:moveTo>
                <a:cubicBezTo>
                  <a:pt x="0" y="1366794"/>
                  <a:pt x="1366793" y="1"/>
                  <a:pt x="3052818" y="1"/>
                </a:cubicBezTo>
                <a:lnTo>
                  <a:pt x="6326533" y="0"/>
                </a:lnTo>
                <a:lnTo>
                  <a:pt x="6323635" y="6108535"/>
                </a:lnTo>
                <a:lnTo>
                  <a:pt x="3409714" y="6105637"/>
                </a:lnTo>
                <a:lnTo>
                  <a:pt x="3052818" y="6105637"/>
                </a:lnTo>
                <a:cubicBezTo>
                  <a:pt x="1366793" y="6105637"/>
                  <a:pt x="0" y="4738844"/>
                  <a:pt x="0" y="3052819"/>
                </a:cubicBezTo>
                <a:close/>
              </a:path>
            </a:pathLst>
          </a:custGeom>
          <a:noFill/>
        </p:spPr>
        <p:txBody>
          <a:bodyPr>
            <a:normAutofit/>
          </a:bodyPr>
          <a:lstStyle>
            <a:lvl1pPr marL="0" indent="0">
              <a:buNone/>
              <a:defRPr sz="1800">
                <a:solidFill>
                  <a:schemeClr val="bg1"/>
                </a:solidFill>
              </a:defRPr>
            </a:lvl1pPr>
          </a:lstStyle>
          <a:p>
            <a:r>
              <a:rPr lang="es-ES"/>
              <a:t>Haga clic en el icono para agregar una imagen</a:t>
            </a:r>
            <a:endParaRPr lang="en-US" dirty="0"/>
          </a:p>
        </p:txBody>
      </p:sp>
      <p:pic>
        <p:nvPicPr>
          <p:cNvPr id="9" name="Picture 8" descr="Takeda">
            <a:extLst>
              <a:ext uri="{FF2B5EF4-FFF2-40B4-BE49-F238E27FC236}">
                <a16:creationId xmlns:a16="http://schemas.microsoft.com/office/drawing/2014/main" xmlns="" id="{F83AE827-0C93-0344-8F1E-82C9D7F8CD5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80813" y="-8229"/>
            <a:ext cx="1688783" cy="936649"/>
          </a:xfrm>
          <a:prstGeom prst="rect">
            <a:avLst/>
          </a:prstGeom>
        </p:spPr>
      </p:pic>
      <p:pic>
        <p:nvPicPr>
          <p:cNvPr id="19" name="Picture 18">
            <a:extLst>
              <a:ext uri="{FF2B5EF4-FFF2-40B4-BE49-F238E27FC236}">
                <a16:creationId xmlns:a16="http://schemas.microsoft.com/office/drawing/2014/main" xmlns="" id="{C219044E-3CA3-8043-AF11-ED42DE4ECFF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96047" y="4775440"/>
            <a:ext cx="1468934" cy="88097"/>
          </a:xfrm>
          <a:prstGeom prst="rect">
            <a:avLst/>
          </a:prstGeom>
        </p:spPr>
      </p:pic>
      <p:sp>
        <p:nvSpPr>
          <p:cNvPr id="28" name="Rectangle 27">
            <a:extLst>
              <a:ext uri="{FF2B5EF4-FFF2-40B4-BE49-F238E27FC236}">
                <a16:creationId xmlns:a16="http://schemas.microsoft.com/office/drawing/2014/main" xmlns="" id="{92F9C2FE-7E43-3948-92F0-0CEA804BDBFE}"/>
              </a:ext>
            </a:extLst>
          </p:cNvPr>
          <p:cNvSpPr/>
          <p:nvPr userDrawn="1"/>
        </p:nvSpPr>
        <p:spPr>
          <a:xfrm>
            <a:off x="561754" y="1582684"/>
            <a:ext cx="72900" cy="20303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350" dirty="0">
              <a:solidFill>
                <a:srgbClr val="FFFFFF"/>
              </a:solidFill>
            </a:endParaRPr>
          </a:p>
        </p:txBody>
      </p:sp>
      <p:sp>
        <p:nvSpPr>
          <p:cNvPr id="29" name="Text Placeholder 2">
            <a:extLst>
              <a:ext uri="{FF2B5EF4-FFF2-40B4-BE49-F238E27FC236}">
                <a16:creationId xmlns:a16="http://schemas.microsoft.com/office/drawing/2014/main" xmlns="" id="{8F239D86-1AC3-1D48-9675-22CEFBB263F8}"/>
              </a:ext>
            </a:extLst>
          </p:cNvPr>
          <p:cNvSpPr>
            <a:spLocks noGrp="1"/>
          </p:cNvSpPr>
          <p:nvPr>
            <p:ph type="body" sz="quarter" idx="27" hasCustomPrompt="1"/>
          </p:nvPr>
        </p:nvSpPr>
        <p:spPr>
          <a:xfrm>
            <a:off x="896047" y="2876945"/>
            <a:ext cx="3266049" cy="175501"/>
          </a:xfrm>
          <a:prstGeom prst="rect">
            <a:avLst/>
          </a:prstGeom>
        </p:spPr>
        <p:txBody>
          <a:bodyPr lIns="0" tIns="0" rIns="0" bIns="0">
            <a:noAutofit/>
          </a:bodyPr>
          <a:lstStyle>
            <a:lvl1pPr marL="0" indent="0">
              <a:buNone/>
              <a:defRPr sz="1050" b="0" i="0">
                <a:solidFill>
                  <a:schemeClr val="tx1"/>
                </a:solidFill>
                <a:latin typeface="Calibri" panose="020F0502020204030204" pitchFamily="34" charset="0"/>
                <a:cs typeface="Calibri" panose="020F0502020204030204" pitchFamily="34" charset="0"/>
              </a:defRPr>
            </a:lvl1pPr>
            <a:lvl2pPr marL="342801" indent="0">
              <a:buNone/>
              <a:defRPr sz="1050">
                <a:solidFill>
                  <a:schemeClr val="tx1"/>
                </a:solidFill>
              </a:defRPr>
            </a:lvl2pPr>
            <a:lvl3pPr marL="685612" indent="0">
              <a:buNone/>
              <a:defRPr sz="1050">
                <a:solidFill>
                  <a:schemeClr val="tx1"/>
                </a:solidFill>
              </a:defRPr>
            </a:lvl3pPr>
            <a:lvl4pPr marL="1028414" indent="0">
              <a:buNone/>
              <a:defRPr sz="1050">
                <a:solidFill>
                  <a:schemeClr val="tx1"/>
                </a:solidFill>
              </a:defRPr>
            </a:lvl4pPr>
            <a:lvl5pPr marL="1371218" indent="0">
              <a:buNone/>
              <a:defRPr sz="1050">
                <a:solidFill>
                  <a:schemeClr val="tx1"/>
                </a:solidFill>
              </a:defRPr>
            </a:lvl5pPr>
          </a:lstStyle>
          <a:p>
            <a:pPr lvl="0"/>
            <a:r>
              <a:rPr lang="en-US" dirty="0"/>
              <a:t>Title of Position</a:t>
            </a:r>
          </a:p>
        </p:txBody>
      </p:sp>
      <p:sp>
        <p:nvSpPr>
          <p:cNvPr id="30" name="Text Placeholder 2">
            <a:extLst>
              <a:ext uri="{FF2B5EF4-FFF2-40B4-BE49-F238E27FC236}">
                <a16:creationId xmlns:a16="http://schemas.microsoft.com/office/drawing/2014/main" xmlns="" id="{91BF6710-27B9-2444-8317-2C64F0D30847}"/>
              </a:ext>
            </a:extLst>
          </p:cNvPr>
          <p:cNvSpPr>
            <a:spLocks noGrp="1"/>
          </p:cNvSpPr>
          <p:nvPr>
            <p:ph type="body" sz="quarter" idx="28" hasCustomPrompt="1"/>
          </p:nvPr>
        </p:nvSpPr>
        <p:spPr>
          <a:xfrm>
            <a:off x="896047" y="3071205"/>
            <a:ext cx="3266049" cy="175501"/>
          </a:xfrm>
          <a:prstGeom prst="rect">
            <a:avLst/>
          </a:prstGeom>
        </p:spPr>
        <p:txBody>
          <a:bodyPr lIns="0" tIns="0" rIns="0" bIns="0">
            <a:noAutofit/>
          </a:bodyPr>
          <a:lstStyle>
            <a:lvl1pPr marL="0" indent="0">
              <a:buNone/>
              <a:defRPr sz="1050" b="0" i="0">
                <a:solidFill>
                  <a:schemeClr val="tx1"/>
                </a:solidFill>
                <a:latin typeface="Calibri" panose="020F0502020204030204" pitchFamily="34" charset="0"/>
                <a:cs typeface="Calibri" panose="020F0502020204030204" pitchFamily="34" charset="0"/>
              </a:defRPr>
            </a:lvl1pPr>
            <a:lvl2pPr marL="342801" indent="0">
              <a:buNone/>
              <a:defRPr sz="1050">
                <a:solidFill>
                  <a:schemeClr val="tx1"/>
                </a:solidFill>
              </a:defRPr>
            </a:lvl2pPr>
            <a:lvl3pPr marL="685612" indent="0">
              <a:buNone/>
              <a:defRPr sz="1050">
                <a:solidFill>
                  <a:schemeClr val="tx1"/>
                </a:solidFill>
              </a:defRPr>
            </a:lvl3pPr>
            <a:lvl4pPr marL="1028414" indent="0">
              <a:buNone/>
              <a:defRPr sz="1050">
                <a:solidFill>
                  <a:schemeClr val="tx1"/>
                </a:solidFill>
              </a:defRPr>
            </a:lvl4pPr>
            <a:lvl5pPr marL="1371218" indent="0">
              <a:buNone/>
              <a:defRPr sz="1050">
                <a:solidFill>
                  <a:schemeClr val="tx1"/>
                </a:solidFill>
              </a:defRPr>
            </a:lvl5pPr>
          </a:lstStyle>
          <a:p>
            <a:pPr lvl="0"/>
            <a:r>
              <a:rPr lang="en-US" dirty="0"/>
              <a:t>Department</a:t>
            </a:r>
          </a:p>
        </p:txBody>
      </p:sp>
      <p:sp>
        <p:nvSpPr>
          <p:cNvPr id="31" name="Text Placeholder 2">
            <a:extLst>
              <a:ext uri="{FF2B5EF4-FFF2-40B4-BE49-F238E27FC236}">
                <a16:creationId xmlns:a16="http://schemas.microsoft.com/office/drawing/2014/main" xmlns="" id="{669B2D41-B11D-9D45-B189-F838AC342B07}"/>
              </a:ext>
            </a:extLst>
          </p:cNvPr>
          <p:cNvSpPr>
            <a:spLocks noGrp="1"/>
          </p:cNvSpPr>
          <p:nvPr>
            <p:ph type="body" sz="quarter" idx="29" hasCustomPrompt="1"/>
          </p:nvPr>
        </p:nvSpPr>
        <p:spPr>
          <a:xfrm>
            <a:off x="896047" y="3262071"/>
            <a:ext cx="3266049" cy="175501"/>
          </a:xfrm>
          <a:prstGeom prst="rect">
            <a:avLst/>
          </a:prstGeom>
        </p:spPr>
        <p:txBody>
          <a:bodyPr lIns="0" tIns="0" rIns="0" bIns="0">
            <a:noAutofit/>
          </a:bodyPr>
          <a:lstStyle>
            <a:lvl1pPr marL="0" indent="0">
              <a:buNone/>
              <a:defRPr sz="1050" b="0" i="0">
                <a:solidFill>
                  <a:schemeClr val="tx1"/>
                </a:solidFill>
                <a:latin typeface="Calibri" panose="020F0502020204030204" pitchFamily="34" charset="0"/>
                <a:cs typeface="Calibri" panose="020F0502020204030204" pitchFamily="34" charset="0"/>
              </a:defRPr>
            </a:lvl1pPr>
            <a:lvl2pPr marL="342801" indent="0">
              <a:buNone/>
              <a:defRPr sz="1050">
                <a:solidFill>
                  <a:schemeClr val="tx1"/>
                </a:solidFill>
              </a:defRPr>
            </a:lvl2pPr>
            <a:lvl3pPr marL="685612" indent="0">
              <a:buNone/>
              <a:defRPr sz="1050">
                <a:solidFill>
                  <a:schemeClr val="tx1"/>
                </a:solidFill>
              </a:defRPr>
            </a:lvl3pPr>
            <a:lvl4pPr marL="1028414" indent="0">
              <a:buNone/>
              <a:defRPr sz="1050">
                <a:solidFill>
                  <a:schemeClr val="tx1"/>
                </a:solidFill>
              </a:defRPr>
            </a:lvl4pPr>
            <a:lvl5pPr marL="1371218" indent="0">
              <a:buNone/>
              <a:defRPr sz="1050">
                <a:solidFill>
                  <a:schemeClr val="tx1"/>
                </a:solidFill>
              </a:defRPr>
            </a:lvl5pPr>
          </a:lstStyle>
          <a:p>
            <a:pPr lvl="0"/>
            <a:r>
              <a:rPr lang="en-US" dirty="0"/>
              <a:t>Date</a:t>
            </a:r>
          </a:p>
        </p:txBody>
      </p:sp>
      <p:sp>
        <p:nvSpPr>
          <p:cNvPr id="32" name="Text Placeholder 2">
            <a:extLst>
              <a:ext uri="{FF2B5EF4-FFF2-40B4-BE49-F238E27FC236}">
                <a16:creationId xmlns:a16="http://schemas.microsoft.com/office/drawing/2014/main" xmlns="" id="{D7467C81-9D88-4140-B42C-28DFB5646475}"/>
              </a:ext>
            </a:extLst>
          </p:cNvPr>
          <p:cNvSpPr>
            <a:spLocks noGrp="1"/>
          </p:cNvSpPr>
          <p:nvPr>
            <p:ph type="body" sz="quarter" idx="30" hasCustomPrompt="1"/>
          </p:nvPr>
        </p:nvSpPr>
        <p:spPr>
          <a:xfrm>
            <a:off x="896047" y="2683054"/>
            <a:ext cx="3266049" cy="175501"/>
          </a:xfrm>
          <a:prstGeom prst="rect">
            <a:avLst/>
          </a:prstGeom>
        </p:spPr>
        <p:txBody>
          <a:bodyPr lIns="0" tIns="0" rIns="0" bIns="0">
            <a:noAutofit/>
          </a:bodyPr>
          <a:lstStyle>
            <a:lvl1pPr marL="0" indent="0">
              <a:buNone/>
              <a:defRPr sz="1050" b="0" i="0">
                <a:solidFill>
                  <a:schemeClr val="tx1"/>
                </a:solidFill>
                <a:latin typeface="Calibri" panose="020F0502020204030204" pitchFamily="34" charset="0"/>
                <a:cs typeface="Calibri" panose="020F0502020204030204" pitchFamily="34" charset="0"/>
              </a:defRPr>
            </a:lvl1pPr>
            <a:lvl2pPr marL="342801" indent="0">
              <a:buNone/>
              <a:defRPr sz="1050">
                <a:solidFill>
                  <a:schemeClr val="tx1"/>
                </a:solidFill>
              </a:defRPr>
            </a:lvl2pPr>
            <a:lvl3pPr marL="685612" indent="0">
              <a:buNone/>
              <a:defRPr sz="1050">
                <a:solidFill>
                  <a:schemeClr val="tx1"/>
                </a:solidFill>
              </a:defRPr>
            </a:lvl3pPr>
            <a:lvl4pPr marL="1028414" indent="0">
              <a:buNone/>
              <a:defRPr sz="1050">
                <a:solidFill>
                  <a:schemeClr val="tx1"/>
                </a:solidFill>
              </a:defRPr>
            </a:lvl4pPr>
            <a:lvl5pPr marL="1371218" indent="0">
              <a:buNone/>
              <a:defRPr sz="1050">
                <a:solidFill>
                  <a:schemeClr val="tx1"/>
                </a:solidFill>
              </a:defRPr>
            </a:lvl5pPr>
          </a:lstStyle>
          <a:p>
            <a:pPr lvl="0"/>
            <a:r>
              <a:rPr lang="en-US" dirty="0"/>
              <a:t>Presenter Name</a:t>
            </a:r>
          </a:p>
        </p:txBody>
      </p:sp>
    </p:spTree>
    <p:extLst>
      <p:ext uri="{BB962C8B-B14F-4D97-AF65-F5344CB8AC3E}">
        <p14:creationId xmlns:p14="http://schemas.microsoft.com/office/powerpoint/2010/main" val="2364883569"/>
      </p:ext>
    </p:extLst>
  </p:cSld>
  <p:clrMapOvr>
    <a:masterClrMapping/>
  </p:clrMapOvr>
  <p:transition spd="slow">
    <p:push dir="u"/>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1_Standard 1-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xmlns="" id="{FD2406EE-A554-5348-AE6D-4D8B343E6201}"/>
              </a:ext>
            </a:extLst>
          </p:cNvPr>
          <p:cNvSpPr>
            <a:spLocks noGrp="1"/>
          </p:cNvSpPr>
          <p:nvPr>
            <p:ph type="body" sz="quarter" idx="15" hasCustomPrompt="1"/>
          </p:nvPr>
        </p:nvSpPr>
        <p:spPr>
          <a:xfrm>
            <a:off x="233363" y="826789"/>
            <a:ext cx="8677275" cy="3996643"/>
          </a:xfrm>
          <a:prstGeom prst="rect">
            <a:avLst/>
          </a:prstGeom>
        </p:spPr>
        <p:txBody>
          <a:bodyPr tIns="0" rIns="0" bIns="0" numCol="1">
            <a:normAutofit/>
          </a:bodyPr>
          <a:lstStyle>
            <a:lvl1pPr marL="0" indent="0">
              <a:lnSpc>
                <a:spcPct val="100000"/>
              </a:lnSpc>
              <a:spcBef>
                <a:spcPts val="0"/>
              </a:spcBef>
              <a:spcAft>
                <a:spcPts val="450"/>
              </a:spcAft>
              <a:buFont typeface="Arial" panose="020B0604020202020204" pitchFamily="34" charset="0"/>
              <a:buNone/>
              <a:defRPr sz="1200" b="0">
                <a:solidFill>
                  <a:schemeClr val="tx1"/>
                </a:solidFill>
              </a:defRPr>
            </a:lvl1pPr>
            <a:lvl2pPr marL="342801" indent="0">
              <a:lnSpc>
                <a:spcPts val="1350"/>
              </a:lnSpc>
              <a:spcBef>
                <a:spcPts val="0"/>
              </a:spcBef>
              <a:buNone/>
              <a:defRPr sz="1050"/>
            </a:lvl2pPr>
            <a:lvl3pPr marL="685612" indent="0">
              <a:lnSpc>
                <a:spcPts val="1350"/>
              </a:lnSpc>
              <a:spcBef>
                <a:spcPts val="0"/>
              </a:spcBef>
              <a:buNone/>
              <a:defRPr sz="1050"/>
            </a:lvl3pPr>
            <a:lvl4pPr marL="1028414" indent="0">
              <a:lnSpc>
                <a:spcPts val="1350"/>
              </a:lnSpc>
              <a:spcBef>
                <a:spcPts val="0"/>
              </a:spcBef>
              <a:buNone/>
              <a:defRPr sz="1050"/>
            </a:lvl4pPr>
            <a:lvl5pPr marL="1371218" indent="0">
              <a:lnSpc>
                <a:spcPts val="1350"/>
              </a:lnSpc>
              <a:spcBef>
                <a:spcPts val="0"/>
              </a:spcBef>
              <a:buNone/>
              <a:defRPr sz="1050"/>
            </a:lvl5pPr>
          </a:lstStyle>
          <a:p>
            <a:pPr lvl="0"/>
            <a:r>
              <a:rPr lang="en-US" dirty="0"/>
              <a:t>This is a one-column layout. Click to add content</a:t>
            </a:r>
          </a:p>
        </p:txBody>
      </p:sp>
      <p:sp>
        <p:nvSpPr>
          <p:cNvPr id="19" name="Footer Placeholder 8">
            <a:extLst>
              <a:ext uri="{FF2B5EF4-FFF2-40B4-BE49-F238E27FC236}">
                <a16:creationId xmlns:a16="http://schemas.microsoft.com/office/drawing/2014/main" xmlns="" id="{CDA06C55-0643-C148-AAB1-C4BB26FD7B26}"/>
              </a:ext>
            </a:extLst>
          </p:cNvPr>
          <p:cNvSpPr>
            <a:spLocks noGrp="1"/>
          </p:cNvSpPr>
          <p:nvPr>
            <p:ph type="ftr" sz="quarter" idx="3"/>
          </p:nvPr>
        </p:nvSpPr>
        <p:spPr>
          <a:xfrm>
            <a:off x="5824538" y="4892251"/>
            <a:ext cx="3086100" cy="147098"/>
          </a:xfrm>
          <a:prstGeom prst="rect">
            <a:avLst/>
          </a:prstGeom>
        </p:spPr>
        <p:txBody>
          <a:bodyPr vert="horz" lIns="0" tIns="0" rIns="0" bIns="0" rtlCol="0" anchor="ctr"/>
          <a:lstStyle>
            <a:lvl1pPr algn="r">
              <a:defRPr sz="600" b="1" spc="75" baseline="0">
                <a:solidFill>
                  <a:schemeClr val="tx1"/>
                </a:solidFill>
              </a:defRPr>
            </a:lvl1pPr>
          </a:lstStyle>
          <a:p>
            <a:r>
              <a:rPr lang="x-none" dirty="0"/>
              <a:t> </a:t>
            </a:r>
          </a:p>
        </p:txBody>
      </p:sp>
      <p:pic>
        <p:nvPicPr>
          <p:cNvPr id="14" name="Picture 13" descr="Takeda">
            <a:extLst>
              <a:ext uri="{FF2B5EF4-FFF2-40B4-BE49-F238E27FC236}">
                <a16:creationId xmlns:a16="http://schemas.microsoft.com/office/drawing/2014/main" xmlns=""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09748" y="-1211"/>
            <a:ext cx="1272174" cy="705585"/>
          </a:xfrm>
          <a:prstGeom prst="rect">
            <a:avLst/>
          </a:prstGeom>
        </p:spPr>
      </p:pic>
      <p:sp>
        <p:nvSpPr>
          <p:cNvPr id="22" name="タイトル プレースホルダ 1">
            <a:extLst>
              <a:ext uri="{FF2B5EF4-FFF2-40B4-BE49-F238E27FC236}">
                <a16:creationId xmlns:a16="http://schemas.microsoft.com/office/drawing/2014/main" xmlns="" id="{86D2E5B8-9E2B-DB46-A55A-5F26569C4F99}"/>
              </a:ext>
            </a:extLst>
          </p:cNvPr>
          <p:cNvSpPr>
            <a:spLocks noGrp="1"/>
          </p:cNvSpPr>
          <p:nvPr>
            <p:ph type="title" hasCustomPrompt="1"/>
          </p:nvPr>
        </p:nvSpPr>
        <p:spPr>
          <a:xfrm>
            <a:off x="454559" y="121204"/>
            <a:ext cx="7455190" cy="51435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20" name="スライド番号プレースホルダ 5">
            <a:extLst>
              <a:ext uri="{FF2B5EF4-FFF2-40B4-BE49-F238E27FC236}">
                <a16:creationId xmlns:a16="http://schemas.microsoft.com/office/drawing/2014/main" xmlns="" id="{51A4825E-63A1-564F-BC3A-FBC167ECE5EB}"/>
              </a:ext>
            </a:extLst>
          </p:cNvPr>
          <p:cNvSpPr>
            <a:spLocks noGrp="1"/>
          </p:cNvSpPr>
          <p:nvPr>
            <p:ph type="sldNum" sz="quarter" idx="4"/>
          </p:nvPr>
        </p:nvSpPr>
        <p:spPr>
          <a:xfrm>
            <a:off x="233363" y="4892251"/>
            <a:ext cx="221196" cy="147098"/>
          </a:xfrm>
          <a:prstGeom prst="rect">
            <a:avLst/>
          </a:prstGeom>
        </p:spPr>
        <p:txBody>
          <a:bodyPr vert="horz" lIns="0" tIns="45710" rIns="0" bIns="45710"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4108"/>
            <a:fld id="{E9B57936-92EF-4126-AE48-1D9D36D15E98}" type="slidenum">
              <a:rPr lang="ja-JP" altLang="en-US" smtClean="0"/>
              <a:pPr defTabSz="914108"/>
              <a:t>‹Nº›</a:t>
            </a:fld>
            <a:endParaRPr lang="ja-JP" altLang="en-US"/>
          </a:p>
        </p:txBody>
      </p:sp>
      <p:sp>
        <p:nvSpPr>
          <p:cNvPr id="21" name="Rectangle 20">
            <a:extLst>
              <a:ext uri="{FF2B5EF4-FFF2-40B4-BE49-F238E27FC236}">
                <a16:creationId xmlns:a16="http://schemas.microsoft.com/office/drawing/2014/main" xmlns="" id="{FCF9CDB0-5730-E246-B31F-F5963CF8EFDC}"/>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x-none" sz="1350" dirty="0">
              <a:solidFill>
                <a:schemeClr val="accent1"/>
              </a:solidFill>
            </a:endParaRPr>
          </a:p>
        </p:txBody>
      </p:sp>
      <p:sp>
        <p:nvSpPr>
          <p:cNvPr id="24" name="Text Placeholder 6">
            <a:extLst>
              <a:ext uri="{FF2B5EF4-FFF2-40B4-BE49-F238E27FC236}">
                <a16:creationId xmlns:a16="http://schemas.microsoft.com/office/drawing/2014/main" xmlns="" id="{44EB3013-FCB4-1B4E-A9F2-FD57CF727CCC}"/>
              </a:ext>
            </a:extLst>
          </p:cNvPr>
          <p:cNvSpPr>
            <a:spLocks noGrp="1"/>
          </p:cNvSpPr>
          <p:nvPr>
            <p:ph type="body" sz="quarter" idx="16" hasCustomPrompt="1"/>
          </p:nvPr>
        </p:nvSpPr>
        <p:spPr>
          <a:xfrm>
            <a:off x="454559" y="4892251"/>
            <a:ext cx="5226261" cy="154210"/>
          </a:xfrm>
          <a:prstGeom prst="rect">
            <a:avLst/>
          </a:prstGeom>
        </p:spPr>
        <p:txBody>
          <a:bodyPr wrap="none" tIns="0" rIns="0" bIns="72000" numCol="1" anchor="ctr">
            <a:noAutofit/>
          </a:bodyPr>
          <a:lstStyle>
            <a:lvl1pPr marL="0" indent="0">
              <a:lnSpc>
                <a:spcPts val="1200"/>
              </a:lnSpc>
              <a:spcBef>
                <a:spcPts val="0"/>
              </a:spcBef>
              <a:spcAft>
                <a:spcPts val="450"/>
              </a:spcAft>
              <a:buFont typeface="Arial" panose="020B0604020202020204" pitchFamily="34" charset="0"/>
              <a:buNone/>
              <a:defRPr sz="600" b="0">
                <a:solidFill>
                  <a:schemeClr val="accent3"/>
                </a:solidFill>
              </a:defRPr>
            </a:lvl1pPr>
            <a:lvl2pPr marL="342801" indent="0">
              <a:lnSpc>
                <a:spcPts val="1350"/>
              </a:lnSpc>
              <a:spcBef>
                <a:spcPts val="0"/>
              </a:spcBef>
              <a:buNone/>
              <a:defRPr sz="1050"/>
            </a:lvl2pPr>
            <a:lvl3pPr marL="685612" indent="0">
              <a:lnSpc>
                <a:spcPts val="1350"/>
              </a:lnSpc>
              <a:spcBef>
                <a:spcPts val="0"/>
              </a:spcBef>
              <a:buNone/>
              <a:defRPr sz="1050"/>
            </a:lvl3pPr>
            <a:lvl4pPr marL="1028414" indent="0">
              <a:lnSpc>
                <a:spcPts val="1350"/>
              </a:lnSpc>
              <a:spcBef>
                <a:spcPts val="0"/>
              </a:spcBef>
              <a:buNone/>
              <a:defRPr sz="1050"/>
            </a:lvl4pPr>
            <a:lvl5pPr marL="1371218" indent="0">
              <a:lnSpc>
                <a:spcPts val="1350"/>
              </a:lnSpc>
              <a:spcBef>
                <a:spcPts val="0"/>
              </a:spcBef>
              <a:buNone/>
              <a:defRPr sz="1050"/>
            </a:lvl5pPr>
          </a:lstStyle>
          <a:p>
            <a:pPr lvl="0"/>
            <a:r>
              <a:rPr lang="en-US" dirty="0"/>
              <a:t>Private and confidential. For internal use only.</a:t>
            </a:r>
          </a:p>
        </p:txBody>
      </p:sp>
    </p:spTree>
    <p:extLst>
      <p:ext uri="{BB962C8B-B14F-4D97-AF65-F5344CB8AC3E}">
        <p14:creationId xmlns:p14="http://schemas.microsoft.com/office/powerpoint/2010/main" val="3073070356"/>
      </p:ext>
    </p:extLst>
  </p:cSld>
  <p:clrMapOvr>
    <a:masterClrMapping/>
  </p:clrMapOvr>
  <p:transition spd="slow">
    <p:push dir="u"/>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3_Standard 1-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xmlns="" id="{FD2406EE-A554-5348-AE6D-4D8B343E6201}"/>
              </a:ext>
            </a:extLst>
          </p:cNvPr>
          <p:cNvSpPr>
            <a:spLocks noGrp="1"/>
          </p:cNvSpPr>
          <p:nvPr>
            <p:ph type="body" sz="quarter" idx="15" hasCustomPrompt="1"/>
          </p:nvPr>
        </p:nvSpPr>
        <p:spPr>
          <a:xfrm>
            <a:off x="233363" y="826789"/>
            <a:ext cx="8677275" cy="3996643"/>
          </a:xfrm>
          <a:prstGeom prst="rect">
            <a:avLst/>
          </a:prstGeom>
        </p:spPr>
        <p:txBody>
          <a:bodyPr tIns="0" rIns="0" bIns="0" numCol="1">
            <a:normAutofit/>
          </a:bodyPr>
          <a:lstStyle>
            <a:lvl1pPr marL="0" indent="0">
              <a:lnSpc>
                <a:spcPct val="100000"/>
              </a:lnSpc>
              <a:spcBef>
                <a:spcPts val="0"/>
              </a:spcBef>
              <a:spcAft>
                <a:spcPts val="450"/>
              </a:spcAft>
              <a:buFont typeface="Arial" panose="020B0604020202020204" pitchFamily="34" charset="0"/>
              <a:buNone/>
              <a:defRPr sz="1200" b="0">
                <a:solidFill>
                  <a:schemeClr val="tx1"/>
                </a:solidFill>
              </a:defRPr>
            </a:lvl1pPr>
            <a:lvl2pPr marL="342801" indent="0">
              <a:lnSpc>
                <a:spcPts val="1350"/>
              </a:lnSpc>
              <a:spcBef>
                <a:spcPts val="0"/>
              </a:spcBef>
              <a:buNone/>
              <a:defRPr sz="1050"/>
            </a:lvl2pPr>
            <a:lvl3pPr marL="685612" indent="0">
              <a:lnSpc>
                <a:spcPts val="1350"/>
              </a:lnSpc>
              <a:spcBef>
                <a:spcPts val="0"/>
              </a:spcBef>
              <a:buNone/>
              <a:defRPr sz="1050"/>
            </a:lvl3pPr>
            <a:lvl4pPr marL="1028414" indent="0">
              <a:lnSpc>
                <a:spcPts val="1350"/>
              </a:lnSpc>
              <a:spcBef>
                <a:spcPts val="0"/>
              </a:spcBef>
              <a:buNone/>
              <a:defRPr sz="1050"/>
            </a:lvl4pPr>
            <a:lvl5pPr marL="1371218" indent="0">
              <a:lnSpc>
                <a:spcPts val="1350"/>
              </a:lnSpc>
              <a:spcBef>
                <a:spcPts val="0"/>
              </a:spcBef>
              <a:buNone/>
              <a:defRPr sz="1050"/>
            </a:lvl5pPr>
          </a:lstStyle>
          <a:p>
            <a:pPr lvl="0"/>
            <a:r>
              <a:rPr lang="en-US" dirty="0"/>
              <a:t>This is a one-column layout. Click to add content</a:t>
            </a:r>
          </a:p>
        </p:txBody>
      </p:sp>
      <p:sp>
        <p:nvSpPr>
          <p:cNvPr id="19" name="Footer Placeholder 8">
            <a:extLst>
              <a:ext uri="{FF2B5EF4-FFF2-40B4-BE49-F238E27FC236}">
                <a16:creationId xmlns:a16="http://schemas.microsoft.com/office/drawing/2014/main" xmlns="" id="{CDA06C55-0643-C148-AAB1-C4BB26FD7B26}"/>
              </a:ext>
            </a:extLst>
          </p:cNvPr>
          <p:cNvSpPr>
            <a:spLocks noGrp="1"/>
          </p:cNvSpPr>
          <p:nvPr>
            <p:ph type="ftr" sz="quarter" idx="3"/>
          </p:nvPr>
        </p:nvSpPr>
        <p:spPr>
          <a:xfrm>
            <a:off x="5824538" y="4892251"/>
            <a:ext cx="3086100" cy="147098"/>
          </a:xfrm>
          <a:prstGeom prst="rect">
            <a:avLst/>
          </a:prstGeom>
        </p:spPr>
        <p:txBody>
          <a:bodyPr vert="horz" lIns="0" tIns="0" rIns="0" bIns="0" rtlCol="0" anchor="ctr"/>
          <a:lstStyle>
            <a:lvl1pPr algn="r">
              <a:defRPr sz="600" b="1" spc="75" baseline="0">
                <a:solidFill>
                  <a:schemeClr val="tx1"/>
                </a:solidFill>
              </a:defRPr>
            </a:lvl1pPr>
          </a:lstStyle>
          <a:p>
            <a:r>
              <a:rPr lang="x-none" dirty="0"/>
              <a:t> </a:t>
            </a:r>
          </a:p>
        </p:txBody>
      </p:sp>
      <p:pic>
        <p:nvPicPr>
          <p:cNvPr id="14" name="Picture 13" descr="Takeda">
            <a:extLst>
              <a:ext uri="{FF2B5EF4-FFF2-40B4-BE49-F238E27FC236}">
                <a16:creationId xmlns:a16="http://schemas.microsoft.com/office/drawing/2014/main" xmlns=""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09748" y="-1211"/>
            <a:ext cx="1272174" cy="705585"/>
          </a:xfrm>
          <a:prstGeom prst="rect">
            <a:avLst/>
          </a:prstGeom>
        </p:spPr>
      </p:pic>
      <p:sp>
        <p:nvSpPr>
          <p:cNvPr id="22" name="タイトル プレースホルダ 1">
            <a:extLst>
              <a:ext uri="{FF2B5EF4-FFF2-40B4-BE49-F238E27FC236}">
                <a16:creationId xmlns:a16="http://schemas.microsoft.com/office/drawing/2014/main" xmlns="" id="{86D2E5B8-9E2B-DB46-A55A-5F26569C4F99}"/>
              </a:ext>
            </a:extLst>
          </p:cNvPr>
          <p:cNvSpPr>
            <a:spLocks noGrp="1"/>
          </p:cNvSpPr>
          <p:nvPr>
            <p:ph type="title" hasCustomPrompt="1"/>
          </p:nvPr>
        </p:nvSpPr>
        <p:spPr>
          <a:xfrm>
            <a:off x="454559" y="121204"/>
            <a:ext cx="7455190" cy="51435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20" name="スライド番号プレースホルダ 5">
            <a:extLst>
              <a:ext uri="{FF2B5EF4-FFF2-40B4-BE49-F238E27FC236}">
                <a16:creationId xmlns:a16="http://schemas.microsoft.com/office/drawing/2014/main" xmlns="" id="{51A4825E-63A1-564F-BC3A-FBC167ECE5EB}"/>
              </a:ext>
            </a:extLst>
          </p:cNvPr>
          <p:cNvSpPr>
            <a:spLocks noGrp="1"/>
          </p:cNvSpPr>
          <p:nvPr>
            <p:ph type="sldNum" sz="quarter" idx="4"/>
          </p:nvPr>
        </p:nvSpPr>
        <p:spPr>
          <a:xfrm>
            <a:off x="233363" y="4892251"/>
            <a:ext cx="221196" cy="147098"/>
          </a:xfrm>
          <a:prstGeom prst="rect">
            <a:avLst/>
          </a:prstGeom>
        </p:spPr>
        <p:txBody>
          <a:bodyPr vert="horz" lIns="0" tIns="45710" rIns="0" bIns="45710"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4108"/>
            <a:fld id="{E9B57936-92EF-4126-AE48-1D9D36D15E98}" type="slidenum">
              <a:rPr lang="ja-JP" altLang="en-US" smtClean="0"/>
              <a:pPr defTabSz="914108"/>
              <a:t>‹Nº›</a:t>
            </a:fld>
            <a:endParaRPr lang="ja-JP" altLang="en-US"/>
          </a:p>
        </p:txBody>
      </p:sp>
      <p:sp>
        <p:nvSpPr>
          <p:cNvPr id="21" name="Rectangle 20">
            <a:extLst>
              <a:ext uri="{FF2B5EF4-FFF2-40B4-BE49-F238E27FC236}">
                <a16:creationId xmlns:a16="http://schemas.microsoft.com/office/drawing/2014/main" xmlns="" id="{FCF9CDB0-5730-E246-B31F-F5963CF8EFDC}"/>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x-none" sz="1350" dirty="0">
              <a:solidFill>
                <a:schemeClr val="accent1"/>
              </a:solidFill>
            </a:endParaRPr>
          </a:p>
        </p:txBody>
      </p:sp>
      <p:sp>
        <p:nvSpPr>
          <p:cNvPr id="24" name="Text Placeholder 6">
            <a:extLst>
              <a:ext uri="{FF2B5EF4-FFF2-40B4-BE49-F238E27FC236}">
                <a16:creationId xmlns:a16="http://schemas.microsoft.com/office/drawing/2014/main" xmlns="" id="{44EB3013-FCB4-1B4E-A9F2-FD57CF727CCC}"/>
              </a:ext>
            </a:extLst>
          </p:cNvPr>
          <p:cNvSpPr>
            <a:spLocks noGrp="1"/>
          </p:cNvSpPr>
          <p:nvPr>
            <p:ph type="body" sz="quarter" idx="16" hasCustomPrompt="1"/>
          </p:nvPr>
        </p:nvSpPr>
        <p:spPr>
          <a:xfrm>
            <a:off x="454559" y="4892251"/>
            <a:ext cx="5226261" cy="154210"/>
          </a:xfrm>
          <a:prstGeom prst="rect">
            <a:avLst/>
          </a:prstGeom>
        </p:spPr>
        <p:txBody>
          <a:bodyPr wrap="none" tIns="0" rIns="0" bIns="72000" numCol="1" anchor="ctr">
            <a:noAutofit/>
          </a:bodyPr>
          <a:lstStyle>
            <a:lvl1pPr marL="0" indent="0">
              <a:lnSpc>
                <a:spcPts val="1200"/>
              </a:lnSpc>
              <a:spcBef>
                <a:spcPts val="0"/>
              </a:spcBef>
              <a:spcAft>
                <a:spcPts val="450"/>
              </a:spcAft>
              <a:buFont typeface="Arial" panose="020B0604020202020204" pitchFamily="34" charset="0"/>
              <a:buNone/>
              <a:defRPr sz="600" b="0">
                <a:solidFill>
                  <a:schemeClr val="accent3"/>
                </a:solidFill>
              </a:defRPr>
            </a:lvl1pPr>
            <a:lvl2pPr marL="342801" indent="0">
              <a:lnSpc>
                <a:spcPts val="1350"/>
              </a:lnSpc>
              <a:spcBef>
                <a:spcPts val="0"/>
              </a:spcBef>
              <a:buNone/>
              <a:defRPr sz="1050"/>
            </a:lvl2pPr>
            <a:lvl3pPr marL="685612" indent="0">
              <a:lnSpc>
                <a:spcPts val="1350"/>
              </a:lnSpc>
              <a:spcBef>
                <a:spcPts val="0"/>
              </a:spcBef>
              <a:buNone/>
              <a:defRPr sz="1050"/>
            </a:lvl3pPr>
            <a:lvl4pPr marL="1028414" indent="0">
              <a:lnSpc>
                <a:spcPts val="1350"/>
              </a:lnSpc>
              <a:spcBef>
                <a:spcPts val="0"/>
              </a:spcBef>
              <a:buNone/>
              <a:defRPr sz="1050"/>
            </a:lvl4pPr>
            <a:lvl5pPr marL="1371218" indent="0">
              <a:lnSpc>
                <a:spcPts val="1350"/>
              </a:lnSpc>
              <a:spcBef>
                <a:spcPts val="0"/>
              </a:spcBef>
              <a:buNone/>
              <a:defRPr sz="1050"/>
            </a:lvl5pPr>
          </a:lstStyle>
          <a:p>
            <a:pPr lvl="0"/>
            <a:r>
              <a:rPr lang="en-US" dirty="0"/>
              <a:t>Private and confidential. For internal use only.</a:t>
            </a:r>
          </a:p>
        </p:txBody>
      </p:sp>
    </p:spTree>
    <p:extLst>
      <p:ext uri="{BB962C8B-B14F-4D97-AF65-F5344CB8AC3E}">
        <p14:creationId xmlns:p14="http://schemas.microsoft.com/office/powerpoint/2010/main" val="1125971307"/>
      </p:ext>
    </p:extLst>
  </p:cSld>
  <p:clrMapOvr>
    <a:masterClrMapping/>
  </p:clrMapOvr>
  <p:transition spd="slow">
    <p:push dir="u"/>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4_Standard 1-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xmlns="" id="{FD2406EE-A554-5348-AE6D-4D8B343E6201}"/>
              </a:ext>
            </a:extLst>
          </p:cNvPr>
          <p:cNvSpPr>
            <a:spLocks noGrp="1"/>
          </p:cNvSpPr>
          <p:nvPr>
            <p:ph type="body" sz="quarter" idx="15" hasCustomPrompt="1"/>
          </p:nvPr>
        </p:nvSpPr>
        <p:spPr>
          <a:xfrm>
            <a:off x="233363" y="826789"/>
            <a:ext cx="8677275" cy="3996643"/>
          </a:xfrm>
          <a:prstGeom prst="rect">
            <a:avLst/>
          </a:prstGeom>
        </p:spPr>
        <p:txBody>
          <a:bodyPr tIns="0" rIns="0" bIns="0" numCol="1">
            <a:normAutofit/>
          </a:bodyPr>
          <a:lstStyle>
            <a:lvl1pPr marL="0" indent="0">
              <a:lnSpc>
                <a:spcPct val="100000"/>
              </a:lnSpc>
              <a:spcBef>
                <a:spcPts val="0"/>
              </a:spcBef>
              <a:spcAft>
                <a:spcPts val="450"/>
              </a:spcAft>
              <a:buFont typeface="Arial" panose="020B0604020202020204" pitchFamily="34" charset="0"/>
              <a:buNone/>
              <a:defRPr sz="1200" b="0">
                <a:solidFill>
                  <a:schemeClr val="tx1"/>
                </a:solidFill>
              </a:defRPr>
            </a:lvl1pPr>
            <a:lvl2pPr marL="342801" indent="0">
              <a:lnSpc>
                <a:spcPts val="1350"/>
              </a:lnSpc>
              <a:spcBef>
                <a:spcPts val="0"/>
              </a:spcBef>
              <a:buNone/>
              <a:defRPr sz="1050"/>
            </a:lvl2pPr>
            <a:lvl3pPr marL="685612" indent="0">
              <a:lnSpc>
                <a:spcPts val="1350"/>
              </a:lnSpc>
              <a:spcBef>
                <a:spcPts val="0"/>
              </a:spcBef>
              <a:buNone/>
              <a:defRPr sz="1050"/>
            </a:lvl3pPr>
            <a:lvl4pPr marL="1028414" indent="0">
              <a:lnSpc>
                <a:spcPts val="1350"/>
              </a:lnSpc>
              <a:spcBef>
                <a:spcPts val="0"/>
              </a:spcBef>
              <a:buNone/>
              <a:defRPr sz="1050"/>
            </a:lvl4pPr>
            <a:lvl5pPr marL="1371218" indent="0">
              <a:lnSpc>
                <a:spcPts val="1350"/>
              </a:lnSpc>
              <a:spcBef>
                <a:spcPts val="0"/>
              </a:spcBef>
              <a:buNone/>
              <a:defRPr sz="1050"/>
            </a:lvl5pPr>
          </a:lstStyle>
          <a:p>
            <a:pPr lvl="0"/>
            <a:r>
              <a:rPr lang="en-US" dirty="0"/>
              <a:t>This is a one-column layout. Click to add content</a:t>
            </a:r>
          </a:p>
        </p:txBody>
      </p:sp>
      <p:sp>
        <p:nvSpPr>
          <p:cNvPr id="19" name="Footer Placeholder 8">
            <a:extLst>
              <a:ext uri="{FF2B5EF4-FFF2-40B4-BE49-F238E27FC236}">
                <a16:creationId xmlns:a16="http://schemas.microsoft.com/office/drawing/2014/main" xmlns="" id="{CDA06C55-0643-C148-AAB1-C4BB26FD7B26}"/>
              </a:ext>
            </a:extLst>
          </p:cNvPr>
          <p:cNvSpPr>
            <a:spLocks noGrp="1"/>
          </p:cNvSpPr>
          <p:nvPr>
            <p:ph type="ftr" sz="quarter" idx="3"/>
          </p:nvPr>
        </p:nvSpPr>
        <p:spPr>
          <a:xfrm>
            <a:off x="5824538" y="4892251"/>
            <a:ext cx="3086100" cy="147098"/>
          </a:xfrm>
          <a:prstGeom prst="rect">
            <a:avLst/>
          </a:prstGeom>
        </p:spPr>
        <p:txBody>
          <a:bodyPr vert="horz" lIns="0" tIns="0" rIns="0" bIns="0" rtlCol="0" anchor="ctr"/>
          <a:lstStyle>
            <a:lvl1pPr algn="r">
              <a:defRPr sz="600" b="1" spc="75" baseline="0">
                <a:solidFill>
                  <a:schemeClr val="tx1"/>
                </a:solidFill>
              </a:defRPr>
            </a:lvl1pPr>
          </a:lstStyle>
          <a:p>
            <a:r>
              <a:rPr lang="x-none" dirty="0"/>
              <a:t> </a:t>
            </a:r>
          </a:p>
        </p:txBody>
      </p:sp>
      <p:pic>
        <p:nvPicPr>
          <p:cNvPr id="14" name="Picture 13" descr="Takeda">
            <a:extLst>
              <a:ext uri="{FF2B5EF4-FFF2-40B4-BE49-F238E27FC236}">
                <a16:creationId xmlns:a16="http://schemas.microsoft.com/office/drawing/2014/main" xmlns=""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09748" y="-1211"/>
            <a:ext cx="1272174" cy="705585"/>
          </a:xfrm>
          <a:prstGeom prst="rect">
            <a:avLst/>
          </a:prstGeom>
        </p:spPr>
      </p:pic>
      <p:sp>
        <p:nvSpPr>
          <p:cNvPr id="22" name="タイトル プレースホルダ 1">
            <a:extLst>
              <a:ext uri="{FF2B5EF4-FFF2-40B4-BE49-F238E27FC236}">
                <a16:creationId xmlns:a16="http://schemas.microsoft.com/office/drawing/2014/main" xmlns="" id="{86D2E5B8-9E2B-DB46-A55A-5F26569C4F99}"/>
              </a:ext>
            </a:extLst>
          </p:cNvPr>
          <p:cNvSpPr>
            <a:spLocks noGrp="1"/>
          </p:cNvSpPr>
          <p:nvPr>
            <p:ph type="title" hasCustomPrompt="1"/>
          </p:nvPr>
        </p:nvSpPr>
        <p:spPr>
          <a:xfrm>
            <a:off x="454559" y="121204"/>
            <a:ext cx="7455190" cy="51435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20" name="スライド番号プレースホルダ 5">
            <a:extLst>
              <a:ext uri="{FF2B5EF4-FFF2-40B4-BE49-F238E27FC236}">
                <a16:creationId xmlns:a16="http://schemas.microsoft.com/office/drawing/2014/main" xmlns="" id="{51A4825E-63A1-564F-BC3A-FBC167ECE5EB}"/>
              </a:ext>
            </a:extLst>
          </p:cNvPr>
          <p:cNvSpPr>
            <a:spLocks noGrp="1"/>
          </p:cNvSpPr>
          <p:nvPr>
            <p:ph type="sldNum" sz="quarter" idx="4"/>
          </p:nvPr>
        </p:nvSpPr>
        <p:spPr>
          <a:xfrm>
            <a:off x="233363" y="4892251"/>
            <a:ext cx="221196" cy="147098"/>
          </a:xfrm>
          <a:prstGeom prst="rect">
            <a:avLst/>
          </a:prstGeom>
        </p:spPr>
        <p:txBody>
          <a:bodyPr vert="horz" lIns="0" tIns="45710" rIns="0" bIns="45710"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4108"/>
            <a:fld id="{E9B57936-92EF-4126-AE48-1D9D36D15E98}" type="slidenum">
              <a:rPr lang="ja-JP" altLang="en-US" smtClean="0"/>
              <a:pPr defTabSz="914108"/>
              <a:t>‹Nº›</a:t>
            </a:fld>
            <a:endParaRPr lang="ja-JP" altLang="en-US"/>
          </a:p>
        </p:txBody>
      </p:sp>
      <p:sp>
        <p:nvSpPr>
          <p:cNvPr id="21" name="Rectangle 20">
            <a:extLst>
              <a:ext uri="{FF2B5EF4-FFF2-40B4-BE49-F238E27FC236}">
                <a16:creationId xmlns:a16="http://schemas.microsoft.com/office/drawing/2014/main" xmlns="" id="{FCF9CDB0-5730-E246-B31F-F5963CF8EFDC}"/>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x-none" sz="1350" dirty="0">
              <a:solidFill>
                <a:schemeClr val="accent1"/>
              </a:solidFill>
            </a:endParaRPr>
          </a:p>
        </p:txBody>
      </p:sp>
      <p:sp>
        <p:nvSpPr>
          <p:cNvPr id="24" name="Text Placeholder 6">
            <a:extLst>
              <a:ext uri="{FF2B5EF4-FFF2-40B4-BE49-F238E27FC236}">
                <a16:creationId xmlns:a16="http://schemas.microsoft.com/office/drawing/2014/main" xmlns="" id="{44EB3013-FCB4-1B4E-A9F2-FD57CF727CCC}"/>
              </a:ext>
            </a:extLst>
          </p:cNvPr>
          <p:cNvSpPr>
            <a:spLocks noGrp="1"/>
          </p:cNvSpPr>
          <p:nvPr>
            <p:ph type="body" sz="quarter" idx="16" hasCustomPrompt="1"/>
          </p:nvPr>
        </p:nvSpPr>
        <p:spPr>
          <a:xfrm>
            <a:off x="454559" y="4892251"/>
            <a:ext cx="5226261" cy="154210"/>
          </a:xfrm>
          <a:prstGeom prst="rect">
            <a:avLst/>
          </a:prstGeom>
        </p:spPr>
        <p:txBody>
          <a:bodyPr wrap="none" tIns="0" rIns="0" bIns="72000" numCol="1" anchor="ctr">
            <a:noAutofit/>
          </a:bodyPr>
          <a:lstStyle>
            <a:lvl1pPr marL="0" indent="0">
              <a:lnSpc>
                <a:spcPts val="1200"/>
              </a:lnSpc>
              <a:spcBef>
                <a:spcPts val="0"/>
              </a:spcBef>
              <a:spcAft>
                <a:spcPts val="450"/>
              </a:spcAft>
              <a:buFont typeface="Arial" panose="020B0604020202020204" pitchFamily="34" charset="0"/>
              <a:buNone/>
              <a:defRPr sz="600" b="0">
                <a:solidFill>
                  <a:schemeClr val="accent3"/>
                </a:solidFill>
              </a:defRPr>
            </a:lvl1pPr>
            <a:lvl2pPr marL="342801" indent="0">
              <a:lnSpc>
                <a:spcPts val="1350"/>
              </a:lnSpc>
              <a:spcBef>
                <a:spcPts val="0"/>
              </a:spcBef>
              <a:buNone/>
              <a:defRPr sz="1050"/>
            </a:lvl2pPr>
            <a:lvl3pPr marL="685612" indent="0">
              <a:lnSpc>
                <a:spcPts val="1350"/>
              </a:lnSpc>
              <a:spcBef>
                <a:spcPts val="0"/>
              </a:spcBef>
              <a:buNone/>
              <a:defRPr sz="1050"/>
            </a:lvl3pPr>
            <a:lvl4pPr marL="1028414" indent="0">
              <a:lnSpc>
                <a:spcPts val="1350"/>
              </a:lnSpc>
              <a:spcBef>
                <a:spcPts val="0"/>
              </a:spcBef>
              <a:buNone/>
              <a:defRPr sz="1050"/>
            </a:lvl4pPr>
            <a:lvl5pPr marL="1371218" indent="0">
              <a:lnSpc>
                <a:spcPts val="1350"/>
              </a:lnSpc>
              <a:spcBef>
                <a:spcPts val="0"/>
              </a:spcBef>
              <a:buNone/>
              <a:defRPr sz="1050"/>
            </a:lvl5pPr>
          </a:lstStyle>
          <a:p>
            <a:pPr lvl="0"/>
            <a:r>
              <a:rPr lang="en-US" dirty="0"/>
              <a:t>Private and confidential. For internal use only.</a:t>
            </a:r>
          </a:p>
        </p:txBody>
      </p:sp>
    </p:spTree>
    <p:extLst>
      <p:ext uri="{BB962C8B-B14F-4D97-AF65-F5344CB8AC3E}">
        <p14:creationId xmlns:p14="http://schemas.microsoft.com/office/powerpoint/2010/main" val="988409762"/>
      </p:ext>
    </p:extLst>
  </p:cSld>
  <p:clrMapOvr>
    <a:masterClrMapping/>
  </p:clrMapOvr>
  <p:transition spd="slow">
    <p:push dir="u"/>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userDrawn="1">
  <p:cSld name="5_Standard 1-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xmlns="" id="{FD2406EE-A554-5348-AE6D-4D8B343E6201}"/>
              </a:ext>
            </a:extLst>
          </p:cNvPr>
          <p:cNvSpPr>
            <a:spLocks noGrp="1"/>
          </p:cNvSpPr>
          <p:nvPr>
            <p:ph type="body" sz="quarter" idx="15" hasCustomPrompt="1"/>
          </p:nvPr>
        </p:nvSpPr>
        <p:spPr>
          <a:xfrm>
            <a:off x="233363" y="826789"/>
            <a:ext cx="8677275" cy="3996643"/>
          </a:xfrm>
          <a:prstGeom prst="rect">
            <a:avLst/>
          </a:prstGeom>
        </p:spPr>
        <p:txBody>
          <a:bodyPr tIns="0" rIns="0" bIns="0" numCol="1">
            <a:normAutofit/>
          </a:bodyPr>
          <a:lstStyle>
            <a:lvl1pPr marL="0" indent="0">
              <a:lnSpc>
                <a:spcPct val="100000"/>
              </a:lnSpc>
              <a:spcBef>
                <a:spcPts val="0"/>
              </a:spcBef>
              <a:spcAft>
                <a:spcPts val="450"/>
              </a:spcAft>
              <a:buFont typeface="Arial" panose="020B0604020202020204" pitchFamily="34" charset="0"/>
              <a:buNone/>
              <a:defRPr sz="1200" b="0">
                <a:solidFill>
                  <a:schemeClr val="tx1"/>
                </a:solidFill>
              </a:defRPr>
            </a:lvl1pPr>
            <a:lvl2pPr marL="342801" indent="0">
              <a:lnSpc>
                <a:spcPts val="1350"/>
              </a:lnSpc>
              <a:spcBef>
                <a:spcPts val="0"/>
              </a:spcBef>
              <a:buNone/>
              <a:defRPr sz="1050"/>
            </a:lvl2pPr>
            <a:lvl3pPr marL="685612" indent="0">
              <a:lnSpc>
                <a:spcPts val="1350"/>
              </a:lnSpc>
              <a:spcBef>
                <a:spcPts val="0"/>
              </a:spcBef>
              <a:buNone/>
              <a:defRPr sz="1050"/>
            </a:lvl3pPr>
            <a:lvl4pPr marL="1028414" indent="0">
              <a:lnSpc>
                <a:spcPts val="1350"/>
              </a:lnSpc>
              <a:spcBef>
                <a:spcPts val="0"/>
              </a:spcBef>
              <a:buNone/>
              <a:defRPr sz="1050"/>
            </a:lvl4pPr>
            <a:lvl5pPr marL="1371218" indent="0">
              <a:lnSpc>
                <a:spcPts val="1350"/>
              </a:lnSpc>
              <a:spcBef>
                <a:spcPts val="0"/>
              </a:spcBef>
              <a:buNone/>
              <a:defRPr sz="1050"/>
            </a:lvl5pPr>
          </a:lstStyle>
          <a:p>
            <a:pPr lvl="0"/>
            <a:r>
              <a:rPr lang="en-US" dirty="0"/>
              <a:t>This is a one-column layout. Click to add content</a:t>
            </a:r>
          </a:p>
        </p:txBody>
      </p:sp>
      <p:sp>
        <p:nvSpPr>
          <p:cNvPr id="19" name="Footer Placeholder 8">
            <a:extLst>
              <a:ext uri="{FF2B5EF4-FFF2-40B4-BE49-F238E27FC236}">
                <a16:creationId xmlns:a16="http://schemas.microsoft.com/office/drawing/2014/main" xmlns="" id="{CDA06C55-0643-C148-AAB1-C4BB26FD7B26}"/>
              </a:ext>
            </a:extLst>
          </p:cNvPr>
          <p:cNvSpPr>
            <a:spLocks noGrp="1"/>
          </p:cNvSpPr>
          <p:nvPr>
            <p:ph type="ftr" sz="quarter" idx="3"/>
          </p:nvPr>
        </p:nvSpPr>
        <p:spPr>
          <a:xfrm>
            <a:off x="5824538" y="4892251"/>
            <a:ext cx="3086100" cy="147098"/>
          </a:xfrm>
          <a:prstGeom prst="rect">
            <a:avLst/>
          </a:prstGeom>
        </p:spPr>
        <p:txBody>
          <a:bodyPr vert="horz" lIns="0" tIns="0" rIns="0" bIns="0" rtlCol="0" anchor="ctr"/>
          <a:lstStyle>
            <a:lvl1pPr algn="r">
              <a:defRPr sz="600" b="1" spc="75" baseline="0">
                <a:solidFill>
                  <a:schemeClr val="tx1"/>
                </a:solidFill>
              </a:defRPr>
            </a:lvl1pPr>
          </a:lstStyle>
          <a:p>
            <a:r>
              <a:rPr lang="x-none" dirty="0"/>
              <a:t> </a:t>
            </a:r>
          </a:p>
        </p:txBody>
      </p:sp>
      <p:pic>
        <p:nvPicPr>
          <p:cNvPr id="14" name="Picture 13" descr="Takeda">
            <a:extLst>
              <a:ext uri="{FF2B5EF4-FFF2-40B4-BE49-F238E27FC236}">
                <a16:creationId xmlns:a16="http://schemas.microsoft.com/office/drawing/2014/main" xmlns=""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09748" y="-1211"/>
            <a:ext cx="1272174" cy="705585"/>
          </a:xfrm>
          <a:prstGeom prst="rect">
            <a:avLst/>
          </a:prstGeom>
        </p:spPr>
      </p:pic>
      <p:sp>
        <p:nvSpPr>
          <p:cNvPr id="22" name="タイトル プレースホルダ 1">
            <a:extLst>
              <a:ext uri="{FF2B5EF4-FFF2-40B4-BE49-F238E27FC236}">
                <a16:creationId xmlns:a16="http://schemas.microsoft.com/office/drawing/2014/main" xmlns="" id="{86D2E5B8-9E2B-DB46-A55A-5F26569C4F99}"/>
              </a:ext>
            </a:extLst>
          </p:cNvPr>
          <p:cNvSpPr>
            <a:spLocks noGrp="1"/>
          </p:cNvSpPr>
          <p:nvPr>
            <p:ph type="title" hasCustomPrompt="1"/>
          </p:nvPr>
        </p:nvSpPr>
        <p:spPr>
          <a:xfrm>
            <a:off x="454559" y="121204"/>
            <a:ext cx="7455190" cy="51435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20" name="スライド番号プレースホルダ 5">
            <a:extLst>
              <a:ext uri="{FF2B5EF4-FFF2-40B4-BE49-F238E27FC236}">
                <a16:creationId xmlns:a16="http://schemas.microsoft.com/office/drawing/2014/main" xmlns="" id="{51A4825E-63A1-564F-BC3A-FBC167ECE5EB}"/>
              </a:ext>
            </a:extLst>
          </p:cNvPr>
          <p:cNvSpPr>
            <a:spLocks noGrp="1"/>
          </p:cNvSpPr>
          <p:nvPr>
            <p:ph type="sldNum" sz="quarter" idx="4"/>
          </p:nvPr>
        </p:nvSpPr>
        <p:spPr>
          <a:xfrm>
            <a:off x="233363" y="4892251"/>
            <a:ext cx="221196" cy="147098"/>
          </a:xfrm>
          <a:prstGeom prst="rect">
            <a:avLst/>
          </a:prstGeom>
        </p:spPr>
        <p:txBody>
          <a:bodyPr vert="horz" lIns="0" tIns="45710" rIns="0" bIns="45710"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4108"/>
            <a:fld id="{E9B57936-92EF-4126-AE48-1D9D36D15E98}" type="slidenum">
              <a:rPr lang="ja-JP" altLang="en-US" smtClean="0"/>
              <a:pPr defTabSz="914108"/>
              <a:t>‹Nº›</a:t>
            </a:fld>
            <a:endParaRPr lang="ja-JP" altLang="en-US"/>
          </a:p>
        </p:txBody>
      </p:sp>
      <p:sp>
        <p:nvSpPr>
          <p:cNvPr id="21" name="Rectangle 20">
            <a:extLst>
              <a:ext uri="{FF2B5EF4-FFF2-40B4-BE49-F238E27FC236}">
                <a16:creationId xmlns:a16="http://schemas.microsoft.com/office/drawing/2014/main" xmlns="" id="{FCF9CDB0-5730-E246-B31F-F5963CF8EFDC}"/>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x-none" sz="1350" dirty="0">
              <a:solidFill>
                <a:schemeClr val="accent1"/>
              </a:solidFill>
            </a:endParaRPr>
          </a:p>
        </p:txBody>
      </p:sp>
      <p:sp>
        <p:nvSpPr>
          <p:cNvPr id="24" name="Text Placeholder 6">
            <a:extLst>
              <a:ext uri="{FF2B5EF4-FFF2-40B4-BE49-F238E27FC236}">
                <a16:creationId xmlns:a16="http://schemas.microsoft.com/office/drawing/2014/main" xmlns="" id="{44EB3013-FCB4-1B4E-A9F2-FD57CF727CCC}"/>
              </a:ext>
            </a:extLst>
          </p:cNvPr>
          <p:cNvSpPr>
            <a:spLocks noGrp="1"/>
          </p:cNvSpPr>
          <p:nvPr>
            <p:ph type="body" sz="quarter" idx="16" hasCustomPrompt="1"/>
          </p:nvPr>
        </p:nvSpPr>
        <p:spPr>
          <a:xfrm>
            <a:off x="454559" y="4892251"/>
            <a:ext cx="5226261" cy="154210"/>
          </a:xfrm>
          <a:prstGeom prst="rect">
            <a:avLst/>
          </a:prstGeom>
        </p:spPr>
        <p:txBody>
          <a:bodyPr wrap="none" tIns="0" rIns="0" bIns="72000" numCol="1" anchor="ctr">
            <a:noAutofit/>
          </a:bodyPr>
          <a:lstStyle>
            <a:lvl1pPr marL="0" indent="0">
              <a:lnSpc>
                <a:spcPts val="1200"/>
              </a:lnSpc>
              <a:spcBef>
                <a:spcPts val="0"/>
              </a:spcBef>
              <a:spcAft>
                <a:spcPts val="450"/>
              </a:spcAft>
              <a:buFont typeface="Arial" panose="020B0604020202020204" pitchFamily="34" charset="0"/>
              <a:buNone/>
              <a:defRPr sz="600" b="0">
                <a:solidFill>
                  <a:schemeClr val="accent3"/>
                </a:solidFill>
              </a:defRPr>
            </a:lvl1pPr>
            <a:lvl2pPr marL="342801" indent="0">
              <a:lnSpc>
                <a:spcPts val="1350"/>
              </a:lnSpc>
              <a:spcBef>
                <a:spcPts val="0"/>
              </a:spcBef>
              <a:buNone/>
              <a:defRPr sz="1050"/>
            </a:lvl2pPr>
            <a:lvl3pPr marL="685612" indent="0">
              <a:lnSpc>
                <a:spcPts val="1350"/>
              </a:lnSpc>
              <a:spcBef>
                <a:spcPts val="0"/>
              </a:spcBef>
              <a:buNone/>
              <a:defRPr sz="1050"/>
            </a:lvl3pPr>
            <a:lvl4pPr marL="1028414" indent="0">
              <a:lnSpc>
                <a:spcPts val="1350"/>
              </a:lnSpc>
              <a:spcBef>
                <a:spcPts val="0"/>
              </a:spcBef>
              <a:buNone/>
              <a:defRPr sz="1050"/>
            </a:lvl4pPr>
            <a:lvl5pPr marL="1371218" indent="0">
              <a:lnSpc>
                <a:spcPts val="1350"/>
              </a:lnSpc>
              <a:spcBef>
                <a:spcPts val="0"/>
              </a:spcBef>
              <a:buNone/>
              <a:defRPr sz="1050"/>
            </a:lvl5pPr>
          </a:lstStyle>
          <a:p>
            <a:pPr lvl="0"/>
            <a:r>
              <a:rPr lang="en-US" dirty="0"/>
              <a:t>Private and confidential. For internal use only.</a:t>
            </a:r>
          </a:p>
        </p:txBody>
      </p:sp>
    </p:spTree>
    <p:extLst>
      <p:ext uri="{BB962C8B-B14F-4D97-AF65-F5344CB8AC3E}">
        <p14:creationId xmlns:p14="http://schemas.microsoft.com/office/powerpoint/2010/main" val="4214620087"/>
      </p:ext>
    </p:extLst>
  </p:cSld>
  <p:clrMapOvr>
    <a:masterClrMapping/>
  </p:clrMapOvr>
  <p:transition spd="slow">
    <p:push dir="u"/>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userDrawn="1">
  <p:cSld name="6_Standard 1-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xmlns="" id="{FD2406EE-A554-5348-AE6D-4D8B343E6201}"/>
              </a:ext>
            </a:extLst>
          </p:cNvPr>
          <p:cNvSpPr>
            <a:spLocks noGrp="1"/>
          </p:cNvSpPr>
          <p:nvPr>
            <p:ph type="body" sz="quarter" idx="15" hasCustomPrompt="1"/>
          </p:nvPr>
        </p:nvSpPr>
        <p:spPr>
          <a:xfrm>
            <a:off x="233363" y="826789"/>
            <a:ext cx="8677275" cy="3996643"/>
          </a:xfrm>
          <a:prstGeom prst="rect">
            <a:avLst/>
          </a:prstGeom>
        </p:spPr>
        <p:txBody>
          <a:bodyPr tIns="0" rIns="0" bIns="0" numCol="1">
            <a:normAutofit/>
          </a:bodyPr>
          <a:lstStyle>
            <a:lvl1pPr marL="0" indent="0">
              <a:lnSpc>
                <a:spcPct val="100000"/>
              </a:lnSpc>
              <a:spcBef>
                <a:spcPts val="0"/>
              </a:spcBef>
              <a:spcAft>
                <a:spcPts val="450"/>
              </a:spcAft>
              <a:buFont typeface="Arial" panose="020B0604020202020204" pitchFamily="34" charset="0"/>
              <a:buNone/>
              <a:defRPr sz="1200" b="0">
                <a:solidFill>
                  <a:schemeClr val="tx1"/>
                </a:solidFill>
              </a:defRPr>
            </a:lvl1pPr>
            <a:lvl2pPr marL="342801" indent="0">
              <a:lnSpc>
                <a:spcPts val="1350"/>
              </a:lnSpc>
              <a:spcBef>
                <a:spcPts val="0"/>
              </a:spcBef>
              <a:buNone/>
              <a:defRPr sz="1050"/>
            </a:lvl2pPr>
            <a:lvl3pPr marL="685612" indent="0">
              <a:lnSpc>
                <a:spcPts val="1350"/>
              </a:lnSpc>
              <a:spcBef>
                <a:spcPts val="0"/>
              </a:spcBef>
              <a:buNone/>
              <a:defRPr sz="1050"/>
            </a:lvl3pPr>
            <a:lvl4pPr marL="1028414" indent="0">
              <a:lnSpc>
                <a:spcPts val="1350"/>
              </a:lnSpc>
              <a:spcBef>
                <a:spcPts val="0"/>
              </a:spcBef>
              <a:buNone/>
              <a:defRPr sz="1050"/>
            </a:lvl4pPr>
            <a:lvl5pPr marL="1371218" indent="0">
              <a:lnSpc>
                <a:spcPts val="1350"/>
              </a:lnSpc>
              <a:spcBef>
                <a:spcPts val="0"/>
              </a:spcBef>
              <a:buNone/>
              <a:defRPr sz="1050"/>
            </a:lvl5pPr>
          </a:lstStyle>
          <a:p>
            <a:pPr lvl="0"/>
            <a:r>
              <a:rPr lang="en-US" dirty="0"/>
              <a:t>This is a one-column layout. Click to add content</a:t>
            </a:r>
          </a:p>
        </p:txBody>
      </p:sp>
      <p:sp>
        <p:nvSpPr>
          <p:cNvPr id="19" name="Footer Placeholder 8">
            <a:extLst>
              <a:ext uri="{FF2B5EF4-FFF2-40B4-BE49-F238E27FC236}">
                <a16:creationId xmlns:a16="http://schemas.microsoft.com/office/drawing/2014/main" xmlns="" id="{CDA06C55-0643-C148-AAB1-C4BB26FD7B26}"/>
              </a:ext>
            </a:extLst>
          </p:cNvPr>
          <p:cNvSpPr>
            <a:spLocks noGrp="1"/>
          </p:cNvSpPr>
          <p:nvPr>
            <p:ph type="ftr" sz="quarter" idx="3"/>
          </p:nvPr>
        </p:nvSpPr>
        <p:spPr>
          <a:xfrm>
            <a:off x="5824538" y="4892251"/>
            <a:ext cx="3086100" cy="147098"/>
          </a:xfrm>
          <a:prstGeom prst="rect">
            <a:avLst/>
          </a:prstGeom>
        </p:spPr>
        <p:txBody>
          <a:bodyPr vert="horz" lIns="0" tIns="0" rIns="0" bIns="0" rtlCol="0" anchor="ctr"/>
          <a:lstStyle>
            <a:lvl1pPr algn="r">
              <a:defRPr sz="600" b="1" spc="75" baseline="0">
                <a:solidFill>
                  <a:schemeClr val="tx1"/>
                </a:solidFill>
              </a:defRPr>
            </a:lvl1pPr>
          </a:lstStyle>
          <a:p>
            <a:r>
              <a:rPr lang="x-none" dirty="0"/>
              <a:t> </a:t>
            </a:r>
          </a:p>
        </p:txBody>
      </p:sp>
      <p:pic>
        <p:nvPicPr>
          <p:cNvPr id="14" name="Picture 13" descr="Takeda">
            <a:extLst>
              <a:ext uri="{FF2B5EF4-FFF2-40B4-BE49-F238E27FC236}">
                <a16:creationId xmlns:a16="http://schemas.microsoft.com/office/drawing/2014/main" xmlns=""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909748" y="-1211"/>
            <a:ext cx="1272174" cy="705585"/>
          </a:xfrm>
          <a:prstGeom prst="rect">
            <a:avLst/>
          </a:prstGeom>
        </p:spPr>
      </p:pic>
      <p:sp>
        <p:nvSpPr>
          <p:cNvPr id="22" name="タイトル プレースホルダ 1">
            <a:extLst>
              <a:ext uri="{FF2B5EF4-FFF2-40B4-BE49-F238E27FC236}">
                <a16:creationId xmlns:a16="http://schemas.microsoft.com/office/drawing/2014/main" xmlns="" id="{86D2E5B8-9E2B-DB46-A55A-5F26569C4F99}"/>
              </a:ext>
            </a:extLst>
          </p:cNvPr>
          <p:cNvSpPr>
            <a:spLocks noGrp="1"/>
          </p:cNvSpPr>
          <p:nvPr>
            <p:ph type="title" hasCustomPrompt="1"/>
          </p:nvPr>
        </p:nvSpPr>
        <p:spPr>
          <a:xfrm>
            <a:off x="454559" y="121204"/>
            <a:ext cx="7455190" cy="51435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20" name="スライド番号プレースホルダ 5">
            <a:extLst>
              <a:ext uri="{FF2B5EF4-FFF2-40B4-BE49-F238E27FC236}">
                <a16:creationId xmlns:a16="http://schemas.microsoft.com/office/drawing/2014/main" xmlns="" id="{51A4825E-63A1-564F-BC3A-FBC167ECE5EB}"/>
              </a:ext>
            </a:extLst>
          </p:cNvPr>
          <p:cNvSpPr>
            <a:spLocks noGrp="1"/>
          </p:cNvSpPr>
          <p:nvPr>
            <p:ph type="sldNum" sz="quarter" idx="4"/>
          </p:nvPr>
        </p:nvSpPr>
        <p:spPr>
          <a:xfrm>
            <a:off x="233363" y="4892251"/>
            <a:ext cx="221196" cy="147098"/>
          </a:xfrm>
          <a:prstGeom prst="rect">
            <a:avLst/>
          </a:prstGeom>
        </p:spPr>
        <p:txBody>
          <a:bodyPr vert="horz" lIns="0" tIns="45710" rIns="0" bIns="45710"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4108"/>
            <a:fld id="{E9B57936-92EF-4126-AE48-1D9D36D15E98}" type="slidenum">
              <a:rPr lang="ja-JP" altLang="en-US" smtClean="0"/>
              <a:pPr defTabSz="914108"/>
              <a:t>‹Nº›</a:t>
            </a:fld>
            <a:endParaRPr lang="ja-JP" altLang="en-US"/>
          </a:p>
        </p:txBody>
      </p:sp>
      <p:sp>
        <p:nvSpPr>
          <p:cNvPr id="21" name="Rectangle 20">
            <a:extLst>
              <a:ext uri="{FF2B5EF4-FFF2-40B4-BE49-F238E27FC236}">
                <a16:creationId xmlns:a16="http://schemas.microsoft.com/office/drawing/2014/main" xmlns="" id="{FCF9CDB0-5730-E246-B31F-F5963CF8EFDC}"/>
              </a:ext>
            </a:extLst>
          </p:cNvPr>
          <p:cNvSpPr/>
          <p:nvPr userDrawn="1"/>
        </p:nvSpPr>
        <p:spPr>
          <a:xfrm>
            <a:off x="231029" y="121204"/>
            <a:ext cx="40500" cy="51435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x-none" sz="1350" dirty="0">
              <a:solidFill>
                <a:schemeClr val="accent1"/>
              </a:solidFill>
            </a:endParaRPr>
          </a:p>
        </p:txBody>
      </p:sp>
      <p:sp>
        <p:nvSpPr>
          <p:cNvPr id="24" name="Text Placeholder 6">
            <a:extLst>
              <a:ext uri="{FF2B5EF4-FFF2-40B4-BE49-F238E27FC236}">
                <a16:creationId xmlns:a16="http://schemas.microsoft.com/office/drawing/2014/main" xmlns="" id="{44EB3013-FCB4-1B4E-A9F2-FD57CF727CCC}"/>
              </a:ext>
            </a:extLst>
          </p:cNvPr>
          <p:cNvSpPr>
            <a:spLocks noGrp="1"/>
          </p:cNvSpPr>
          <p:nvPr>
            <p:ph type="body" sz="quarter" idx="16" hasCustomPrompt="1"/>
          </p:nvPr>
        </p:nvSpPr>
        <p:spPr>
          <a:xfrm>
            <a:off x="454559" y="4892251"/>
            <a:ext cx="5226261" cy="154210"/>
          </a:xfrm>
          <a:prstGeom prst="rect">
            <a:avLst/>
          </a:prstGeom>
        </p:spPr>
        <p:txBody>
          <a:bodyPr wrap="none" tIns="0" rIns="0" bIns="72000" numCol="1" anchor="ctr">
            <a:noAutofit/>
          </a:bodyPr>
          <a:lstStyle>
            <a:lvl1pPr marL="0" indent="0">
              <a:lnSpc>
                <a:spcPts val="1200"/>
              </a:lnSpc>
              <a:spcBef>
                <a:spcPts val="0"/>
              </a:spcBef>
              <a:spcAft>
                <a:spcPts val="450"/>
              </a:spcAft>
              <a:buFont typeface="Arial" panose="020B0604020202020204" pitchFamily="34" charset="0"/>
              <a:buNone/>
              <a:defRPr sz="600" b="0">
                <a:solidFill>
                  <a:schemeClr val="accent3"/>
                </a:solidFill>
              </a:defRPr>
            </a:lvl1pPr>
            <a:lvl2pPr marL="342801" indent="0">
              <a:lnSpc>
                <a:spcPts val="1350"/>
              </a:lnSpc>
              <a:spcBef>
                <a:spcPts val="0"/>
              </a:spcBef>
              <a:buNone/>
              <a:defRPr sz="1050"/>
            </a:lvl2pPr>
            <a:lvl3pPr marL="685612" indent="0">
              <a:lnSpc>
                <a:spcPts val="1350"/>
              </a:lnSpc>
              <a:spcBef>
                <a:spcPts val="0"/>
              </a:spcBef>
              <a:buNone/>
              <a:defRPr sz="1050"/>
            </a:lvl3pPr>
            <a:lvl4pPr marL="1028414" indent="0">
              <a:lnSpc>
                <a:spcPts val="1350"/>
              </a:lnSpc>
              <a:spcBef>
                <a:spcPts val="0"/>
              </a:spcBef>
              <a:buNone/>
              <a:defRPr sz="1050"/>
            </a:lvl4pPr>
            <a:lvl5pPr marL="1371218" indent="0">
              <a:lnSpc>
                <a:spcPts val="1350"/>
              </a:lnSpc>
              <a:spcBef>
                <a:spcPts val="0"/>
              </a:spcBef>
              <a:buNone/>
              <a:defRPr sz="1050"/>
            </a:lvl5pPr>
          </a:lstStyle>
          <a:p>
            <a:pPr lvl="0"/>
            <a:r>
              <a:rPr lang="en-US" dirty="0"/>
              <a:t>Private and confidential. For internal use only.</a:t>
            </a:r>
          </a:p>
        </p:txBody>
      </p:sp>
    </p:spTree>
    <p:extLst>
      <p:ext uri="{BB962C8B-B14F-4D97-AF65-F5344CB8AC3E}">
        <p14:creationId xmlns:p14="http://schemas.microsoft.com/office/powerpoint/2010/main" val="1798982066"/>
      </p:ext>
    </p:extLst>
  </p:cSld>
  <p:clrMapOvr>
    <a:masterClrMapping/>
  </p:clrMapOvr>
  <p:transition spd="slow">
    <p:push dir="u"/>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800" y="1598911"/>
            <a:ext cx="7772400" cy="1102519"/>
          </a:xfrm>
        </p:spPr>
        <p:txBody>
          <a:bodyPr/>
          <a:lstStyle/>
          <a:p>
            <a:r>
              <a:rPr lang="es-ES"/>
              <a:t>Haga clic para modificar el estilo de título del patrón</a:t>
            </a:r>
          </a:p>
        </p:txBody>
      </p:sp>
      <p:sp>
        <p:nvSpPr>
          <p:cNvPr id="3" name="2 Subtítulo"/>
          <p:cNvSpPr>
            <a:spLocks noGrp="1"/>
          </p:cNvSpPr>
          <p:nvPr>
            <p:ph type="subTitle" idx="1"/>
          </p:nvPr>
        </p:nvSpPr>
        <p:spPr>
          <a:xfrm>
            <a:off x="1371600" y="2914653"/>
            <a:ext cx="6400800" cy="1314450"/>
          </a:xfrm>
        </p:spPr>
        <p:txBody>
          <a:bodyPr/>
          <a:lstStyle>
            <a:lvl1pPr marL="0" indent="0" algn="ctr">
              <a:buNone/>
              <a:defRPr>
                <a:solidFill>
                  <a:schemeClr val="tx1">
                    <a:tint val="75000"/>
                  </a:schemeClr>
                </a:solidFill>
              </a:defRPr>
            </a:lvl1pPr>
            <a:lvl2pPr marL="447904" indent="0" algn="ctr">
              <a:buNone/>
              <a:defRPr>
                <a:solidFill>
                  <a:schemeClr val="tx1">
                    <a:tint val="75000"/>
                  </a:schemeClr>
                </a:solidFill>
              </a:defRPr>
            </a:lvl2pPr>
            <a:lvl3pPr marL="895763" indent="0" algn="ctr">
              <a:buNone/>
              <a:defRPr>
                <a:solidFill>
                  <a:schemeClr val="tx1">
                    <a:tint val="75000"/>
                  </a:schemeClr>
                </a:solidFill>
              </a:defRPr>
            </a:lvl3pPr>
            <a:lvl4pPr marL="1343687" indent="0" algn="ctr">
              <a:buNone/>
              <a:defRPr>
                <a:solidFill>
                  <a:schemeClr val="tx1">
                    <a:tint val="75000"/>
                  </a:schemeClr>
                </a:solidFill>
              </a:defRPr>
            </a:lvl4pPr>
            <a:lvl5pPr marL="1791534" indent="0" algn="ctr">
              <a:buNone/>
              <a:defRPr>
                <a:solidFill>
                  <a:schemeClr val="tx1">
                    <a:tint val="75000"/>
                  </a:schemeClr>
                </a:solidFill>
              </a:defRPr>
            </a:lvl5pPr>
            <a:lvl6pPr marL="2239429" indent="0" algn="ctr">
              <a:buNone/>
              <a:defRPr>
                <a:solidFill>
                  <a:schemeClr val="tx1">
                    <a:tint val="75000"/>
                  </a:schemeClr>
                </a:solidFill>
              </a:defRPr>
            </a:lvl6pPr>
            <a:lvl7pPr marL="2687326" indent="0" algn="ctr">
              <a:buNone/>
              <a:defRPr>
                <a:solidFill>
                  <a:schemeClr val="tx1">
                    <a:tint val="75000"/>
                  </a:schemeClr>
                </a:solidFill>
              </a:defRPr>
            </a:lvl7pPr>
            <a:lvl8pPr marL="3135229" indent="0" algn="ctr">
              <a:buNone/>
              <a:defRPr>
                <a:solidFill>
                  <a:schemeClr val="tx1">
                    <a:tint val="75000"/>
                  </a:schemeClr>
                </a:solidFill>
              </a:defRPr>
            </a:lvl8pPr>
            <a:lvl9pPr marL="3583064" indent="0" algn="ctr">
              <a:buNone/>
              <a:defRPr>
                <a:solidFill>
                  <a:schemeClr val="tx1">
                    <a:tint val="75000"/>
                  </a:schemeClr>
                </a:solidFill>
              </a:defRPr>
            </a:lvl9pPr>
          </a:lstStyle>
          <a:p>
            <a:r>
              <a:rPr lang="es-ES"/>
              <a:t>Haga clic para modificar el estilo de subtítulo del patrón</a:t>
            </a:r>
          </a:p>
        </p:txBody>
      </p:sp>
      <p:sp>
        <p:nvSpPr>
          <p:cNvPr id="5" name="4 Marcador de pie de página"/>
          <p:cNvSpPr>
            <a:spLocks noGrp="1"/>
          </p:cNvSpPr>
          <p:nvPr>
            <p:ph type="ftr" sz="quarter" idx="11"/>
          </p:nvPr>
        </p:nvSpPr>
        <p:spPr/>
        <p:txBody>
          <a:bodyPr/>
          <a:lstStyle>
            <a:lvl1pPr>
              <a:defRPr b="1"/>
            </a:lvl1pPr>
          </a:lstStyle>
          <a:p>
            <a:pPr>
              <a:defRPr/>
            </a:pPr>
            <a:r>
              <a:rPr lang="es-AR"/>
              <a:t>Presentación dirigida a profesionales de la salud - </a:t>
            </a:r>
            <a:r>
              <a:rPr lang="en-GB"/>
              <a:t>SPAR.OTHE.20.04.0086 - 2.1</a:t>
            </a:r>
            <a:endParaRPr lang="es-AR"/>
          </a:p>
          <a:p>
            <a:pPr>
              <a:defRPr/>
            </a:pPr>
            <a:endParaRPr lang="es-ES"/>
          </a:p>
        </p:txBody>
      </p:sp>
      <p:sp>
        <p:nvSpPr>
          <p:cNvPr id="6" name="5 Marcador de número de diapositiva"/>
          <p:cNvSpPr>
            <a:spLocks noGrp="1"/>
          </p:cNvSpPr>
          <p:nvPr>
            <p:ph type="sldNum" sz="quarter" idx="12"/>
          </p:nvPr>
        </p:nvSpPr>
        <p:spPr/>
        <p:txBody>
          <a:bodyPr/>
          <a:lstStyle>
            <a:lvl1pPr>
              <a:defRPr b="1"/>
            </a:lvl1pPr>
          </a:lstStyle>
          <a:p>
            <a:pPr>
              <a:defRPr/>
            </a:pPr>
            <a:fld id="{6C732D64-44EA-40AF-9D46-995CAEF5B6A7}" type="slidenum">
              <a:rPr lang="es-ES"/>
              <a:pPr>
                <a:defRPr/>
              </a:pPr>
              <a:t>‹Nº›</a:t>
            </a:fld>
            <a:endParaRPr lang="es-ES"/>
          </a:p>
        </p:txBody>
      </p:sp>
    </p:spTree>
    <p:extLst>
      <p:ext uri="{BB962C8B-B14F-4D97-AF65-F5344CB8AC3E}">
        <p14:creationId xmlns:p14="http://schemas.microsoft.com/office/powerpoint/2010/main" val="1954377355"/>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fecha"/>
          <p:cNvSpPr>
            <a:spLocks noGrp="1"/>
          </p:cNvSpPr>
          <p:nvPr>
            <p:ph type="dt" sz="half" idx="10"/>
          </p:nvPr>
        </p:nvSpPr>
        <p:spPr>
          <a:xfrm>
            <a:off x="457201" y="4767357"/>
            <a:ext cx="2133600" cy="273844"/>
          </a:xfrm>
          <a:prstGeom prst="rect">
            <a:avLst/>
          </a:prstGeom>
        </p:spPr>
        <p:txBody>
          <a:bodyPr lIns="89831" tIns="44915" rIns="89831" bIns="44915"/>
          <a:lstStyle>
            <a:lvl1pPr>
              <a:defRPr b="1"/>
            </a:lvl1pPr>
          </a:lstStyle>
          <a:p>
            <a:pPr defTabSz="895763">
              <a:defRPr/>
            </a:pPr>
            <a:fld id="{A4C140CF-BE19-4166-B767-3CA6ECEC4D44}" type="datetimeFigureOut">
              <a:rPr lang="es-ES" smtClean="0">
                <a:solidFill>
                  <a:prstClr val="black"/>
                </a:solidFill>
              </a:rPr>
              <a:pPr defTabSz="895763">
                <a:defRPr/>
              </a:pPr>
              <a:t>07/08/2024</a:t>
            </a:fld>
            <a:endParaRPr lang="es-ES">
              <a:solidFill>
                <a:prstClr val="black"/>
              </a:solidFill>
            </a:endParaRPr>
          </a:p>
        </p:txBody>
      </p:sp>
      <p:sp>
        <p:nvSpPr>
          <p:cNvPr id="5" name="4 Marcador de pie de página"/>
          <p:cNvSpPr>
            <a:spLocks noGrp="1"/>
          </p:cNvSpPr>
          <p:nvPr>
            <p:ph type="ftr" sz="quarter" idx="11"/>
          </p:nvPr>
        </p:nvSpPr>
        <p:spPr/>
        <p:txBody>
          <a:bodyPr/>
          <a:lstStyle>
            <a:lvl1pPr>
              <a:defRPr b="1"/>
            </a:lvl1pPr>
          </a:lstStyle>
          <a:p>
            <a:pPr>
              <a:defRPr/>
            </a:pPr>
            <a:endParaRPr lang="es-ES"/>
          </a:p>
        </p:txBody>
      </p:sp>
      <p:sp>
        <p:nvSpPr>
          <p:cNvPr id="6" name="5 Marcador de número de diapositiva"/>
          <p:cNvSpPr>
            <a:spLocks noGrp="1"/>
          </p:cNvSpPr>
          <p:nvPr>
            <p:ph type="sldNum" sz="quarter" idx="12"/>
          </p:nvPr>
        </p:nvSpPr>
        <p:spPr/>
        <p:txBody>
          <a:bodyPr/>
          <a:lstStyle>
            <a:lvl1pPr>
              <a:defRPr b="1"/>
            </a:lvl1pPr>
          </a:lstStyle>
          <a:p>
            <a:pPr>
              <a:defRPr/>
            </a:pPr>
            <a:fld id="{9B738D0D-596A-4385-A6B9-D0B651B5D5F0}" type="slidenum">
              <a:rPr lang="es-ES"/>
              <a:pPr>
                <a:defRPr/>
              </a:pPr>
              <a:t>‹Nº›</a:t>
            </a:fld>
            <a:endParaRPr lang="es-ES"/>
          </a:p>
        </p:txBody>
      </p:sp>
    </p:spTree>
    <p:extLst>
      <p:ext uri="{BB962C8B-B14F-4D97-AF65-F5344CB8AC3E}">
        <p14:creationId xmlns:p14="http://schemas.microsoft.com/office/powerpoint/2010/main" val="14043427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67407235"/>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4193"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 xmlns:a16="http://schemas.microsoft.com/office/drawing/2014/main" id="{C8B92347-A282-458C-A4C1-03A426092622}"/>
              </a:ext>
            </a:extLst>
          </p:cNvPr>
          <p:cNvSpPr/>
          <p:nvPr userDrawn="1">
            <p:custDataLst>
              <p:tags r:id="rId3"/>
            </p:custDataLst>
          </p:nvPr>
        </p:nvSpPr>
        <p:spPr>
          <a:xfrm>
            <a:off x="2" y="77"/>
            <a:ext cx="119063" cy="119063"/>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85800"/>
            <a:endParaRPr lang="en-GB" b="1">
              <a:solidFill>
                <a:srgbClr val="000000"/>
              </a:solidFill>
              <a:latin typeface="Arial" panose="020B0604020202020204" pitchFamily="34" charset="0"/>
              <a:sym typeface="Arial" panose="020B0604020202020204" pitchFamily="34" charset="0"/>
            </a:endParaRPr>
          </a:p>
        </p:txBody>
      </p:sp>
      <p:sp>
        <p:nvSpPr>
          <p:cNvPr id="6" name="Oval 5">
            <a:extLst>
              <a:ext uri="{FF2B5EF4-FFF2-40B4-BE49-F238E27FC236}">
                <a16:creationId xmlns="" xmlns:a16="http://schemas.microsoft.com/office/drawing/2014/main" id="{E03968F9-9E57-40AF-837A-98C11EC31399}"/>
              </a:ext>
            </a:extLst>
          </p:cNvPr>
          <p:cNvSpPr/>
          <p:nvPr userDrawn="1"/>
        </p:nvSpPr>
        <p:spPr>
          <a:xfrm>
            <a:off x="-1556764" y="-1537258"/>
            <a:ext cx="8218021" cy="8218021"/>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en-GB" sz="1400">
              <a:solidFill>
                <a:srgbClr val="FFFFFF"/>
              </a:solidFill>
            </a:endParaRPr>
          </a:p>
        </p:txBody>
      </p:sp>
      <p:sp>
        <p:nvSpPr>
          <p:cNvPr id="2" name="2. Slide Title"/>
          <p:cNvSpPr>
            <a:spLocks noGrp="1"/>
          </p:cNvSpPr>
          <p:nvPr>
            <p:ph type="title"/>
          </p:nvPr>
        </p:nvSpPr>
        <p:spPr bwMode="gray"/>
        <p:txBody>
          <a:bodyPr/>
          <a:lstStyle/>
          <a:p>
            <a:r>
              <a:rPr lang="en-GB"/>
              <a:t>Click to edit Master title style</a:t>
            </a:r>
          </a:p>
        </p:txBody>
      </p:sp>
      <p:sp>
        <p:nvSpPr>
          <p:cNvPr id="5" name="doc id" hidden="1"/>
          <p:cNvSpPr>
            <a:spLocks noChangeArrowheads="1"/>
          </p:cNvSpPr>
          <p:nvPr userDrawn="1"/>
        </p:nvSpPr>
        <p:spPr bwMode="gray">
          <a:xfrm flipH="1">
            <a:off x="7993503" y="38877"/>
            <a:ext cx="923672" cy="769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913520"/>
            <a:endParaRPr lang="en-GB" sz="500">
              <a:solidFill>
                <a:srgbClr val="808080"/>
              </a:solidFill>
            </a:endParaRPr>
          </a:p>
        </p:txBody>
      </p:sp>
    </p:spTree>
    <p:extLst>
      <p:ext uri="{BB962C8B-B14F-4D97-AF65-F5344CB8AC3E}">
        <p14:creationId xmlns:p14="http://schemas.microsoft.com/office/powerpoint/2010/main" val="3381236313"/>
      </p:ext>
    </p:extLst>
  </p:cSld>
  <p:clrMapOvr>
    <a:masterClrMapping/>
  </p:clrMapOvr>
  <p:extLst mod="1">
    <p:ext uri="{DCECCB84-F9BA-43D5-87BE-67443E8EF086}">
      <p15:sldGuideLst xmlns:p15="http://schemas.microsoft.com/office/powerpoint/2012/main">
        <p15:guide id="1" pos="7489">
          <p15:clr>
            <a:srgbClr val="F26B43"/>
          </p15:clr>
        </p15:guide>
        <p15:guide id="2" pos="101">
          <p15:clr>
            <a:srgbClr val="F26B43"/>
          </p15:clr>
        </p15:guide>
        <p15:guide id="3" orient="horz" pos="701">
          <p15:clr>
            <a:srgbClr val="F26B43"/>
          </p15:clr>
        </p15:guide>
        <p15:guide id="4" orient="horz" pos="3991">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with Subheading">
    <p:spTree>
      <p:nvGrpSpPr>
        <p:cNvPr id="1" name=""/>
        <p:cNvGrpSpPr/>
        <p:nvPr/>
      </p:nvGrpSpPr>
      <p:grpSpPr>
        <a:xfrm>
          <a:off x="0" y="0"/>
          <a:ext cx="0" cy="0"/>
          <a:chOff x="0" y="0"/>
          <a:chExt cx="0" cy="0"/>
        </a:xfrm>
      </p:grpSpPr>
      <p:sp>
        <p:nvSpPr>
          <p:cNvPr id="6" name="Title 5"/>
          <p:cNvSpPr>
            <a:spLocks noGrp="1"/>
          </p:cNvSpPr>
          <p:nvPr>
            <p:ph type="title"/>
          </p:nvPr>
        </p:nvSpPr>
        <p:spPr>
          <a:xfrm>
            <a:off x="365133" y="221107"/>
            <a:ext cx="7577139" cy="253916"/>
          </a:xfrm>
        </p:spPr>
        <p:txBody>
          <a:bodyPr/>
          <a:lstStyle/>
          <a:p>
            <a:r>
              <a:rPr lang="en-US"/>
              <a:t>Click to edit Master title style</a:t>
            </a:r>
            <a:endParaRPr lang="en-GB"/>
          </a:p>
        </p:txBody>
      </p:sp>
      <p:sp>
        <p:nvSpPr>
          <p:cNvPr id="10" name="Content Placeholder 9"/>
          <p:cNvSpPr>
            <a:spLocks noGrp="1"/>
          </p:cNvSpPr>
          <p:nvPr>
            <p:ph sz="quarter" idx="19"/>
          </p:nvPr>
        </p:nvSpPr>
        <p:spPr>
          <a:xfrm>
            <a:off x="358900" y="1143734"/>
            <a:ext cx="8418513" cy="325568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
          <p:cNvSpPr>
            <a:spLocks noGrp="1"/>
          </p:cNvSpPr>
          <p:nvPr>
            <p:ph type="body" sz="quarter" idx="13" hasCustomPrompt="1"/>
          </p:nvPr>
        </p:nvSpPr>
        <p:spPr>
          <a:xfrm>
            <a:off x="365137" y="888591"/>
            <a:ext cx="8418513" cy="184666"/>
          </a:xfrm>
        </p:spPr>
        <p:txBody>
          <a:bodyPr anchor="t" anchorCtr="0">
            <a:spAutoFit/>
          </a:bodyPr>
          <a:lstStyle>
            <a:lvl1pPr marL="0" indent="0">
              <a:spcAft>
                <a:spcPts val="0"/>
              </a:spcAft>
              <a:buNone/>
              <a:defRPr sz="1200" b="1">
                <a:solidFill>
                  <a:schemeClr val="bg2"/>
                </a:solidFill>
              </a:defRPr>
            </a:lvl1pPr>
            <a:lvl2pPr marL="203597" indent="0">
              <a:buNone/>
              <a:defRPr/>
            </a:lvl2pPr>
            <a:lvl3pPr marL="400050" indent="0">
              <a:buNone/>
              <a:defRPr/>
            </a:lvl3pPr>
            <a:lvl4pPr marL="611981" indent="0">
              <a:buNone/>
              <a:defRPr/>
            </a:lvl4pPr>
            <a:lvl5pPr marL="828675" indent="0">
              <a:buNone/>
              <a:defRPr/>
            </a:lvl5pPr>
          </a:lstStyle>
          <a:p>
            <a:pPr lvl="0"/>
            <a:r>
              <a:rPr lang="en-US"/>
              <a:t>Subheading here if required</a:t>
            </a:r>
          </a:p>
        </p:txBody>
      </p:sp>
      <p:sp>
        <p:nvSpPr>
          <p:cNvPr id="8" name="Slide Number Placeholder 7"/>
          <p:cNvSpPr>
            <a:spLocks noGrp="1"/>
          </p:cNvSpPr>
          <p:nvPr>
            <p:ph type="sldNum" sz="quarter" idx="22"/>
          </p:nvPr>
        </p:nvSpPr>
        <p:spPr/>
        <p:txBody>
          <a:bodyPr/>
          <a:lstStyle/>
          <a:p>
            <a:fld id="{9F9F533D-B52E-4A2F-BF72-0ADD2D94BD75}" type="slidenum">
              <a:rPr lang="en-GB" smtClean="0">
                <a:solidFill>
                  <a:srgbClr val="9A8B7D"/>
                </a:solidFill>
              </a:rPr>
              <a:pPr/>
              <a:t>‹Nº›</a:t>
            </a:fld>
            <a:endParaRPr lang="en-GB">
              <a:solidFill>
                <a:srgbClr val="9A8B7D"/>
              </a:solidFill>
            </a:endParaRPr>
          </a:p>
        </p:txBody>
      </p:sp>
      <p:sp>
        <p:nvSpPr>
          <p:cNvPr id="12" name="Text Placeholder 2"/>
          <p:cNvSpPr>
            <a:spLocks noGrp="1"/>
          </p:cNvSpPr>
          <p:nvPr>
            <p:ph type="body" sz="quarter" idx="14" hasCustomPrompt="1"/>
          </p:nvPr>
        </p:nvSpPr>
        <p:spPr>
          <a:xfrm>
            <a:off x="365124" y="519477"/>
            <a:ext cx="7597776" cy="176213"/>
          </a:xfrm>
        </p:spPr>
        <p:txBody>
          <a:bodyPr anchor="t" anchorCtr="0"/>
          <a:lstStyle>
            <a:lvl1pPr marL="0" indent="0">
              <a:spcAft>
                <a:spcPts val="0"/>
              </a:spcAft>
              <a:buNone/>
              <a:defRPr sz="1350"/>
            </a:lvl1pPr>
            <a:lvl2pPr marL="203597" indent="0">
              <a:buNone/>
              <a:defRPr/>
            </a:lvl2pPr>
            <a:lvl3pPr marL="400050" indent="0">
              <a:buNone/>
              <a:defRPr/>
            </a:lvl3pPr>
            <a:lvl4pPr marL="611981" indent="0">
              <a:buNone/>
              <a:defRPr/>
            </a:lvl4pPr>
            <a:lvl5pPr marL="828675" indent="0">
              <a:buNone/>
              <a:defRPr/>
            </a:lvl5pPr>
          </a:lstStyle>
          <a:p>
            <a:pPr lvl="0"/>
            <a:r>
              <a:rPr lang="en-US"/>
              <a:t>Subtitle here if required</a:t>
            </a:r>
          </a:p>
        </p:txBody>
      </p:sp>
      <p:sp>
        <p:nvSpPr>
          <p:cNvPr id="14" name="Text Placeholder 6"/>
          <p:cNvSpPr>
            <a:spLocks noGrp="1"/>
          </p:cNvSpPr>
          <p:nvPr>
            <p:ph type="body" sz="quarter" idx="23" hasCustomPrompt="1"/>
          </p:nvPr>
        </p:nvSpPr>
        <p:spPr>
          <a:xfrm>
            <a:off x="358900" y="4827991"/>
            <a:ext cx="8043863" cy="297000"/>
          </a:xfrm>
        </p:spPr>
        <p:txBody>
          <a:bodyPr/>
          <a:lstStyle>
            <a:lvl1pPr marL="0" indent="0">
              <a:buNone/>
              <a:defRPr sz="600" baseline="0"/>
            </a:lvl1pPr>
          </a:lstStyle>
          <a:p>
            <a:pPr lvl="0"/>
            <a:r>
              <a:rPr lang="en-US"/>
              <a:t>Click to add references here</a:t>
            </a:r>
          </a:p>
        </p:txBody>
      </p:sp>
      <p:sp>
        <p:nvSpPr>
          <p:cNvPr id="15" name="Text Placeholder 5"/>
          <p:cNvSpPr>
            <a:spLocks noGrp="1"/>
          </p:cNvSpPr>
          <p:nvPr>
            <p:ph type="body" sz="quarter" idx="18" hasCustomPrompt="1"/>
          </p:nvPr>
        </p:nvSpPr>
        <p:spPr>
          <a:xfrm>
            <a:off x="360944" y="4451293"/>
            <a:ext cx="8445820" cy="239383"/>
          </a:xfrm>
        </p:spPr>
        <p:txBody>
          <a:bodyPr wrap="square" anchor="b" anchorCtr="0">
            <a:noAutofit/>
          </a:bodyPr>
          <a:lstStyle>
            <a:lvl1pPr marL="0" indent="0">
              <a:buNone/>
              <a:defRPr sz="750" baseline="0"/>
            </a:lvl1pPr>
            <a:lvl2pPr marL="201122" indent="0">
              <a:buNone/>
              <a:defRPr sz="600"/>
            </a:lvl2pPr>
            <a:lvl3pPr marL="405000" indent="0">
              <a:buNone/>
              <a:defRPr sz="600"/>
            </a:lvl3pPr>
            <a:lvl4pPr marL="608316" indent="0">
              <a:buNone/>
              <a:defRPr sz="600"/>
            </a:lvl4pPr>
            <a:lvl5pPr marL="810000" indent="0">
              <a:buNone/>
              <a:defRPr sz="600"/>
            </a:lvl5pPr>
          </a:lstStyle>
          <a:p>
            <a:pPr lvl="0"/>
            <a:r>
              <a:rPr lang="en-US"/>
              <a:t>Insert Source text here</a:t>
            </a:r>
          </a:p>
        </p:txBody>
      </p:sp>
    </p:spTree>
    <p:extLst>
      <p:ext uri="{BB962C8B-B14F-4D97-AF65-F5344CB8AC3E}">
        <p14:creationId xmlns:p14="http://schemas.microsoft.com/office/powerpoint/2010/main" val="3304915442"/>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313" y="3306144"/>
            <a:ext cx="7772400" cy="1021556"/>
          </a:xfrm>
        </p:spPr>
        <p:txBody>
          <a:bodyPr anchor="t"/>
          <a:lstStyle>
            <a:lvl1pPr algn="l">
              <a:defRPr sz="4000" b="1" cap="all"/>
            </a:lvl1pPr>
          </a:lstStyle>
          <a:p>
            <a:r>
              <a:rPr lang="es-ES"/>
              <a:t>Haga clic para modificar el estilo de título del patrón</a:t>
            </a:r>
          </a:p>
        </p:txBody>
      </p:sp>
      <p:sp>
        <p:nvSpPr>
          <p:cNvPr id="3" name="2 Marcador de texto"/>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47904" indent="0">
              <a:buNone/>
              <a:defRPr sz="1800">
                <a:solidFill>
                  <a:schemeClr val="tx1">
                    <a:tint val="75000"/>
                  </a:schemeClr>
                </a:solidFill>
              </a:defRPr>
            </a:lvl2pPr>
            <a:lvl3pPr marL="895763" indent="0">
              <a:buNone/>
              <a:defRPr sz="1600">
                <a:solidFill>
                  <a:schemeClr val="tx1">
                    <a:tint val="75000"/>
                  </a:schemeClr>
                </a:solidFill>
              </a:defRPr>
            </a:lvl3pPr>
            <a:lvl4pPr marL="1343687" indent="0">
              <a:buNone/>
              <a:defRPr sz="1400">
                <a:solidFill>
                  <a:schemeClr val="tx1">
                    <a:tint val="75000"/>
                  </a:schemeClr>
                </a:solidFill>
              </a:defRPr>
            </a:lvl4pPr>
            <a:lvl5pPr marL="1791534" indent="0">
              <a:buNone/>
              <a:defRPr sz="1400">
                <a:solidFill>
                  <a:schemeClr val="tx1">
                    <a:tint val="75000"/>
                  </a:schemeClr>
                </a:solidFill>
              </a:defRPr>
            </a:lvl5pPr>
            <a:lvl6pPr marL="2239429" indent="0">
              <a:buNone/>
              <a:defRPr sz="1400">
                <a:solidFill>
                  <a:schemeClr val="tx1">
                    <a:tint val="75000"/>
                  </a:schemeClr>
                </a:solidFill>
              </a:defRPr>
            </a:lvl6pPr>
            <a:lvl7pPr marL="2687326" indent="0">
              <a:buNone/>
              <a:defRPr sz="1400">
                <a:solidFill>
                  <a:schemeClr val="tx1">
                    <a:tint val="75000"/>
                  </a:schemeClr>
                </a:solidFill>
              </a:defRPr>
            </a:lvl7pPr>
            <a:lvl8pPr marL="3135229" indent="0">
              <a:buNone/>
              <a:defRPr sz="1400">
                <a:solidFill>
                  <a:schemeClr val="tx1">
                    <a:tint val="75000"/>
                  </a:schemeClr>
                </a:solidFill>
              </a:defRPr>
            </a:lvl8pPr>
            <a:lvl9pPr marL="3583064" indent="0">
              <a:buNone/>
              <a:defRPr sz="1400">
                <a:solidFill>
                  <a:schemeClr val="tx1">
                    <a:tint val="75000"/>
                  </a:schemeClr>
                </a:solidFill>
              </a:defRPr>
            </a:lvl9pPr>
          </a:lstStyle>
          <a:p>
            <a:pPr lvl="0"/>
            <a:r>
              <a:rPr lang="es-ES"/>
              <a:t>Haga clic para modificar el estilo de texto del patrón</a:t>
            </a:r>
          </a:p>
        </p:txBody>
      </p:sp>
      <p:sp>
        <p:nvSpPr>
          <p:cNvPr id="4" name="3 Marcador de fecha"/>
          <p:cNvSpPr>
            <a:spLocks noGrp="1"/>
          </p:cNvSpPr>
          <p:nvPr>
            <p:ph type="dt" sz="half" idx="10"/>
          </p:nvPr>
        </p:nvSpPr>
        <p:spPr>
          <a:xfrm>
            <a:off x="457201" y="4767357"/>
            <a:ext cx="2133600" cy="273844"/>
          </a:xfrm>
          <a:prstGeom prst="rect">
            <a:avLst/>
          </a:prstGeom>
        </p:spPr>
        <p:txBody>
          <a:bodyPr lIns="89831" tIns="44915" rIns="89831" bIns="44915"/>
          <a:lstStyle>
            <a:lvl1pPr>
              <a:defRPr b="1"/>
            </a:lvl1pPr>
          </a:lstStyle>
          <a:p>
            <a:pPr defTabSz="895763">
              <a:defRPr/>
            </a:pPr>
            <a:fld id="{DF54B060-2DF8-4A11-9233-D097A254D122}" type="datetimeFigureOut">
              <a:rPr lang="es-ES" smtClean="0">
                <a:solidFill>
                  <a:prstClr val="black"/>
                </a:solidFill>
              </a:rPr>
              <a:pPr defTabSz="895763">
                <a:defRPr/>
              </a:pPr>
              <a:t>07/08/2024</a:t>
            </a:fld>
            <a:endParaRPr lang="es-ES">
              <a:solidFill>
                <a:prstClr val="black"/>
              </a:solidFill>
            </a:endParaRPr>
          </a:p>
        </p:txBody>
      </p:sp>
      <p:sp>
        <p:nvSpPr>
          <p:cNvPr id="5" name="4 Marcador de pie de página"/>
          <p:cNvSpPr>
            <a:spLocks noGrp="1"/>
          </p:cNvSpPr>
          <p:nvPr>
            <p:ph type="ftr" sz="quarter" idx="11"/>
          </p:nvPr>
        </p:nvSpPr>
        <p:spPr/>
        <p:txBody>
          <a:bodyPr/>
          <a:lstStyle>
            <a:lvl1pPr>
              <a:defRPr b="1"/>
            </a:lvl1pPr>
          </a:lstStyle>
          <a:p>
            <a:pPr>
              <a:defRPr/>
            </a:pPr>
            <a:endParaRPr lang="es-ES"/>
          </a:p>
        </p:txBody>
      </p:sp>
      <p:sp>
        <p:nvSpPr>
          <p:cNvPr id="6" name="5 Marcador de número de diapositiva"/>
          <p:cNvSpPr>
            <a:spLocks noGrp="1"/>
          </p:cNvSpPr>
          <p:nvPr>
            <p:ph type="sldNum" sz="quarter" idx="12"/>
          </p:nvPr>
        </p:nvSpPr>
        <p:spPr/>
        <p:txBody>
          <a:bodyPr/>
          <a:lstStyle>
            <a:lvl1pPr>
              <a:defRPr b="1"/>
            </a:lvl1pPr>
          </a:lstStyle>
          <a:p>
            <a:pPr>
              <a:defRPr/>
            </a:pPr>
            <a:fld id="{59910935-33D2-42B5-B50E-16EDCE1940CA}" type="slidenum">
              <a:rPr lang="es-ES"/>
              <a:pPr>
                <a:defRPr/>
              </a:pPr>
              <a:t>‹Nº›</a:t>
            </a:fld>
            <a:endParaRPr lang="es-ES"/>
          </a:p>
        </p:txBody>
      </p:sp>
    </p:spTree>
    <p:extLst>
      <p:ext uri="{BB962C8B-B14F-4D97-AF65-F5344CB8AC3E}">
        <p14:creationId xmlns:p14="http://schemas.microsoft.com/office/powerpoint/2010/main" val="38433249"/>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sz="half" idx="1"/>
          </p:nvPr>
        </p:nvSpPr>
        <p:spPr>
          <a:xfrm>
            <a:off x="457200" y="1200157"/>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contenido"/>
          <p:cNvSpPr>
            <a:spLocks noGrp="1"/>
          </p:cNvSpPr>
          <p:nvPr>
            <p:ph sz="half" idx="2"/>
          </p:nvPr>
        </p:nvSpPr>
        <p:spPr>
          <a:xfrm>
            <a:off x="4648200" y="1200157"/>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3 Marcador de fecha"/>
          <p:cNvSpPr>
            <a:spLocks noGrp="1"/>
          </p:cNvSpPr>
          <p:nvPr>
            <p:ph type="dt" sz="half" idx="10"/>
          </p:nvPr>
        </p:nvSpPr>
        <p:spPr>
          <a:xfrm>
            <a:off x="457201" y="4767357"/>
            <a:ext cx="2133600" cy="273844"/>
          </a:xfrm>
          <a:prstGeom prst="rect">
            <a:avLst/>
          </a:prstGeom>
        </p:spPr>
        <p:txBody>
          <a:bodyPr lIns="89831" tIns="44915" rIns="89831" bIns="44915"/>
          <a:lstStyle>
            <a:lvl1pPr>
              <a:defRPr b="1"/>
            </a:lvl1pPr>
          </a:lstStyle>
          <a:p>
            <a:pPr defTabSz="895763">
              <a:defRPr/>
            </a:pPr>
            <a:fld id="{DCF4F8C0-96DF-4D32-9EF0-E5D9E280A33E}" type="datetimeFigureOut">
              <a:rPr lang="es-ES" smtClean="0">
                <a:solidFill>
                  <a:prstClr val="black"/>
                </a:solidFill>
              </a:rPr>
              <a:pPr defTabSz="895763">
                <a:defRPr/>
              </a:pPr>
              <a:t>07/08/2024</a:t>
            </a:fld>
            <a:endParaRPr lang="es-ES">
              <a:solidFill>
                <a:prstClr val="black"/>
              </a:solidFill>
            </a:endParaRPr>
          </a:p>
        </p:txBody>
      </p:sp>
      <p:sp>
        <p:nvSpPr>
          <p:cNvPr id="6" name="4 Marcador de pie de página"/>
          <p:cNvSpPr>
            <a:spLocks noGrp="1"/>
          </p:cNvSpPr>
          <p:nvPr>
            <p:ph type="ftr" sz="quarter" idx="11"/>
          </p:nvPr>
        </p:nvSpPr>
        <p:spPr/>
        <p:txBody>
          <a:bodyPr/>
          <a:lstStyle>
            <a:lvl1pPr>
              <a:defRPr b="1"/>
            </a:lvl1pPr>
          </a:lstStyle>
          <a:p>
            <a:pPr>
              <a:defRPr/>
            </a:pPr>
            <a:endParaRPr lang="es-ES"/>
          </a:p>
        </p:txBody>
      </p:sp>
      <p:sp>
        <p:nvSpPr>
          <p:cNvPr id="7" name="5 Marcador de número de diapositiva"/>
          <p:cNvSpPr>
            <a:spLocks noGrp="1"/>
          </p:cNvSpPr>
          <p:nvPr>
            <p:ph type="sldNum" sz="quarter" idx="12"/>
          </p:nvPr>
        </p:nvSpPr>
        <p:spPr/>
        <p:txBody>
          <a:bodyPr/>
          <a:lstStyle>
            <a:lvl1pPr>
              <a:defRPr b="1"/>
            </a:lvl1pPr>
          </a:lstStyle>
          <a:p>
            <a:pPr>
              <a:defRPr/>
            </a:pPr>
            <a:fld id="{7ED5A0C4-6D4F-4B40-A8F0-7358F27BF614}" type="slidenum">
              <a:rPr lang="es-ES"/>
              <a:pPr>
                <a:defRPr/>
              </a:pPr>
              <a:t>‹Nº›</a:t>
            </a:fld>
            <a:endParaRPr lang="es-ES"/>
          </a:p>
        </p:txBody>
      </p:sp>
    </p:spTree>
    <p:extLst>
      <p:ext uri="{BB962C8B-B14F-4D97-AF65-F5344CB8AC3E}">
        <p14:creationId xmlns:p14="http://schemas.microsoft.com/office/powerpoint/2010/main" val="2819572369"/>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lvl1pPr>
              <a:defRPr/>
            </a:lvl1pPr>
          </a:lstStyle>
          <a:p>
            <a:r>
              <a:rPr lang="es-ES"/>
              <a:t>Haga clic para modificar el estilo de título del patrón</a:t>
            </a:r>
          </a:p>
        </p:txBody>
      </p:sp>
      <p:sp>
        <p:nvSpPr>
          <p:cNvPr id="3" name="2 Marcador de texto"/>
          <p:cNvSpPr>
            <a:spLocks noGrp="1"/>
          </p:cNvSpPr>
          <p:nvPr>
            <p:ph type="body" idx="1"/>
          </p:nvPr>
        </p:nvSpPr>
        <p:spPr>
          <a:xfrm>
            <a:off x="457200" y="1151335"/>
            <a:ext cx="4040188" cy="479822"/>
          </a:xfrm>
        </p:spPr>
        <p:txBody>
          <a:bodyPr anchor="b"/>
          <a:lstStyle>
            <a:lvl1pPr marL="0" indent="0">
              <a:buNone/>
              <a:defRPr sz="2400" b="1"/>
            </a:lvl1pPr>
            <a:lvl2pPr marL="447904" indent="0">
              <a:buNone/>
              <a:defRPr sz="2000" b="1"/>
            </a:lvl2pPr>
            <a:lvl3pPr marL="895763" indent="0">
              <a:buNone/>
              <a:defRPr sz="1800" b="1"/>
            </a:lvl3pPr>
            <a:lvl4pPr marL="1343687" indent="0">
              <a:buNone/>
              <a:defRPr sz="1600" b="1"/>
            </a:lvl4pPr>
            <a:lvl5pPr marL="1791534" indent="0">
              <a:buNone/>
              <a:defRPr sz="1600" b="1"/>
            </a:lvl5pPr>
            <a:lvl6pPr marL="2239429" indent="0">
              <a:buNone/>
              <a:defRPr sz="1600" b="1"/>
            </a:lvl6pPr>
            <a:lvl7pPr marL="2687326" indent="0">
              <a:buNone/>
              <a:defRPr sz="1600" b="1"/>
            </a:lvl7pPr>
            <a:lvl8pPr marL="3135229" indent="0">
              <a:buNone/>
              <a:defRPr sz="1600" b="1"/>
            </a:lvl8pPr>
            <a:lvl9pPr marL="3583064" indent="0">
              <a:buNone/>
              <a:defRPr sz="1600" b="1"/>
            </a:lvl9pPr>
          </a:lstStyle>
          <a:p>
            <a:pPr lvl="0"/>
            <a:r>
              <a:rPr lang="es-ES"/>
              <a:t>Haga clic para modificar el estilo de texto del patrón</a:t>
            </a:r>
          </a:p>
        </p:txBody>
      </p:sp>
      <p:sp>
        <p:nvSpPr>
          <p:cNvPr id="4" name="3 Marcador de contenido"/>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4 Marcador de texto"/>
          <p:cNvSpPr>
            <a:spLocks noGrp="1"/>
          </p:cNvSpPr>
          <p:nvPr>
            <p:ph type="body" sz="quarter" idx="3"/>
          </p:nvPr>
        </p:nvSpPr>
        <p:spPr>
          <a:xfrm>
            <a:off x="4645328" y="1151335"/>
            <a:ext cx="4041775" cy="479822"/>
          </a:xfrm>
        </p:spPr>
        <p:txBody>
          <a:bodyPr anchor="b"/>
          <a:lstStyle>
            <a:lvl1pPr marL="0" indent="0">
              <a:buNone/>
              <a:defRPr sz="2400" b="1"/>
            </a:lvl1pPr>
            <a:lvl2pPr marL="447904" indent="0">
              <a:buNone/>
              <a:defRPr sz="2000" b="1"/>
            </a:lvl2pPr>
            <a:lvl3pPr marL="895763" indent="0">
              <a:buNone/>
              <a:defRPr sz="1800" b="1"/>
            </a:lvl3pPr>
            <a:lvl4pPr marL="1343687" indent="0">
              <a:buNone/>
              <a:defRPr sz="1600" b="1"/>
            </a:lvl4pPr>
            <a:lvl5pPr marL="1791534" indent="0">
              <a:buNone/>
              <a:defRPr sz="1600" b="1"/>
            </a:lvl5pPr>
            <a:lvl6pPr marL="2239429" indent="0">
              <a:buNone/>
              <a:defRPr sz="1600" b="1"/>
            </a:lvl6pPr>
            <a:lvl7pPr marL="2687326" indent="0">
              <a:buNone/>
              <a:defRPr sz="1600" b="1"/>
            </a:lvl7pPr>
            <a:lvl8pPr marL="3135229" indent="0">
              <a:buNone/>
              <a:defRPr sz="1600" b="1"/>
            </a:lvl8pPr>
            <a:lvl9pPr marL="3583064" indent="0">
              <a:buNone/>
              <a:defRPr sz="1600" b="1"/>
            </a:lvl9pPr>
          </a:lstStyle>
          <a:p>
            <a:pPr lvl="0"/>
            <a:r>
              <a:rPr lang="es-ES"/>
              <a:t>Haga clic para modificar el estilo de texto del patrón</a:t>
            </a:r>
          </a:p>
        </p:txBody>
      </p:sp>
      <p:sp>
        <p:nvSpPr>
          <p:cNvPr id="6" name="5 Marcador de contenido"/>
          <p:cNvSpPr>
            <a:spLocks noGrp="1"/>
          </p:cNvSpPr>
          <p:nvPr>
            <p:ph sz="quarter" idx="4"/>
          </p:nvPr>
        </p:nvSpPr>
        <p:spPr>
          <a:xfrm>
            <a:off x="4645328"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7" name="3 Marcador de fecha"/>
          <p:cNvSpPr>
            <a:spLocks noGrp="1"/>
          </p:cNvSpPr>
          <p:nvPr>
            <p:ph type="dt" sz="half" idx="10"/>
          </p:nvPr>
        </p:nvSpPr>
        <p:spPr>
          <a:xfrm>
            <a:off x="457201" y="4767357"/>
            <a:ext cx="2133600" cy="273844"/>
          </a:xfrm>
          <a:prstGeom prst="rect">
            <a:avLst/>
          </a:prstGeom>
        </p:spPr>
        <p:txBody>
          <a:bodyPr lIns="89831" tIns="44915" rIns="89831" bIns="44915"/>
          <a:lstStyle>
            <a:lvl1pPr>
              <a:defRPr b="1"/>
            </a:lvl1pPr>
          </a:lstStyle>
          <a:p>
            <a:pPr defTabSz="895763">
              <a:defRPr/>
            </a:pPr>
            <a:fld id="{6955C616-7917-489D-8DE3-16436D157E1F}" type="datetimeFigureOut">
              <a:rPr lang="es-ES" smtClean="0">
                <a:solidFill>
                  <a:prstClr val="black"/>
                </a:solidFill>
              </a:rPr>
              <a:pPr defTabSz="895763">
                <a:defRPr/>
              </a:pPr>
              <a:t>07/08/2024</a:t>
            </a:fld>
            <a:endParaRPr lang="es-ES">
              <a:solidFill>
                <a:prstClr val="black"/>
              </a:solidFill>
            </a:endParaRPr>
          </a:p>
        </p:txBody>
      </p:sp>
      <p:sp>
        <p:nvSpPr>
          <p:cNvPr id="8" name="4 Marcador de pie de página"/>
          <p:cNvSpPr>
            <a:spLocks noGrp="1"/>
          </p:cNvSpPr>
          <p:nvPr>
            <p:ph type="ftr" sz="quarter" idx="11"/>
          </p:nvPr>
        </p:nvSpPr>
        <p:spPr/>
        <p:txBody>
          <a:bodyPr/>
          <a:lstStyle>
            <a:lvl1pPr>
              <a:defRPr b="1"/>
            </a:lvl1pPr>
          </a:lstStyle>
          <a:p>
            <a:pPr>
              <a:defRPr/>
            </a:pPr>
            <a:endParaRPr lang="es-ES"/>
          </a:p>
        </p:txBody>
      </p:sp>
      <p:sp>
        <p:nvSpPr>
          <p:cNvPr id="9" name="5 Marcador de número de diapositiva"/>
          <p:cNvSpPr>
            <a:spLocks noGrp="1"/>
          </p:cNvSpPr>
          <p:nvPr>
            <p:ph type="sldNum" sz="quarter" idx="12"/>
          </p:nvPr>
        </p:nvSpPr>
        <p:spPr/>
        <p:txBody>
          <a:bodyPr/>
          <a:lstStyle>
            <a:lvl1pPr>
              <a:defRPr b="1"/>
            </a:lvl1pPr>
          </a:lstStyle>
          <a:p>
            <a:pPr>
              <a:defRPr/>
            </a:pPr>
            <a:fld id="{1A38C932-5B66-4D36-A630-B1C832CD1416}" type="slidenum">
              <a:rPr lang="es-ES"/>
              <a:pPr>
                <a:defRPr/>
              </a:pPr>
              <a:t>‹Nº›</a:t>
            </a:fld>
            <a:endParaRPr lang="es-ES"/>
          </a:p>
        </p:txBody>
      </p:sp>
    </p:spTree>
    <p:extLst>
      <p:ext uri="{BB962C8B-B14F-4D97-AF65-F5344CB8AC3E}">
        <p14:creationId xmlns:p14="http://schemas.microsoft.com/office/powerpoint/2010/main" val="2469444486"/>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3 Marcador de fecha"/>
          <p:cNvSpPr>
            <a:spLocks noGrp="1"/>
          </p:cNvSpPr>
          <p:nvPr>
            <p:ph type="dt" sz="half" idx="10"/>
          </p:nvPr>
        </p:nvSpPr>
        <p:spPr>
          <a:xfrm>
            <a:off x="457201" y="4767357"/>
            <a:ext cx="2133600" cy="273844"/>
          </a:xfrm>
          <a:prstGeom prst="rect">
            <a:avLst/>
          </a:prstGeom>
        </p:spPr>
        <p:txBody>
          <a:bodyPr lIns="89831" tIns="44915" rIns="89831" bIns="44915"/>
          <a:lstStyle>
            <a:lvl1pPr>
              <a:defRPr b="1"/>
            </a:lvl1pPr>
          </a:lstStyle>
          <a:p>
            <a:pPr defTabSz="895763">
              <a:defRPr/>
            </a:pPr>
            <a:fld id="{C9D3579C-2116-44A5-A6F3-5EEB2DD7BDFE}" type="datetimeFigureOut">
              <a:rPr lang="es-ES" smtClean="0">
                <a:solidFill>
                  <a:prstClr val="black"/>
                </a:solidFill>
              </a:rPr>
              <a:pPr defTabSz="895763">
                <a:defRPr/>
              </a:pPr>
              <a:t>07/08/2024</a:t>
            </a:fld>
            <a:endParaRPr lang="es-ES">
              <a:solidFill>
                <a:prstClr val="black"/>
              </a:solidFill>
            </a:endParaRPr>
          </a:p>
        </p:txBody>
      </p:sp>
      <p:sp>
        <p:nvSpPr>
          <p:cNvPr id="4" name="4 Marcador de pie de página"/>
          <p:cNvSpPr>
            <a:spLocks noGrp="1"/>
          </p:cNvSpPr>
          <p:nvPr>
            <p:ph type="ftr" sz="quarter" idx="11"/>
          </p:nvPr>
        </p:nvSpPr>
        <p:spPr/>
        <p:txBody>
          <a:bodyPr/>
          <a:lstStyle>
            <a:lvl1pPr>
              <a:defRPr b="1"/>
            </a:lvl1pPr>
          </a:lstStyle>
          <a:p>
            <a:pPr>
              <a:defRPr/>
            </a:pPr>
            <a:endParaRPr lang="es-ES"/>
          </a:p>
        </p:txBody>
      </p:sp>
      <p:sp>
        <p:nvSpPr>
          <p:cNvPr id="5" name="5 Marcador de número de diapositiva"/>
          <p:cNvSpPr>
            <a:spLocks noGrp="1"/>
          </p:cNvSpPr>
          <p:nvPr>
            <p:ph type="sldNum" sz="quarter" idx="12"/>
          </p:nvPr>
        </p:nvSpPr>
        <p:spPr/>
        <p:txBody>
          <a:bodyPr/>
          <a:lstStyle>
            <a:lvl1pPr>
              <a:defRPr b="1"/>
            </a:lvl1pPr>
          </a:lstStyle>
          <a:p>
            <a:pPr>
              <a:defRPr/>
            </a:pPr>
            <a:fld id="{95BCE4A3-11FA-4739-8BF5-4DC9AC894E97}" type="slidenum">
              <a:rPr lang="es-ES"/>
              <a:pPr>
                <a:defRPr/>
              </a:pPr>
              <a:t>‹Nº›</a:t>
            </a:fld>
            <a:endParaRPr lang="es-ES"/>
          </a:p>
        </p:txBody>
      </p:sp>
    </p:spTree>
    <p:extLst>
      <p:ext uri="{BB962C8B-B14F-4D97-AF65-F5344CB8AC3E}">
        <p14:creationId xmlns:p14="http://schemas.microsoft.com/office/powerpoint/2010/main" val="1081702401"/>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3 Marcador de fecha"/>
          <p:cNvSpPr>
            <a:spLocks noGrp="1"/>
          </p:cNvSpPr>
          <p:nvPr>
            <p:ph type="dt" sz="half" idx="10"/>
          </p:nvPr>
        </p:nvSpPr>
        <p:spPr>
          <a:xfrm>
            <a:off x="457201" y="4767357"/>
            <a:ext cx="2133600" cy="273844"/>
          </a:xfrm>
          <a:prstGeom prst="rect">
            <a:avLst/>
          </a:prstGeom>
        </p:spPr>
        <p:txBody>
          <a:bodyPr lIns="89831" tIns="44915" rIns="89831" bIns="44915"/>
          <a:lstStyle>
            <a:lvl1pPr>
              <a:defRPr b="1"/>
            </a:lvl1pPr>
          </a:lstStyle>
          <a:p>
            <a:pPr defTabSz="895763">
              <a:defRPr/>
            </a:pPr>
            <a:fld id="{C910B865-06C9-47EF-B716-6E285541543F}" type="datetimeFigureOut">
              <a:rPr lang="es-ES" smtClean="0">
                <a:solidFill>
                  <a:prstClr val="black"/>
                </a:solidFill>
              </a:rPr>
              <a:pPr defTabSz="895763">
                <a:defRPr/>
              </a:pPr>
              <a:t>07/08/2024</a:t>
            </a:fld>
            <a:endParaRPr lang="es-ES">
              <a:solidFill>
                <a:prstClr val="black"/>
              </a:solidFill>
            </a:endParaRPr>
          </a:p>
        </p:txBody>
      </p:sp>
      <p:sp>
        <p:nvSpPr>
          <p:cNvPr id="3" name="4 Marcador de pie de página"/>
          <p:cNvSpPr>
            <a:spLocks noGrp="1"/>
          </p:cNvSpPr>
          <p:nvPr>
            <p:ph type="ftr" sz="quarter" idx="11"/>
          </p:nvPr>
        </p:nvSpPr>
        <p:spPr/>
        <p:txBody>
          <a:bodyPr/>
          <a:lstStyle>
            <a:lvl1pPr>
              <a:defRPr b="1"/>
            </a:lvl1pPr>
          </a:lstStyle>
          <a:p>
            <a:pPr>
              <a:defRPr/>
            </a:pPr>
            <a:endParaRPr lang="es-ES"/>
          </a:p>
        </p:txBody>
      </p:sp>
      <p:sp>
        <p:nvSpPr>
          <p:cNvPr id="4" name="5 Marcador de número de diapositiva"/>
          <p:cNvSpPr>
            <a:spLocks noGrp="1"/>
          </p:cNvSpPr>
          <p:nvPr>
            <p:ph type="sldNum" sz="quarter" idx="12"/>
          </p:nvPr>
        </p:nvSpPr>
        <p:spPr/>
        <p:txBody>
          <a:bodyPr/>
          <a:lstStyle>
            <a:lvl1pPr>
              <a:defRPr b="1"/>
            </a:lvl1pPr>
          </a:lstStyle>
          <a:p>
            <a:pPr>
              <a:defRPr/>
            </a:pPr>
            <a:fld id="{F39067CC-85CD-4833-92B2-8B99CE5F6C01}" type="slidenum">
              <a:rPr lang="es-ES"/>
              <a:pPr>
                <a:defRPr/>
              </a:pPr>
              <a:t>‹Nº›</a:t>
            </a:fld>
            <a:endParaRPr lang="es-ES"/>
          </a:p>
        </p:txBody>
      </p:sp>
    </p:spTree>
    <p:extLst>
      <p:ext uri="{BB962C8B-B14F-4D97-AF65-F5344CB8AC3E}">
        <p14:creationId xmlns:p14="http://schemas.microsoft.com/office/powerpoint/2010/main" val="1896625804"/>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526" y="204787"/>
            <a:ext cx="3008313" cy="871538"/>
          </a:xfrm>
        </p:spPr>
        <p:txBody>
          <a:bodyPr anchor="b"/>
          <a:lstStyle>
            <a:lvl1pPr algn="l">
              <a:defRPr sz="2000" b="1"/>
            </a:lvl1pPr>
          </a:lstStyle>
          <a:p>
            <a:r>
              <a:rPr lang="es-ES"/>
              <a:t>Haga clic para modificar el estilo de título del patrón</a:t>
            </a:r>
          </a:p>
        </p:txBody>
      </p:sp>
      <p:sp>
        <p:nvSpPr>
          <p:cNvPr id="3" name="2 Marcador de contenido"/>
          <p:cNvSpPr>
            <a:spLocks noGrp="1"/>
          </p:cNvSpPr>
          <p:nvPr>
            <p:ph idx="1"/>
          </p:nvPr>
        </p:nvSpPr>
        <p:spPr>
          <a:xfrm>
            <a:off x="3575050" y="204863"/>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texto"/>
          <p:cNvSpPr>
            <a:spLocks noGrp="1"/>
          </p:cNvSpPr>
          <p:nvPr>
            <p:ph type="body" sz="half" idx="2"/>
          </p:nvPr>
        </p:nvSpPr>
        <p:spPr>
          <a:xfrm>
            <a:off x="457526" y="1076328"/>
            <a:ext cx="3008313" cy="3518297"/>
          </a:xfrm>
        </p:spPr>
        <p:txBody>
          <a:bodyPr/>
          <a:lstStyle>
            <a:lvl1pPr marL="0" indent="0">
              <a:buNone/>
              <a:defRPr sz="1400"/>
            </a:lvl1pPr>
            <a:lvl2pPr marL="447904" indent="0">
              <a:buNone/>
              <a:defRPr sz="1200"/>
            </a:lvl2pPr>
            <a:lvl3pPr marL="895763" indent="0">
              <a:buNone/>
              <a:defRPr sz="1000"/>
            </a:lvl3pPr>
            <a:lvl4pPr marL="1343687" indent="0">
              <a:buNone/>
              <a:defRPr sz="900"/>
            </a:lvl4pPr>
            <a:lvl5pPr marL="1791534" indent="0">
              <a:buNone/>
              <a:defRPr sz="900"/>
            </a:lvl5pPr>
            <a:lvl6pPr marL="2239429" indent="0">
              <a:buNone/>
              <a:defRPr sz="900"/>
            </a:lvl6pPr>
            <a:lvl7pPr marL="2687326" indent="0">
              <a:buNone/>
              <a:defRPr sz="900"/>
            </a:lvl7pPr>
            <a:lvl8pPr marL="3135229" indent="0">
              <a:buNone/>
              <a:defRPr sz="900"/>
            </a:lvl8pPr>
            <a:lvl9pPr marL="3583064" indent="0">
              <a:buNone/>
              <a:defRPr sz="900"/>
            </a:lvl9pPr>
          </a:lstStyle>
          <a:p>
            <a:pPr lvl="0"/>
            <a:r>
              <a:rPr lang="es-ES"/>
              <a:t>Haga clic para modificar el estilo de texto del patrón</a:t>
            </a:r>
          </a:p>
        </p:txBody>
      </p:sp>
      <p:sp>
        <p:nvSpPr>
          <p:cNvPr id="5" name="3 Marcador de fecha"/>
          <p:cNvSpPr>
            <a:spLocks noGrp="1"/>
          </p:cNvSpPr>
          <p:nvPr>
            <p:ph type="dt" sz="half" idx="10"/>
          </p:nvPr>
        </p:nvSpPr>
        <p:spPr>
          <a:xfrm>
            <a:off x="457201" y="4767357"/>
            <a:ext cx="2133600" cy="273844"/>
          </a:xfrm>
          <a:prstGeom prst="rect">
            <a:avLst/>
          </a:prstGeom>
        </p:spPr>
        <p:txBody>
          <a:bodyPr lIns="89831" tIns="44915" rIns="89831" bIns="44915"/>
          <a:lstStyle>
            <a:lvl1pPr>
              <a:defRPr b="1"/>
            </a:lvl1pPr>
          </a:lstStyle>
          <a:p>
            <a:pPr defTabSz="895763">
              <a:defRPr/>
            </a:pPr>
            <a:fld id="{41EDBB76-DCE5-4F31-8382-7A9638B1C43B}" type="datetimeFigureOut">
              <a:rPr lang="es-ES" smtClean="0">
                <a:solidFill>
                  <a:prstClr val="black"/>
                </a:solidFill>
              </a:rPr>
              <a:pPr defTabSz="895763">
                <a:defRPr/>
              </a:pPr>
              <a:t>07/08/2024</a:t>
            </a:fld>
            <a:endParaRPr lang="es-ES">
              <a:solidFill>
                <a:prstClr val="black"/>
              </a:solidFill>
            </a:endParaRPr>
          </a:p>
        </p:txBody>
      </p:sp>
      <p:sp>
        <p:nvSpPr>
          <p:cNvPr id="6" name="4 Marcador de pie de página"/>
          <p:cNvSpPr>
            <a:spLocks noGrp="1"/>
          </p:cNvSpPr>
          <p:nvPr>
            <p:ph type="ftr" sz="quarter" idx="11"/>
          </p:nvPr>
        </p:nvSpPr>
        <p:spPr/>
        <p:txBody>
          <a:bodyPr/>
          <a:lstStyle>
            <a:lvl1pPr>
              <a:defRPr b="1"/>
            </a:lvl1pPr>
          </a:lstStyle>
          <a:p>
            <a:pPr>
              <a:defRPr/>
            </a:pPr>
            <a:endParaRPr lang="es-ES"/>
          </a:p>
        </p:txBody>
      </p:sp>
      <p:sp>
        <p:nvSpPr>
          <p:cNvPr id="7" name="5 Marcador de número de diapositiva"/>
          <p:cNvSpPr>
            <a:spLocks noGrp="1"/>
          </p:cNvSpPr>
          <p:nvPr>
            <p:ph type="sldNum" sz="quarter" idx="12"/>
          </p:nvPr>
        </p:nvSpPr>
        <p:spPr/>
        <p:txBody>
          <a:bodyPr/>
          <a:lstStyle>
            <a:lvl1pPr>
              <a:defRPr b="1"/>
            </a:lvl1pPr>
          </a:lstStyle>
          <a:p>
            <a:pPr>
              <a:defRPr/>
            </a:pPr>
            <a:fld id="{7C55D46E-58B9-444E-B735-442E03077310}" type="slidenum">
              <a:rPr lang="es-ES"/>
              <a:pPr>
                <a:defRPr/>
              </a:pPr>
              <a:t>‹Nº›</a:t>
            </a:fld>
            <a:endParaRPr lang="es-ES"/>
          </a:p>
        </p:txBody>
      </p:sp>
    </p:spTree>
    <p:extLst>
      <p:ext uri="{BB962C8B-B14F-4D97-AF65-F5344CB8AC3E}">
        <p14:creationId xmlns:p14="http://schemas.microsoft.com/office/powerpoint/2010/main" val="1578394000"/>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792291" y="3600451"/>
            <a:ext cx="5486400" cy="425054"/>
          </a:xfrm>
        </p:spPr>
        <p:txBody>
          <a:bodyPr anchor="b"/>
          <a:lstStyle>
            <a:lvl1pPr algn="l">
              <a:defRPr sz="2000" b="1"/>
            </a:lvl1pPr>
          </a:lstStyle>
          <a:p>
            <a:r>
              <a:rPr lang="es-ES"/>
              <a:t>Haga clic para modificar el estilo de título del patrón</a:t>
            </a:r>
          </a:p>
        </p:txBody>
      </p:sp>
      <p:sp>
        <p:nvSpPr>
          <p:cNvPr id="3" name="2 Marcador de posición de imagen"/>
          <p:cNvSpPr>
            <a:spLocks noGrp="1"/>
          </p:cNvSpPr>
          <p:nvPr>
            <p:ph type="pic" idx="1"/>
          </p:nvPr>
        </p:nvSpPr>
        <p:spPr>
          <a:xfrm>
            <a:off x="1792291" y="459581"/>
            <a:ext cx="5486400" cy="3086100"/>
          </a:xfrm>
        </p:spPr>
        <p:txBody>
          <a:bodyPr rtlCol="0">
            <a:normAutofit/>
          </a:bodyPr>
          <a:lstStyle>
            <a:lvl1pPr marL="0" indent="0">
              <a:buNone/>
              <a:defRPr sz="3200"/>
            </a:lvl1pPr>
            <a:lvl2pPr marL="447904" indent="0">
              <a:buNone/>
              <a:defRPr sz="2800"/>
            </a:lvl2pPr>
            <a:lvl3pPr marL="895763" indent="0">
              <a:buNone/>
              <a:defRPr sz="2400"/>
            </a:lvl3pPr>
            <a:lvl4pPr marL="1343687" indent="0">
              <a:buNone/>
              <a:defRPr sz="2000"/>
            </a:lvl4pPr>
            <a:lvl5pPr marL="1791534" indent="0">
              <a:buNone/>
              <a:defRPr sz="2000"/>
            </a:lvl5pPr>
            <a:lvl6pPr marL="2239429" indent="0">
              <a:buNone/>
              <a:defRPr sz="2000"/>
            </a:lvl6pPr>
            <a:lvl7pPr marL="2687326" indent="0">
              <a:buNone/>
              <a:defRPr sz="2000"/>
            </a:lvl7pPr>
            <a:lvl8pPr marL="3135229" indent="0">
              <a:buNone/>
              <a:defRPr sz="2000"/>
            </a:lvl8pPr>
            <a:lvl9pPr marL="3583064" indent="0">
              <a:buNone/>
              <a:defRPr sz="2000"/>
            </a:lvl9pPr>
          </a:lstStyle>
          <a:p>
            <a:pPr lvl="0"/>
            <a:endParaRPr lang="es-ES" noProof="0"/>
          </a:p>
        </p:txBody>
      </p:sp>
      <p:sp>
        <p:nvSpPr>
          <p:cNvPr id="4" name="3 Marcador de texto"/>
          <p:cNvSpPr>
            <a:spLocks noGrp="1"/>
          </p:cNvSpPr>
          <p:nvPr>
            <p:ph type="body" sz="half" idx="2"/>
          </p:nvPr>
        </p:nvSpPr>
        <p:spPr>
          <a:xfrm>
            <a:off x="1792291" y="4025626"/>
            <a:ext cx="5486400" cy="603647"/>
          </a:xfrm>
        </p:spPr>
        <p:txBody>
          <a:bodyPr/>
          <a:lstStyle>
            <a:lvl1pPr marL="0" indent="0">
              <a:buNone/>
              <a:defRPr sz="1400"/>
            </a:lvl1pPr>
            <a:lvl2pPr marL="447904" indent="0">
              <a:buNone/>
              <a:defRPr sz="1200"/>
            </a:lvl2pPr>
            <a:lvl3pPr marL="895763" indent="0">
              <a:buNone/>
              <a:defRPr sz="1000"/>
            </a:lvl3pPr>
            <a:lvl4pPr marL="1343687" indent="0">
              <a:buNone/>
              <a:defRPr sz="900"/>
            </a:lvl4pPr>
            <a:lvl5pPr marL="1791534" indent="0">
              <a:buNone/>
              <a:defRPr sz="900"/>
            </a:lvl5pPr>
            <a:lvl6pPr marL="2239429" indent="0">
              <a:buNone/>
              <a:defRPr sz="900"/>
            </a:lvl6pPr>
            <a:lvl7pPr marL="2687326" indent="0">
              <a:buNone/>
              <a:defRPr sz="900"/>
            </a:lvl7pPr>
            <a:lvl8pPr marL="3135229" indent="0">
              <a:buNone/>
              <a:defRPr sz="900"/>
            </a:lvl8pPr>
            <a:lvl9pPr marL="3583064" indent="0">
              <a:buNone/>
              <a:defRPr sz="900"/>
            </a:lvl9pPr>
          </a:lstStyle>
          <a:p>
            <a:pPr lvl="0"/>
            <a:r>
              <a:rPr lang="es-ES"/>
              <a:t>Haga clic para modificar el estilo de texto del patrón</a:t>
            </a:r>
          </a:p>
        </p:txBody>
      </p:sp>
      <p:sp>
        <p:nvSpPr>
          <p:cNvPr id="5" name="3 Marcador de fecha"/>
          <p:cNvSpPr>
            <a:spLocks noGrp="1"/>
          </p:cNvSpPr>
          <p:nvPr>
            <p:ph type="dt" sz="half" idx="10"/>
          </p:nvPr>
        </p:nvSpPr>
        <p:spPr>
          <a:xfrm>
            <a:off x="457201" y="4767357"/>
            <a:ext cx="2133600" cy="273844"/>
          </a:xfrm>
          <a:prstGeom prst="rect">
            <a:avLst/>
          </a:prstGeom>
        </p:spPr>
        <p:txBody>
          <a:bodyPr lIns="89831" tIns="44915" rIns="89831" bIns="44915"/>
          <a:lstStyle>
            <a:lvl1pPr>
              <a:defRPr b="1"/>
            </a:lvl1pPr>
          </a:lstStyle>
          <a:p>
            <a:pPr defTabSz="895763">
              <a:defRPr/>
            </a:pPr>
            <a:fld id="{A493F893-D7CD-4E05-A7AF-B7C9FEA08782}" type="datetimeFigureOut">
              <a:rPr lang="es-ES" smtClean="0">
                <a:solidFill>
                  <a:prstClr val="black"/>
                </a:solidFill>
              </a:rPr>
              <a:pPr defTabSz="895763">
                <a:defRPr/>
              </a:pPr>
              <a:t>07/08/2024</a:t>
            </a:fld>
            <a:endParaRPr lang="es-ES">
              <a:solidFill>
                <a:prstClr val="black"/>
              </a:solidFill>
            </a:endParaRPr>
          </a:p>
        </p:txBody>
      </p:sp>
      <p:sp>
        <p:nvSpPr>
          <p:cNvPr id="6" name="4 Marcador de pie de página"/>
          <p:cNvSpPr>
            <a:spLocks noGrp="1"/>
          </p:cNvSpPr>
          <p:nvPr>
            <p:ph type="ftr" sz="quarter" idx="11"/>
          </p:nvPr>
        </p:nvSpPr>
        <p:spPr/>
        <p:txBody>
          <a:bodyPr/>
          <a:lstStyle>
            <a:lvl1pPr>
              <a:defRPr b="1"/>
            </a:lvl1pPr>
          </a:lstStyle>
          <a:p>
            <a:pPr>
              <a:defRPr/>
            </a:pPr>
            <a:endParaRPr lang="es-ES"/>
          </a:p>
        </p:txBody>
      </p:sp>
      <p:sp>
        <p:nvSpPr>
          <p:cNvPr id="7" name="5 Marcador de número de diapositiva"/>
          <p:cNvSpPr>
            <a:spLocks noGrp="1"/>
          </p:cNvSpPr>
          <p:nvPr>
            <p:ph type="sldNum" sz="quarter" idx="12"/>
          </p:nvPr>
        </p:nvSpPr>
        <p:spPr/>
        <p:txBody>
          <a:bodyPr/>
          <a:lstStyle>
            <a:lvl1pPr>
              <a:defRPr b="1"/>
            </a:lvl1pPr>
          </a:lstStyle>
          <a:p>
            <a:pPr>
              <a:defRPr/>
            </a:pPr>
            <a:fld id="{31563E84-710B-4F8D-94D6-27592425B836}" type="slidenum">
              <a:rPr lang="es-ES"/>
              <a:pPr>
                <a:defRPr/>
              </a:pPr>
              <a:t>‹Nº›</a:t>
            </a:fld>
            <a:endParaRPr lang="es-ES"/>
          </a:p>
        </p:txBody>
      </p:sp>
    </p:spTree>
    <p:extLst>
      <p:ext uri="{BB962C8B-B14F-4D97-AF65-F5344CB8AC3E}">
        <p14:creationId xmlns:p14="http://schemas.microsoft.com/office/powerpoint/2010/main" val="573111677"/>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texto vertical"/>
          <p:cNvSpPr>
            <a:spLocks noGrp="1"/>
          </p:cNvSpPr>
          <p:nvPr>
            <p:ph type="body" orient="vert" idx="1"/>
          </p:nvPr>
        </p:nvSpPr>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fecha"/>
          <p:cNvSpPr>
            <a:spLocks noGrp="1"/>
          </p:cNvSpPr>
          <p:nvPr>
            <p:ph type="dt" sz="half" idx="10"/>
          </p:nvPr>
        </p:nvSpPr>
        <p:spPr>
          <a:xfrm>
            <a:off x="457201" y="4767357"/>
            <a:ext cx="2133600" cy="273844"/>
          </a:xfrm>
          <a:prstGeom prst="rect">
            <a:avLst/>
          </a:prstGeom>
        </p:spPr>
        <p:txBody>
          <a:bodyPr lIns="89831" tIns="44915" rIns="89831" bIns="44915"/>
          <a:lstStyle>
            <a:lvl1pPr>
              <a:defRPr b="1"/>
            </a:lvl1pPr>
          </a:lstStyle>
          <a:p>
            <a:pPr defTabSz="895763">
              <a:defRPr/>
            </a:pPr>
            <a:fld id="{8DDBBA3F-9E5D-4BC6-920C-9FE491A5326B}" type="datetimeFigureOut">
              <a:rPr lang="es-ES" smtClean="0">
                <a:solidFill>
                  <a:prstClr val="black"/>
                </a:solidFill>
              </a:rPr>
              <a:pPr defTabSz="895763">
                <a:defRPr/>
              </a:pPr>
              <a:t>07/08/2024</a:t>
            </a:fld>
            <a:endParaRPr lang="es-ES">
              <a:solidFill>
                <a:prstClr val="black"/>
              </a:solidFill>
            </a:endParaRPr>
          </a:p>
        </p:txBody>
      </p:sp>
      <p:sp>
        <p:nvSpPr>
          <p:cNvPr id="5" name="4 Marcador de pie de página"/>
          <p:cNvSpPr>
            <a:spLocks noGrp="1"/>
          </p:cNvSpPr>
          <p:nvPr>
            <p:ph type="ftr" sz="quarter" idx="11"/>
          </p:nvPr>
        </p:nvSpPr>
        <p:spPr/>
        <p:txBody>
          <a:bodyPr/>
          <a:lstStyle>
            <a:lvl1pPr>
              <a:defRPr b="1"/>
            </a:lvl1pPr>
          </a:lstStyle>
          <a:p>
            <a:pPr>
              <a:defRPr/>
            </a:pPr>
            <a:endParaRPr lang="es-ES"/>
          </a:p>
        </p:txBody>
      </p:sp>
      <p:sp>
        <p:nvSpPr>
          <p:cNvPr id="6" name="5 Marcador de número de diapositiva"/>
          <p:cNvSpPr>
            <a:spLocks noGrp="1"/>
          </p:cNvSpPr>
          <p:nvPr>
            <p:ph type="sldNum" sz="quarter" idx="12"/>
          </p:nvPr>
        </p:nvSpPr>
        <p:spPr/>
        <p:txBody>
          <a:bodyPr/>
          <a:lstStyle>
            <a:lvl1pPr>
              <a:defRPr b="1"/>
            </a:lvl1pPr>
          </a:lstStyle>
          <a:p>
            <a:pPr>
              <a:defRPr/>
            </a:pPr>
            <a:fld id="{8DF4B2DE-53DE-4CE0-AB89-BBC05A729ABB}" type="slidenum">
              <a:rPr lang="es-ES"/>
              <a:pPr>
                <a:defRPr/>
              </a:pPr>
              <a:t>‹Nº›</a:t>
            </a:fld>
            <a:endParaRPr lang="es-ES"/>
          </a:p>
        </p:txBody>
      </p:sp>
    </p:spTree>
    <p:extLst>
      <p:ext uri="{BB962C8B-B14F-4D97-AF65-F5344CB8AC3E}">
        <p14:creationId xmlns:p14="http://schemas.microsoft.com/office/powerpoint/2010/main" val="2423327236"/>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629400" y="205983"/>
            <a:ext cx="2057400" cy="4388644"/>
          </a:xfrm>
        </p:spPr>
        <p:txBody>
          <a:bodyPr vert="eaVert"/>
          <a:lstStyle/>
          <a:p>
            <a:r>
              <a:rPr lang="es-ES"/>
              <a:t>Haga clic para modificar el estilo de título del patrón</a:t>
            </a:r>
          </a:p>
        </p:txBody>
      </p:sp>
      <p:sp>
        <p:nvSpPr>
          <p:cNvPr id="3" name="2 Marcador de texto vertical"/>
          <p:cNvSpPr>
            <a:spLocks noGrp="1"/>
          </p:cNvSpPr>
          <p:nvPr>
            <p:ph type="body" orient="vert" idx="1"/>
          </p:nvPr>
        </p:nvSpPr>
        <p:spPr>
          <a:xfrm>
            <a:off x="457200" y="205983"/>
            <a:ext cx="6019800" cy="4388644"/>
          </a:xfrm>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fecha"/>
          <p:cNvSpPr>
            <a:spLocks noGrp="1"/>
          </p:cNvSpPr>
          <p:nvPr>
            <p:ph type="dt" sz="half" idx="10"/>
          </p:nvPr>
        </p:nvSpPr>
        <p:spPr>
          <a:xfrm>
            <a:off x="457201" y="4767357"/>
            <a:ext cx="2133600" cy="273844"/>
          </a:xfrm>
          <a:prstGeom prst="rect">
            <a:avLst/>
          </a:prstGeom>
        </p:spPr>
        <p:txBody>
          <a:bodyPr lIns="89831" tIns="44915" rIns="89831" bIns="44915"/>
          <a:lstStyle>
            <a:lvl1pPr>
              <a:defRPr b="1"/>
            </a:lvl1pPr>
          </a:lstStyle>
          <a:p>
            <a:pPr defTabSz="895763">
              <a:defRPr/>
            </a:pPr>
            <a:fld id="{92D4531A-93F6-46E7-95FD-55A15B0A4327}" type="datetimeFigureOut">
              <a:rPr lang="es-ES" smtClean="0">
                <a:solidFill>
                  <a:prstClr val="black"/>
                </a:solidFill>
              </a:rPr>
              <a:pPr defTabSz="895763">
                <a:defRPr/>
              </a:pPr>
              <a:t>07/08/2024</a:t>
            </a:fld>
            <a:endParaRPr lang="es-ES">
              <a:solidFill>
                <a:prstClr val="black"/>
              </a:solidFill>
            </a:endParaRPr>
          </a:p>
        </p:txBody>
      </p:sp>
      <p:sp>
        <p:nvSpPr>
          <p:cNvPr id="5" name="4 Marcador de pie de página"/>
          <p:cNvSpPr>
            <a:spLocks noGrp="1"/>
          </p:cNvSpPr>
          <p:nvPr>
            <p:ph type="ftr" sz="quarter" idx="11"/>
          </p:nvPr>
        </p:nvSpPr>
        <p:spPr/>
        <p:txBody>
          <a:bodyPr/>
          <a:lstStyle>
            <a:lvl1pPr>
              <a:defRPr b="1"/>
            </a:lvl1pPr>
          </a:lstStyle>
          <a:p>
            <a:pPr>
              <a:defRPr/>
            </a:pPr>
            <a:endParaRPr lang="es-ES"/>
          </a:p>
        </p:txBody>
      </p:sp>
      <p:sp>
        <p:nvSpPr>
          <p:cNvPr id="6" name="5 Marcador de número de diapositiva"/>
          <p:cNvSpPr>
            <a:spLocks noGrp="1"/>
          </p:cNvSpPr>
          <p:nvPr>
            <p:ph type="sldNum" sz="quarter" idx="12"/>
          </p:nvPr>
        </p:nvSpPr>
        <p:spPr/>
        <p:txBody>
          <a:bodyPr/>
          <a:lstStyle>
            <a:lvl1pPr>
              <a:defRPr b="1"/>
            </a:lvl1pPr>
          </a:lstStyle>
          <a:p>
            <a:pPr>
              <a:defRPr/>
            </a:pPr>
            <a:fld id="{2377CA2C-EDB0-4929-9301-5C5E4E04D91A}" type="slidenum">
              <a:rPr lang="es-ES"/>
              <a:pPr>
                <a:defRPr/>
              </a:pPr>
              <a:t>‹Nº›</a:t>
            </a:fld>
            <a:endParaRPr lang="es-ES"/>
          </a:p>
        </p:txBody>
      </p:sp>
    </p:spTree>
    <p:extLst>
      <p:ext uri="{BB962C8B-B14F-4D97-AF65-F5344CB8AC3E}">
        <p14:creationId xmlns:p14="http://schemas.microsoft.com/office/powerpoint/2010/main" val="1541448953"/>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311700" y="445025"/>
            <a:ext cx="8520600" cy="572700"/>
          </a:xfrm>
          <a:prstGeom prst="rect">
            <a:avLst/>
          </a:prstGeom>
        </p:spPr>
        <p:txBody>
          <a:bodyPr spcFirstLastPara="1" wrap="square" lIns="89576" tIns="89576" rIns="89576" bIns="89576"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311700" y="1152475"/>
            <a:ext cx="8520600" cy="3416400"/>
          </a:xfrm>
          <a:prstGeom prst="rect">
            <a:avLst/>
          </a:prstGeom>
        </p:spPr>
        <p:txBody>
          <a:bodyPr spcFirstLastPara="1" wrap="square" lIns="89576" tIns="89576" rIns="89576" bIns="89576" anchor="t" anchorCtr="0">
            <a:noAutofit/>
          </a:bodyPr>
          <a:lstStyle>
            <a:lvl1pPr marL="597162" lvl="0" indent="-447892">
              <a:spcBef>
                <a:spcPts val="0"/>
              </a:spcBef>
              <a:spcAft>
                <a:spcPts val="0"/>
              </a:spcAft>
              <a:buSzPts val="1800"/>
              <a:buChar char="●"/>
              <a:defRPr/>
            </a:lvl1pPr>
            <a:lvl2pPr marL="1194324" lvl="1" indent="-414707">
              <a:spcBef>
                <a:spcPts val="2133"/>
              </a:spcBef>
              <a:spcAft>
                <a:spcPts val="0"/>
              </a:spcAft>
              <a:buSzPts val="1400"/>
              <a:buChar char="○"/>
              <a:defRPr/>
            </a:lvl2pPr>
            <a:lvl3pPr marL="1791488" lvl="2" indent="-414707">
              <a:spcBef>
                <a:spcPts val="2133"/>
              </a:spcBef>
              <a:spcAft>
                <a:spcPts val="0"/>
              </a:spcAft>
              <a:buSzPts val="1400"/>
              <a:buChar char="■"/>
              <a:defRPr/>
            </a:lvl3pPr>
            <a:lvl4pPr marL="2388653" lvl="3" indent="-414707">
              <a:spcBef>
                <a:spcPts val="2133"/>
              </a:spcBef>
              <a:spcAft>
                <a:spcPts val="0"/>
              </a:spcAft>
              <a:buSzPts val="1400"/>
              <a:buChar char="●"/>
              <a:defRPr/>
            </a:lvl4pPr>
            <a:lvl5pPr marL="2985810" lvl="4" indent="-414707">
              <a:spcBef>
                <a:spcPts val="2133"/>
              </a:spcBef>
              <a:spcAft>
                <a:spcPts val="0"/>
              </a:spcAft>
              <a:buSzPts val="1400"/>
              <a:buChar char="○"/>
              <a:defRPr/>
            </a:lvl5pPr>
            <a:lvl6pPr marL="3582977" lvl="5" indent="-414707">
              <a:spcBef>
                <a:spcPts val="2133"/>
              </a:spcBef>
              <a:spcAft>
                <a:spcPts val="0"/>
              </a:spcAft>
              <a:buSzPts val="1400"/>
              <a:buChar char="■"/>
              <a:defRPr/>
            </a:lvl6pPr>
            <a:lvl7pPr marL="4180133" lvl="6" indent="-414707">
              <a:spcBef>
                <a:spcPts val="2133"/>
              </a:spcBef>
              <a:spcAft>
                <a:spcPts val="0"/>
              </a:spcAft>
              <a:buSzPts val="1400"/>
              <a:buChar char="●"/>
              <a:defRPr/>
            </a:lvl7pPr>
            <a:lvl8pPr marL="4777307" lvl="7" indent="-414707">
              <a:spcBef>
                <a:spcPts val="2133"/>
              </a:spcBef>
              <a:spcAft>
                <a:spcPts val="0"/>
              </a:spcAft>
              <a:buSzPts val="1400"/>
              <a:buChar char="○"/>
              <a:defRPr/>
            </a:lvl8pPr>
            <a:lvl9pPr marL="5374458" lvl="8" indent="-414707">
              <a:spcBef>
                <a:spcPts val="2133"/>
              </a:spcBef>
              <a:spcAft>
                <a:spcPts val="2133"/>
              </a:spcAft>
              <a:buSzPts val="1400"/>
              <a:buChar char="■"/>
              <a:defRPr/>
            </a:lvl9pPr>
          </a:lstStyle>
          <a:p>
            <a:endParaRPr/>
          </a:p>
        </p:txBody>
      </p:sp>
      <p:sp>
        <p:nvSpPr>
          <p:cNvPr id="19" name="Google Shape;19;p4"/>
          <p:cNvSpPr txBox="1">
            <a:spLocks noGrp="1"/>
          </p:cNvSpPr>
          <p:nvPr>
            <p:ph type="sldNum" idx="12"/>
          </p:nvPr>
        </p:nvSpPr>
        <p:spPr>
          <a:xfrm>
            <a:off x="8472458" y="4663217"/>
            <a:ext cx="548700" cy="393600"/>
          </a:xfrm>
          <a:prstGeom prst="rect">
            <a:avLst/>
          </a:prstGeom>
        </p:spPr>
        <p:txBody>
          <a:bodyPr spcFirstLastPara="1" wrap="square" lIns="89576" tIns="89576" rIns="89576" bIns="89576"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s-AR" smtClean="0"/>
              <a:pPr/>
              <a:t>‹Nº›</a:t>
            </a:fld>
            <a:endParaRPr lang="es-AR"/>
          </a:p>
        </p:txBody>
      </p:sp>
    </p:spTree>
    <p:extLst>
      <p:ext uri="{BB962C8B-B14F-4D97-AF65-F5344CB8AC3E}">
        <p14:creationId xmlns:p14="http://schemas.microsoft.com/office/powerpoint/2010/main" val="207002660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arge Bullet">
    <p:spTree>
      <p:nvGrpSpPr>
        <p:cNvPr id="1" name=""/>
        <p:cNvGrpSpPr/>
        <p:nvPr/>
      </p:nvGrpSpPr>
      <p:grpSpPr>
        <a:xfrm>
          <a:off x="0" y="0"/>
          <a:ext cx="0" cy="0"/>
          <a:chOff x="0" y="0"/>
          <a:chExt cx="0" cy="0"/>
        </a:xfrm>
      </p:grpSpPr>
      <p:sp>
        <p:nvSpPr>
          <p:cNvPr id="6" name="Title 5"/>
          <p:cNvSpPr>
            <a:spLocks noGrp="1"/>
          </p:cNvSpPr>
          <p:nvPr>
            <p:ph type="title"/>
          </p:nvPr>
        </p:nvSpPr>
        <p:spPr>
          <a:xfrm>
            <a:off x="365133" y="221107"/>
            <a:ext cx="7577139" cy="253916"/>
          </a:xfrm>
        </p:spPr>
        <p:txBody>
          <a:bodyPr/>
          <a:lstStyle/>
          <a:p>
            <a:r>
              <a:rPr lang="en-US"/>
              <a:t>Click to edit Master title style</a:t>
            </a:r>
            <a:endParaRPr lang="en-GB"/>
          </a:p>
        </p:txBody>
      </p:sp>
      <p:sp>
        <p:nvSpPr>
          <p:cNvPr id="13" name="Content Placeholder 12"/>
          <p:cNvSpPr>
            <a:spLocks noGrp="1"/>
          </p:cNvSpPr>
          <p:nvPr>
            <p:ph sz="quarter" idx="17"/>
          </p:nvPr>
        </p:nvSpPr>
        <p:spPr>
          <a:xfrm>
            <a:off x="365137" y="888208"/>
            <a:ext cx="8423275" cy="3511154"/>
          </a:xfrm>
        </p:spPr>
        <p:txBody>
          <a:bodyPr/>
          <a:lstStyle>
            <a:lvl1pPr>
              <a:defRPr sz="1800"/>
            </a:lvl1pPr>
            <a:lvl2pP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Slide Number Placeholder 8"/>
          <p:cNvSpPr>
            <a:spLocks noGrp="1"/>
          </p:cNvSpPr>
          <p:nvPr>
            <p:ph type="sldNum" sz="quarter" idx="20"/>
          </p:nvPr>
        </p:nvSpPr>
        <p:spPr/>
        <p:txBody>
          <a:bodyPr/>
          <a:lstStyle/>
          <a:p>
            <a:fld id="{9F9F533D-B52E-4A2F-BF72-0ADD2D94BD75}" type="slidenum">
              <a:rPr lang="en-GB" smtClean="0">
                <a:solidFill>
                  <a:srgbClr val="9A8B7D"/>
                </a:solidFill>
              </a:rPr>
              <a:pPr/>
              <a:t>‹Nº›</a:t>
            </a:fld>
            <a:endParaRPr lang="en-GB">
              <a:solidFill>
                <a:srgbClr val="9A8B7D"/>
              </a:solidFill>
            </a:endParaRPr>
          </a:p>
        </p:txBody>
      </p:sp>
      <p:sp>
        <p:nvSpPr>
          <p:cNvPr id="11" name="Text Placeholder 2"/>
          <p:cNvSpPr>
            <a:spLocks noGrp="1"/>
          </p:cNvSpPr>
          <p:nvPr>
            <p:ph type="body" sz="quarter" idx="14" hasCustomPrompt="1"/>
          </p:nvPr>
        </p:nvSpPr>
        <p:spPr>
          <a:xfrm>
            <a:off x="365124" y="519477"/>
            <a:ext cx="7597776" cy="176213"/>
          </a:xfrm>
        </p:spPr>
        <p:txBody>
          <a:bodyPr anchor="t" anchorCtr="0"/>
          <a:lstStyle>
            <a:lvl1pPr marL="0" indent="0">
              <a:spcAft>
                <a:spcPts val="0"/>
              </a:spcAft>
              <a:buNone/>
              <a:defRPr sz="1350"/>
            </a:lvl1pPr>
            <a:lvl2pPr marL="203597" indent="0">
              <a:buNone/>
              <a:defRPr/>
            </a:lvl2pPr>
            <a:lvl3pPr marL="400050" indent="0">
              <a:buNone/>
              <a:defRPr/>
            </a:lvl3pPr>
            <a:lvl4pPr marL="611981" indent="0">
              <a:buNone/>
              <a:defRPr/>
            </a:lvl4pPr>
            <a:lvl5pPr marL="828675" indent="0">
              <a:buNone/>
              <a:defRPr/>
            </a:lvl5pPr>
          </a:lstStyle>
          <a:p>
            <a:pPr lvl="0"/>
            <a:r>
              <a:rPr lang="en-US"/>
              <a:t>Subtitle here if required</a:t>
            </a:r>
          </a:p>
        </p:txBody>
      </p:sp>
      <p:sp>
        <p:nvSpPr>
          <p:cNvPr id="12" name="Text Placeholder 6"/>
          <p:cNvSpPr>
            <a:spLocks noGrp="1"/>
          </p:cNvSpPr>
          <p:nvPr>
            <p:ph type="body" sz="quarter" idx="19" hasCustomPrompt="1"/>
          </p:nvPr>
        </p:nvSpPr>
        <p:spPr>
          <a:xfrm>
            <a:off x="358900" y="4827991"/>
            <a:ext cx="8043863" cy="297000"/>
          </a:xfrm>
        </p:spPr>
        <p:txBody>
          <a:bodyPr/>
          <a:lstStyle>
            <a:lvl1pPr marL="0" indent="0">
              <a:buNone/>
              <a:defRPr sz="600" baseline="0"/>
            </a:lvl1pPr>
          </a:lstStyle>
          <a:p>
            <a:pPr lvl="0"/>
            <a:r>
              <a:rPr lang="en-US"/>
              <a:t>Click to add references here</a:t>
            </a:r>
          </a:p>
        </p:txBody>
      </p:sp>
      <p:sp>
        <p:nvSpPr>
          <p:cNvPr id="14" name="Text Placeholder 5"/>
          <p:cNvSpPr>
            <a:spLocks noGrp="1"/>
          </p:cNvSpPr>
          <p:nvPr>
            <p:ph type="body" sz="quarter" idx="18" hasCustomPrompt="1"/>
          </p:nvPr>
        </p:nvSpPr>
        <p:spPr>
          <a:xfrm>
            <a:off x="360944" y="4451293"/>
            <a:ext cx="8445820" cy="239383"/>
          </a:xfrm>
        </p:spPr>
        <p:txBody>
          <a:bodyPr wrap="square" anchor="b" anchorCtr="0">
            <a:noAutofit/>
          </a:bodyPr>
          <a:lstStyle>
            <a:lvl1pPr marL="0" indent="0">
              <a:buNone/>
              <a:defRPr sz="750" baseline="0"/>
            </a:lvl1pPr>
            <a:lvl2pPr marL="201122" indent="0">
              <a:buNone/>
              <a:defRPr sz="600"/>
            </a:lvl2pPr>
            <a:lvl3pPr marL="405000" indent="0">
              <a:buNone/>
              <a:defRPr sz="600"/>
            </a:lvl3pPr>
            <a:lvl4pPr marL="608316" indent="0">
              <a:buNone/>
              <a:defRPr sz="600"/>
            </a:lvl4pPr>
            <a:lvl5pPr marL="810000" indent="0">
              <a:buNone/>
              <a:defRPr sz="600"/>
            </a:lvl5pPr>
          </a:lstStyle>
          <a:p>
            <a:pPr lvl="0"/>
            <a:r>
              <a:rPr lang="en-US"/>
              <a:t>Insert Source text here</a:t>
            </a:r>
          </a:p>
        </p:txBody>
      </p:sp>
    </p:spTree>
    <p:extLst>
      <p:ext uri="{BB962C8B-B14F-4D97-AF65-F5344CB8AC3E}">
        <p14:creationId xmlns:p14="http://schemas.microsoft.com/office/powerpoint/2010/main" val="368575459"/>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type="txAndObj">
  <p:cSld name="Título, texto y objetos">
    <p:spTree>
      <p:nvGrpSpPr>
        <p:cNvPr id="1" name=""/>
        <p:cNvGrpSpPr/>
        <p:nvPr/>
      </p:nvGrpSpPr>
      <p:grpSpPr>
        <a:xfrm>
          <a:off x="0" y="0"/>
          <a:ext cx="0" cy="0"/>
          <a:chOff x="0" y="0"/>
          <a:chExt cx="0" cy="0"/>
        </a:xfrm>
      </p:grpSpPr>
      <p:sp>
        <p:nvSpPr>
          <p:cNvPr id="2" name="1 Título"/>
          <p:cNvSpPr>
            <a:spLocks noGrp="1"/>
          </p:cNvSpPr>
          <p:nvPr>
            <p:ph type="title"/>
          </p:nvPr>
        </p:nvSpPr>
        <p:spPr>
          <a:xfrm>
            <a:off x="685800" y="457200"/>
            <a:ext cx="7772400" cy="685800"/>
          </a:xfrm>
        </p:spPr>
        <p:txBody>
          <a:bodyPr/>
          <a:lstStyle/>
          <a:p>
            <a:r>
              <a:rPr lang="es-ES"/>
              <a:t>Haga clic para modificar el estilo de título del patrón</a:t>
            </a:r>
            <a:endParaRPr lang="es-AR"/>
          </a:p>
        </p:txBody>
      </p:sp>
      <p:sp>
        <p:nvSpPr>
          <p:cNvPr id="3" name="2 Marcador de texto"/>
          <p:cNvSpPr>
            <a:spLocks noGrp="1"/>
          </p:cNvSpPr>
          <p:nvPr>
            <p:ph type="body" sz="half" idx="1"/>
          </p:nvPr>
        </p:nvSpPr>
        <p:spPr>
          <a:xfrm>
            <a:off x="685800" y="1485900"/>
            <a:ext cx="3810000" cy="3086100"/>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AR"/>
          </a:p>
        </p:txBody>
      </p:sp>
      <p:sp>
        <p:nvSpPr>
          <p:cNvPr id="4" name="3 Marcador de contenido"/>
          <p:cNvSpPr>
            <a:spLocks noGrp="1"/>
          </p:cNvSpPr>
          <p:nvPr>
            <p:ph sz="half" idx="2"/>
          </p:nvPr>
        </p:nvSpPr>
        <p:spPr>
          <a:xfrm>
            <a:off x="4648201" y="1485900"/>
            <a:ext cx="3810000" cy="3086100"/>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AR"/>
          </a:p>
        </p:txBody>
      </p:sp>
      <p:sp>
        <p:nvSpPr>
          <p:cNvPr id="5" name="4 Marcador de pie de página"/>
          <p:cNvSpPr>
            <a:spLocks noGrp="1"/>
          </p:cNvSpPr>
          <p:nvPr>
            <p:ph type="ftr" sz="quarter" idx="10"/>
          </p:nvPr>
        </p:nvSpPr>
        <p:spPr>
          <a:xfrm>
            <a:off x="2195623" y="4814888"/>
            <a:ext cx="4764087" cy="342900"/>
          </a:xfrm>
        </p:spPr>
        <p:txBody>
          <a:bodyPr/>
          <a:lstStyle>
            <a:lvl1pPr>
              <a:defRPr/>
            </a:lvl1pPr>
          </a:lstStyle>
          <a:p>
            <a:r>
              <a:rPr lang="en-US">
                <a:solidFill>
                  <a:srgbClr val="438086"/>
                </a:solidFill>
              </a:rPr>
              <a:t>44. Consejo Directivo, septiembre 2003</a:t>
            </a:r>
          </a:p>
        </p:txBody>
      </p:sp>
      <p:sp>
        <p:nvSpPr>
          <p:cNvPr id="6" name="5 Marcador de número de diapositiva"/>
          <p:cNvSpPr>
            <a:spLocks noGrp="1"/>
          </p:cNvSpPr>
          <p:nvPr>
            <p:ph type="sldNum" sz="quarter" idx="11"/>
          </p:nvPr>
        </p:nvSpPr>
        <p:spPr>
          <a:xfrm>
            <a:off x="7253288" y="4804172"/>
            <a:ext cx="1905000" cy="342900"/>
          </a:xfrm>
        </p:spPr>
        <p:txBody>
          <a:bodyPr/>
          <a:lstStyle>
            <a:lvl1pPr>
              <a:defRPr/>
            </a:lvl1pPr>
          </a:lstStyle>
          <a:p>
            <a:fld id="{2072D06B-150C-4DB8-884B-2C600CB49BCF}" type="slidenum">
              <a:rPr lang="en-US"/>
              <a:pPr/>
              <a:t>‹Nº›</a:t>
            </a:fld>
            <a:endParaRPr lang="en-US"/>
          </a:p>
        </p:txBody>
      </p:sp>
    </p:spTree>
    <p:extLst>
      <p:ext uri="{BB962C8B-B14F-4D97-AF65-F5344CB8AC3E}">
        <p14:creationId xmlns:p14="http://schemas.microsoft.com/office/powerpoint/2010/main" val="463820959"/>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800" y="1597943"/>
            <a:ext cx="7772400" cy="1102519"/>
          </a:xfrm>
        </p:spPr>
        <p:txBody>
          <a:bodyPr/>
          <a:lstStyle/>
          <a:p>
            <a:r>
              <a:rPr lang="es-ES"/>
              <a:t>Haga clic para modificar el estilo de título del patrón</a:t>
            </a:r>
          </a:p>
        </p:txBody>
      </p:sp>
      <p:sp>
        <p:nvSpPr>
          <p:cNvPr id="3" name="2 Subtítulo"/>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6470" indent="0" algn="ctr">
              <a:buNone/>
              <a:defRPr>
                <a:solidFill>
                  <a:schemeClr val="tx1">
                    <a:tint val="75000"/>
                  </a:schemeClr>
                </a:solidFill>
              </a:defRPr>
            </a:lvl2pPr>
            <a:lvl3pPr marL="913028" indent="0" algn="ctr">
              <a:buNone/>
              <a:defRPr>
                <a:solidFill>
                  <a:schemeClr val="tx1">
                    <a:tint val="75000"/>
                  </a:schemeClr>
                </a:solidFill>
              </a:defRPr>
            </a:lvl3pPr>
            <a:lvl4pPr marL="1369526" indent="0" algn="ctr">
              <a:buNone/>
              <a:defRPr>
                <a:solidFill>
                  <a:schemeClr val="tx1">
                    <a:tint val="75000"/>
                  </a:schemeClr>
                </a:solidFill>
              </a:defRPr>
            </a:lvl4pPr>
            <a:lvl5pPr marL="1826054" indent="0" algn="ctr">
              <a:buNone/>
              <a:defRPr>
                <a:solidFill>
                  <a:schemeClr val="tx1">
                    <a:tint val="75000"/>
                  </a:schemeClr>
                </a:solidFill>
              </a:defRPr>
            </a:lvl5pPr>
            <a:lvl6pPr marL="2282523" indent="0" algn="ctr">
              <a:buNone/>
              <a:defRPr>
                <a:solidFill>
                  <a:schemeClr val="tx1">
                    <a:tint val="75000"/>
                  </a:schemeClr>
                </a:solidFill>
              </a:defRPr>
            </a:lvl6pPr>
            <a:lvl7pPr marL="2738993" indent="0" algn="ctr">
              <a:buNone/>
              <a:defRPr>
                <a:solidFill>
                  <a:schemeClr val="tx1">
                    <a:tint val="75000"/>
                  </a:schemeClr>
                </a:solidFill>
              </a:defRPr>
            </a:lvl7pPr>
            <a:lvl8pPr marL="3195520" indent="0" algn="ctr">
              <a:buNone/>
              <a:defRPr>
                <a:solidFill>
                  <a:schemeClr val="tx1">
                    <a:tint val="75000"/>
                  </a:schemeClr>
                </a:solidFill>
              </a:defRPr>
            </a:lvl8pPr>
            <a:lvl9pPr marL="3652035" indent="0" algn="ctr">
              <a:buNone/>
              <a:defRPr>
                <a:solidFill>
                  <a:schemeClr val="tx1">
                    <a:tint val="75000"/>
                  </a:schemeClr>
                </a:solidFill>
              </a:defRPr>
            </a:lvl9pPr>
          </a:lstStyle>
          <a:p>
            <a:r>
              <a:rPr lang="es-ES"/>
              <a:t>Haga clic para modificar el estilo de subtítulo del patrón</a:t>
            </a:r>
          </a:p>
        </p:txBody>
      </p:sp>
      <p:sp>
        <p:nvSpPr>
          <p:cNvPr id="4" name="3 Marcador de fecha"/>
          <p:cNvSpPr>
            <a:spLocks noGrp="1"/>
          </p:cNvSpPr>
          <p:nvPr>
            <p:ph type="dt" sz="half" idx="10"/>
          </p:nvPr>
        </p:nvSpPr>
        <p:spPr/>
        <p:txBody>
          <a:bodyPr/>
          <a:lstStyle>
            <a:lvl1pPr>
              <a:defRPr/>
            </a:lvl1pPr>
          </a:lstStyle>
          <a:p>
            <a:pPr>
              <a:defRPr/>
            </a:pPr>
            <a:fld id="{93A2CFBF-458D-4EF0-8E1C-40D413FE3954}" type="datetimeFigureOut">
              <a:rPr lang="es-ES">
                <a:solidFill>
                  <a:prstClr val="black">
                    <a:tint val="75000"/>
                  </a:prstClr>
                </a:solidFill>
              </a:rPr>
              <a:pPr>
                <a:defRPr/>
              </a:pPr>
              <a:t>07/08/2024</a:t>
            </a:fld>
            <a:endParaRPr lang="es-ES">
              <a:solidFill>
                <a:prstClr val="black">
                  <a:tint val="75000"/>
                </a:prstClr>
              </a:solidFill>
            </a:endParaRPr>
          </a:p>
        </p:txBody>
      </p:sp>
      <p:sp>
        <p:nvSpPr>
          <p:cNvPr id="5" name="4 Marcador de pie de página"/>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6" name="5 Marcador de número de diapositiva"/>
          <p:cNvSpPr>
            <a:spLocks noGrp="1"/>
          </p:cNvSpPr>
          <p:nvPr>
            <p:ph type="sldNum" sz="quarter" idx="12"/>
          </p:nvPr>
        </p:nvSpPr>
        <p:spPr/>
        <p:txBody>
          <a:bodyPr/>
          <a:lstStyle>
            <a:lvl1pPr>
              <a:defRPr/>
            </a:lvl1pPr>
          </a:lstStyle>
          <a:p>
            <a:pPr>
              <a:defRPr/>
            </a:pPr>
            <a:fld id="{0CB0C587-0F05-4CFA-9E38-2F91768250ED}" type="slidenum">
              <a:rPr lang="es-ES">
                <a:solidFill>
                  <a:prstClr val="black">
                    <a:tint val="75000"/>
                  </a:prstClr>
                </a:solidFill>
              </a:rPr>
              <a:pPr>
                <a:defRPr/>
              </a:pPr>
              <a:t>‹Nº›</a:t>
            </a:fld>
            <a:endParaRPr lang="es-ES">
              <a:solidFill>
                <a:prstClr val="black">
                  <a:tint val="75000"/>
                </a:prstClr>
              </a:solidFill>
            </a:endParaRPr>
          </a:p>
        </p:txBody>
      </p:sp>
    </p:spTree>
    <p:extLst>
      <p:ext uri="{BB962C8B-B14F-4D97-AF65-F5344CB8AC3E}">
        <p14:creationId xmlns:p14="http://schemas.microsoft.com/office/powerpoint/2010/main" val="3532925952"/>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fecha"/>
          <p:cNvSpPr>
            <a:spLocks noGrp="1"/>
          </p:cNvSpPr>
          <p:nvPr>
            <p:ph type="dt" sz="half" idx="10"/>
          </p:nvPr>
        </p:nvSpPr>
        <p:spPr/>
        <p:txBody>
          <a:bodyPr/>
          <a:lstStyle>
            <a:lvl1pPr>
              <a:defRPr/>
            </a:lvl1pPr>
          </a:lstStyle>
          <a:p>
            <a:pPr>
              <a:defRPr/>
            </a:pPr>
            <a:fld id="{917C2CA9-7A6A-4AF4-B0AF-66C4BE9DB8E7}" type="datetimeFigureOut">
              <a:rPr lang="es-ES">
                <a:solidFill>
                  <a:prstClr val="black">
                    <a:tint val="75000"/>
                  </a:prstClr>
                </a:solidFill>
              </a:rPr>
              <a:pPr>
                <a:defRPr/>
              </a:pPr>
              <a:t>07/08/2024</a:t>
            </a:fld>
            <a:endParaRPr lang="es-ES">
              <a:solidFill>
                <a:prstClr val="black">
                  <a:tint val="75000"/>
                </a:prstClr>
              </a:solidFill>
            </a:endParaRPr>
          </a:p>
        </p:txBody>
      </p:sp>
      <p:sp>
        <p:nvSpPr>
          <p:cNvPr id="5" name="4 Marcador de pie de página"/>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6" name="5 Marcador de número de diapositiva"/>
          <p:cNvSpPr>
            <a:spLocks noGrp="1"/>
          </p:cNvSpPr>
          <p:nvPr>
            <p:ph type="sldNum" sz="quarter" idx="12"/>
          </p:nvPr>
        </p:nvSpPr>
        <p:spPr/>
        <p:txBody>
          <a:bodyPr/>
          <a:lstStyle>
            <a:lvl1pPr>
              <a:defRPr/>
            </a:lvl1pPr>
          </a:lstStyle>
          <a:p>
            <a:pPr>
              <a:defRPr/>
            </a:pPr>
            <a:fld id="{DFF52709-0123-4C97-9F57-BC6A44D46997}" type="slidenum">
              <a:rPr lang="es-ES">
                <a:solidFill>
                  <a:prstClr val="black">
                    <a:tint val="75000"/>
                  </a:prstClr>
                </a:solidFill>
              </a:rPr>
              <a:pPr>
                <a:defRPr/>
              </a:pPr>
              <a:t>‹Nº›</a:t>
            </a:fld>
            <a:endParaRPr lang="es-ES">
              <a:solidFill>
                <a:prstClr val="black">
                  <a:tint val="75000"/>
                </a:prstClr>
              </a:solidFill>
            </a:endParaRPr>
          </a:p>
        </p:txBody>
      </p:sp>
    </p:spTree>
    <p:extLst>
      <p:ext uri="{BB962C8B-B14F-4D97-AF65-F5344CB8AC3E}">
        <p14:creationId xmlns:p14="http://schemas.microsoft.com/office/powerpoint/2010/main" val="2332186957"/>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313" y="3305176"/>
            <a:ext cx="7772400" cy="1021556"/>
          </a:xfrm>
        </p:spPr>
        <p:txBody>
          <a:bodyPr anchor="t"/>
          <a:lstStyle>
            <a:lvl1pPr algn="l">
              <a:defRPr sz="4000" b="1" cap="all"/>
            </a:lvl1pPr>
          </a:lstStyle>
          <a:p>
            <a:r>
              <a:rPr lang="es-ES"/>
              <a:t>Haga clic para modificar el estilo de título del patrón</a:t>
            </a:r>
          </a:p>
        </p:txBody>
      </p:sp>
      <p:sp>
        <p:nvSpPr>
          <p:cNvPr id="3" name="2 Marcador de texto"/>
          <p:cNvSpPr>
            <a:spLocks noGrp="1"/>
          </p:cNvSpPr>
          <p:nvPr>
            <p:ph type="body" idx="1"/>
          </p:nvPr>
        </p:nvSpPr>
        <p:spPr>
          <a:xfrm>
            <a:off x="722313" y="2180038"/>
            <a:ext cx="7772400" cy="1125140"/>
          </a:xfrm>
        </p:spPr>
        <p:txBody>
          <a:bodyPr anchor="b"/>
          <a:lstStyle>
            <a:lvl1pPr marL="0" indent="0">
              <a:buNone/>
              <a:defRPr sz="2000">
                <a:solidFill>
                  <a:schemeClr val="tx1">
                    <a:tint val="75000"/>
                  </a:schemeClr>
                </a:solidFill>
              </a:defRPr>
            </a:lvl1pPr>
            <a:lvl2pPr marL="456470" indent="0">
              <a:buNone/>
              <a:defRPr sz="1800">
                <a:solidFill>
                  <a:schemeClr val="tx1">
                    <a:tint val="75000"/>
                  </a:schemeClr>
                </a:solidFill>
              </a:defRPr>
            </a:lvl2pPr>
            <a:lvl3pPr marL="913028" indent="0">
              <a:buNone/>
              <a:defRPr sz="1600">
                <a:solidFill>
                  <a:schemeClr val="tx1">
                    <a:tint val="75000"/>
                  </a:schemeClr>
                </a:solidFill>
              </a:defRPr>
            </a:lvl3pPr>
            <a:lvl4pPr marL="1369526" indent="0">
              <a:buNone/>
              <a:defRPr sz="1400">
                <a:solidFill>
                  <a:schemeClr val="tx1">
                    <a:tint val="75000"/>
                  </a:schemeClr>
                </a:solidFill>
              </a:defRPr>
            </a:lvl4pPr>
            <a:lvl5pPr marL="1826054" indent="0">
              <a:buNone/>
              <a:defRPr sz="1400">
                <a:solidFill>
                  <a:schemeClr val="tx1">
                    <a:tint val="75000"/>
                  </a:schemeClr>
                </a:solidFill>
              </a:defRPr>
            </a:lvl5pPr>
            <a:lvl6pPr marL="2282523" indent="0">
              <a:buNone/>
              <a:defRPr sz="1400">
                <a:solidFill>
                  <a:schemeClr val="tx1">
                    <a:tint val="75000"/>
                  </a:schemeClr>
                </a:solidFill>
              </a:defRPr>
            </a:lvl6pPr>
            <a:lvl7pPr marL="2738993" indent="0">
              <a:buNone/>
              <a:defRPr sz="1400">
                <a:solidFill>
                  <a:schemeClr val="tx1">
                    <a:tint val="75000"/>
                  </a:schemeClr>
                </a:solidFill>
              </a:defRPr>
            </a:lvl7pPr>
            <a:lvl8pPr marL="3195520" indent="0">
              <a:buNone/>
              <a:defRPr sz="1400">
                <a:solidFill>
                  <a:schemeClr val="tx1">
                    <a:tint val="75000"/>
                  </a:schemeClr>
                </a:solidFill>
              </a:defRPr>
            </a:lvl8pPr>
            <a:lvl9pPr marL="3652035" indent="0">
              <a:buNone/>
              <a:defRPr sz="1400">
                <a:solidFill>
                  <a:schemeClr val="tx1">
                    <a:tint val="75000"/>
                  </a:schemeClr>
                </a:solidFill>
              </a:defRPr>
            </a:lvl9pPr>
          </a:lstStyle>
          <a:p>
            <a:pPr lvl="0"/>
            <a:r>
              <a:rPr lang="es-ES"/>
              <a:t>Haga clic para modificar el estilo de texto del patrón</a:t>
            </a:r>
          </a:p>
        </p:txBody>
      </p:sp>
      <p:sp>
        <p:nvSpPr>
          <p:cNvPr id="4" name="3 Marcador de fecha"/>
          <p:cNvSpPr>
            <a:spLocks noGrp="1"/>
          </p:cNvSpPr>
          <p:nvPr>
            <p:ph type="dt" sz="half" idx="10"/>
          </p:nvPr>
        </p:nvSpPr>
        <p:spPr/>
        <p:txBody>
          <a:bodyPr/>
          <a:lstStyle>
            <a:lvl1pPr>
              <a:defRPr/>
            </a:lvl1pPr>
          </a:lstStyle>
          <a:p>
            <a:pPr>
              <a:defRPr/>
            </a:pPr>
            <a:fld id="{21D21C3F-30C4-4164-926E-79EB7184884E}" type="datetimeFigureOut">
              <a:rPr lang="es-ES">
                <a:solidFill>
                  <a:prstClr val="black">
                    <a:tint val="75000"/>
                  </a:prstClr>
                </a:solidFill>
              </a:rPr>
              <a:pPr>
                <a:defRPr/>
              </a:pPr>
              <a:t>07/08/2024</a:t>
            </a:fld>
            <a:endParaRPr lang="es-ES">
              <a:solidFill>
                <a:prstClr val="black">
                  <a:tint val="75000"/>
                </a:prstClr>
              </a:solidFill>
            </a:endParaRPr>
          </a:p>
        </p:txBody>
      </p:sp>
      <p:sp>
        <p:nvSpPr>
          <p:cNvPr id="5" name="4 Marcador de pie de página"/>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6" name="5 Marcador de número de diapositiva"/>
          <p:cNvSpPr>
            <a:spLocks noGrp="1"/>
          </p:cNvSpPr>
          <p:nvPr>
            <p:ph type="sldNum" sz="quarter" idx="12"/>
          </p:nvPr>
        </p:nvSpPr>
        <p:spPr/>
        <p:txBody>
          <a:bodyPr/>
          <a:lstStyle>
            <a:lvl1pPr>
              <a:defRPr/>
            </a:lvl1pPr>
          </a:lstStyle>
          <a:p>
            <a:pPr>
              <a:defRPr/>
            </a:pPr>
            <a:fld id="{89CB50F0-229E-4026-A738-E494911A8675}" type="slidenum">
              <a:rPr lang="es-ES">
                <a:solidFill>
                  <a:prstClr val="black">
                    <a:tint val="75000"/>
                  </a:prstClr>
                </a:solidFill>
              </a:rPr>
              <a:pPr>
                <a:defRPr/>
              </a:pPr>
              <a:t>‹Nº›</a:t>
            </a:fld>
            <a:endParaRPr lang="es-ES">
              <a:solidFill>
                <a:prstClr val="black">
                  <a:tint val="75000"/>
                </a:prstClr>
              </a:solidFill>
            </a:endParaRPr>
          </a:p>
        </p:txBody>
      </p:sp>
    </p:spTree>
    <p:extLst>
      <p:ext uri="{BB962C8B-B14F-4D97-AF65-F5344CB8AC3E}">
        <p14:creationId xmlns:p14="http://schemas.microsoft.com/office/powerpoint/2010/main" val="1118597574"/>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sz="half" idx="1"/>
          </p:nvPr>
        </p:nvSpPr>
        <p:spPr>
          <a:xfrm>
            <a:off x="457200" y="1200154"/>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contenido"/>
          <p:cNvSpPr>
            <a:spLocks noGrp="1"/>
          </p:cNvSpPr>
          <p:nvPr>
            <p:ph sz="half" idx="2"/>
          </p:nvPr>
        </p:nvSpPr>
        <p:spPr>
          <a:xfrm>
            <a:off x="4648200" y="1200154"/>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3 Marcador de fecha"/>
          <p:cNvSpPr>
            <a:spLocks noGrp="1"/>
          </p:cNvSpPr>
          <p:nvPr>
            <p:ph type="dt" sz="half" idx="10"/>
          </p:nvPr>
        </p:nvSpPr>
        <p:spPr/>
        <p:txBody>
          <a:bodyPr/>
          <a:lstStyle>
            <a:lvl1pPr>
              <a:defRPr/>
            </a:lvl1pPr>
          </a:lstStyle>
          <a:p>
            <a:pPr>
              <a:defRPr/>
            </a:pPr>
            <a:fld id="{25B23B9E-96DF-40DB-84F2-B114F72DD71F}" type="datetimeFigureOut">
              <a:rPr lang="es-ES">
                <a:solidFill>
                  <a:prstClr val="black">
                    <a:tint val="75000"/>
                  </a:prstClr>
                </a:solidFill>
              </a:rPr>
              <a:pPr>
                <a:defRPr/>
              </a:pPr>
              <a:t>07/08/2024</a:t>
            </a:fld>
            <a:endParaRPr lang="es-ES">
              <a:solidFill>
                <a:prstClr val="black">
                  <a:tint val="75000"/>
                </a:prstClr>
              </a:solidFill>
            </a:endParaRPr>
          </a:p>
        </p:txBody>
      </p:sp>
      <p:sp>
        <p:nvSpPr>
          <p:cNvPr id="6" name="4 Marcador de pie de página"/>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7" name="5 Marcador de número de diapositiva"/>
          <p:cNvSpPr>
            <a:spLocks noGrp="1"/>
          </p:cNvSpPr>
          <p:nvPr>
            <p:ph type="sldNum" sz="quarter" idx="12"/>
          </p:nvPr>
        </p:nvSpPr>
        <p:spPr/>
        <p:txBody>
          <a:bodyPr/>
          <a:lstStyle>
            <a:lvl1pPr>
              <a:defRPr/>
            </a:lvl1pPr>
          </a:lstStyle>
          <a:p>
            <a:pPr>
              <a:defRPr/>
            </a:pPr>
            <a:fld id="{4202EB89-BFC4-4081-A7E7-80B89CED363F}" type="slidenum">
              <a:rPr lang="es-ES">
                <a:solidFill>
                  <a:prstClr val="black">
                    <a:tint val="75000"/>
                  </a:prstClr>
                </a:solidFill>
              </a:rPr>
              <a:pPr>
                <a:defRPr/>
              </a:pPr>
              <a:t>‹Nº›</a:t>
            </a:fld>
            <a:endParaRPr lang="es-ES">
              <a:solidFill>
                <a:prstClr val="black">
                  <a:tint val="75000"/>
                </a:prstClr>
              </a:solidFill>
            </a:endParaRPr>
          </a:p>
        </p:txBody>
      </p:sp>
    </p:spTree>
    <p:extLst>
      <p:ext uri="{BB962C8B-B14F-4D97-AF65-F5344CB8AC3E}">
        <p14:creationId xmlns:p14="http://schemas.microsoft.com/office/powerpoint/2010/main" val="1482500820"/>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lvl1pPr>
              <a:defRPr/>
            </a:lvl1pPr>
          </a:lstStyle>
          <a:p>
            <a:r>
              <a:rPr lang="es-ES"/>
              <a:t>Haga clic para modificar el estilo de título del patrón</a:t>
            </a:r>
          </a:p>
        </p:txBody>
      </p:sp>
      <p:sp>
        <p:nvSpPr>
          <p:cNvPr id="3" name="2 Marcador de texto"/>
          <p:cNvSpPr>
            <a:spLocks noGrp="1"/>
          </p:cNvSpPr>
          <p:nvPr>
            <p:ph type="body" idx="1"/>
          </p:nvPr>
        </p:nvSpPr>
        <p:spPr>
          <a:xfrm>
            <a:off x="457203" y="1151335"/>
            <a:ext cx="4040188" cy="479822"/>
          </a:xfrm>
        </p:spPr>
        <p:txBody>
          <a:bodyPr anchor="b"/>
          <a:lstStyle>
            <a:lvl1pPr marL="0" indent="0">
              <a:buNone/>
              <a:defRPr sz="2400" b="1"/>
            </a:lvl1pPr>
            <a:lvl2pPr marL="456470" indent="0">
              <a:buNone/>
              <a:defRPr sz="2000" b="1"/>
            </a:lvl2pPr>
            <a:lvl3pPr marL="913028" indent="0">
              <a:buNone/>
              <a:defRPr sz="1800" b="1"/>
            </a:lvl3pPr>
            <a:lvl4pPr marL="1369526" indent="0">
              <a:buNone/>
              <a:defRPr sz="1600" b="1"/>
            </a:lvl4pPr>
            <a:lvl5pPr marL="1826054" indent="0">
              <a:buNone/>
              <a:defRPr sz="1600" b="1"/>
            </a:lvl5pPr>
            <a:lvl6pPr marL="2282523" indent="0">
              <a:buNone/>
              <a:defRPr sz="1600" b="1"/>
            </a:lvl6pPr>
            <a:lvl7pPr marL="2738993" indent="0">
              <a:buNone/>
              <a:defRPr sz="1600" b="1"/>
            </a:lvl7pPr>
            <a:lvl8pPr marL="3195520" indent="0">
              <a:buNone/>
              <a:defRPr sz="1600" b="1"/>
            </a:lvl8pPr>
            <a:lvl9pPr marL="3652035" indent="0">
              <a:buNone/>
              <a:defRPr sz="1600" b="1"/>
            </a:lvl9pPr>
          </a:lstStyle>
          <a:p>
            <a:pPr lvl="0"/>
            <a:r>
              <a:rPr lang="es-ES"/>
              <a:t>Haga clic para modificar el estilo de texto del patrón</a:t>
            </a:r>
          </a:p>
        </p:txBody>
      </p:sp>
      <p:sp>
        <p:nvSpPr>
          <p:cNvPr id="4" name="3 Marcador de contenido"/>
          <p:cNvSpPr>
            <a:spLocks noGrp="1"/>
          </p:cNvSpPr>
          <p:nvPr>
            <p:ph sz="half" idx="2"/>
          </p:nvPr>
        </p:nvSpPr>
        <p:spPr>
          <a:xfrm>
            <a:off x="457203"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4 Marcador de texto"/>
          <p:cNvSpPr>
            <a:spLocks noGrp="1"/>
          </p:cNvSpPr>
          <p:nvPr>
            <p:ph type="body" sz="quarter" idx="3"/>
          </p:nvPr>
        </p:nvSpPr>
        <p:spPr>
          <a:xfrm>
            <a:off x="4645094" y="1151335"/>
            <a:ext cx="4041775" cy="479822"/>
          </a:xfrm>
        </p:spPr>
        <p:txBody>
          <a:bodyPr anchor="b"/>
          <a:lstStyle>
            <a:lvl1pPr marL="0" indent="0">
              <a:buNone/>
              <a:defRPr sz="2400" b="1"/>
            </a:lvl1pPr>
            <a:lvl2pPr marL="456470" indent="0">
              <a:buNone/>
              <a:defRPr sz="2000" b="1"/>
            </a:lvl2pPr>
            <a:lvl3pPr marL="913028" indent="0">
              <a:buNone/>
              <a:defRPr sz="1800" b="1"/>
            </a:lvl3pPr>
            <a:lvl4pPr marL="1369526" indent="0">
              <a:buNone/>
              <a:defRPr sz="1600" b="1"/>
            </a:lvl4pPr>
            <a:lvl5pPr marL="1826054" indent="0">
              <a:buNone/>
              <a:defRPr sz="1600" b="1"/>
            </a:lvl5pPr>
            <a:lvl6pPr marL="2282523" indent="0">
              <a:buNone/>
              <a:defRPr sz="1600" b="1"/>
            </a:lvl6pPr>
            <a:lvl7pPr marL="2738993" indent="0">
              <a:buNone/>
              <a:defRPr sz="1600" b="1"/>
            </a:lvl7pPr>
            <a:lvl8pPr marL="3195520" indent="0">
              <a:buNone/>
              <a:defRPr sz="1600" b="1"/>
            </a:lvl8pPr>
            <a:lvl9pPr marL="3652035" indent="0">
              <a:buNone/>
              <a:defRPr sz="1600" b="1"/>
            </a:lvl9pPr>
          </a:lstStyle>
          <a:p>
            <a:pPr lvl="0"/>
            <a:r>
              <a:rPr lang="es-ES"/>
              <a:t>Haga clic para modificar el estilo de texto del patrón</a:t>
            </a:r>
          </a:p>
        </p:txBody>
      </p:sp>
      <p:sp>
        <p:nvSpPr>
          <p:cNvPr id="6" name="5 Marcador de contenido"/>
          <p:cNvSpPr>
            <a:spLocks noGrp="1"/>
          </p:cNvSpPr>
          <p:nvPr>
            <p:ph sz="quarter" idx="4"/>
          </p:nvPr>
        </p:nvSpPr>
        <p:spPr>
          <a:xfrm>
            <a:off x="4645094"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7" name="3 Marcador de fecha"/>
          <p:cNvSpPr>
            <a:spLocks noGrp="1"/>
          </p:cNvSpPr>
          <p:nvPr>
            <p:ph type="dt" sz="half" idx="10"/>
          </p:nvPr>
        </p:nvSpPr>
        <p:spPr/>
        <p:txBody>
          <a:bodyPr/>
          <a:lstStyle>
            <a:lvl1pPr>
              <a:defRPr/>
            </a:lvl1pPr>
          </a:lstStyle>
          <a:p>
            <a:pPr>
              <a:defRPr/>
            </a:pPr>
            <a:fld id="{1CC72E1F-3CC6-46D1-8965-33437B62DB08}" type="datetimeFigureOut">
              <a:rPr lang="es-ES">
                <a:solidFill>
                  <a:prstClr val="black">
                    <a:tint val="75000"/>
                  </a:prstClr>
                </a:solidFill>
              </a:rPr>
              <a:pPr>
                <a:defRPr/>
              </a:pPr>
              <a:t>07/08/2024</a:t>
            </a:fld>
            <a:endParaRPr lang="es-ES">
              <a:solidFill>
                <a:prstClr val="black">
                  <a:tint val="75000"/>
                </a:prstClr>
              </a:solidFill>
            </a:endParaRPr>
          </a:p>
        </p:txBody>
      </p:sp>
      <p:sp>
        <p:nvSpPr>
          <p:cNvPr id="8" name="4 Marcador de pie de página"/>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9" name="5 Marcador de número de diapositiva"/>
          <p:cNvSpPr>
            <a:spLocks noGrp="1"/>
          </p:cNvSpPr>
          <p:nvPr>
            <p:ph type="sldNum" sz="quarter" idx="12"/>
          </p:nvPr>
        </p:nvSpPr>
        <p:spPr/>
        <p:txBody>
          <a:bodyPr/>
          <a:lstStyle>
            <a:lvl1pPr>
              <a:defRPr/>
            </a:lvl1pPr>
          </a:lstStyle>
          <a:p>
            <a:pPr>
              <a:defRPr/>
            </a:pPr>
            <a:fld id="{EEEEB9AF-8CFD-4E8A-BA23-CFF7A11D3972}" type="slidenum">
              <a:rPr lang="es-ES">
                <a:solidFill>
                  <a:prstClr val="black">
                    <a:tint val="75000"/>
                  </a:prstClr>
                </a:solidFill>
              </a:rPr>
              <a:pPr>
                <a:defRPr/>
              </a:pPr>
              <a:t>‹Nº›</a:t>
            </a:fld>
            <a:endParaRPr lang="es-ES">
              <a:solidFill>
                <a:prstClr val="black">
                  <a:tint val="75000"/>
                </a:prstClr>
              </a:solidFill>
            </a:endParaRPr>
          </a:p>
        </p:txBody>
      </p:sp>
    </p:spTree>
    <p:extLst>
      <p:ext uri="{BB962C8B-B14F-4D97-AF65-F5344CB8AC3E}">
        <p14:creationId xmlns:p14="http://schemas.microsoft.com/office/powerpoint/2010/main" val="2965497758"/>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3 Marcador de fecha"/>
          <p:cNvSpPr>
            <a:spLocks noGrp="1"/>
          </p:cNvSpPr>
          <p:nvPr>
            <p:ph type="dt" sz="half" idx="10"/>
          </p:nvPr>
        </p:nvSpPr>
        <p:spPr/>
        <p:txBody>
          <a:bodyPr/>
          <a:lstStyle>
            <a:lvl1pPr>
              <a:defRPr/>
            </a:lvl1pPr>
          </a:lstStyle>
          <a:p>
            <a:pPr>
              <a:defRPr/>
            </a:pPr>
            <a:fld id="{BEB8B8F4-D436-4F64-96BE-190CBCB50147}" type="datetimeFigureOut">
              <a:rPr lang="es-ES">
                <a:solidFill>
                  <a:prstClr val="black">
                    <a:tint val="75000"/>
                  </a:prstClr>
                </a:solidFill>
              </a:rPr>
              <a:pPr>
                <a:defRPr/>
              </a:pPr>
              <a:t>07/08/2024</a:t>
            </a:fld>
            <a:endParaRPr lang="es-ES">
              <a:solidFill>
                <a:prstClr val="black">
                  <a:tint val="75000"/>
                </a:prstClr>
              </a:solidFill>
            </a:endParaRPr>
          </a:p>
        </p:txBody>
      </p:sp>
      <p:sp>
        <p:nvSpPr>
          <p:cNvPr id="4" name="4 Marcador de pie de página"/>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5" name="5 Marcador de número de diapositiva"/>
          <p:cNvSpPr>
            <a:spLocks noGrp="1"/>
          </p:cNvSpPr>
          <p:nvPr>
            <p:ph type="sldNum" sz="quarter" idx="12"/>
          </p:nvPr>
        </p:nvSpPr>
        <p:spPr/>
        <p:txBody>
          <a:bodyPr/>
          <a:lstStyle>
            <a:lvl1pPr>
              <a:defRPr/>
            </a:lvl1pPr>
          </a:lstStyle>
          <a:p>
            <a:pPr>
              <a:defRPr/>
            </a:pPr>
            <a:fld id="{0F642851-DA53-4C06-9949-78EF03EBDF2B}" type="slidenum">
              <a:rPr lang="es-ES">
                <a:solidFill>
                  <a:prstClr val="black">
                    <a:tint val="75000"/>
                  </a:prstClr>
                </a:solidFill>
              </a:rPr>
              <a:pPr>
                <a:defRPr/>
              </a:pPr>
              <a:t>‹Nº›</a:t>
            </a:fld>
            <a:endParaRPr lang="es-ES">
              <a:solidFill>
                <a:prstClr val="black">
                  <a:tint val="75000"/>
                </a:prstClr>
              </a:solidFill>
            </a:endParaRPr>
          </a:p>
        </p:txBody>
      </p:sp>
    </p:spTree>
    <p:extLst>
      <p:ext uri="{BB962C8B-B14F-4D97-AF65-F5344CB8AC3E}">
        <p14:creationId xmlns:p14="http://schemas.microsoft.com/office/powerpoint/2010/main" val="1568723858"/>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3 Marcador de fecha"/>
          <p:cNvSpPr>
            <a:spLocks noGrp="1"/>
          </p:cNvSpPr>
          <p:nvPr>
            <p:ph type="dt" sz="half" idx="10"/>
          </p:nvPr>
        </p:nvSpPr>
        <p:spPr/>
        <p:txBody>
          <a:bodyPr/>
          <a:lstStyle>
            <a:lvl1pPr>
              <a:defRPr/>
            </a:lvl1pPr>
          </a:lstStyle>
          <a:p>
            <a:pPr>
              <a:defRPr/>
            </a:pPr>
            <a:fld id="{C2D9FDDB-2912-4E4E-9730-E8E9F6AFD638}" type="datetimeFigureOut">
              <a:rPr lang="es-ES">
                <a:solidFill>
                  <a:prstClr val="black">
                    <a:tint val="75000"/>
                  </a:prstClr>
                </a:solidFill>
              </a:rPr>
              <a:pPr>
                <a:defRPr/>
              </a:pPr>
              <a:t>07/08/2024</a:t>
            </a:fld>
            <a:endParaRPr lang="es-ES">
              <a:solidFill>
                <a:prstClr val="black">
                  <a:tint val="75000"/>
                </a:prstClr>
              </a:solidFill>
            </a:endParaRPr>
          </a:p>
        </p:txBody>
      </p:sp>
      <p:sp>
        <p:nvSpPr>
          <p:cNvPr id="3" name="4 Marcador de pie de página"/>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4" name="5 Marcador de número de diapositiva"/>
          <p:cNvSpPr>
            <a:spLocks noGrp="1"/>
          </p:cNvSpPr>
          <p:nvPr>
            <p:ph type="sldNum" sz="quarter" idx="12"/>
          </p:nvPr>
        </p:nvSpPr>
        <p:spPr/>
        <p:txBody>
          <a:bodyPr/>
          <a:lstStyle>
            <a:lvl1pPr>
              <a:defRPr/>
            </a:lvl1pPr>
          </a:lstStyle>
          <a:p>
            <a:pPr>
              <a:defRPr/>
            </a:pPr>
            <a:fld id="{0F8218F1-7994-42A0-8302-A43F39D5F544}" type="slidenum">
              <a:rPr lang="es-ES">
                <a:solidFill>
                  <a:prstClr val="black">
                    <a:tint val="75000"/>
                  </a:prstClr>
                </a:solidFill>
              </a:rPr>
              <a:pPr>
                <a:defRPr/>
              </a:pPr>
              <a:t>‹Nº›</a:t>
            </a:fld>
            <a:endParaRPr lang="es-ES">
              <a:solidFill>
                <a:prstClr val="black">
                  <a:tint val="75000"/>
                </a:prstClr>
              </a:solidFill>
            </a:endParaRPr>
          </a:p>
        </p:txBody>
      </p:sp>
    </p:spTree>
    <p:extLst>
      <p:ext uri="{BB962C8B-B14F-4D97-AF65-F5344CB8AC3E}">
        <p14:creationId xmlns:p14="http://schemas.microsoft.com/office/powerpoint/2010/main" val="3828354316"/>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219" y="204790"/>
            <a:ext cx="3008313" cy="871538"/>
          </a:xfrm>
        </p:spPr>
        <p:txBody>
          <a:bodyPr anchor="b"/>
          <a:lstStyle>
            <a:lvl1pPr algn="l">
              <a:defRPr sz="2000" b="1"/>
            </a:lvl1pPr>
          </a:lstStyle>
          <a:p>
            <a:r>
              <a:rPr lang="es-ES"/>
              <a:t>Haga clic para modificar el estilo de título del patrón</a:t>
            </a:r>
          </a:p>
        </p:txBody>
      </p:sp>
      <p:sp>
        <p:nvSpPr>
          <p:cNvPr id="3" name="2 Marcador de contenido"/>
          <p:cNvSpPr>
            <a:spLocks noGrp="1"/>
          </p:cNvSpPr>
          <p:nvPr>
            <p:ph idx="1"/>
          </p:nvPr>
        </p:nvSpPr>
        <p:spPr>
          <a:xfrm>
            <a:off x="3575050" y="204863"/>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texto"/>
          <p:cNvSpPr>
            <a:spLocks noGrp="1"/>
          </p:cNvSpPr>
          <p:nvPr>
            <p:ph type="body" sz="half" idx="2"/>
          </p:nvPr>
        </p:nvSpPr>
        <p:spPr>
          <a:xfrm>
            <a:off x="457219" y="1076328"/>
            <a:ext cx="3008313" cy="3518297"/>
          </a:xfrm>
        </p:spPr>
        <p:txBody>
          <a:bodyPr/>
          <a:lstStyle>
            <a:lvl1pPr marL="0" indent="0">
              <a:buNone/>
              <a:defRPr sz="1400"/>
            </a:lvl1pPr>
            <a:lvl2pPr marL="456470" indent="0">
              <a:buNone/>
              <a:defRPr sz="1200"/>
            </a:lvl2pPr>
            <a:lvl3pPr marL="913028" indent="0">
              <a:buNone/>
              <a:defRPr sz="1000"/>
            </a:lvl3pPr>
            <a:lvl4pPr marL="1369526" indent="0">
              <a:buNone/>
              <a:defRPr sz="900"/>
            </a:lvl4pPr>
            <a:lvl5pPr marL="1826054" indent="0">
              <a:buNone/>
              <a:defRPr sz="900"/>
            </a:lvl5pPr>
            <a:lvl6pPr marL="2282523" indent="0">
              <a:buNone/>
              <a:defRPr sz="900"/>
            </a:lvl6pPr>
            <a:lvl7pPr marL="2738993" indent="0">
              <a:buNone/>
              <a:defRPr sz="900"/>
            </a:lvl7pPr>
            <a:lvl8pPr marL="3195520" indent="0">
              <a:buNone/>
              <a:defRPr sz="900"/>
            </a:lvl8pPr>
            <a:lvl9pPr marL="3652035" indent="0">
              <a:buNone/>
              <a:defRPr sz="900"/>
            </a:lvl9pPr>
          </a:lstStyle>
          <a:p>
            <a:pPr lvl="0"/>
            <a:r>
              <a:rPr lang="es-ES"/>
              <a:t>Haga clic para modificar el estilo de texto del patrón</a:t>
            </a:r>
          </a:p>
        </p:txBody>
      </p:sp>
      <p:sp>
        <p:nvSpPr>
          <p:cNvPr id="5" name="3 Marcador de fecha"/>
          <p:cNvSpPr>
            <a:spLocks noGrp="1"/>
          </p:cNvSpPr>
          <p:nvPr>
            <p:ph type="dt" sz="half" idx="10"/>
          </p:nvPr>
        </p:nvSpPr>
        <p:spPr/>
        <p:txBody>
          <a:bodyPr/>
          <a:lstStyle>
            <a:lvl1pPr>
              <a:defRPr/>
            </a:lvl1pPr>
          </a:lstStyle>
          <a:p>
            <a:pPr>
              <a:defRPr/>
            </a:pPr>
            <a:fld id="{9E1F1618-71CD-4BB7-810C-93788E3EAA68}" type="datetimeFigureOut">
              <a:rPr lang="es-ES">
                <a:solidFill>
                  <a:prstClr val="black">
                    <a:tint val="75000"/>
                  </a:prstClr>
                </a:solidFill>
              </a:rPr>
              <a:pPr>
                <a:defRPr/>
              </a:pPr>
              <a:t>07/08/2024</a:t>
            </a:fld>
            <a:endParaRPr lang="es-ES">
              <a:solidFill>
                <a:prstClr val="black">
                  <a:tint val="75000"/>
                </a:prstClr>
              </a:solidFill>
            </a:endParaRPr>
          </a:p>
        </p:txBody>
      </p:sp>
      <p:sp>
        <p:nvSpPr>
          <p:cNvPr id="6" name="4 Marcador de pie de página"/>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7" name="5 Marcador de número de diapositiva"/>
          <p:cNvSpPr>
            <a:spLocks noGrp="1"/>
          </p:cNvSpPr>
          <p:nvPr>
            <p:ph type="sldNum" sz="quarter" idx="12"/>
          </p:nvPr>
        </p:nvSpPr>
        <p:spPr/>
        <p:txBody>
          <a:bodyPr/>
          <a:lstStyle>
            <a:lvl1pPr>
              <a:defRPr/>
            </a:lvl1pPr>
          </a:lstStyle>
          <a:p>
            <a:pPr>
              <a:defRPr/>
            </a:pPr>
            <a:fld id="{C3338476-9E18-452C-89B9-915DDEF96BCB}" type="slidenum">
              <a:rPr lang="es-ES">
                <a:solidFill>
                  <a:prstClr val="black">
                    <a:tint val="75000"/>
                  </a:prstClr>
                </a:solidFill>
              </a:rPr>
              <a:pPr>
                <a:defRPr/>
              </a:pPr>
              <a:t>‹Nº›</a:t>
            </a:fld>
            <a:endParaRPr lang="es-ES">
              <a:solidFill>
                <a:prstClr val="black">
                  <a:tint val="75000"/>
                </a:prstClr>
              </a:solidFill>
            </a:endParaRPr>
          </a:p>
        </p:txBody>
      </p:sp>
    </p:spTree>
    <p:extLst>
      <p:ext uri="{BB962C8B-B14F-4D97-AF65-F5344CB8AC3E}">
        <p14:creationId xmlns:p14="http://schemas.microsoft.com/office/powerpoint/2010/main" val="2088333463"/>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792288" y="3600451"/>
            <a:ext cx="5486400" cy="425054"/>
          </a:xfrm>
        </p:spPr>
        <p:txBody>
          <a:bodyPr anchor="b"/>
          <a:lstStyle>
            <a:lvl1pPr algn="l">
              <a:defRPr sz="2000" b="1"/>
            </a:lvl1pPr>
          </a:lstStyle>
          <a:p>
            <a:r>
              <a:rPr lang="es-ES"/>
              <a:t>Haga clic para modificar el estilo de título del patrón</a:t>
            </a:r>
          </a:p>
        </p:txBody>
      </p:sp>
      <p:sp>
        <p:nvSpPr>
          <p:cNvPr id="3" name="2 Marcador de posición de imagen"/>
          <p:cNvSpPr>
            <a:spLocks noGrp="1"/>
          </p:cNvSpPr>
          <p:nvPr>
            <p:ph type="pic" idx="1"/>
          </p:nvPr>
        </p:nvSpPr>
        <p:spPr>
          <a:xfrm>
            <a:off x="1792288" y="459581"/>
            <a:ext cx="5486400" cy="3086100"/>
          </a:xfrm>
        </p:spPr>
        <p:txBody>
          <a:bodyPr rtlCol="0">
            <a:normAutofit/>
          </a:bodyPr>
          <a:lstStyle>
            <a:lvl1pPr marL="0" indent="0">
              <a:buNone/>
              <a:defRPr sz="3200"/>
            </a:lvl1pPr>
            <a:lvl2pPr marL="456470" indent="0">
              <a:buNone/>
              <a:defRPr sz="2800"/>
            </a:lvl2pPr>
            <a:lvl3pPr marL="913028" indent="0">
              <a:buNone/>
              <a:defRPr sz="2400"/>
            </a:lvl3pPr>
            <a:lvl4pPr marL="1369526" indent="0">
              <a:buNone/>
              <a:defRPr sz="2000"/>
            </a:lvl4pPr>
            <a:lvl5pPr marL="1826054" indent="0">
              <a:buNone/>
              <a:defRPr sz="2000"/>
            </a:lvl5pPr>
            <a:lvl6pPr marL="2282523" indent="0">
              <a:buNone/>
              <a:defRPr sz="2000"/>
            </a:lvl6pPr>
            <a:lvl7pPr marL="2738993" indent="0">
              <a:buNone/>
              <a:defRPr sz="2000"/>
            </a:lvl7pPr>
            <a:lvl8pPr marL="3195520" indent="0">
              <a:buNone/>
              <a:defRPr sz="2000"/>
            </a:lvl8pPr>
            <a:lvl9pPr marL="3652035" indent="0">
              <a:buNone/>
              <a:defRPr sz="2000"/>
            </a:lvl9pPr>
          </a:lstStyle>
          <a:p>
            <a:pPr lvl="0"/>
            <a:endParaRPr lang="es-ES" noProof="0"/>
          </a:p>
        </p:txBody>
      </p:sp>
      <p:sp>
        <p:nvSpPr>
          <p:cNvPr id="4" name="3 Marcador de texto"/>
          <p:cNvSpPr>
            <a:spLocks noGrp="1"/>
          </p:cNvSpPr>
          <p:nvPr>
            <p:ph type="body" sz="half" idx="2"/>
          </p:nvPr>
        </p:nvSpPr>
        <p:spPr>
          <a:xfrm>
            <a:off x="1792288" y="4025625"/>
            <a:ext cx="5486400" cy="603647"/>
          </a:xfrm>
        </p:spPr>
        <p:txBody>
          <a:bodyPr/>
          <a:lstStyle>
            <a:lvl1pPr marL="0" indent="0">
              <a:buNone/>
              <a:defRPr sz="1400"/>
            </a:lvl1pPr>
            <a:lvl2pPr marL="456470" indent="0">
              <a:buNone/>
              <a:defRPr sz="1200"/>
            </a:lvl2pPr>
            <a:lvl3pPr marL="913028" indent="0">
              <a:buNone/>
              <a:defRPr sz="1000"/>
            </a:lvl3pPr>
            <a:lvl4pPr marL="1369526" indent="0">
              <a:buNone/>
              <a:defRPr sz="900"/>
            </a:lvl4pPr>
            <a:lvl5pPr marL="1826054" indent="0">
              <a:buNone/>
              <a:defRPr sz="900"/>
            </a:lvl5pPr>
            <a:lvl6pPr marL="2282523" indent="0">
              <a:buNone/>
              <a:defRPr sz="900"/>
            </a:lvl6pPr>
            <a:lvl7pPr marL="2738993" indent="0">
              <a:buNone/>
              <a:defRPr sz="900"/>
            </a:lvl7pPr>
            <a:lvl8pPr marL="3195520" indent="0">
              <a:buNone/>
              <a:defRPr sz="900"/>
            </a:lvl8pPr>
            <a:lvl9pPr marL="3652035" indent="0">
              <a:buNone/>
              <a:defRPr sz="900"/>
            </a:lvl9pPr>
          </a:lstStyle>
          <a:p>
            <a:pPr lvl="0"/>
            <a:r>
              <a:rPr lang="es-ES"/>
              <a:t>Haga clic para modificar el estilo de texto del patrón</a:t>
            </a:r>
          </a:p>
        </p:txBody>
      </p:sp>
      <p:sp>
        <p:nvSpPr>
          <p:cNvPr id="5" name="3 Marcador de fecha"/>
          <p:cNvSpPr>
            <a:spLocks noGrp="1"/>
          </p:cNvSpPr>
          <p:nvPr>
            <p:ph type="dt" sz="half" idx="10"/>
          </p:nvPr>
        </p:nvSpPr>
        <p:spPr/>
        <p:txBody>
          <a:bodyPr/>
          <a:lstStyle>
            <a:lvl1pPr>
              <a:defRPr/>
            </a:lvl1pPr>
          </a:lstStyle>
          <a:p>
            <a:pPr>
              <a:defRPr/>
            </a:pPr>
            <a:fld id="{F9AFBC0E-CEAA-498A-BBBE-0E6573C152E9}" type="datetimeFigureOut">
              <a:rPr lang="es-ES">
                <a:solidFill>
                  <a:prstClr val="black">
                    <a:tint val="75000"/>
                  </a:prstClr>
                </a:solidFill>
              </a:rPr>
              <a:pPr>
                <a:defRPr/>
              </a:pPr>
              <a:t>07/08/2024</a:t>
            </a:fld>
            <a:endParaRPr lang="es-ES">
              <a:solidFill>
                <a:prstClr val="black">
                  <a:tint val="75000"/>
                </a:prstClr>
              </a:solidFill>
            </a:endParaRPr>
          </a:p>
        </p:txBody>
      </p:sp>
      <p:sp>
        <p:nvSpPr>
          <p:cNvPr id="6" name="4 Marcador de pie de página"/>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7" name="5 Marcador de número de diapositiva"/>
          <p:cNvSpPr>
            <a:spLocks noGrp="1"/>
          </p:cNvSpPr>
          <p:nvPr>
            <p:ph type="sldNum" sz="quarter" idx="12"/>
          </p:nvPr>
        </p:nvSpPr>
        <p:spPr/>
        <p:txBody>
          <a:bodyPr/>
          <a:lstStyle>
            <a:lvl1pPr>
              <a:defRPr/>
            </a:lvl1pPr>
          </a:lstStyle>
          <a:p>
            <a:pPr>
              <a:defRPr/>
            </a:pPr>
            <a:fld id="{65B882B0-2505-40C4-8B74-79F71BFEC6CF}" type="slidenum">
              <a:rPr lang="es-ES">
                <a:solidFill>
                  <a:prstClr val="black">
                    <a:tint val="75000"/>
                  </a:prstClr>
                </a:solidFill>
              </a:rPr>
              <a:pPr>
                <a:defRPr/>
              </a:pPr>
              <a:t>‹Nº›</a:t>
            </a:fld>
            <a:endParaRPr lang="es-ES">
              <a:solidFill>
                <a:prstClr val="black">
                  <a:tint val="75000"/>
                </a:prstClr>
              </a:solidFill>
            </a:endParaRPr>
          </a:p>
        </p:txBody>
      </p:sp>
    </p:spTree>
    <p:extLst>
      <p:ext uri="{BB962C8B-B14F-4D97-AF65-F5344CB8AC3E}">
        <p14:creationId xmlns:p14="http://schemas.microsoft.com/office/powerpoint/2010/main" val="55806966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ection Header or Statement">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r="5737"/>
          <a:stretch/>
        </p:blipFill>
        <p:spPr>
          <a:xfrm>
            <a:off x="1" y="0"/>
            <a:ext cx="9144000" cy="5143500"/>
          </a:xfrm>
          <a:prstGeom prst="rect">
            <a:avLst/>
          </a:prstGeom>
        </p:spPr>
      </p:pic>
      <p:sp>
        <p:nvSpPr>
          <p:cNvPr id="12" name="Text Placeholder 5"/>
          <p:cNvSpPr>
            <a:spLocks noGrp="1"/>
          </p:cNvSpPr>
          <p:nvPr>
            <p:ph type="body" sz="quarter" idx="11" hasCustomPrompt="1"/>
          </p:nvPr>
        </p:nvSpPr>
        <p:spPr>
          <a:xfrm>
            <a:off x="362407" y="4429581"/>
            <a:ext cx="2393433" cy="184666"/>
          </a:xfrm>
        </p:spPr>
        <p:txBody>
          <a:bodyPr anchor="b" anchorCtr="0">
            <a:spAutoFit/>
          </a:bodyPr>
          <a:lstStyle>
            <a:lvl1pPr marL="0" indent="0">
              <a:spcAft>
                <a:spcPts val="0"/>
              </a:spcAft>
              <a:buNone/>
              <a:defRPr>
                <a:solidFill>
                  <a:schemeClr val="bg1"/>
                </a:solidFill>
              </a:defRPr>
            </a:lvl1pPr>
            <a:lvl2pPr marL="203597" indent="0">
              <a:spcAft>
                <a:spcPts val="0"/>
              </a:spcAft>
              <a:buNone/>
              <a:defRPr>
                <a:solidFill>
                  <a:schemeClr val="bg1"/>
                </a:solidFill>
              </a:defRPr>
            </a:lvl2pPr>
            <a:lvl3pPr marL="400050" indent="0">
              <a:spcAft>
                <a:spcPts val="0"/>
              </a:spcAft>
              <a:buNone/>
              <a:defRPr>
                <a:solidFill>
                  <a:schemeClr val="bg1"/>
                </a:solidFill>
              </a:defRPr>
            </a:lvl3pPr>
            <a:lvl4pPr marL="611981" indent="0">
              <a:spcAft>
                <a:spcPts val="0"/>
              </a:spcAft>
              <a:buNone/>
              <a:defRPr>
                <a:solidFill>
                  <a:schemeClr val="bg1"/>
                </a:solidFill>
              </a:defRPr>
            </a:lvl4pPr>
            <a:lvl5pPr marL="828675" indent="0">
              <a:spcAft>
                <a:spcPts val="0"/>
              </a:spcAft>
              <a:buNone/>
              <a:defRPr>
                <a:solidFill>
                  <a:schemeClr val="bg1"/>
                </a:solidFill>
              </a:defRPr>
            </a:lvl5pPr>
          </a:lstStyle>
          <a:p>
            <a:pPr lvl="0"/>
            <a:r>
              <a:rPr lang="en-US"/>
              <a:t>Subtitle here if required</a:t>
            </a:r>
          </a:p>
        </p:txBody>
      </p:sp>
      <p:sp>
        <p:nvSpPr>
          <p:cNvPr id="13" name="Text Placeholder 3"/>
          <p:cNvSpPr>
            <a:spLocks noGrp="1"/>
          </p:cNvSpPr>
          <p:nvPr>
            <p:ph type="body" sz="quarter" idx="10" hasCustomPrompt="1"/>
          </p:nvPr>
        </p:nvSpPr>
        <p:spPr>
          <a:xfrm>
            <a:off x="362402" y="3405527"/>
            <a:ext cx="6870542" cy="256480"/>
          </a:xfrm>
        </p:spPr>
        <p:txBody>
          <a:bodyPr wrap="square" anchor="ctr" anchorCtr="0">
            <a:spAutoFit/>
          </a:bodyPr>
          <a:lstStyle>
            <a:lvl1pPr marL="0" indent="0">
              <a:lnSpc>
                <a:spcPts val="1950"/>
              </a:lnSpc>
              <a:spcAft>
                <a:spcPts val="0"/>
              </a:spcAft>
              <a:buNone/>
              <a:defRPr sz="1950" b="1">
                <a:solidFill>
                  <a:schemeClr val="bg1"/>
                </a:solidFill>
              </a:defRPr>
            </a:lvl1pPr>
            <a:lvl2pPr marL="203597" indent="0">
              <a:buNone/>
              <a:defRPr sz="1950" b="1">
                <a:solidFill>
                  <a:schemeClr val="bg1"/>
                </a:solidFill>
              </a:defRPr>
            </a:lvl2pPr>
            <a:lvl3pPr marL="400050" indent="0">
              <a:buNone/>
              <a:defRPr sz="1950" b="1">
                <a:solidFill>
                  <a:schemeClr val="bg1"/>
                </a:solidFill>
              </a:defRPr>
            </a:lvl3pPr>
            <a:lvl4pPr marL="611981" indent="0">
              <a:buNone/>
              <a:defRPr sz="1950" b="1">
                <a:solidFill>
                  <a:schemeClr val="bg1"/>
                </a:solidFill>
              </a:defRPr>
            </a:lvl4pPr>
            <a:lvl5pPr marL="828675" indent="0">
              <a:buNone/>
              <a:defRPr sz="1950" b="1">
                <a:solidFill>
                  <a:schemeClr val="bg1"/>
                </a:solidFill>
              </a:defRPr>
            </a:lvl5pPr>
          </a:lstStyle>
          <a:p>
            <a:pPr lvl="0"/>
            <a:r>
              <a:rPr lang="en-US"/>
              <a:t>Section Header title here</a:t>
            </a:r>
          </a:p>
        </p:txBody>
      </p:sp>
      <p:sp>
        <p:nvSpPr>
          <p:cNvPr id="9" name="Text Placeholder 6"/>
          <p:cNvSpPr>
            <a:spLocks noGrp="1"/>
          </p:cNvSpPr>
          <p:nvPr>
            <p:ph type="body" sz="quarter" idx="12" hasCustomPrompt="1"/>
          </p:nvPr>
        </p:nvSpPr>
        <p:spPr>
          <a:xfrm>
            <a:off x="362402" y="1139827"/>
            <a:ext cx="6864352" cy="300082"/>
          </a:xfrm>
        </p:spPr>
        <p:txBody>
          <a:bodyPr>
            <a:spAutoFit/>
          </a:bodyPr>
          <a:lstStyle>
            <a:lvl1pPr marL="0" indent="0">
              <a:spcAft>
                <a:spcPts val="0"/>
              </a:spcAft>
              <a:buNone/>
              <a:defRPr sz="1950" b="1">
                <a:solidFill>
                  <a:schemeClr val="bg1"/>
                </a:solidFill>
              </a:defRPr>
            </a:lvl1pPr>
            <a:lvl2pPr marL="203597" indent="0">
              <a:buNone/>
              <a:defRPr>
                <a:solidFill>
                  <a:schemeClr val="bg1"/>
                </a:solidFill>
              </a:defRPr>
            </a:lvl2pPr>
            <a:lvl3pPr marL="400050" indent="0">
              <a:buNone/>
              <a:defRPr>
                <a:solidFill>
                  <a:schemeClr val="bg1"/>
                </a:solidFill>
              </a:defRPr>
            </a:lvl3pPr>
            <a:lvl4pPr marL="611981" indent="0">
              <a:buNone/>
              <a:defRPr>
                <a:solidFill>
                  <a:schemeClr val="bg1"/>
                </a:solidFill>
              </a:defRPr>
            </a:lvl4pPr>
            <a:lvl5pPr marL="828675" indent="0">
              <a:buNone/>
              <a:defRPr>
                <a:solidFill>
                  <a:schemeClr val="bg1"/>
                </a:solidFill>
              </a:defRPr>
            </a:lvl5pPr>
          </a:lstStyle>
          <a:p>
            <a:pPr lvl="0"/>
            <a:r>
              <a:rPr lang="en-US"/>
              <a:t>Type your statement text here</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232645" y="268789"/>
            <a:ext cx="554400" cy="357114"/>
          </a:xfrm>
          <a:prstGeom prst="rect">
            <a:avLst/>
          </a:prstGeom>
        </p:spPr>
      </p:pic>
    </p:spTree>
    <p:extLst>
      <p:ext uri="{BB962C8B-B14F-4D97-AF65-F5344CB8AC3E}">
        <p14:creationId xmlns:p14="http://schemas.microsoft.com/office/powerpoint/2010/main" val="3266750562"/>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texto vertical"/>
          <p:cNvSpPr>
            <a:spLocks noGrp="1"/>
          </p:cNvSpPr>
          <p:nvPr>
            <p:ph type="body" orient="vert" idx="1"/>
          </p:nvPr>
        </p:nvSpPr>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fecha"/>
          <p:cNvSpPr>
            <a:spLocks noGrp="1"/>
          </p:cNvSpPr>
          <p:nvPr>
            <p:ph type="dt" sz="half" idx="10"/>
          </p:nvPr>
        </p:nvSpPr>
        <p:spPr/>
        <p:txBody>
          <a:bodyPr/>
          <a:lstStyle>
            <a:lvl1pPr>
              <a:defRPr/>
            </a:lvl1pPr>
          </a:lstStyle>
          <a:p>
            <a:pPr>
              <a:defRPr/>
            </a:pPr>
            <a:fld id="{EA0902DB-CF6B-4443-AAC4-48DBF40F720E}" type="datetimeFigureOut">
              <a:rPr lang="es-ES">
                <a:solidFill>
                  <a:prstClr val="black">
                    <a:tint val="75000"/>
                  </a:prstClr>
                </a:solidFill>
              </a:rPr>
              <a:pPr>
                <a:defRPr/>
              </a:pPr>
              <a:t>07/08/2024</a:t>
            </a:fld>
            <a:endParaRPr lang="es-ES">
              <a:solidFill>
                <a:prstClr val="black">
                  <a:tint val="75000"/>
                </a:prstClr>
              </a:solidFill>
            </a:endParaRPr>
          </a:p>
        </p:txBody>
      </p:sp>
      <p:sp>
        <p:nvSpPr>
          <p:cNvPr id="5" name="4 Marcador de pie de página"/>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6" name="5 Marcador de número de diapositiva"/>
          <p:cNvSpPr>
            <a:spLocks noGrp="1"/>
          </p:cNvSpPr>
          <p:nvPr>
            <p:ph type="sldNum" sz="quarter" idx="12"/>
          </p:nvPr>
        </p:nvSpPr>
        <p:spPr/>
        <p:txBody>
          <a:bodyPr/>
          <a:lstStyle>
            <a:lvl1pPr>
              <a:defRPr/>
            </a:lvl1pPr>
          </a:lstStyle>
          <a:p>
            <a:pPr>
              <a:defRPr/>
            </a:pPr>
            <a:fld id="{86FB5071-77C6-4F41-984E-D0B3A154274E}" type="slidenum">
              <a:rPr lang="es-ES">
                <a:solidFill>
                  <a:prstClr val="black">
                    <a:tint val="75000"/>
                  </a:prstClr>
                </a:solidFill>
              </a:rPr>
              <a:pPr>
                <a:defRPr/>
              </a:pPr>
              <a:t>‹Nº›</a:t>
            </a:fld>
            <a:endParaRPr lang="es-ES">
              <a:solidFill>
                <a:prstClr val="black">
                  <a:tint val="75000"/>
                </a:prstClr>
              </a:solidFill>
            </a:endParaRPr>
          </a:p>
        </p:txBody>
      </p:sp>
    </p:spTree>
    <p:extLst>
      <p:ext uri="{BB962C8B-B14F-4D97-AF65-F5344CB8AC3E}">
        <p14:creationId xmlns:p14="http://schemas.microsoft.com/office/powerpoint/2010/main" val="2771956547"/>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629400" y="205980"/>
            <a:ext cx="2057400" cy="4388644"/>
          </a:xfrm>
        </p:spPr>
        <p:txBody>
          <a:bodyPr vert="eaVert"/>
          <a:lstStyle/>
          <a:p>
            <a:r>
              <a:rPr lang="es-ES"/>
              <a:t>Haga clic para modificar el estilo de título del patrón</a:t>
            </a:r>
          </a:p>
        </p:txBody>
      </p:sp>
      <p:sp>
        <p:nvSpPr>
          <p:cNvPr id="3" name="2 Marcador de texto vertical"/>
          <p:cNvSpPr>
            <a:spLocks noGrp="1"/>
          </p:cNvSpPr>
          <p:nvPr>
            <p:ph type="body" orient="vert" idx="1"/>
          </p:nvPr>
        </p:nvSpPr>
        <p:spPr>
          <a:xfrm>
            <a:off x="457200" y="205980"/>
            <a:ext cx="6019800" cy="4388644"/>
          </a:xfrm>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fecha"/>
          <p:cNvSpPr>
            <a:spLocks noGrp="1"/>
          </p:cNvSpPr>
          <p:nvPr>
            <p:ph type="dt" sz="half" idx="10"/>
          </p:nvPr>
        </p:nvSpPr>
        <p:spPr/>
        <p:txBody>
          <a:bodyPr/>
          <a:lstStyle>
            <a:lvl1pPr>
              <a:defRPr/>
            </a:lvl1pPr>
          </a:lstStyle>
          <a:p>
            <a:pPr>
              <a:defRPr/>
            </a:pPr>
            <a:fld id="{FCE6C63B-DCF7-4526-AACC-DE06A6E2946E}" type="datetimeFigureOut">
              <a:rPr lang="es-ES">
                <a:solidFill>
                  <a:prstClr val="black">
                    <a:tint val="75000"/>
                  </a:prstClr>
                </a:solidFill>
              </a:rPr>
              <a:pPr>
                <a:defRPr/>
              </a:pPr>
              <a:t>07/08/2024</a:t>
            </a:fld>
            <a:endParaRPr lang="es-ES">
              <a:solidFill>
                <a:prstClr val="black">
                  <a:tint val="75000"/>
                </a:prstClr>
              </a:solidFill>
            </a:endParaRPr>
          </a:p>
        </p:txBody>
      </p:sp>
      <p:sp>
        <p:nvSpPr>
          <p:cNvPr id="5" name="4 Marcador de pie de página"/>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6" name="5 Marcador de número de diapositiva"/>
          <p:cNvSpPr>
            <a:spLocks noGrp="1"/>
          </p:cNvSpPr>
          <p:nvPr>
            <p:ph type="sldNum" sz="quarter" idx="12"/>
          </p:nvPr>
        </p:nvSpPr>
        <p:spPr/>
        <p:txBody>
          <a:bodyPr/>
          <a:lstStyle>
            <a:lvl1pPr>
              <a:defRPr/>
            </a:lvl1pPr>
          </a:lstStyle>
          <a:p>
            <a:pPr>
              <a:defRPr/>
            </a:pPr>
            <a:fld id="{F26B1BD7-24EA-496E-B1ED-0AC1745A3C49}" type="slidenum">
              <a:rPr lang="es-ES">
                <a:solidFill>
                  <a:prstClr val="black">
                    <a:tint val="75000"/>
                  </a:prstClr>
                </a:solidFill>
              </a:rPr>
              <a:pPr>
                <a:defRPr/>
              </a:pPr>
              <a:t>‹Nº›</a:t>
            </a:fld>
            <a:endParaRPr lang="es-ES">
              <a:solidFill>
                <a:prstClr val="black">
                  <a:tint val="75000"/>
                </a:prstClr>
              </a:solidFill>
            </a:endParaRPr>
          </a:p>
        </p:txBody>
      </p:sp>
    </p:spTree>
    <p:extLst>
      <p:ext uri="{BB962C8B-B14F-4D97-AF65-F5344CB8AC3E}">
        <p14:creationId xmlns:p14="http://schemas.microsoft.com/office/powerpoint/2010/main" val="1149995594"/>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800" y="1598911"/>
            <a:ext cx="7772400" cy="1102519"/>
          </a:xfrm>
        </p:spPr>
        <p:txBody>
          <a:bodyPr/>
          <a:lstStyle/>
          <a:p>
            <a:r>
              <a:rPr lang="es-ES"/>
              <a:t>Haga clic para modificar el estilo de título del patrón</a:t>
            </a:r>
          </a:p>
        </p:txBody>
      </p:sp>
      <p:sp>
        <p:nvSpPr>
          <p:cNvPr id="3" name="2 Subtítulo"/>
          <p:cNvSpPr>
            <a:spLocks noGrp="1"/>
          </p:cNvSpPr>
          <p:nvPr>
            <p:ph type="subTitle" idx="1"/>
          </p:nvPr>
        </p:nvSpPr>
        <p:spPr>
          <a:xfrm>
            <a:off x="1371600" y="2914653"/>
            <a:ext cx="6400800" cy="1314450"/>
          </a:xfrm>
        </p:spPr>
        <p:txBody>
          <a:bodyPr/>
          <a:lstStyle>
            <a:lvl1pPr marL="0" indent="0" algn="ctr">
              <a:buNone/>
              <a:defRPr>
                <a:solidFill>
                  <a:schemeClr val="tx1">
                    <a:tint val="75000"/>
                  </a:schemeClr>
                </a:solidFill>
              </a:defRPr>
            </a:lvl1pPr>
            <a:lvl2pPr marL="447904" indent="0" algn="ctr">
              <a:buNone/>
              <a:defRPr>
                <a:solidFill>
                  <a:schemeClr val="tx1">
                    <a:tint val="75000"/>
                  </a:schemeClr>
                </a:solidFill>
              </a:defRPr>
            </a:lvl2pPr>
            <a:lvl3pPr marL="895763" indent="0" algn="ctr">
              <a:buNone/>
              <a:defRPr>
                <a:solidFill>
                  <a:schemeClr val="tx1">
                    <a:tint val="75000"/>
                  </a:schemeClr>
                </a:solidFill>
              </a:defRPr>
            </a:lvl3pPr>
            <a:lvl4pPr marL="1343687" indent="0" algn="ctr">
              <a:buNone/>
              <a:defRPr>
                <a:solidFill>
                  <a:schemeClr val="tx1">
                    <a:tint val="75000"/>
                  </a:schemeClr>
                </a:solidFill>
              </a:defRPr>
            </a:lvl4pPr>
            <a:lvl5pPr marL="1791534" indent="0" algn="ctr">
              <a:buNone/>
              <a:defRPr>
                <a:solidFill>
                  <a:schemeClr val="tx1">
                    <a:tint val="75000"/>
                  </a:schemeClr>
                </a:solidFill>
              </a:defRPr>
            </a:lvl5pPr>
            <a:lvl6pPr marL="2239429" indent="0" algn="ctr">
              <a:buNone/>
              <a:defRPr>
                <a:solidFill>
                  <a:schemeClr val="tx1">
                    <a:tint val="75000"/>
                  </a:schemeClr>
                </a:solidFill>
              </a:defRPr>
            </a:lvl6pPr>
            <a:lvl7pPr marL="2687326" indent="0" algn="ctr">
              <a:buNone/>
              <a:defRPr>
                <a:solidFill>
                  <a:schemeClr val="tx1">
                    <a:tint val="75000"/>
                  </a:schemeClr>
                </a:solidFill>
              </a:defRPr>
            </a:lvl7pPr>
            <a:lvl8pPr marL="3135229" indent="0" algn="ctr">
              <a:buNone/>
              <a:defRPr>
                <a:solidFill>
                  <a:schemeClr val="tx1">
                    <a:tint val="75000"/>
                  </a:schemeClr>
                </a:solidFill>
              </a:defRPr>
            </a:lvl8pPr>
            <a:lvl9pPr marL="3583064" indent="0" algn="ctr">
              <a:buNone/>
              <a:defRPr>
                <a:solidFill>
                  <a:schemeClr val="tx1">
                    <a:tint val="75000"/>
                  </a:schemeClr>
                </a:solidFill>
              </a:defRPr>
            </a:lvl9pPr>
          </a:lstStyle>
          <a:p>
            <a:r>
              <a:rPr lang="es-ES"/>
              <a:t>Haga clic para modificar el estilo de subtítulo del patrón</a:t>
            </a:r>
          </a:p>
        </p:txBody>
      </p:sp>
      <p:sp>
        <p:nvSpPr>
          <p:cNvPr id="5" name="4 Marcador de pie de página"/>
          <p:cNvSpPr>
            <a:spLocks noGrp="1"/>
          </p:cNvSpPr>
          <p:nvPr>
            <p:ph type="ftr" sz="quarter" idx="11"/>
          </p:nvPr>
        </p:nvSpPr>
        <p:spPr/>
        <p:txBody>
          <a:bodyPr/>
          <a:lstStyle>
            <a:lvl1pPr>
              <a:defRPr b="1"/>
            </a:lvl1pPr>
          </a:lstStyle>
          <a:p>
            <a:pPr>
              <a:defRPr/>
            </a:pPr>
            <a:r>
              <a:rPr lang="es-AR"/>
              <a:t>Presentación dirigida a profesionales de la salud - </a:t>
            </a:r>
            <a:r>
              <a:rPr lang="en-GB"/>
              <a:t>SPAR.OTHE.20.04.0086 - 2.1</a:t>
            </a:r>
            <a:endParaRPr lang="es-AR"/>
          </a:p>
          <a:p>
            <a:pPr>
              <a:defRPr/>
            </a:pPr>
            <a:endParaRPr lang="es-ES"/>
          </a:p>
        </p:txBody>
      </p:sp>
      <p:sp>
        <p:nvSpPr>
          <p:cNvPr id="6" name="5 Marcador de número de diapositiva"/>
          <p:cNvSpPr>
            <a:spLocks noGrp="1"/>
          </p:cNvSpPr>
          <p:nvPr>
            <p:ph type="sldNum" sz="quarter" idx="12"/>
          </p:nvPr>
        </p:nvSpPr>
        <p:spPr/>
        <p:txBody>
          <a:bodyPr/>
          <a:lstStyle>
            <a:lvl1pPr>
              <a:defRPr b="1"/>
            </a:lvl1pPr>
          </a:lstStyle>
          <a:p>
            <a:pPr>
              <a:defRPr/>
            </a:pPr>
            <a:fld id="{6C732D64-44EA-40AF-9D46-995CAEF5B6A7}" type="slidenum">
              <a:rPr lang="es-ES"/>
              <a:pPr>
                <a:defRPr/>
              </a:pPr>
              <a:t>‹Nº›</a:t>
            </a:fld>
            <a:endParaRPr lang="es-ES"/>
          </a:p>
        </p:txBody>
      </p:sp>
    </p:spTree>
    <p:extLst>
      <p:ext uri="{BB962C8B-B14F-4D97-AF65-F5344CB8AC3E}">
        <p14:creationId xmlns:p14="http://schemas.microsoft.com/office/powerpoint/2010/main" val="1895168690"/>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fecha"/>
          <p:cNvSpPr>
            <a:spLocks noGrp="1"/>
          </p:cNvSpPr>
          <p:nvPr>
            <p:ph type="dt" sz="half" idx="10"/>
          </p:nvPr>
        </p:nvSpPr>
        <p:spPr>
          <a:xfrm>
            <a:off x="457201" y="4767357"/>
            <a:ext cx="2133600" cy="273844"/>
          </a:xfrm>
          <a:prstGeom prst="rect">
            <a:avLst/>
          </a:prstGeom>
        </p:spPr>
        <p:txBody>
          <a:bodyPr lIns="89831" tIns="44915" rIns="89831" bIns="44915"/>
          <a:lstStyle>
            <a:lvl1pPr>
              <a:defRPr b="1"/>
            </a:lvl1pPr>
          </a:lstStyle>
          <a:p>
            <a:pPr defTabSz="895763">
              <a:defRPr/>
            </a:pPr>
            <a:fld id="{A4C140CF-BE19-4166-B767-3CA6ECEC4D44}" type="datetimeFigureOut">
              <a:rPr lang="es-ES" smtClean="0">
                <a:solidFill>
                  <a:prstClr val="black"/>
                </a:solidFill>
              </a:rPr>
              <a:pPr defTabSz="895763">
                <a:defRPr/>
              </a:pPr>
              <a:t>07/08/2024</a:t>
            </a:fld>
            <a:endParaRPr lang="es-ES">
              <a:solidFill>
                <a:prstClr val="black"/>
              </a:solidFill>
            </a:endParaRPr>
          </a:p>
        </p:txBody>
      </p:sp>
      <p:sp>
        <p:nvSpPr>
          <p:cNvPr id="5" name="4 Marcador de pie de página"/>
          <p:cNvSpPr>
            <a:spLocks noGrp="1"/>
          </p:cNvSpPr>
          <p:nvPr>
            <p:ph type="ftr" sz="quarter" idx="11"/>
          </p:nvPr>
        </p:nvSpPr>
        <p:spPr/>
        <p:txBody>
          <a:bodyPr/>
          <a:lstStyle>
            <a:lvl1pPr>
              <a:defRPr b="1"/>
            </a:lvl1pPr>
          </a:lstStyle>
          <a:p>
            <a:pPr>
              <a:defRPr/>
            </a:pPr>
            <a:endParaRPr lang="es-ES"/>
          </a:p>
        </p:txBody>
      </p:sp>
      <p:sp>
        <p:nvSpPr>
          <p:cNvPr id="6" name="5 Marcador de número de diapositiva"/>
          <p:cNvSpPr>
            <a:spLocks noGrp="1"/>
          </p:cNvSpPr>
          <p:nvPr>
            <p:ph type="sldNum" sz="quarter" idx="12"/>
          </p:nvPr>
        </p:nvSpPr>
        <p:spPr/>
        <p:txBody>
          <a:bodyPr/>
          <a:lstStyle>
            <a:lvl1pPr>
              <a:defRPr b="1"/>
            </a:lvl1pPr>
          </a:lstStyle>
          <a:p>
            <a:pPr>
              <a:defRPr/>
            </a:pPr>
            <a:fld id="{9B738D0D-596A-4385-A6B9-D0B651B5D5F0}" type="slidenum">
              <a:rPr lang="es-ES"/>
              <a:pPr>
                <a:defRPr/>
              </a:pPr>
              <a:t>‹Nº›</a:t>
            </a:fld>
            <a:endParaRPr lang="es-ES"/>
          </a:p>
        </p:txBody>
      </p:sp>
    </p:spTree>
    <p:extLst>
      <p:ext uri="{BB962C8B-B14F-4D97-AF65-F5344CB8AC3E}">
        <p14:creationId xmlns:p14="http://schemas.microsoft.com/office/powerpoint/2010/main" val="2000492043"/>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313" y="3306144"/>
            <a:ext cx="7772400" cy="1021556"/>
          </a:xfrm>
        </p:spPr>
        <p:txBody>
          <a:bodyPr anchor="t"/>
          <a:lstStyle>
            <a:lvl1pPr algn="l">
              <a:defRPr sz="4000" b="1" cap="all"/>
            </a:lvl1pPr>
          </a:lstStyle>
          <a:p>
            <a:r>
              <a:rPr lang="es-ES"/>
              <a:t>Haga clic para modificar el estilo de título del patrón</a:t>
            </a:r>
          </a:p>
        </p:txBody>
      </p:sp>
      <p:sp>
        <p:nvSpPr>
          <p:cNvPr id="3" name="2 Marcador de texto"/>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47904" indent="0">
              <a:buNone/>
              <a:defRPr sz="1800">
                <a:solidFill>
                  <a:schemeClr val="tx1">
                    <a:tint val="75000"/>
                  </a:schemeClr>
                </a:solidFill>
              </a:defRPr>
            </a:lvl2pPr>
            <a:lvl3pPr marL="895763" indent="0">
              <a:buNone/>
              <a:defRPr sz="1600">
                <a:solidFill>
                  <a:schemeClr val="tx1">
                    <a:tint val="75000"/>
                  </a:schemeClr>
                </a:solidFill>
              </a:defRPr>
            </a:lvl3pPr>
            <a:lvl4pPr marL="1343687" indent="0">
              <a:buNone/>
              <a:defRPr sz="1400">
                <a:solidFill>
                  <a:schemeClr val="tx1">
                    <a:tint val="75000"/>
                  </a:schemeClr>
                </a:solidFill>
              </a:defRPr>
            </a:lvl4pPr>
            <a:lvl5pPr marL="1791534" indent="0">
              <a:buNone/>
              <a:defRPr sz="1400">
                <a:solidFill>
                  <a:schemeClr val="tx1">
                    <a:tint val="75000"/>
                  </a:schemeClr>
                </a:solidFill>
              </a:defRPr>
            </a:lvl5pPr>
            <a:lvl6pPr marL="2239429" indent="0">
              <a:buNone/>
              <a:defRPr sz="1400">
                <a:solidFill>
                  <a:schemeClr val="tx1">
                    <a:tint val="75000"/>
                  </a:schemeClr>
                </a:solidFill>
              </a:defRPr>
            </a:lvl6pPr>
            <a:lvl7pPr marL="2687326" indent="0">
              <a:buNone/>
              <a:defRPr sz="1400">
                <a:solidFill>
                  <a:schemeClr val="tx1">
                    <a:tint val="75000"/>
                  </a:schemeClr>
                </a:solidFill>
              </a:defRPr>
            </a:lvl7pPr>
            <a:lvl8pPr marL="3135229" indent="0">
              <a:buNone/>
              <a:defRPr sz="1400">
                <a:solidFill>
                  <a:schemeClr val="tx1">
                    <a:tint val="75000"/>
                  </a:schemeClr>
                </a:solidFill>
              </a:defRPr>
            </a:lvl8pPr>
            <a:lvl9pPr marL="3583064" indent="0">
              <a:buNone/>
              <a:defRPr sz="1400">
                <a:solidFill>
                  <a:schemeClr val="tx1">
                    <a:tint val="75000"/>
                  </a:schemeClr>
                </a:solidFill>
              </a:defRPr>
            </a:lvl9pPr>
          </a:lstStyle>
          <a:p>
            <a:pPr lvl="0"/>
            <a:r>
              <a:rPr lang="es-ES"/>
              <a:t>Haga clic para modificar el estilo de texto del patrón</a:t>
            </a:r>
          </a:p>
        </p:txBody>
      </p:sp>
      <p:sp>
        <p:nvSpPr>
          <p:cNvPr id="4" name="3 Marcador de fecha"/>
          <p:cNvSpPr>
            <a:spLocks noGrp="1"/>
          </p:cNvSpPr>
          <p:nvPr>
            <p:ph type="dt" sz="half" idx="10"/>
          </p:nvPr>
        </p:nvSpPr>
        <p:spPr>
          <a:xfrm>
            <a:off x="457201" y="4767357"/>
            <a:ext cx="2133600" cy="273844"/>
          </a:xfrm>
          <a:prstGeom prst="rect">
            <a:avLst/>
          </a:prstGeom>
        </p:spPr>
        <p:txBody>
          <a:bodyPr lIns="89831" tIns="44915" rIns="89831" bIns="44915"/>
          <a:lstStyle>
            <a:lvl1pPr>
              <a:defRPr b="1"/>
            </a:lvl1pPr>
          </a:lstStyle>
          <a:p>
            <a:pPr defTabSz="895763">
              <a:defRPr/>
            </a:pPr>
            <a:fld id="{DF54B060-2DF8-4A11-9233-D097A254D122}" type="datetimeFigureOut">
              <a:rPr lang="es-ES" smtClean="0">
                <a:solidFill>
                  <a:prstClr val="black"/>
                </a:solidFill>
              </a:rPr>
              <a:pPr defTabSz="895763">
                <a:defRPr/>
              </a:pPr>
              <a:t>07/08/2024</a:t>
            </a:fld>
            <a:endParaRPr lang="es-ES">
              <a:solidFill>
                <a:prstClr val="black"/>
              </a:solidFill>
            </a:endParaRPr>
          </a:p>
        </p:txBody>
      </p:sp>
      <p:sp>
        <p:nvSpPr>
          <p:cNvPr id="5" name="4 Marcador de pie de página"/>
          <p:cNvSpPr>
            <a:spLocks noGrp="1"/>
          </p:cNvSpPr>
          <p:nvPr>
            <p:ph type="ftr" sz="quarter" idx="11"/>
          </p:nvPr>
        </p:nvSpPr>
        <p:spPr/>
        <p:txBody>
          <a:bodyPr/>
          <a:lstStyle>
            <a:lvl1pPr>
              <a:defRPr b="1"/>
            </a:lvl1pPr>
          </a:lstStyle>
          <a:p>
            <a:pPr>
              <a:defRPr/>
            </a:pPr>
            <a:endParaRPr lang="es-ES"/>
          </a:p>
        </p:txBody>
      </p:sp>
      <p:sp>
        <p:nvSpPr>
          <p:cNvPr id="6" name="5 Marcador de número de diapositiva"/>
          <p:cNvSpPr>
            <a:spLocks noGrp="1"/>
          </p:cNvSpPr>
          <p:nvPr>
            <p:ph type="sldNum" sz="quarter" idx="12"/>
          </p:nvPr>
        </p:nvSpPr>
        <p:spPr/>
        <p:txBody>
          <a:bodyPr/>
          <a:lstStyle>
            <a:lvl1pPr>
              <a:defRPr b="1"/>
            </a:lvl1pPr>
          </a:lstStyle>
          <a:p>
            <a:pPr>
              <a:defRPr/>
            </a:pPr>
            <a:fld id="{59910935-33D2-42B5-B50E-16EDCE1940CA}" type="slidenum">
              <a:rPr lang="es-ES"/>
              <a:pPr>
                <a:defRPr/>
              </a:pPr>
              <a:t>‹Nº›</a:t>
            </a:fld>
            <a:endParaRPr lang="es-ES"/>
          </a:p>
        </p:txBody>
      </p:sp>
    </p:spTree>
    <p:extLst>
      <p:ext uri="{BB962C8B-B14F-4D97-AF65-F5344CB8AC3E}">
        <p14:creationId xmlns:p14="http://schemas.microsoft.com/office/powerpoint/2010/main" val="1183299591"/>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sz="half" idx="1"/>
          </p:nvPr>
        </p:nvSpPr>
        <p:spPr>
          <a:xfrm>
            <a:off x="457200" y="1200157"/>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contenido"/>
          <p:cNvSpPr>
            <a:spLocks noGrp="1"/>
          </p:cNvSpPr>
          <p:nvPr>
            <p:ph sz="half" idx="2"/>
          </p:nvPr>
        </p:nvSpPr>
        <p:spPr>
          <a:xfrm>
            <a:off x="4648200" y="1200157"/>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3 Marcador de fecha"/>
          <p:cNvSpPr>
            <a:spLocks noGrp="1"/>
          </p:cNvSpPr>
          <p:nvPr>
            <p:ph type="dt" sz="half" idx="10"/>
          </p:nvPr>
        </p:nvSpPr>
        <p:spPr>
          <a:xfrm>
            <a:off x="457201" y="4767357"/>
            <a:ext cx="2133600" cy="273844"/>
          </a:xfrm>
          <a:prstGeom prst="rect">
            <a:avLst/>
          </a:prstGeom>
        </p:spPr>
        <p:txBody>
          <a:bodyPr lIns="89831" tIns="44915" rIns="89831" bIns="44915"/>
          <a:lstStyle>
            <a:lvl1pPr>
              <a:defRPr b="1"/>
            </a:lvl1pPr>
          </a:lstStyle>
          <a:p>
            <a:pPr defTabSz="895763">
              <a:defRPr/>
            </a:pPr>
            <a:fld id="{DCF4F8C0-96DF-4D32-9EF0-E5D9E280A33E}" type="datetimeFigureOut">
              <a:rPr lang="es-ES" smtClean="0">
                <a:solidFill>
                  <a:prstClr val="black"/>
                </a:solidFill>
              </a:rPr>
              <a:pPr defTabSz="895763">
                <a:defRPr/>
              </a:pPr>
              <a:t>07/08/2024</a:t>
            </a:fld>
            <a:endParaRPr lang="es-ES">
              <a:solidFill>
                <a:prstClr val="black"/>
              </a:solidFill>
            </a:endParaRPr>
          </a:p>
        </p:txBody>
      </p:sp>
      <p:sp>
        <p:nvSpPr>
          <p:cNvPr id="6" name="4 Marcador de pie de página"/>
          <p:cNvSpPr>
            <a:spLocks noGrp="1"/>
          </p:cNvSpPr>
          <p:nvPr>
            <p:ph type="ftr" sz="quarter" idx="11"/>
          </p:nvPr>
        </p:nvSpPr>
        <p:spPr/>
        <p:txBody>
          <a:bodyPr/>
          <a:lstStyle>
            <a:lvl1pPr>
              <a:defRPr b="1"/>
            </a:lvl1pPr>
          </a:lstStyle>
          <a:p>
            <a:pPr>
              <a:defRPr/>
            </a:pPr>
            <a:endParaRPr lang="es-ES"/>
          </a:p>
        </p:txBody>
      </p:sp>
      <p:sp>
        <p:nvSpPr>
          <p:cNvPr id="7" name="5 Marcador de número de diapositiva"/>
          <p:cNvSpPr>
            <a:spLocks noGrp="1"/>
          </p:cNvSpPr>
          <p:nvPr>
            <p:ph type="sldNum" sz="quarter" idx="12"/>
          </p:nvPr>
        </p:nvSpPr>
        <p:spPr/>
        <p:txBody>
          <a:bodyPr/>
          <a:lstStyle>
            <a:lvl1pPr>
              <a:defRPr b="1"/>
            </a:lvl1pPr>
          </a:lstStyle>
          <a:p>
            <a:pPr>
              <a:defRPr/>
            </a:pPr>
            <a:fld id="{7ED5A0C4-6D4F-4B40-A8F0-7358F27BF614}" type="slidenum">
              <a:rPr lang="es-ES"/>
              <a:pPr>
                <a:defRPr/>
              </a:pPr>
              <a:t>‹Nº›</a:t>
            </a:fld>
            <a:endParaRPr lang="es-ES"/>
          </a:p>
        </p:txBody>
      </p:sp>
    </p:spTree>
    <p:extLst>
      <p:ext uri="{BB962C8B-B14F-4D97-AF65-F5344CB8AC3E}">
        <p14:creationId xmlns:p14="http://schemas.microsoft.com/office/powerpoint/2010/main" val="702692157"/>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lvl1pPr>
              <a:defRPr/>
            </a:lvl1pPr>
          </a:lstStyle>
          <a:p>
            <a:r>
              <a:rPr lang="es-ES"/>
              <a:t>Haga clic para modificar el estilo de título del patrón</a:t>
            </a:r>
          </a:p>
        </p:txBody>
      </p:sp>
      <p:sp>
        <p:nvSpPr>
          <p:cNvPr id="3" name="2 Marcador de texto"/>
          <p:cNvSpPr>
            <a:spLocks noGrp="1"/>
          </p:cNvSpPr>
          <p:nvPr>
            <p:ph type="body" idx="1"/>
          </p:nvPr>
        </p:nvSpPr>
        <p:spPr>
          <a:xfrm>
            <a:off x="457200" y="1151335"/>
            <a:ext cx="4040188" cy="479822"/>
          </a:xfrm>
        </p:spPr>
        <p:txBody>
          <a:bodyPr anchor="b"/>
          <a:lstStyle>
            <a:lvl1pPr marL="0" indent="0">
              <a:buNone/>
              <a:defRPr sz="2400" b="1"/>
            </a:lvl1pPr>
            <a:lvl2pPr marL="447904" indent="0">
              <a:buNone/>
              <a:defRPr sz="2000" b="1"/>
            </a:lvl2pPr>
            <a:lvl3pPr marL="895763" indent="0">
              <a:buNone/>
              <a:defRPr sz="1800" b="1"/>
            </a:lvl3pPr>
            <a:lvl4pPr marL="1343687" indent="0">
              <a:buNone/>
              <a:defRPr sz="1600" b="1"/>
            </a:lvl4pPr>
            <a:lvl5pPr marL="1791534" indent="0">
              <a:buNone/>
              <a:defRPr sz="1600" b="1"/>
            </a:lvl5pPr>
            <a:lvl6pPr marL="2239429" indent="0">
              <a:buNone/>
              <a:defRPr sz="1600" b="1"/>
            </a:lvl6pPr>
            <a:lvl7pPr marL="2687326" indent="0">
              <a:buNone/>
              <a:defRPr sz="1600" b="1"/>
            </a:lvl7pPr>
            <a:lvl8pPr marL="3135229" indent="0">
              <a:buNone/>
              <a:defRPr sz="1600" b="1"/>
            </a:lvl8pPr>
            <a:lvl9pPr marL="3583064" indent="0">
              <a:buNone/>
              <a:defRPr sz="1600" b="1"/>
            </a:lvl9pPr>
          </a:lstStyle>
          <a:p>
            <a:pPr lvl="0"/>
            <a:r>
              <a:rPr lang="es-ES"/>
              <a:t>Haga clic para modificar el estilo de texto del patrón</a:t>
            </a:r>
          </a:p>
        </p:txBody>
      </p:sp>
      <p:sp>
        <p:nvSpPr>
          <p:cNvPr id="4" name="3 Marcador de contenido"/>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4 Marcador de texto"/>
          <p:cNvSpPr>
            <a:spLocks noGrp="1"/>
          </p:cNvSpPr>
          <p:nvPr>
            <p:ph type="body" sz="quarter" idx="3"/>
          </p:nvPr>
        </p:nvSpPr>
        <p:spPr>
          <a:xfrm>
            <a:off x="4645328" y="1151335"/>
            <a:ext cx="4041775" cy="479822"/>
          </a:xfrm>
        </p:spPr>
        <p:txBody>
          <a:bodyPr anchor="b"/>
          <a:lstStyle>
            <a:lvl1pPr marL="0" indent="0">
              <a:buNone/>
              <a:defRPr sz="2400" b="1"/>
            </a:lvl1pPr>
            <a:lvl2pPr marL="447904" indent="0">
              <a:buNone/>
              <a:defRPr sz="2000" b="1"/>
            </a:lvl2pPr>
            <a:lvl3pPr marL="895763" indent="0">
              <a:buNone/>
              <a:defRPr sz="1800" b="1"/>
            </a:lvl3pPr>
            <a:lvl4pPr marL="1343687" indent="0">
              <a:buNone/>
              <a:defRPr sz="1600" b="1"/>
            </a:lvl4pPr>
            <a:lvl5pPr marL="1791534" indent="0">
              <a:buNone/>
              <a:defRPr sz="1600" b="1"/>
            </a:lvl5pPr>
            <a:lvl6pPr marL="2239429" indent="0">
              <a:buNone/>
              <a:defRPr sz="1600" b="1"/>
            </a:lvl6pPr>
            <a:lvl7pPr marL="2687326" indent="0">
              <a:buNone/>
              <a:defRPr sz="1600" b="1"/>
            </a:lvl7pPr>
            <a:lvl8pPr marL="3135229" indent="0">
              <a:buNone/>
              <a:defRPr sz="1600" b="1"/>
            </a:lvl8pPr>
            <a:lvl9pPr marL="3583064" indent="0">
              <a:buNone/>
              <a:defRPr sz="1600" b="1"/>
            </a:lvl9pPr>
          </a:lstStyle>
          <a:p>
            <a:pPr lvl="0"/>
            <a:r>
              <a:rPr lang="es-ES"/>
              <a:t>Haga clic para modificar el estilo de texto del patrón</a:t>
            </a:r>
          </a:p>
        </p:txBody>
      </p:sp>
      <p:sp>
        <p:nvSpPr>
          <p:cNvPr id="6" name="5 Marcador de contenido"/>
          <p:cNvSpPr>
            <a:spLocks noGrp="1"/>
          </p:cNvSpPr>
          <p:nvPr>
            <p:ph sz="quarter" idx="4"/>
          </p:nvPr>
        </p:nvSpPr>
        <p:spPr>
          <a:xfrm>
            <a:off x="4645328"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7" name="3 Marcador de fecha"/>
          <p:cNvSpPr>
            <a:spLocks noGrp="1"/>
          </p:cNvSpPr>
          <p:nvPr>
            <p:ph type="dt" sz="half" idx="10"/>
          </p:nvPr>
        </p:nvSpPr>
        <p:spPr>
          <a:xfrm>
            <a:off x="457201" y="4767357"/>
            <a:ext cx="2133600" cy="273844"/>
          </a:xfrm>
          <a:prstGeom prst="rect">
            <a:avLst/>
          </a:prstGeom>
        </p:spPr>
        <p:txBody>
          <a:bodyPr lIns="89831" tIns="44915" rIns="89831" bIns="44915"/>
          <a:lstStyle>
            <a:lvl1pPr>
              <a:defRPr b="1"/>
            </a:lvl1pPr>
          </a:lstStyle>
          <a:p>
            <a:pPr defTabSz="895763">
              <a:defRPr/>
            </a:pPr>
            <a:fld id="{6955C616-7917-489D-8DE3-16436D157E1F}" type="datetimeFigureOut">
              <a:rPr lang="es-ES" smtClean="0">
                <a:solidFill>
                  <a:prstClr val="black"/>
                </a:solidFill>
              </a:rPr>
              <a:pPr defTabSz="895763">
                <a:defRPr/>
              </a:pPr>
              <a:t>07/08/2024</a:t>
            </a:fld>
            <a:endParaRPr lang="es-ES">
              <a:solidFill>
                <a:prstClr val="black"/>
              </a:solidFill>
            </a:endParaRPr>
          </a:p>
        </p:txBody>
      </p:sp>
      <p:sp>
        <p:nvSpPr>
          <p:cNvPr id="8" name="4 Marcador de pie de página"/>
          <p:cNvSpPr>
            <a:spLocks noGrp="1"/>
          </p:cNvSpPr>
          <p:nvPr>
            <p:ph type="ftr" sz="quarter" idx="11"/>
          </p:nvPr>
        </p:nvSpPr>
        <p:spPr/>
        <p:txBody>
          <a:bodyPr/>
          <a:lstStyle>
            <a:lvl1pPr>
              <a:defRPr b="1"/>
            </a:lvl1pPr>
          </a:lstStyle>
          <a:p>
            <a:pPr>
              <a:defRPr/>
            </a:pPr>
            <a:endParaRPr lang="es-ES"/>
          </a:p>
        </p:txBody>
      </p:sp>
      <p:sp>
        <p:nvSpPr>
          <p:cNvPr id="9" name="5 Marcador de número de diapositiva"/>
          <p:cNvSpPr>
            <a:spLocks noGrp="1"/>
          </p:cNvSpPr>
          <p:nvPr>
            <p:ph type="sldNum" sz="quarter" idx="12"/>
          </p:nvPr>
        </p:nvSpPr>
        <p:spPr/>
        <p:txBody>
          <a:bodyPr/>
          <a:lstStyle>
            <a:lvl1pPr>
              <a:defRPr b="1"/>
            </a:lvl1pPr>
          </a:lstStyle>
          <a:p>
            <a:pPr>
              <a:defRPr/>
            </a:pPr>
            <a:fld id="{1A38C932-5B66-4D36-A630-B1C832CD1416}" type="slidenum">
              <a:rPr lang="es-ES"/>
              <a:pPr>
                <a:defRPr/>
              </a:pPr>
              <a:t>‹Nº›</a:t>
            </a:fld>
            <a:endParaRPr lang="es-ES"/>
          </a:p>
        </p:txBody>
      </p:sp>
    </p:spTree>
    <p:extLst>
      <p:ext uri="{BB962C8B-B14F-4D97-AF65-F5344CB8AC3E}">
        <p14:creationId xmlns:p14="http://schemas.microsoft.com/office/powerpoint/2010/main" val="3565650294"/>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3 Marcador de fecha"/>
          <p:cNvSpPr>
            <a:spLocks noGrp="1"/>
          </p:cNvSpPr>
          <p:nvPr>
            <p:ph type="dt" sz="half" idx="10"/>
          </p:nvPr>
        </p:nvSpPr>
        <p:spPr>
          <a:xfrm>
            <a:off x="457201" y="4767357"/>
            <a:ext cx="2133600" cy="273844"/>
          </a:xfrm>
          <a:prstGeom prst="rect">
            <a:avLst/>
          </a:prstGeom>
        </p:spPr>
        <p:txBody>
          <a:bodyPr lIns="89831" tIns="44915" rIns="89831" bIns="44915"/>
          <a:lstStyle>
            <a:lvl1pPr>
              <a:defRPr b="1"/>
            </a:lvl1pPr>
          </a:lstStyle>
          <a:p>
            <a:pPr defTabSz="895763">
              <a:defRPr/>
            </a:pPr>
            <a:fld id="{C9D3579C-2116-44A5-A6F3-5EEB2DD7BDFE}" type="datetimeFigureOut">
              <a:rPr lang="es-ES" smtClean="0">
                <a:solidFill>
                  <a:prstClr val="black"/>
                </a:solidFill>
              </a:rPr>
              <a:pPr defTabSz="895763">
                <a:defRPr/>
              </a:pPr>
              <a:t>07/08/2024</a:t>
            </a:fld>
            <a:endParaRPr lang="es-ES">
              <a:solidFill>
                <a:prstClr val="black"/>
              </a:solidFill>
            </a:endParaRPr>
          </a:p>
        </p:txBody>
      </p:sp>
      <p:sp>
        <p:nvSpPr>
          <p:cNvPr id="4" name="4 Marcador de pie de página"/>
          <p:cNvSpPr>
            <a:spLocks noGrp="1"/>
          </p:cNvSpPr>
          <p:nvPr>
            <p:ph type="ftr" sz="quarter" idx="11"/>
          </p:nvPr>
        </p:nvSpPr>
        <p:spPr/>
        <p:txBody>
          <a:bodyPr/>
          <a:lstStyle>
            <a:lvl1pPr>
              <a:defRPr b="1"/>
            </a:lvl1pPr>
          </a:lstStyle>
          <a:p>
            <a:pPr>
              <a:defRPr/>
            </a:pPr>
            <a:endParaRPr lang="es-ES"/>
          </a:p>
        </p:txBody>
      </p:sp>
      <p:sp>
        <p:nvSpPr>
          <p:cNvPr id="5" name="5 Marcador de número de diapositiva"/>
          <p:cNvSpPr>
            <a:spLocks noGrp="1"/>
          </p:cNvSpPr>
          <p:nvPr>
            <p:ph type="sldNum" sz="quarter" idx="12"/>
          </p:nvPr>
        </p:nvSpPr>
        <p:spPr/>
        <p:txBody>
          <a:bodyPr/>
          <a:lstStyle>
            <a:lvl1pPr>
              <a:defRPr b="1"/>
            </a:lvl1pPr>
          </a:lstStyle>
          <a:p>
            <a:pPr>
              <a:defRPr/>
            </a:pPr>
            <a:fld id="{95BCE4A3-11FA-4739-8BF5-4DC9AC894E97}" type="slidenum">
              <a:rPr lang="es-ES"/>
              <a:pPr>
                <a:defRPr/>
              </a:pPr>
              <a:t>‹Nº›</a:t>
            </a:fld>
            <a:endParaRPr lang="es-ES"/>
          </a:p>
        </p:txBody>
      </p:sp>
    </p:spTree>
    <p:extLst>
      <p:ext uri="{BB962C8B-B14F-4D97-AF65-F5344CB8AC3E}">
        <p14:creationId xmlns:p14="http://schemas.microsoft.com/office/powerpoint/2010/main" val="1193865238"/>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3 Marcador de fecha"/>
          <p:cNvSpPr>
            <a:spLocks noGrp="1"/>
          </p:cNvSpPr>
          <p:nvPr>
            <p:ph type="dt" sz="half" idx="10"/>
          </p:nvPr>
        </p:nvSpPr>
        <p:spPr>
          <a:xfrm>
            <a:off x="457201" y="4767357"/>
            <a:ext cx="2133600" cy="273844"/>
          </a:xfrm>
          <a:prstGeom prst="rect">
            <a:avLst/>
          </a:prstGeom>
        </p:spPr>
        <p:txBody>
          <a:bodyPr lIns="89831" tIns="44915" rIns="89831" bIns="44915"/>
          <a:lstStyle>
            <a:lvl1pPr>
              <a:defRPr b="1"/>
            </a:lvl1pPr>
          </a:lstStyle>
          <a:p>
            <a:pPr defTabSz="895763">
              <a:defRPr/>
            </a:pPr>
            <a:fld id="{C910B865-06C9-47EF-B716-6E285541543F}" type="datetimeFigureOut">
              <a:rPr lang="es-ES" smtClean="0">
                <a:solidFill>
                  <a:prstClr val="black"/>
                </a:solidFill>
              </a:rPr>
              <a:pPr defTabSz="895763">
                <a:defRPr/>
              </a:pPr>
              <a:t>07/08/2024</a:t>
            </a:fld>
            <a:endParaRPr lang="es-ES">
              <a:solidFill>
                <a:prstClr val="black"/>
              </a:solidFill>
            </a:endParaRPr>
          </a:p>
        </p:txBody>
      </p:sp>
      <p:sp>
        <p:nvSpPr>
          <p:cNvPr id="3" name="4 Marcador de pie de página"/>
          <p:cNvSpPr>
            <a:spLocks noGrp="1"/>
          </p:cNvSpPr>
          <p:nvPr>
            <p:ph type="ftr" sz="quarter" idx="11"/>
          </p:nvPr>
        </p:nvSpPr>
        <p:spPr/>
        <p:txBody>
          <a:bodyPr/>
          <a:lstStyle>
            <a:lvl1pPr>
              <a:defRPr b="1"/>
            </a:lvl1pPr>
          </a:lstStyle>
          <a:p>
            <a:pPr>
              <a:defRPr/>
            </a:pPr>
            <a:endParaRPr lang="es-ES"/>
          </a:p>
        </p:txBody>
      </p:sp>
      <p:sp>
        <p:nvSpPr>
          <p:cNvPr id="4" name="5 Marcador de número de diapositiva"/>
          <p:cNvSpPr>
            <a:spLocks noGrp="1"/>
          </p:cNvSpPr>
          <p:nvPr>
            <p:ph type="sldNum" sz="quarter" idx="12"/>
          </p:nvPr>
        </p:nvSpPr>
        <p:spPr/>
        <p:txBody>
          <a:bodyPr/>
          <a:lstStyle>
            <a:lvl1pPr>
              <a:defRPr b="1"/>
            </a:lvl1pPr>
          </a:lstStyle>
          <a:p>
            <a:pPr>
              <a:defRPr/>
            </a:pPr>
            <a:fld id="{F39067CC-85CD-4833-92B2-8B99CE5F6C01}" type="slidenum">
              <a:rPr lang="es-ES"/>
              <a:pPr>
                <a:defRPr/>
              </a:pPr>
              <a:t>‹Nº›</a:t>
            </a:fld>
            <a:endParaRPr lang="es-ES"/>
          </a:p>
        </p:txBody>
      </p:sp>
    </p:spTree>
    <p:extLst>
      <p:ext uri="{BB962C8B-B14F-4D97-AF65-F5344CB8AC3E}">
        <p14:creationId xmlns:p14="http://schemas.microsoft.com/office/powerpoint/2010/main" val="3502110959"/>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526" y="204787"/>
            <a:ext cx="3008313" cy="871538"/>
          </a:xfrm>
        </p:spPr>
        <p:txBody>
          <a:bodyPr anchor="b"/>
          <a:lstStyle>
            <a:lvl1pPr algn="l">
              <a:defRPr sz="2000" b="1"/>
            </a:lvl1pPr>
          </a:lstStyle>
          <a:p>
            <a:r>
              <a:rPr lang="es-ES"/>
              <a:t>Haga clic para modificar el estilo de título del patrón</a:t>
            </a:r>
          </a:p>
        </p:txBody>
      </p:sp>
      <p:sp>
        <p:nvSpPr>
          <p:cNvPr id="3" name="2 Marcador de contenido"/>
          <p:cNvSpPr>
            <a:spLocks noGrp="1"/>
          </p:cNvSpPr>
          <p:nvPr>
            <p:ph idx="1"/>
          </p:nvPr>
        </p:nvSpPr>
        <p:spPr>
          <a:xfrm>
            <a:off x="3575050" y="204863"/>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texto"/>
          <p:cNvSpPr>
            <a:spLocks noGrp="1"/>
          </p:cNvSpPr>
          <p:nvPr>
            <p:ph type="body" sz="half" idx="2"/>
          </p:nvPr>
        </p:nvSpPr>
        <p:spPr>
          <a:xfrm>
            <a:off x="457526" y="1076328"/>
            <a:ext cx="3008313" cy="3518297"/>
          </a:xfrm>
        </p:spPr>
        <p:txBody>
          <a:bodyPr/>
          <a:lstStyle>
            <a:lvl1pPr marL="0" indent="0">
              <a:buNone/>
              <a:defRPr sz="1400"/>
            </a:lvl1pPr>
            <a:lvl2pPr marL="447904" indent="0">
              <a:buNone/>
              <a:defRPr sz="1200"/>
            </a:lvl2pPr>
            <a:lvl3pPr marL="895763" indent="0">
              <a:buNone/>
              <a:defRPr sz="1000"/>
            </a:lvl3pPr>
            <a:lvl4pPr marL="1343687" indent="0">
              <a:buNone/>
              <a:defRPr sz="900"/>
            </a:lvl4pPr>
            <a:lvl5pPr marL="1791534" indent="0">
              <a:buNone/>
              <a:defRPr sz="900"/>
            </a:lvl5pPr>
            <a:lvl6pPr marL="2239429" indent="0">
              <a:buNone/>
              <a:defRPr sz="900"/>
            </a:lvl6pPr>
            <a:lvl7pPr marL="2687326" indent="0">
              <a:buNone/>
              <a:defRPr sz="900"/>
            </a:lvl7pPr>
            <a:lvl8pPr marL="3135229" indent="0">
              <a:buNone/>
              <a:defRPr sz="900"/>
            </a:lvl8pPr>
            <a:lvl9pPr marL="3583064" indent="0">
              <a:buNone/>
              <a:defRPr sz="900"/>
            </a:lvl9pPr>
          </a:lstStyle>
          <a:p>
            <a:pPr lvl="0"/>
            <a:r>
              <a:rPr lang="es-ES"/>
              <a:t>Haga clic para modificar el estilo de texto del patrón</a:t>
            </a:r>
          </a:p>
        </p:txBody>
      </p:sp>
      <p:sp>
        <p:nvSpPr>
          <p:cNvPr id="5" name="3 Marcador de fecha"/>
          <p:cNvSpPr>
            <a:spLocks noGrp="1"/>
          </p:cNvSpPr>
          <p:nvPr>
            <p:ph type="dt" sz="half" idx="10"/>
          </p:nvPr>
        </p:nvSpPr>
        <p:spPr>
          <a:xfrm>
            <a:off x="457201" y="4767357"/>
            <a:ext cx="2133600" cy="273844"/>
          </a:xfrm>
          <a:prstGeom prst="rect">
            <a:avLst/>
          </a:prstGeom>
        </p:spPr>
        <p:txBody>
          <a:bodyPr lIns="89831" tIns="44915" rIns="89831" bIns="44915"/>
          <a:lstStyle>
            <a:lvl1pPr>
              <a:defRPr b="1"/>
            </a:lvl1pPr>
          </a:lstStyle>
          <a:p>
            <a:pPr defTabSz="895763">
              <a:defRPr/>
            </a:pPr>
            <a:fld id="{41EDBB76-DCE5-4F31-8382-7A9638B1C43B}" type="datetimeFigureOut">
              <a:rPr lang="es-ES" smtClean="0">
                <a:solidFill>
                  <a:prstClr val="black"/>
                </a:solidFill>
              </a:rPr>
              <a:pPr defTabSz="895763">
                <a:defRPr/>
              </a:pPr>
              <a:t>07/08/2024</a:t>
            </a:fld>
            <a:endParaRPr lang="es-ES">
              <a:solidFill>
                <a:prstClr val="black"/>
              </a:solidFill>
            </a:endParaRPr>
          </a:p>
        </p:txBody>
      </p:sp>
      <p:sp>
        <p:nvSpPr>
          <p:cNvPr id="6" name="4 Marcador de pie de página"/>
          <p:cNvSpPr>
            <a:spLocks noGrp="1"/>
          </p:cNvSpPr>
          <p:nvPr>
            <p:ph type="ftr" sz="quarter" idx="11"/>
          </p:nvPr>
        </p:nvSpPr>
        <p:spPr/>
        <p:txBody>
          <a:bodyPr/>
          <a:lstStyle>
            <a:lvl1pPr>
              <a:defRPr b="1"/>
            </a:lvl1pPr>
          </a:lstStyle>
          <a:p>
            <a:pPr>
              <a:defRPr/>
            </a:pPr>
            <a:endParaRPr lang="es-ES"/>
          </a:p>
        </p:txBody>
      </p:sp>
      <p:sp>
        <p:nvSpPr>
          <p:cNvPr id="7" name="5 Marcador de número de diapositiva"/>
          <p:cNvSpPr>
            <a:spLocks noGrp="1"/>
          </p:cNvSpPr>
          <p:nvPr>
            <p:ph type="sldNum" sz="quarter" idx="12"/>
          </p:nvPr>
        </p:nvSpPr>
        <p:spPr/>
        <p:txBody>
          <a:bodyPr/>
          <a:lstStyle>
            <a:lvl1pPr>
              <a:defRPr b="1"/>
            </a:lvl1pPr>
          </a:lstStyle>
          <a:p>
            <a:pPr>
              <a:defRPr/>
            </a:pPr>
            <a:fld id="{7C55D46E-58B9-444E-B735-442E03077310}" type="slidenum">
              <a:rPr lang="es-ES"/>
              <a:pPr>
                <a:defRPr/>
              </a:pPr>
              <a:t>‹Nº›</a:t>
            </a:fld>
            <a:endParaRPr lang="es-ES"/>
          </a:p>
        </p:txBody>
      </p:sp>
    </p:spTree>
    <p:extLst>
      <p:ext uri="{BB962C8B-B14F-4D97-AF65-F5344CB8AC3E}">
        <p14:creationId xmlns:p14="http://schemas.microsoft.com/office/powerpoint/2010/main" val="115538251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7" name="Title 6"/>
          <p:cNvSpPr>
            <a:spLocks noGrp="1"/>
          </p:cNvSpPr>
          <p:nvPr>
            <p:ph type="title"/>
          </p:nvPr>
        </p:nvSpPr>
        <p:spPr>
          <a:xfrm>
            <a:off x="365133" y="221107"/>
            <a:ext cx="7577139" cy="253916"/>
          </a:xfrm>
        </p:spPr>
        <p:txBody>
          <a:bodyPr/>
          <a:lstStyle/>
          <a:p>
            <a:r>
              <a:rPr lang="en-US"/>
              <a:t>Click to edit Master title style</a:t>
            </a:r>
            <a:endParaRPr lang="en-GB"/>
          </a:p>
        </p:txBody>
      </p:sp>
      <p:sp>
        <p:nvSpPr>
          <p:cNvPr id="12" name="Content Placeholder 11"/>
          <p:cNvSpPr>
            <a:spLocks noGrp="1"/>
          </p:cNvSpPr>
          <p:nvPr>
            <p:ph sz="quarter" idx="17"/>
          </p:nvPr>
        </p:nvSpPr>
        <p:spPr>
          <a:xfrm>
            <a:off x="365124" y="888208"/>
            <a:ext cx="3986213" cy="35111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Content Placeholder 13"/>
          <p:cNvSpPr>
            <a:spLocks noGrp="1"/>
          </p:cNvSpPr>
          <p:nvPr>
            <p:ph sz="quarter" idx="18"/>
          </p:nvPr>
        </p:nvSpPr>
        <p:spPr>
          <a:xfrm>
            <a:off x="4797237" y="888208"/>
            <a:ext cx="4000709" cy="35111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Slide Number Placeholder 12"/>
          <p:cNvSpPr>
            <a:spLocks noGrp="1"/>
          </p:cNvSpPr>
          <p:nvPr>
            <p:ph type="sldNum" sz="quarter" idx="21"/>
          </p:nvPr>
        </p:nvSpPr>
        <p:spPr/>
        <p:txBody>
          <a:bodyPr/>
          <a:lstStyle/>
          <a:p>
            <a:fld id="{9F9F533D-B52E-4A2F-BF72-0ADD2D94BD75}" type="slidenum">
              <a:rPr lang="en-GB" smtClean="0">
                <a:solidFill>
                  <a:srgbClr val="9A8B7D"/>
                </a:solidFill>
              </a:rPr>
              <a:pPr/>
              <a:t>‹Nº›</a:t>
            </a:fld>
            <a:endParaRPr lang="en-GB">
              <a:solidFill>
                <a:srgbClr val="9A8B7D"/>
              </a:solidFill>
            </a:endParaRPr>
          </a:p>
        </p:txBody>
      </p:sp>
      <p:sp>
        <p:nvSpPr>
          <p:cNvPr id="15" name="Text Placeholder 2"/>
          <p:cNvSpPr>
            <a:spLocks noGrp="1"/>
          </p:cNvSpPr>
          <p:nvPr>
            <p:ph type="body" sz="quarter" idx="14" hasCustomPrompt="1"/>
          </p:nvPr>
        </p:nvSpPr>
        <p:spPr>
          <a:xfrm>
            <a:off x="365124" y="519477"/>
            <a:ext cx="7597776" cy="176213"/>
          </a:xfrm>
        </p:spPr>
        <p:txBody>
          <a:bodyPr anchor="t" anchorCtr="0"/>
          <a:lstStyle>
            <a:lvl1pPr marL="0" indent="0">
              <a:spcAft>
                <a:spcPts val="0"/>
              </a:spcAft>
              <a:buNone/>
              <a:defRPr sz="1350"/>
            </a:lvl1pPr>
            <a:lvl2pPr marL="203597" indent="0">
              <a:buNone/>
              <a:defRPr/>
            </a:lvl2pPr>
            <a:lvl3pPr marL="400050" indent="0">
              <a:buNone/>
              <a:defRPr/>
            </a:lvl3pPr>
            <a:lvl4pPr marL="611981" indent="0">
              <a:buNone/>
              <a:defRPr/>
            </a:lvl4pPr>
            <a:lvl5pPr marL="828675" indent="0">
              <a:buNone/>
              <a:defRPr/>
            </a:lvl5pPr>
          </a:lstStyle>
          <a:p>
            <a:pPr lvl="0"/>
            <a:r>
              <a:rPr lang="en-US"/>
              <a:t>Subtitle here if required</a:t>
            </a:r>
          </a:p>
        </p:txBody>
      </p:sp>
      <p:sp>
        <p:nvSpPr>
          <p:cNvPr id="19" name="Text Placeholder 6"/>
          <p:cNvSpPr>
            <a:spLocks noGrp="1"/>
          </p:cNvSpPr>
          <p:nvPr>
            <p:ph type="body" sz="quarter" idx="19" hasCustomPrompt="1"/>
          </p:nvPr>
        </p:nvSpPr>
        <p:spPr>
          <a:xfrm>
            <a:off x="358900" y="4827991"/>
            <a:ext cx="8043863" cy="297000"/>
          </a:xfrm>
        </p:spPr>
        <p:txBody>
          <a:bodyPr/>
          <a:lstStyle>
            <a:lvl1pPr marL="0" indent="0">
              <a:buNone/>
              <a:defRPr sz="600" baseline="0"/>
            </a:lvl1pPr>
          </a:lstStyle>
          <a:p>
            <a:pPr lvl="0"/>
            <a:r>
              <a:rPr lang="en-US"/>
              <a:t>Click to add references here</a:t>
            </a:r>
          </a:p>
        </p:txBody>
      </p:sp>
      <p:sp>
        <p:nvSpPr>
          <p:cNvPr id="20" name="Text Placeholder 5"/>
          <p:cNvSpPr>
            <a:spLocks noGrp="1"/>
          </p:cNvSpPr>
          <p:nvPr>
            <p:ph type="body" sz="quarter" idx="22" hasCustomPrompt="1"/>
          </p:nvPr>
        </p:nvSpPr>
        <p:spPr>
          <a:xfrm>
            <a:off x="360944" y="4451293"/>
            <a:ext cx="8445820" cy="239383"/>
          </a:xfrm>
        </p:spPr>
        <p:txBody>
          <a:bodyPr wrap="square" anchor="b" anchorCtr="0">
            <a:noAutofit/>
          </a:bodyPr>
          <a:lstStyle>
            <a:lvl1pPr marL="0" indent="0">
              <a:buNone/>
              <a:defRPr sz="750" baseline="0"/>
            </a:lvl1pPr>
            <a:lvl2pPr marL="201122" indent="0">
              <a:buNone/>
              <a:defRPr sz="600"/>
            </a:lvl2pPr>
            <a:lvl3pPr marL="405000" indent="0">
              <a:buNone/>
              <a:defRPr sz="600"/>
            </a:lvl3pPr>
            <a:lvl4pPr marL="608316" indent="0">
              <a:buNone/>
              <a:defRPr sz="600"/>
            </a:lvl4pPr>
            <a:lvl5pPr marL="810000" indent="0">
              <a:buNone/>
              <a:defRPr sz="600"/>
            </a:lvl5pPr>
          </a:lstStyle>
          <a:p>
            <a:pPr lvl="0"/>
            <a:r>
              <a:rPr lang="en-US"/>
              <a:t>Insert Source text here</a:t>
            </a:r>
          </a:p>
        </p:txBody>
      </p:sp>
    </p:spTree>
    <p:extLst>
      <p:ext uri="{BB962C8B-B14F-4D97-AF65-F5344CB8AC3E}">
        <p14:creationId xmlns:p14="http://schemas.microsoft.com/office/powerpoint/2010/main" val="2746043903"/>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792291" y="3600451"/>
            <a:ext cx="5486400" cy="425054"/>
          </a:xfrm>
        </p:spPr>
        <p:txBody>
          <a:bodyPr anchor="b"/>
          <a:lstStyle>
            <a:lvl1pPr algn="l">
              <a:defRPr sz="2000" b="1"/>
            </a:lvl1pPr>
          </a:lstStyle>
          <a:p>
            <a:r>
              <a:rPr lang="es-ES"/>
              <a:t>Haga clic para modificar el estilo de título del patrón</a:t>
            </a:r>
          </a:p>
        </p:txBody>
      </p:sp>
      <p:sp>
        <p:nvSpPr>
          <p:cNvPr id="3" name="2 Marcador de posición de imagen"/>
          <p:cNvSpPr>
            <a:spLocks noGrp="1"/>
          </p:cNvSpPr>
          <p:nvPr>
            <p:ph type="pic" idx="1"/>
          </p:nvPr>
        </p:nvSpPr>
        <p:spPr>
          <a:xfrm>
            <a:off x="1792291" y="459581"/>
            <a:ext cx="5486400" cy="3086100"/>
          </a:xfrm>
        </p:spPr>
        <p:txBody>
          <a:bodyPr rtlCol="0">
            <a:normAutofit/>
          </a:bodyPr>
          <a:lstStyle>
            <a:lvl1pPr marL="0" indent="0">
              <a:buNone/>
              <a:defRPr sz="3200"/>
            </a:lvl1pPr>
            <a:lvl2pPr marL="447904" indent="0">
              <a:buNone/>
              <a:defRPr sz="2800"/>
            </a:lvl2pPr>
            <a:lvl3pPr marL="895763" indent="0">
              <a:buNone/>
              <a:defRPr sz="2400"/>
            </a:lvl3pPr>
            <a:lvl4pPr marL="1343687" indent="0">
              <a:buNone/>
              <a:defRPr sz="2000"/>
            </a:lvl4pPr>
            <a:lvl5pPr marL="1791534" indent="0">
              <a:buNone/>
              <a:defRPr sz="2000"/>
            </a:lvl5pPr>
            <a:lvl6pPr marL="2239429" indent="0">
              <a:buNone/>
              <a:defRPr sz="2000"/>
            </a:lvl6pPr>
            <a:lvl7pPr marL="2687326" indent="0">
              <a:buNone/>
              <a:defRPr sz="2000"/>
            </a:lvl7pPr>
            <a:lvl8pPr marL="3135229" indent="0">
              <a:buNone/>
              <a:defRPr sz="2000"/>
            </a:lvl8pPr>
            <a:lvl9pPr marL="3583064" indent="0">
              <a:buNone/>
              <a:defRPr sz="2000"/>
            </a:lvl9pPr>
          </a:lstStyle>
          <a:p>
            <a:pPr lvl="0"/>
            <a:endParaRPr lang="es-ES" noProof="0"/>
          </a:p>
        </p:txBody>
      </p:sp>
      <p:sp>
        <p:nvSpPr>
          <p:cNvPr id="4" name="3 Marcador de texto"/>
          <p:cNvSpPr>
            <a:spLocks noGrp="1"/>
          </p:cNvSpPr>
          <p:nvPr>
            <p:ph type="body" sz="half" idx="2"/>
          </p:nvPr>
        </p:nvSpPr>
        <p:spPr>
          <a:xfrm>
            <a:off x="1792291" y="4025626"/>
            <a:ext cx="5486400" cy="603647"/>
          </a:xfrm>
        </p:spPr>
        <p:txBody>
          <a:bodyPr/>
          <a:lstStyle>
            <a:lvl1pPr marL="0" indent="0">
              <a:buNone/>
              <a:defRPr sz="1400"/>
            </a:lvl1pPr>
            <a:lvl2pPr marL="447904" indent="0">
              <a:buNone/>
              <a:defRPr sz="1200"/>
            </a:lvl2pPr>
            <a:lvl3pPr marL="895763" indent="0">
              <a:buNone/>
              <a:defRPr sz="1000"/>
            </a:lvl3pPr>
            <a:lvl4pPr marL="1343687" indent="0">
              <a:buNone/>
              <a:defRPr sz="900"/>
            </a:lvl4pPr>
            <a:lvl5pPr marL="1791534" indent="0">
              <a:buNone/>
              <a:defRPr sz="900"/>
            </a:lvl5pPr>
            <a:lvl6pPr marL="2239429" indent="0">
              <a:buNone/>
              <a:defRPr sz="900"/>
            </a:lvl6pPr>
            <a:lvl7pPr marL="2687326" indent="0">
              <a:buNone/>
              <a:defRPr sz="900"/>
            </a:lvl7pPr>
            <a:lvl8pPr marL="3135229" indent="0">
              <a:buNone/>
              <a:defRPr sz="900"/>
            </a:lvl8pPr>
            <a:lvl9pPr marL="3583064" indent="0">
              <a:buNone/>
              <a:defRPr sz="900"/>
            </a:lvl9pPr>
          </a:lstStyle>
          <a:p>
            <a:pPr lvl="0"/>
            <a:r>
              <a:rPr lang="es-ES"/>
              <a:t>Haga clic para modificar el estilo de texto del patrón</a:t>
            </a:r>
          </a:p>
        </p:txBody>
      </p:sp>
      <p:sp>
        <p:nvSpPr>
          <p:cNvPr id="5" name="3 Marcador de fecha"/>
          <p:cNvSpPr>
            <a:spLocks noGrp="1"/>
          </p:cNvSpPr>
          <p:nvPr>
            <p:ph type="dt" sz="half" idx="10"/>
          </p:nvPr>
        </p:nvSpPr>
        <p:spPr>
          <a:xfrm>
            <a:off x="457201" y="4767357"/>
            <a:ext cx="2133600" cy="273844"/>
          </a:xfrm>
          <a:prstGeom prst="rect">
            <a:avLst/>
          </a:prstGeom>
        </p:spPr>
        <p:txBody>
          <a:bodyPr lIns="89831" tIns="44915" rIns="89831" bIns="44915"/>
          <a:lstStyle>
            <a:lvl1pPr>
              <a:defRPr b="1"/>
            </a:lvl1pPr>
          </a:lstStyle>
          <a:p>
            <a:pPr defTabSz="895763">
              <a:defRPr/>
            </a:pPr>
            <a:fld id="{A493F893-D7CD-4E05-A7AF-B7C9FEA08782}" type="datetimeFigureOut">
              <a:rPr lang="es-ES" smtClean="0">
                <a:solidFill>
                  <a:prstClr val="black"/>
                </a:solidFill>
              </a:rPr>
              <a:pPr defTabSz="895763">
                <a:defRPr/>
              </a:pPr>
              <a:t>07/08/2024</a:t>
            </a:fld>
            <a:endParaRPr lang="es-ES">
              <a:solidFill>
                <a:prstClr val="black"/>
              </a:solidFill>
            </a:endParaRPr>
          </a:p>
        </p:txBody>
      </p:sp>
      <p:sp>
        <p:nvSpPr>
          <p:cNvPr id="6" name="4 Marcador de pie de página"/>
          <p:cNvSpPr>
            <a:spLocks noGrp="1"/>
          </p:cNvSpPr>
          <p:nvPr>
            <p:ph type="ftr" sz="quarter" idx="11"/>
          </p:nvPr>
        </p:nvSpPr>
        <p:spPr/>
        <p:txBody>
          <a:bodyPr/>
          <a:lstStyle>
            <a:lvl1pPr>
              <a:defRPr b="1"/>
            </a:lvl1pPr>
          </a:lstStyle>
          <a:p>
            <a:pPr>
              <a:defRPr/>
            </a:pPr>
            <a:endParaRPr lang="es-ES"/>
          </a:p>
        </p:txBody>
      </p:sp>
      <p:sp>
        <p:nvSpPr>
          <p:cNvPr id="7" name="5 Marcador de número de diapositiva"/>
          <p:cNvSpPr>
            <a:spLocks noGrp="1"/>
          </p:cNvSpPr>
          <p:nvPr>
            <p:ph type="sldNum" sz="quarter" idx="12"/>
          </p:nvPr>
        </p:nvSpPr>
        <p:spPr/>
        <p:txBody>
          <a:bodyPr/>
          <a:lstStyle>
            <a:lvl1pPr>
              <a:defRPr b="1"/>
            </a:lvl1pPr>
          </a:lstStyle>
          <a:p>
            <a:pPr>
              <a:defRPr/>
            </a:pPr>
            <a:fld id="{31563E84-710B-4F8D-94D6-27592425B836}" type="slidenum">
              <a:rPr lang="es-ES"/>
              <a:pPr>
                <a:defRPr/>
              </a:pPr>
              <a:t>‹Nº›</a:t>
            </a:fld>
            <a:endParaRPr lang="es-ES"/>
          </a:p>
        </p:txBody>
      </p:sp>
    </p:spTree>
    <p:extLst>
      <p:ext uri="{BB962C8B-B14F-4D97-AF65-F5344CB8AC3E}">
        <p14:creationId xmlns:p14="http://schemas.microsoft.com/office/powerpoint/2010/main" val="493210787"/>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texto vertical"/>
          <p:cNvSpPr>
            <a:spLocks noGrp="1"/>
          </p:cNvSpPr>
          <p:nvPr>
            <p:ph type="body" orient="vert" idx="1"/>
          </p:nvPr>
        </p:nvSpPr>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fecha"/>
          <p:cNvSpPr>
            <a:spLocks noGrp="1"/>
          </p:cNvSpPr>
          <p:nvPr>
            <p:ph type="dt" sz="half" idx="10"/>
          </p:nvPr>
        </p:nvSpPr>
        <p:spPr>
          <a:xfrm>
            <a:off x="457201" y="4767357"/>
            <a:ext cx="2133600" cy="273844"/>
          </a:xfrm>
          <a:prstGeom prst="rect">
            <a:avLst/>
          </a:prstGeom>
        </p:spPr>
        <p:txBody>
          <a:bodyPr lIns="89831" tIns="44915" rIns="89831" bIns="44915"/>
          <a:lstStyle>
            <a:lvl1pPr>
              <a:defRPr b="1"/>
            </a:lvl1pPr>
          </a:lstStyle>
          <a:p>
            <a:pPr defTabSz="895763">
              <a:defRPr/>
            </a:pPr>
            <a:fld id="{8DDBBA3F-9E5D-4BC6-920C-9FE491A5326B}" type="datetimeFigureOut">
              <a:rPr lang="es-ES" smtClean="0">
                <a:solidFill>
                  <a:prstClr val="black"/>
                </a:solidFill>
              </a:rPr>
              <a:pPr defTabSz="895763">
                <a:defRPr/>
              </a:pPr>
              <a:t>07/08/2024</a:t>
            </a:fld>
            <a:endParaRPr lang="es-ES">
              <a:solidFill>
                <a:prstClr val="black"/>
              </a:solidFill>
            </a:endParaRPr>
          </a:p>
        </p:txBody>
      </p:sp>
      <p:sp>
        <p:nvSpPr>
          <p:cNvPr id="5" name="4 Marcador de pie de página"/>
          <p:cNvSpPr>
            <a:spLocks noGrp="1"/>
          </p:cNvSpPr>
          <p:nvPr>
            <p:ph type="ftr" sz="quarter" idx="11"/>
          </p:nvPr>
        </p:nvSpPr>
        <p:spPr/>
        <p:txBody>
          <a:bodyPr/>
          <a:lstStyle>
            <a:lvl1pPr>
              <a:defRPr b="1"/>
            </a:lvl1pPr>
          </a:lstStyle>
          <a:p>
            <a:pPr>
              <a:defRPr/>
            </a:pPr>
            <a:endParaRPr lang="es-ES"/>
          </a:p>
        </p:txBody>
      </p:sp>
      <p:sp>
        <p:nvSpPr>
          <p:cNvPr id="6" name="5 Marcador de número de diapositiva"/>
          <p:cNvSpPr>
            <a:spLocks noGrp="1"/>
          </p:cNvSpPr>
          <p:nvPr>
            <p:ph type="sldNum" sz="quarter" idx="12"/>
          </p:nvPr>
        </p:nvSpPr>
        <p:spPr/>
        <p:txBody>
          <a:bodyPr/>
          <a:lstStyle>
            <a:lvl1pPr>
              <a:defRPr b="1"/>
            </a:lvl1pPr>
          </a:lstStyle>
          <a:p>
            <a:pPr>
              <a:defRPr/>
            </a:pPr>
            <a:fld id="{8DF4B2DE-53DE-4CE0-AB89-BBC05A729ABB}" type="slidenum">
              <a:rPr lang="es-ES"/>
              <a:pPr>
                <a:defRPr/>
              </a:pPr>
              <a:t>‹Nº›</a:t>
            </a:fld>
            <a:endParaRPr lang="es-ES"/>
          </a:p>
        </p:txBody>
      </p:sp>
    </p:spTree>
    <p:extLst>
      <p:ext uri="{BB962C8B-B14F-4D97-AF65-F5344CB8AC3E}">
        <p14:creationId xmlns:p14="http://schemas.microsoft.com/office/powerpoint/2010/main" val="2876250212"/>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629400" y="205983"/>
            <a:ext cx="2057400" cy="4388644"/>
          </a:xfrm>
        </p:spPr>
        <p:txBody>
          <a:bodyPr vert="eaVert"/>
          <a:lstStyle/>
          <a:p>
            <a:r>
              <a:rPr lang="es-ES"/>
              <a:t>Haga clic para modificar el estilo de título del patrón</a:t>
            </a:r>
          </a:p>
        </p:txBody>
      </p:sp>
      <p:sp>
        <p:nvSpPr>
          <p:cNvPr id="3" name="2 Marcador de texto vertical"/>
          <p:cNvSpPr>
            <a:spLocks noGrp="1"/>
          </p:cNvSpPr>
          <p:nvPr>
            <p:ph type="body" orient="vert" idx="1"/>
          </p:nvPr>
        </p:nvSpPr>
        <p:spPr>
          <a:xfrm>
            <a:off x="457200" y="205983"/>
            <a:ext cx="6019800" cy="4388644"/>
          </a:xfrm>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fecha"/>
          <p:cNvSpPr>
            <a:spLocks noGrp="1"/>
          </p:cNvSpPr>
          <p:nvPr>
            <p:ph type="dt" sz="half" idx="10"/>
          </p:nvPr>
        </p:nvSpPr>
        <p:spPr>
          <a:xfrm>
            <a:off x="457201" y="4767357"/>
            <a:ext cx="2133600" cy="273844"/>
          </a:xfrm>
          <a:prstGeom prst="rect">
            <a:avLst/>
          </a:prstGeom>
        </p:spPr>
        <p:txBody>
          <a:bodyPr lIns="89831" tIns="44915" rIns="89831" bIns="44915"/>
          <a:lstStyle>
            <a:lvl1pPr>
              <a:defRPr b="1"/>
            </a:lvl1pPr>
          </a:lstStyle>
          <a:p>
            <a:pPr defTabSz="895763">
              <a:defRPr/>
            </a:pPr>
            <a:fld id="{92D4531A-93F6-46E7-95FD-55A15B0A4327}" type="datetimeFigureOut">
              <a:rPr lang="es-ES" smtClean="0">
                <a:solidFill>
                  <a:prstClr val="black"/>
                </a:solidFill>
              </a:rPr>
              <a:pPr defTabSz="895763">
                <a:defRPr/>
              </a:pPr>
              <a:t>07/08/2024</a:t>
            </a:fld>
            <a:endParaRPr lang="es-ES">
              <a:solidFill>
                <a:prstClr val="black"/>
              </a:solidFill>
            </a:endParaRPr>
          </a:p>
        </p:txBody>
      </p:sp>
      <p:sp>
        <p:nvSpPr>
          <p:cNvPr id="5" name="4 Marcador de pie de página"/>
          <p:cNvSpPr>
            <a:spLocks noGrp="1"/>
          </p:cNvSpPr>
          <p:nvPr>
            <p:ph type="ftr" sz="quarter" idx="11"/>
          </p:nvPr>
        </p:nvSpPr>
        <p:spPr/>
        <p:txBody>
          <a:bodyPr/>
          <a:lstStyle>
            <a:lvl1pPr>
              <a:defRPr b="1"/>
            </a:lvl1pPr>
          </a:lstStyle>
          <a:p>
            <a:pPr>
              <a:defRPr/>
            </a:pPr>
            <a:endParaRPr lang="es-ES"/>
          </a:p>
        </p:txBody>
      </p:sp>
      <p:sp>
        <p:nvSpPr>
          <p:cNvPr id="6" name="5 Marcador de número de diapositiva"/>
          <p:cNvSpPr>
            <a:spLocks noGrp="1"/>
          </p:cNvSpPr>
          <p:nvPr>
            <p:ph type="sldNum" sz="quarter" idx="12"/>
          </p:nvPr>
        </p:nvSpPr>
        <p:spPr/>
        <p:txBody>
          <a:bodyPr/>
          <a:lstStyle>
            <a:lvl1pPr>
              <a:defRPr b="1"/>
            </a:lvl1pPr>
          </a:lstStyle>
          <a:p>
            <a:pPr>
              <a:defRPr/>
            </a:pPr>
            <a:fld id="{2377CA2C-EDB0-4929-9301-5C5E4E04D91A}" type="slidenum">
              <a:rPr lang="es-ES"/>
              <a:pPr>
                <a:defRPr/>
              </a:pPr>
              <a:t>‹Nº›</a:t>
            </a:fld>
            <a:endParaRPr lang="es-ES"/>
          </a:p>
        </p:txBody>
      </p:sp>
    </p:spTree>
    <p:extLst>
      <p:ext uri="{BB962C8B-B14F-4D97-AF65-F5344CB8AC3E}">
        <p14:creationId xmlns:p14="http://schemas.microsoft.com/office/powerpoint/2010/main" val="3708161819"/>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311700" y="445025"/>
            <a:ext cx="8520600" cy="572700"/>
          </a:xfrm>
          <a:prstGeom prst="rect">
            <a:avLst/>
          </a:prstGeom>
        </p:spPr>
        <p:txBody>
          <a:bodyPr spcFirstLastPara="1" wrap="square" lIns="89576" tIns="89576" rIns="89576" bIns="89576"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311700" y="1152475"/>
            <a:ext cx="8520600" cy="3416400"/>
          </a:xfrm>
          <a:prstGeom prst="rect">
            <a:avLst/>
          </a:prstGeom>
        </p:spPr>
        <p:txBody>
          <a:bodyPr spcFirstLastPara="1" wrap="square" lIns="89576" tIns="89576" rIns="89576" bIns="89576" anchor="t" anchorCtr="0">
            <a:noAutofit/>
          </a:bodyPr>
          <a:lstStyle>
            <a:lvl1pPr marL="597162" lvl="0" indent="-447892">
              <a:spcBef>
                <a:spcPts val="0"/>
              </a:spcBef>
              <a:spcAft>
                <a:spcPts val="0"/>
              </a:spcAft>
              <a:buSzPts val="1800"/>
              <a:buChar char="●"/>
              <a:defRPr/>
            </a:lvl1pPr>
            <a:lvl2pPr marL="1194324" lvl="1" indent="-414707">
              <a:spcBef>
                <a:spcPts val="2133"/>
              </a:spcBef>
              <a:spcAft>
                <a:spcPts val="0"/>
              </a:spcAft>
              <a:buSzPts val="1400"/>
              <a:buChar char="○"/>
              <a:defRPr/>
            </a:lvl2pPr>
            <a:lvl3pPr marL="1791488" lvl="2" indent="-414707">
              <a:spcBef>
                <a:spcPts val="2133"/>
              </a:spcBef>
              <a:spcAft>
                <a:spcPts val="0"/>
              </a:spcAft>
              <a:buSzPts val="1400"/>
              <a:buChar char="■"/>
              <a:defRPr/>
            </a:lvl3pPr>
            <a:lvl4pPr marL="2388653" lvl="3" indent="-414707">
              <a:spcBef>
                <a:spcPts val="2133"/>
              </a:spcBef>
              <a:spcAft>
                <a:spcPts val="0"/>
              </a:spcAft>
              <a:buSzPts val="1400"/>
              <a:buChar char="●"/>
              <a:defRPr/>
            </a:lvl4pPr>
            <a:lvl5pPr marL="2985810" lvl="4" indent="-414707">
              <a:spcBef>
                <a:spcPts val="2133"/>
              </a:spcBef>
              <a:spcAft>
                <a:spcPts val="0"/>
              </a:spcAft>
              <a:buSzPts val="1400"/>
              <a:buChar char="○"/>
              <a:defRPr/>
            </a:lvl5pPr>
            <a:lvl6pPr marL="3582977" lvl="5" indent="-414707">
              <a:spcBef>
                <a:spcPts val="2133"/>
              </a:spcBef>
              <a:spcAft>
                <a:spcPts val="0"/>
              </a:spcAft>
              <a:buSzPts val="1400"/>
              <a:buChar char="■"/>
              <a:defRPr/>
            </a:lvl6pPr>
            <a:lvl7pPr marL="4180133" lvl="6" indent="-414707">
              <a:spcBef>
                <a:spcPts val="2133"/>
              </a:spcBef>
              <a:spcAft>
                <a:spcPts val="0"/>
              </a:spcAft>
              <a:buSzPts val="1400"/>
              <a:buChar char="●"/>
              <a:defRPr/>
            </a:lvl7pPr>
            <a:lvl8pPr marL="4777307" lvl="7" indent="-414707">
              <a:spcBef>
                <a:spcPts val="2133"/>
              </a:spcBef>
              <a:spcAft>
                <a:spcPts val="0"/>
              </a:spcAft>
              <a:buSzPts val="1400"/>
              <a:buChar char="○"/>
              <a:defRPr/>
            </a:lvl8pPr>
            <a:lvl9pPr marL="5374458" lvl="8" indent="-414707">
              <a:spcBef>
                <a:spcPts val="2133"/>
              </a:spcBef>
              <a:spcAft>
                <a:spcPts val="2133"/>
              </a:spcAft>
              <a:buSzPts val="1400"/>
              <a:buChar char="■"/>
              <a:defRPr/>
            </a:lvl9pPr>
          </a:lstStyle>
          <a:p>
            <a:endParaRPr/>
          </a:p>
        </p:txBody>
      </p:sp>
      <p:sp>
        <p:nvSpPr>
          <p:cNvPr id="19" name="Google Shape;19;p4"/>
          <p:cNvSpPr txBox="1">
            <a:spLocks noGrp="1"/>
          </p:cNvSpPr>
          <p:nvPr>
            <p:ph type="sldNum" idx="12"/>
          </p:nvPr>
        </p:nvSpPr>
        <p:spPr>
          <a:xfrm>
            <a:off x="8472458" y="4663217"/>
            <a:ext cx="548700" cy="393600"/>
          </a:xfrm>
          <a:prstGeom prst="rect">
            <a:avLst/>
          </a:prstGeom>
        </p:spPr>
        <p:txBody>
          <a:bodyPr spcFirstLastPara="1" wrap="square" lIns="89576" tIns="89576" rIns="89576" bIns="89576"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s-AR" smtClean="0"/>
              <a:pPr/>
              <a:t>‹Nº›</a:t>
            </a:fld>
            <a:endParaRPr lang="es-AR"/>
          </a:p>
        </p:txBody>
      </p:sp>
    </p:spTree>
    <p:extLst>
      <p:ext uri="{BB962C8B-B14F-4D97-AF65-F5344CB8AC3E}">
        <p14:creationId xmlns:p14="http://schemas.microsoft.com/office/powerpoint/2010/main" val="691522733"/>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type="txAndObj">
  <p:cSld name="Título, texto y objetos">
    <p:spTree>
      <p:nvGrpSpPr>
        <p:cNvPr id="1" name=""/>
        <p:cNvGrpSpPr/>
        <p:nvPr/>
      </p:nvGrpSpPr>
      <p:grpSpPr>
        <a:xfrm>
          <a:off x="0" y="0"/>
          <a:ext cx="0" cy="0"/>
          <a:chOff x="0" y="0"/>
          <a:chExt cx="0" cy="0"/>
        </a:xfrm>
      </p:grpSpPr>
      <p:sp>
        <p:nvSpPr>
          <p:cNvPr id="2" name="1 Título"/>
          <p:cNvSpPr>
            <a:spLocks noGrp="1"/>
          </p:cNvSpPr>
          <p:nvPr>
            <p:ph type="title"/>
          </p:nvPr>
        </p:nvSpPr>
        <p:spPr>
          <a:xfrm>
            <a:off x="685800" y="457200"/>
            <a:ext cx="7772400" cy="685800"/>
          </a:xfrm>
        </p:spPr>
        <p:txBody>
          <a:bodyPr/>
          <a:lstStyle/>
          <a:p>
            <a:r>
              <a:rPr lang="es-ES"/>
              <a:t>Haga clic para modificar el estilo de título del patrón</a:t>
            </a:r>
            <a:endParaRPr lang="es-AR"/>
          </a:p>
        </p:txBody>
      </p:sp>
      <p:sp>
        <p:nvSpPr>
          <p:cNvPr id="3" name="2 Marcador de texto"/>
          <p:cNvSpPr>
            <a:spLocks noGrp="1"/>
          </p:cNvSpPr>
          <p:nvPr>
            <p:ph type="body" sz="half" idx="1"/>
          </p:nvPr>
        </p:nvSpPr>
        <p:spPr>
          <a:xfrm>
            <a:off x="685800" y="1485900"/>
            <a:ext cx="3810000" cy="3086100"/>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AR"/>
          </a:p>
        </p:txBody>
      </p:sp>
      <p:sp>
        <p:nvSpPr>
          <p:cNvPr id="4" name="3 Marcador de contenido"/>
          <p:cNvSpPr>
            <a:spLocks noGrp="1"/>
          </p:cNvSpPr>
          <p:nvPr>
            <p:ph sz="half" idx="2"/>
          </p:nvPr>
        </p:nvSpPr>
        <p:spPr>
          <a:xfrm>
            <a:off x="4648201" y="1485900"/>
            <a:ext cx="3810000" cy="3086100"/>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AR"/>
          </a:p>
        </p:txBody>
      </p:sp>
      <p:sp>
        <p:nvSpPr>
          <p:cNvPr id="5" name="4 Marcador de pie de página"/>
          <p:cNvSpPr>
            <a:spLocks noGrp="1"/>
          </p:cNvSpPr>
          <p:nvPr>
            <p:ph type="ftr" sz="quarter" idx="10"/>
          </p:nvPr>
        </p:nvSpPr>
        <p:spPr>
          <a:xfrm>
            <a:off x="2195623" y="4814888"/>
            <a:ext cx="4764087" cy="342900"/>
          </a:xfrm>
        </p:spPr>
        <p:txBody>
          <a:bodyPr/>
          <a:lstStyle>
            <a:lvl1pPr>
              <a:defRPr/>
            </a:lvl1pPr>
          </a:lstStyle>
          <a:p>
            <a:r>
              <a:rPr lang="en-US">
                <a:solidFill>
                  <a:srgbClr val="438086"/>
                </a:solidFill>
              </a:rPr>
              <a:t>44. Consejo Directivo, septiembre 2003</a:t>
            </a:r>
          </a:p>
        </p:txBody>
      </p:sp>
      <p:sp>
        <p:nvSpPr>
          <p:cNvPr id="6" name="5 Marcador de número de diapositiva"/>
          <p:cNvSpPr>
            <a:spLocks noGrp="1"/>
          </p:cNvSpPr>
          <p:nvPr>
            <p:ph type="sldNum" sz="quarter" idx="11"/>
          </p:nvPr>
        </p:nvSpPr>
        <p:spPr>
          <a:xfrm>
            <a:off x="7253288" y="4804172"/>
            <a:ext cx="1905000" cy="342900"/>
          </a:xfrm>
        </p:spPr>
        <p:txBody>
          <a:bodyPr/>
          <a:lstStyle>
            <a:lvl1pPr>
              <a:defRPr/>
            </a:lvl1pPr>
          </a:lstStyle>
          <a:p>
            <a:fld id="{2072D06B-150C-4DB8-884B-2C600CB49BCF}" type="slidenum">
              <a:rPr lang="en-US"/>
              <a:pPr/>
              <a:t>‹Nº›</a:t>
            </a:fld>
            <a:endParaRPr lang="en-US"/>
          </a:p>
        </p:txBody>
      </p:sp>
    </p:spTree>
    <p:extLst>
      <p:ext uri="{BB962C8B-B14F-4D97-AF65-F5344CB8AC3E}">
        <p14:creationId xmlns:p14="http://schemas.microsoft.com/office/powerpoint/2010/main" val="1181987516"/>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17527" y="688787"/>
            <a:ext cx="8603448" cy="861564"/>
          </a:xfrm>
          <a:prstGeom prst="rect">
            <a:avLst/>
          </a:prstGeom>
        </p:spPr>
        <p:txBody>
          <a:bodyPr rtlCol="0"/>
          <a:lstStyle>
            <a:lvl1pPr>
              <a:defRPr>
                <a:latin typeface="Calibri"/>
                <a:cs typeface="Calibri"/>
              </a:defRPr>
            </a:lvl1pPr>
          </a:lstStyle>
          <a:p>
            <a:r>
              <a:rPr lang="es-ES_tradnl" dirty="0"/>
              <a:t>Título</a:t>
            </a:r>
            <a:endParaRPr dirty="0"/>
          </a:p>
        </p:txBody>
      </p:sp>
      <p:sp>
        <p:nvSpPr>
          <p:cNvPr id="3" name="Text Placeholder 2"/>
          <p:cNvSpPr>
            <a:spLocks noGrp="1"/>
          </p:cNvSpPr>
          <p:nvPr>
            <p:ph idx="1"/>
          </p:nvPr>
        </p:nvSpPr>
        <p:spPr>
          <a:xfrm>
            <a:off x="317526" y="1723318"/>
            <a:ext cx="8603449" cy="2055887"/>
          </a:xfrm>
          <a:prstGeom prst="rect">
            <a:avLst/>
          </a:prstGeom>
        </p:spPr>
        <p:txBody>
          <a:bodyPr rtlCol="0">
            <a:normAutofit/>
          </a:bodyPr>
          <a:lstStyle>
            <a:lvl1pPr>
              <a:defRPr sz="1800">
                <a:latin typeface="Calibri"/>
                <a:cs typeface="Calibri"/>
              </a:defRPr>
            </a:lvl1pPr>
          </a:lstStyle>
          <a:p>
            <a:pPr lvl="0"/>
            <a:r>
              <a:rPr lang="es-ES_tradnl" dirty="0" err="1"/>
              <a:t>Click</a:t>
            </a:r>
            <a:r>
              <a:rPr lang="es-ES_tradnl" dirty="0"/>
              <a:t> </a:t>
            </a:r>
            <a:r>
              <a:rPr lang="es-ES_tradnl" dirty="0" err="1"/>
              <a:t>to</a:t>
            </a:r>
            <a:r>
              <a:rPr lang="es-ES_tradnl" dirty="0"/>
              <a:t> </a:t>
            </a:r>
            <a:r>
              <a:rPr lang="es-ES_tradnl" dirty="0" err="1"/>
              <a:t>edit</a:t>
            </a:r>
            <a:r>
              <a:rPr lang="es-ES_tradnl" dirty="0"/>
              <a:t> Master </a:t>
            </a:r>
            <a:r>
              <a:rPr lang="es-ES_tradnl" dirty="0" err="1"/>
              <a:t>text</a:t>
            </a:r>
            <a:r>
              <a:rPr lang="es-ES_tradnl" dirty="0"/>
              <a:t> </a:t>
            </a:r>
            <a:r>
              <a:rPr lang="es-ES_tradnl" dirty="0" err="1"/>
              <a:t>styles</a:t>
            </a:r>
            <a:endParaRPr lang="es-ES_tradnl" dirty="0"/>
          </a:p>
        </p:txBody>
      </p:sp>
      <p:sp>
        <p:nvSpPr>
          <p:cNvPr id="4" name="Footer Placeholder 4"/>
          <p:cNvSpPr>
            <a:spLocks noGrp="1"/>
          </p:cNvSpPr>
          <p:nvPr>
            <p:ph type="ftr" sz="quarter" idx="10"/>
          </p:nvPr>
        </p:nvSpPr>
        <p:spPr>
          <a:xfrm>
            <a:off x="317500" y="4724400"/>
            <a:ext cx="5072063" cy="365125"/>
          </a:xfrm>
        </p:spPr>
        <p:txBody>
          <a:bodyPr/>
          <a:lstStyle>
            <a:lvl1pPr>
              <a:defRPr/>
            </a:lvl1pPr>
          </a:lstStyle>
          <a:p>
            <a:pPr>
              <a:defRPr/>
            </a:pPr>
            <a:fld id="{E060F815-44E8-4538-B95C-70892332EF4A}" type="slidenum">
              <a:rPr lang="en-US" altLang="es-AR"/>
              <a:pPr>
                <a:defRPr/>
              </a:pPr>
              <a:t>‹Nº›</a:t>
            </a:fld>
            <a:endParaRPr lang="en-US" altLang="es-AR"/>
          </a:p>
        </p:txBody>
      </p:sp>
    </p:spTree>
    <p:extLst>
      <p:ext uri="{BB962C8B-B14F-4D97-AF65-F5344CB8AC3E}">
        <p14:creationId xmlns:p14="http://schemas.microsoft.com/office/powerpoint/2010/main" val="996794604"/>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800" y="1598911"/>
            <a:ext cx="7772400" cy="1102519"/>
          </a:xfrm>
        </p:spPr>
        <p:txBody>
          <a:bodyPr/>
          <a:lstStyle/>
          <a:p>
            <a:r>
              <a:rPr lang="es-ES"/>
              <a:t>Haga clic para modificar el estilo de título del patrón</a:t>
            </a:r>
          </a:p>
        </p:txBody>
      </p:sp>
      <p:sp>
        <p:nvSpPr>
          <p:cNvPr id="3" name="2 Subtítulo"/>
          <p:cNvSpPr>
            <a:spLocks noGrp="1"/>
          </p:cNvSpPr>
          <p:nvPr>
            <p:ph type="subTitle" idx="1"/>
          </p:nvPr>
        </p:nvSpPr>
        <p:spPr>
          <a:xfrm>
            <a:off x="1371600" y="2914653"/>
            <a:ext cx="6400800" cy="1314450"/>
          </a:xfrm>
        </p:spPr>
        <p:txBody>
          <a:bodyPr/>
          <a:lstStyle>
            <a:lvl1pPr marL="0" indent="0" algn="ctr">
              <a:buNone/>
              <a:defRPr>
                <a:solidFill>
                  <a:schemeClr val="tx1">
                    <a:tint val="75000"/>
                  </a:schemeClr>
                </a:solidFill>
              </a:defRPr>
            </a:lvl1pPr>
            <a:lvl2pPr marL="447904" indent="0" algn="ctr">
              <a:buNone/>
              <a:defRPr>
                <a:solidFill>
                  <a:schemeClr val="tx1">
                    <a:tint val="75000"/>
                  </a:schemeClr>
                </a:solidFill>
              </a:defRPr>
            </a:lvl2pPr>
            <a:lvl3pPr marL="895763" indent="0" algn="ctr">
              <a:buNone/>
              <a:defRPr>
                <a:solidFill>
                  <a:schemeClr val="tx1">
                    <a:tint val="75000"/>
                  </a:schemeClr>
                </a:solidFill>
              </a:defRPr>
            </a:lvl3pPr>
            <a:lvl4pPr marL="1343687" indent="0" algn="ctr">
              <a:buNone/>
              <a:defRPr>
                <a:solidFill>
                  <a:schemeClr val="tx1">
                    <a:tint val="75000"/>
                  </a:schemeClr>
                </a:solidFill>
              </a:defRPr>
            </a:lvl4pPr>
            <a:lvl5pPr marL="1791534" indent="0" algn="ctr">
              <a:buNone/>
              <a:defRPr>
                <a:solidFill>
                  <a:schemeClr val="tx1">
                    <a:tint val="75000"/>
                  </a:schemeClr>
                </a:solidFill>
              </a:defRPr>
            </a:lvl5pPr>
            <a:lvl6pPr marL="2239429" indent="0" algn="ctr">
              <a:buNone/>
              <a:defRPr>
                <a:solidFill>
                  <a:schemeClr val="tx1">
                    <a:tint val="75000"/>
                  </a:schemeClr>
                </a:solidFill>
              </a:defRPr>
            </a:lvl6pPr>
            <a:lvl7pPr marL="2687326" indent="0" algn="ctr">
              <a:buNone/>
              <a:defRPr>
                <a:solidFill>
                  <a:schemeClr val="tx1">
                    <a:tint val="75000"/>
                  </a:schemeClr>
                </a:solidFill>
              </a:defRPr>
            </a:lvl7pPr>
            <a:lvl8pPr marL="3135229" indent="0" algn="ctr">
              <a:buNone/>
              <a:defRPr>
                <a:solidFill>
                  <a:schemeClr val="tx1">
                    <a:tint val="75000"/>
                  </a:schemeClr>
                </a:solidFill>
              </a:defRPr>
            </a:lvl8pPr>
            <a:lvl9pPr marL="3583064" indent="0" algn="ctr">
              <a:buNone/>
              <a:defRPr>
                <a:solidFill>
                  <a:schemeClr val="tx1">
                    <a:tint val="75000"/>
                  </a:schemeClr>
                </a:solidFill>
              </a:defRPr>
            </a:lvl9pPr>
          </a:lstStyle>
          <a:p>
            <a:r>
              <a:rPr lang="es-ES"/>
              <a:t>Haga clic para modificar el estilo de subtítulo del patrón</a:t>
            </a:r>
          </a:p>
        </p:txBody>
      </p:sp>
      <p:sp>
        <p:nvSpPr>
          <p:cNvPr id="5" name="4 Marcador de pie de página"/>
          <p:cNvSpPr>
            <a:spLocks noGrp="1"/>
          </p:cNvSpPr>
          <p:nvPr>
            <p:ph type="ftr" sz="quarter" idx="11"/>
          </p:nvPr>
        </p:nvSpPr>
        <p:spPr/>
        <p:txBody>
          <a:bodyPr/>
          <a:lstStyle>
            <a:lvl1pPr>
              <a:defRPr b="1"/>
            </a:lvl1pPr>
          </a:lstStyle>
          <a:p>
            <a:pPr>
              <a:defRPr/>
            </a:pPr>
            <a:r>
              <a:rPr lang="es-AR"/>
              <a:t>Presentación dirigida a profesionales de la salud - </a:t>
            </a:r>
            <a:r>
              <a:rPr lang="en-GB"/>
              <a:t>SPAR.OTHE.20.04.0086 - 2.1</a:t>
            </a:r>
            <a:endParaRPr lang="es-AR"/>
          </a:p>
          <a:p>
            <a:pPr>
              <a:defRPr/>
            </a:pPr>
            <a:endParaRPr lang="es-ES"/>
          </a:p>
        </p:txBody>
      </p:sp>
      <p:sp>
        <p:nvSpPr>
          <p:cNvPr id="6" name="5 Marcador de número de diapositiva"/>
          <p:cNvSpPr>
            <a:spLocks noGrp="1"/>
          </p:cNvSpPr>
          <p:nvPr>
            <p:ph type="sldNum" sz="quarter" idx="12"/>
          </p:nvPr>
        </p:nvSpPr>
        <p:spPr/>
        <p:txBody>
          <a:bodyPr/>
          <a:lstStyle>
            <a:lvl1pPr>
              <a:defRPr b="1"/>
            </a:lvl1pPr>
          </a:lstStyle>
          <a:p>
            <a:pPr>
              <a:defRPr/>
            </a:pPr>
            <a:fld id="{6C732D64-44EA-40AF-9D46-995CAEF5B6A7}" type="slidenum">
              <a:rPr lang="es-ES"/>
              <a:pPr>
                <a:defRPr/>
              </a:pPr>
              <a:t>‹Nº›</a:t>
            </a:fld>
            <a:endParaRPr lang="es-ES"/>
          </a:p>
        </p:txBody>
      </p:sp>
    </p:spTree>
    <p:extLst>
      <p:ext uri="{BB962C8B-B14F-4D97-AF65-F5344CB8AC3E}">
        <p14:creationId xmlns:p14="http://schemas.microsoft.com/office/powerpoint/2010/main" val="1867270454"/>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fecha"/>
          <p:cNvSpPr>
            <a:spLocks noGrp="1"/>
          </p:cNvSpPr>
          <p:nvPr>
            <p:ph type="dt" sz="half" idx="10"/>
          </p:nvPr>
        </p:nvSpPr>
        <p:spPr>
          <a:xfrm>
            <a:off x="457201" y="4767357"/>
            <a:ext cx="2133600" cy="273844"/>
          </a:xfrm>
          <a:prstGeom prst="rect">
            <a:avLst/>
          </a:prstGeom>
        </p:spPr>
        <p:txBody>
          <a:bodyPr lIns="89831" tIns="44915" rIns="89831" bIns="44915"/>
          <a:lstStyle>
            <a:lvl1pPr>
              <a:defRPr b="1"/>
            </a:lvl1pPr>
          </a:lstStyle>
          <a:p>
            <a:pPr defTabSz="895763">
              <a:defRPr/>
            </a:pPr>
            <a:fld id="{A4C140CF-BE19-4166-B767-3CA6ECEC4D44}" type="datetimeFigureOut">
              <a:rPr lang="es-ES" smtClean="0">
                <a:solidFill>
                  <a:prstClr val="black"/>
                </a:solidFill>
              </a:rPr>
              <a:pPr defTabSz="895763">
                <a:defRPr/>
              </a:pPr>
              <a:t>07/08/2024</a:t>
            </a:fld>
            <a:endParaRPr lang="es-ES">
              <a:solidFill>
                <a:prstClr val="black"/>
              </a:solidFill>
            </a:endParaRPr>
          </a:p>
        </p:txBody>
      </p:sp>
      <p:sp>
        <p:nvSpPr>
          <p:cNvPr id="5" name="4 Marcador de pie de página"/>
          <p:cNvSpPr>
            <a:spLocks noGrp="1"/>
          </p:cNvSpPr>
          <p:nvPr>
            <p:ph type="ftr" sz="quarter" idx="11"/>
          </p:nvPr>
        </p:nvSpPr>
        <p:spPr/>
        <p:txBody>
          <a:bodyPr/>
          <a:lstStyle>
            <a:lvl1pPr>
              <a:defRPr b="1"/>
            </a:lvl1pPr>
          </a:lstStyle>
          <a:p>
            <a:pPr>
              <a:defRPr/>
            </a:pPr>
            <a:endParaRPr lang="es-ES"/>
          </a:p>
        </p:txBody>
      </p:sp>
      <p:sp>
        <p:nvSpPr>
          <p:cNvPr id="6" name="5 Marcador de número de diapositiva"/>
          <p:cNvSpPr>
            <a:spLocks noGrp="1"/>
          </p:cNvSpPr>
          <p:nvPr>
            <p:ph type="sldNum" sz="quarter" idx="12"/>
          </p:nvPr>
        </p:nvSpPr>
        <p:spPr/>
        <p:txBody>
          <a:bodyPr/>
          <a:lstStyle>
            <a:lvl1pPr>
              <a:defRPr b="1"/>
            </a:lvl1pPr>
          </a:lstStyle>
          <a:p>
            <a:pPr>
              <a:defRPr/>
            </a:pPr>
            <a:fld id="{9B738D0D-596A-4385-A6B9-D0B651B5D5F0}" type="slidenum">
              <a:rPr lang="es-ES"/>
              <a:pPr>
                <a:defRPr/>
              </a:pPr>
              <a:t>‹Nº›</a:t>
            </a:fld>
            <a:endParaRPr lang="es-ES"/>
          </a:p>
        </p:txBody>
      </p:sp>
    </p:spTree>
    <p:extLst>
      <p:ext uri="{BB962C8B-B14F-4D97-AF65-F5344CB8AC3E}">
        <p14:creationId xmlns:p14="http://schemas.microsoft.com/office/powerpoint/2010/main" val="1511138798"/>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313" y="3306144"/>
            <a:ext cx="7772400" cy="1021556"/>
          </a:xfrm>
        </p:spPr>
        <p:txBody>
          <a:bodyPr anchor="t"/>
          <a:lstStyle>
            <a:lvl1pPr algn="l">
              <a:defRPr sz="4000" b="1" cap="all"/>
            </a:lvl1pPr>
          </a:lstStyle>
          <a:p>
            <a:r>
              <a:rPr lang="es-ES"/>
              <a:t>Haga clic para modificar el estilo de título del patrón</a:t>
            </a:r>
          </a:p>
        </p:txBody>
      </p:sp>
      <p:sp>
        <p:nvSpPr>
          <p:cNvPr id="3" name="2 Marcador de texto"/>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47904" indent="0">
              <a:buNone/>
              <a:defRPr sz="1800">
                <a:solidFill>
                  <a:schemeClr val="tx1">
                    <a:tint val="75000"/>
                  </a:schemeClr>
                </a:solidFill>
              </a:defRPr>
            </a:lvl2pPr>
            <a:lvl3pPr marL="895763" indent="0">
              <a:buNone/>
              <a:defRPr sz="1600">
                <a:solidFill>
                  <a:schemeClr val="tx1">
                    <a:tint val="75000"/>
                  </a:schemeClr>
                </a:solidFill>
              </a:defRPr>
            </a:lvl3pPr>
            <a:lvl4pPr marL="1343687" indent="0">
              <a:buNone/>
              <a:defRPr sz="1400">
                <a:solidFill>
                  <a:schemeClr val="tx1">
                    <a:tint val="75000"/>
                  </a:schemeClr>
                </a:solidFill>
              </a:defRPr>
            </a:lvl4pPr>
            <a:lvl5pPr marL="1791534" indent="0">
              <a:buNone/>
              <a:defRPr sz="1400">
                <a:solidFill>
                  <a:schemeClr val="tx1">
                    <a:tint val="75000"/>
                  </a:schemeClr>
                </a:solidFill>
              </a:defRPr>
            </a:lvl5pPr>
            <a:lvl6pPr marL="2239429" indent="0">
              <a:buNone/>
              <a:defRPr sz="1400">
                <a:solidFill>
                  <a:schemeClr val="tx1">
                    <a:tint val="75000"/>
                  </a:schemeClr>
                </a:solidFill>
              </a:defRPr>
            </a:lvl6pPr>
            <a:lvl7pPr marL="2687326" indent="0">
              <a:buNone/>
              <a:defRPr sz="1400">
                <a:solidFill>
                  <a:schemeClr val="tx1">
                    <a:tint val="75000"/>
                  </a:schemeClr>
                </a:solidFill>
              </a:defRPr>
            </a:lvl7pPr>
            <a:lvl8pPr marL="3135229" indent="0">
              <a:buNone/>
              <a:defRPr sz="1400">
                <a:solidFill>
                  <a:schemeClr val="tx1">
                    <a:tint val="75000"/>
                  </a:schemeClr>
                </a:solidFill>
              </a:defRPr>
            </a:lvl8pPr>
            <a:lvl9pPr marL="3583064" indent="0">
              <a:buNone/>
              <a:defRPr sz="1400">
                <a:solidFill>
                  <a:schemeClr val="tx1">
                    <a:tint val="75000"/>
                  </a:schemeClr>
                </a:solidFill>
              </a:defRPr>
            </a:lvl9pPr>
          </a:lstStyle>
          <a:p>
            <a:pPr lvl="0"/>
            <a:r>
              <a:rPr lang="es-ES"/>
              <a:t>Haga clic para modificar el estilo de texto del patrón</a:t>
            </a:r>
          </a:p>
        </p:txBody>
      </p:sp>
      <p:sp>
        <p:nvSpPr>
          <p:cNvPr id="4" name="3 Marcador de fecha"/>
          <p:cNvSpPr>
            <a:spLocks noGrp="1"/>
          </p:cNvSpPr>
          <p:nvPr>
            <p:ph type="dt" sz="half" idx="10"/>
          </p:nvPr>
        </p:nvSpPr>
        <p:spPr>
          <a:xfrm>
            <a:off x="457201" y="4767357"/>
            <a:ext cx="2133600" cy="273844"/>
          </a:xfrm>
          <a:prstGeom prst="rect">
            <a:avLst/>
          </a:prstGeom>
        </p:spPr>
        <p:txBody>
          <a:bodyPr lIns="89831" tIns="44915" rIns="89831" bIns="44915"/>
          <a:lstStyle>
            <a:lvl1pPr>
              <a:defRPr b="1"/>
            </a:lvl1pPr>
          </a:lstStyle>
          <a:p>
            <a:pPr defTabSz="895763">
              <a:defRPr/>
            </a:pPr>
            <a:fld id="{DF54B060-2DF8-4A11-9233-D097A254D122}" type="datetimeFigureOut">
              <a:rPr lang="es-ES" smtClean="0">
                <a:solidFill>
                  <a:prstClr val="black"/>
                </a:solidFill>
              </a:rPr>
              <a:pPr defTabSz="895763">
                <a:defRPr/>
              </a:pPr>
              <a:t>07/08/2024</a:t>
            </a:fld>
            <a:endParaRPr lang="es-ES">
              <a:solidFill>
                <a:prstClr val="black"/>
              </a:solidFill>
            </a:endParaRPr>
          </a:p>
        </p:txBody>
      </p:sp>
      <p:sp>
        <p:nvSpPr>
          <p:cNvPr id="5" name="4 Marcador de pie de página"/>
          <p:cNvSpPr>
            <a:spLocks noGrp="1"/>
          </p:cNvSpPr>
          <p:nvPr>
            <p:ph type="ftr" sz="quarter" idx="11"/>
          </p:nvPr>
        </p:nvSpPr>
        <p:spPr/>
        <p:txBody>
          <a:bodyPr/>
          <a:lstStyle>
            <a:lvl1pPr>
              <a:defRPr b="1"/>
            </a:lvl1pPr>
          </a:lstStyle>
          <a:p>
            <a:pPr>
              <a:defRPr/>
            </a:pPr>
            <a:endParaRPr lang="es-ES"/>
          </a:p>
        </p:txBody>
      </p:sp>
      <p:sp>
        <p:nvSpPr>
          <p:cNvPr id="6" name="5 Marcador de número de diapositiva"/>
          <p:cNvSpPr>
            <a:spLocks noGrp="1"/>
          </p:cNvSpPr>
          <p:nvPr>
            <p:ph type="sldNum" sz="quarter" idx="12"/>
          </p:nvPr>
        </p:nvSpPr>
        <p:spPr/>
        <p:txBody>
          <a:bodyPr/>
          <a:lstStyle>
            <a:lvl1pPr>
              <a:defRPr b="1"/>
            </a:lvl1pPr>
          </a:lstStyle>
          <a:p>
            <a:pPr>
              <a:defRPr/>
            </a:pPr>
            <a:fld id="{59910935-33D2-42B5-B50E-16EDCE1940CA}" type="slidenum">
              <a:rPr lang="es-ES"/>
              <a:pPr>
                <a:defRPr/>
              </a:pPr>
              <a:t>‹Nº›</a:t>
            </a:fld>
            <a:endParaRPr lang="es-ES"/>
          </a:p>
        </p:txBody>
      </p:sp>
    </p:spTree>
    <p:extLst>
      <p:ext uri="{BB962C8B-B14F-4D97-AF65-F5344CB8AC3E}">
        <p14:creationId xmlns:p14="http://schemas.microsoft.com/office/powerpoint/2010/main" val="2679747134"/>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sz="half" idx="1"/>
          </p:nvPr>
        </p:nvSpPr>
        <p:spPr>
          <a:xfrm>
            <a:off x="457200" y="1200157"/>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contenido"/>
          <p:cNvSpPr>
            <a:spLocks noGrp="1"/>
          </p:cNvSpPr>
          <p:nvPr>
            <p:ph sz="half" idx="2"/>
          </p:nvPr>
        </p:nvSpPr>
        <p:spPr>
          <a:xfrm>
            <a:off x="4648200" y="1200157"/>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3 Marcador de fecha"/>
          <p:cNvSpPr>
            <a:spLocks noGrp="1"/>
          </p:cNvSpPr>
          <p:nvPr>
            <p:ph type="dt" sz="half" idx="10"/>
          </p:nvPr>
        </p:nvSpPr>
        <p:spPr>
          <a:xfrm>
            <a:off x="457201" y="4767357"/>
            <a:ext cx="2133600" cy="273844"/>
          </a:xfrm>
          <a:prstGeom prst="rect">
            <a:avLst/>
          </a:prstGeom>
        </p:spPr>
        <p:txBody>
          <a:bodyPr lIns="89831" tIns="44915" rIns="89831" bIns="44915"/>
          <a:lstStyle>
            <a:lvl1pPr>
              <a:defRPr b="1"/>
            </a:lvl1pPr>
          </a:lstStyle>
          <a:p>
            <a:pPr defTabSz="895763">
              <a:defRPr/>
            </a:pPr>
            <a:fld id="{DCF4F8C0-96DF-4D32-9EF0-E5D9E280A33E}" type="datetimeFigureOut">
              <a:rPr lang="es-ES" smtClean="0">
                <a:solidFill>
                  <a:prstClr val="black"/>
                </a:solidFill>
              </a:rPr>
              <a:pPr defTabSz="895763">
                <a:defRPr/>
              </a:pPr>
              <a:t>07/08/2024</a:t>
            </a:fld>
            <a:endParaRPr lang="es-ES">
              <a:solidFill>
                <a:prstClr val="black"/>
              </a:solidFill>
            </a:endParaRPr>
          </a:p>
        </p:txBody>
      </p:sp>
      <p:sp>
        <p:nvSpPr>
          <p:cNvPr id="6" name="4 Marcador de pie de página"/>
          <p:cNvSpPr>
            <a:spLocks noGrp="1"/>
          </p:cNvSpPr>
          <p:nvPr>
            <p:ph type="ftr" sz="quarter" idx="11"/>
          </p:nvPr>
        </p:nvSpPr>
        <p:spPr/>
        <p:txBody>
          <a:bodyPr/>
          <a:lstStyle>
            <a:lvl1pPr>
              <a:defRPr b="1"/>
            </a:lvl1pPr>
          </a:lstStyle>
          <a:p>
            <a:pPr>
              <a:defRPr/>
            </a:pPr>
            <a:endParaRPr lang="es-ES"/>
          </a:p>
        </p:txBody>
      </p:sp>
      <p:sp>
        <p:nvSpPr>
          <p:cNvPr id="7" name="5 Marcador de número de diapositiva"/>
          <p:cNvSpPr>
            <a:spLocks noGrp="1"/>
          </p:cNvSpPr>
          <p:nvPr>
            <p:ph type="sldNum" sz="quarter" idx="12"/>
          </p:nvPr>
        </p:nvSpPr>
        <p:spPr/>
        <p:txBody>
          <a:bodyPr/>
          <a:lstStyle>
            <a:lvl1pPr>
              <a:defRPr b="1"/>
            </a:lvl1pPr>
          </a:lstStyle>
          <a:p>
            <a:pPr>
              <a:defRPr/>
            </a:pPr>
            <a:fld id="{7ED5A0C4-6D4F-4B40-A8F0-7358F27BF614}" type="slidenum">
              <a:rPr lang="es-ES"/>
              <a:pPr>
                <a:defRPr/>
              </a:pPr>
              <a:t>‹Nº›</a:t>
            </a:fld>
            <a:endParaRPr lang="es-ES"/>
          </a:p>
        </p:txBody>
      </p:sp>
    </p:spTree>
    <p:extLst>
      <p:ext uri="{BB962C8B-B14F-4D97-AF65-F5344CB8AC3E}">
        <p14:creationId xmlns:p14="http://schemas.microsoft.com/office/powerpoint/2010/main" val="119839514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7" name="Title 6"/>
          <p:cNvSpPr>
            <a:spLocks noGrp="1"/>
          </p:cNvSpPr>
          <p:nvPr>
            <p:ph type="title"/>
          </p:nvPr>
        </p:nvSpPr>
        <p:spPr>
          <a:xfrm>
            <a:off x="365133" y="221107"/>
            <a:ext cx="7577139" cy="253916"/>
          </a:xfrm>
        </p:spPr>
        <p:txBody>
          <a:bodyPr/>
          <a:lstStyle/>
          <a:p>
            <a:r>
              <a:rPr lang="en-US"/>
              <a:t>Click to edit Master title style</a:t>
            </a:r>
            <a:endParaRPr lang="en-GB"/>
          </a:p>
        </p:txBody>
      </p:sp>
      <p:sp>
        <p:nvSpPr>
          <p:cNvPr id="18" name="Text Placeholder 2"/>
          <p:cNvSpPr>
            <a:spLocks noGrp="1"/>
          </p:cNvSpPr>
          <p:nvPr>
            <p:ph type="body" idx="19"/>
          </p:nvPr>
        </p:nvSpPr>
        <p:spPr>
          <a:xfrm>
            <a:off x="365159" y="889410"/>
            <a:ext cx="4011975" cy="184666"/>
          </a:xfrm>
        </p:spPr>
        <p:txBody>
          <a:bodyPr anchor="t" anchorCtr="0">
            <a:spAutoFit/>
          </a:bodyPr>
          <a:lstStyle>
            <a:lvl1pPr marL="0" indent="0">
              <a:buNone/>
              <a:defRPr sz="1200" b="1">
                <a:solidFill>
                  <a:schemeClr val="bg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19" name="Content Placeholder 3"/>
          <p:cNvSpPr>
            <a:spLocks noGrp="1"/>
          </p:cNvSpPr>
          <p:nvPr>
            <p:ph sz="half" idx="20"/>
          </p:nvPr>
        </p:nvSpPr>
        <p:spPr>
          <a:xfrm>
            <a:off x="365166" y="1143002"/>
            <a:ext cx="3992925" cy="3256359"/>
          </a:xfrm>
        </p:spPr>
        <p:txBody>
          <a:bodyPr/>
          <a:lstStyle>
            <a:lvl1pPr>
              <a:defRPr sz="1200"/>
            </a:lvl1pPr>
            <a:lvl2pPr marL="403622" indent="-200025">
              <a:buFont typeface="Arial" pitchFamily="34" charset="0"/>
              <a:buChar char="–"/>
              <a:defRPr sz="1050"/>
            </a:lvl2pPr>
            <a:lvl3pPr>
              <a:defRPr sz="900"/>
            </a:lvl3pPr>
            <a:lvl4pPr>
              <a:defRPr sz="900"/>
            </a:lvl4pPr>
            <a:lvl5pPr>
              <a:defRPr sz="9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0" name="Text Placeholder 2"/>
          <p:cNvSpPr>
            <a:spLocks noGrp="1"/>
          </p:cNvSpPr>
          <p:nvPr>
            <p:ph type="body" idx="21"/>
          </p:nvPr>
        </p:nvSpPr>
        <p:spPr>
          <a:xfrm>
            <a:off x="4783175" y="889410"/>
            <a:ext cx="4011975" cy="184666"/>
          </a:xfrm>
        </p:spPr>
        <p:txBody>
          <a:bodyPr anchor="t" anchorCtr="0">
            <a:spAutoFit/>
          </a:bodyPr>
          <a:lstStyle>
            <a:lvl1pPr marL="0" indent="0">
              <a:buNone/>
              <a:defRPr sz="1200" b="1">
                <a:solidFill>
                  <a:schemeClr val="bg2"/>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21" name="Content Placeholder 3"/>
          <p:cNvSpPr>
            <a:spLocks noGrp="1"/>
          </p:cNvSpPr>
          <p:nvPr>
            <p:ph sz="half" idx="22"/>
          </p:nvPr>
        </p:nvSpPr>
        <p:spPr>
          <a:xfrm>
            <a:off x="4783167" y="1143002"/>
            <a:ext cx="4014970" cy="3256359"/>
          </a:xfrm>
        </p:spPr>
        <p:txBody>
          <a:bodyPr/>
          <a:lstStyle>
            <a:lvl1pPr>
              <a:defRPr sz="1200"/>
            </a:lvl1pPr>
            <a:lvl2pPr marL="403622" indent="-200025">
              <a:buFont typeface="Arial" pitchFamily="34" charset="0"/>
              <a:buChar char="–"/>
              <a:defRPr sz="1050"/>
            </a:lvl2pPr>
            <a:lvl3pPr>
              <a:defRPr sz="900"/>
            </a:lvl3pPr>
            <a:lvl4pPr>
              <a:defRPr sz="900"/>
            </a:lvl4pPr>
            <a:lvl5pPr>
              <a:defRPr sz="9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Slide Number Placeholder 7"/>
          <p:cNvSpPr>
            <a:spLocks noGrp="1"/>
          </p:cNvSpPr>
          <p:nvPr>
            <p:ph type="sldNum" sz="quarter" idx="25"/>
          </p:nvPr>
        </p:nvSpPr>
        <p:spPr/>
        <p:txBody>
          <a:bodyPr/>
          <a:lstStyle/>
          <a:p>
            <a:fld id="{9F9F533D-B52E-4A2F-BF72-0ADD2D94BD75}" type="slidenum">
              <a:rPr lang="en-GB" smtClean="0">
                <a:solidFill>
                  <a:srgbClr val="9A8B7D"/>
                </a:solidFill>
              </a:rPr>
              <a:pPr/>
              <a:t>‹Nº›</a:t>
            </a:fld>
            <a:endParaRPr lang="en-GB">
              <a:solidFill>
                <a:srgbClr val="9A8B7D"/>
              </a:solidFill>
            </a:endParaRPr>
          </a:p>
        </p:txBody>
      </p:sp>
      <p:sp>
        <p:nvSpPr>
          <p:cNvPr id="14" name="Text Placeholder 2"/>
          <p:cNvSpPr>
            <a:spLocks noGrp="1"/>
          </p:cNvSpPr>
          <p:nvPr>
            <p:ph type="body" sz="quarter" idx="14" hasCustomPrompt="1"/>
          </p:nvPr>
        </p:nvSpPr>
        <p:spPr>
          <a:xfrm>
            <a:off x="365124" y="519477"/>
            <a:ext cx="7597776" cy="176213"/>
          </a:xfrm>
        </p:spPr>
        <p:txBody>
          <a:bodyPr anchor="t" anchorCtr="0"/>
          <a:lstStyle>
            <a:lvl1pPr marL="0" indent="0">
              <a:spcAft>
                <a:spcPts val="0"/>
              </a:spcAft>
              <a:buNone/>
              <a:defRPr sz="1350"/>
            </a:lvl1pPr>
            <a:lvl2pPr marL="203597" indent="0">
              <a:buNone/>
              <a:defRPr/>
            </a:lvl2pPr>
            <a:lvl3pPr marL="400050" indent="0">
              <a:buNone/>
              <a:defRPr/>
            </a:lvl3pPr>
            <a:lvl4pPr marL="611981" indent="0">
              <a:buNone/>
              <a:defRPr/>
            </a:lvl4pPr>
            <a:lvl5pPr marL="828675" indent="0">
              <a:buNone/>
              <a:defRPr/>
            </a:lvl5pPr>
          </a:lstStyle>
          <a:p>
            <a:pPr lvl="0"/>
            <a:r>
              <a:rPr lang="en-US"/>
              <a:t>Subtitle here if required</a:t>
            </a:r>
          </a:p>
        </p:txBody>
      </p:sp>
      <p:sp>
        <p:nvSpPr>
          <p:cNvPr id="15" name="Text Placeholder 6"/>
          <p:cNvSpPr>
            <a:spLocks noGrp="1"/>
          </p:cNvSpPr>
          <p:nvPr>
            <p:ph type="body" sz="quarter" idx="28" hasCustomPrompt="1"/>
          </p:nvPr>
        </p:nvSpPr>
        <p:spPr>
          <a:xfrm>
            <a:off x="358900" y="4827991"/>
            <a:ext cx="8043863" cy="297000"/>
          </a:xfrm>
        </p:spPr>
        <p:txBody>
          <a:bodyPr/>
          <a:lstStyle>
            <a:lvl1pPr marL="0" indent="0">
              <a:buNone/>
              <a:defRPr sz="600" baseline="0"/>
            </a:lvl1pPr>
          </a:lstStyle>
          <a:p>
            <a:pPr lvl="0"/>
            <a:r>
              <a:rPr lang="en-US"/>
              <a:t>Click to add references here</a:t>
            </a:r>
          </a:p>
        </p:txBody>
      </p:sp>
      <p:sp>
        <p:nvSpPr>
          <p:cNvPr id="16" name="Text Placeholder 5"/>
          <p:cNvSpPr>
            <a:spLocks noGrp="1"/>
          </p:cNvSpPr>
          <p:nvPr>
            <p:ph type="body" sz="quarter" idx="18" hasCustomPrompt="1"/>
          </p:nvPr>
        </p:nvSpPr>
        <p:spPr>
          <a:xfrm>
            <a:off x="360944" y="4451293"/>
            <a:ext cx="8445820" cy="239383"/>
          </a:xfrm>
        </p:spPr>
        <p:txBody>
          <a:bodyPr wrap="square" anchor="b" anchorCtr="0">
            <a:noAutofit/>
          </a:bodyPr>
          <a:lstStyle>
            <a:lvl1pPr marL="0" indent="0">
              <a:buNone/>
              <a:defRPr sz="750" baseline="0"/>
            </a:lvl1pPr>
            <a:lvl2pPr marL="201122" indent="0">
              <a:buNone/>
              <a:defRPr sz="600"/>
            </a:lvl2pPr>
            <a:lvl3pPr marL="405000" indent="0">
              <a:buNone/>
              <a:defRPr sz="600"/>
            </a:lvl3pPr>
            <a:lvl4pPr marL="608316" indent="0">
              <a:buNone/>
              <a:defRPr sz="600"/>
            </a:lvl4pPr>
            <a:lvl5pPr marL="810000" indent="0">
              <a:buNone/>
              <a:defRPr sz="600"/>
            </a:lvl5pPr>
          </a:lstStyle>
          <a:p>
            <a:pPr lvl="0"/>
            <a:r>
              <a:rPr lang="en-US"/>
              <a:t>Insert Source text here</a:t>
            </a:r>
          </a:p>
        </p:txBody>
      </p:sp>
    </p:spTree>
    <p:extLst>
      <p:ext uri="{BB962C8B-B14F-4D97-AF65-F5344CB8AC3E}">
        <p14:creationId xmlns:p14="http://schemas.microsoft.com/office/powerpoint/2010/main" val="1891247739"/>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lvl1pPr>
              <a:defRPr/>
            </a:lvl1pPr>
          </a:lstStyle>
          <a:p>
            <a:r>
              <a:rPr lang="es-ES"/>
              <a:t>Haga clic para modificar el estilo de título del patrón</a:t>
            </a:r>
          </a:p>
        </p:txBody>
      </p:sp>
      <p:sp>
        <p:nvSpPr>
          <p:cNvPr id="3" name="2 Marcador de texto"/>
          <p:cNvSpPr>
            <a:spLocks noGrp="1"/>
          </p:cNvSpPr>
          <p:nvPr>
            <p:ph type="body" idx="1"/>
          </p:nvPr>
        </p:nvSpPr>
        <p:spPr>
          <a:xfrm>
            <a:off x="457200" y="1151335"/>
            <a:ext cx="4040188" cy="479822"/>
          </a:xfrm>
        </p:spPr>
        <p:txBody>
          <a:bodyPr anchor="b"/>
          <a:lstStyle>
            <a:lvl1pPr marL="0" indent="0">
              <a:buNone/>
              <a:defRPr sz="2400" b="1"/>
            </a:lvl1pPr>
            <a:lvl2pPr marL="447904" indent="0">
              <a:buNone/>
              <a:defRPr sz="2000" b="1"/>
            </a:lvl2pPr>
            <a:lvl3pPr marL="895763" indent="0">
              <a:buNone/>
              <a:defRPr sz="1800" b="1"/>
            </a:lvl3pPr>
            <a:lvl4pPr marL="1343687" indent="0">
              <a:buNone/>
              <a:defRPr sz="1600" b="1"/>
            </a:lvl4pPr>
            <a:lvl5pPr marL="1791534" indent="0">
              <a:buNone/>
              <a:defRPr sz="1600" b="1"/>
            </a:lvl5pPr>
            <a:lvl6pPr marL="2239429" indent="0">
              <a:buNone/>
              <a:defRPr sz="1600" b="1"/>
            </a:lvl6pPr>
            <a:lvl7pPr marL="2687326" indent="0">
              <a:buNone/>
              <a:defRPr sz="1600" b="1"/>
            </a:lvl7pPr>
            <a:lvl8pPr marL="3135229" indent="0">
              <a:buNone/>
              <a:defRPr sz="1600" b="1"/>
            </a:lvl8pPr>
            <a:lvl9pPr marL="3583064" indent="0">
              <a:buNone/>
              <a:defRPr sz="1600" b="1"/>
            </a:lvl9pPr>
          </a:lstStyle>
          <a:p>
            <a:pPr lvl="0"/>
            <a:r>
              <a:rPr lang="es-ES"/>
              <a:t>Haga clic para modificar el estilo de texto del patrón</a:t>
            </a:r>
          </a:p>
        </p:txBody>
      </p:sp>
      <p:sp>
        <p:nvSpPr>
          <p:cNvPr id="4" name="3 Marcador de contenido"/>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4 Marcador de texto"/>
          <p:cNvSpPr>
            <a:spLocks noGrp="1"/>
          </p:cNvSpPr>
          <p:nvPr>
            <p:ph type="body" sz="quarter" idx="3"/>
          </p:nvPr>
        </p:nvSpPr>
        <p:spPr>
          <a:xfrm>
            <a:off x="4645328" y="1151335"/>
            <a:ext cx="4041775" cy="479822"/>
          </a:xfrm>
        </p:spPr>
        <p:txBody>
          <a:bodyPr anchor="b"/>
          <a:lstStyle>
            <a:lvl1pPr marL="0" indent="0">
              <a:buNone/>
              <a:defRPr sz="2400" b="1"/>
            </a:lvl1pPr>
            <a:lvl2pPr marL="447904" indent="0">
              <a:buNone/>
              <a:defRPr sz="2000" b="1"/>
            </a:lvl2pPr>
            <a:lvl3pPr marL="895763" indent="0">
              <a:buNone/>
              <a:defRPr sz="1800" b="1"/>
            </a:lvl3pPr>
            <a:lvl4pPr marL="1343687" indent="0">
              <a:buNone/>
              <a:defRPr sz="1600" b="1"/>
            </a:lvl4pPr>
            <a:lvl5pPr marL="1791534" indent="0">
              <a:buNone/>
              <a:defRPr sz="1600" b="1"/>
            </a:lvl5pPr>
            <a:lvl6pPr marL="2239429" indent="0">
              <a:buNone/>
              <a:defRPr sz="1600" b="1"/>
            </a:lvl6pPr>
            <a:lvl7pPr marL="2687326" indent="0">
              <a:buNone/>
              <a:defRPr sz="1600" b="1"/>
            </a:lvl7pPr>
            <a:lvl8pPr marL="3135229" indent="0">
              <a:buNone/>
              <a:defRPr sz="1600" b="1"/>
            </a:lvl8pPr>
            <a:lvl9pPr marL="3583064" indent="0">
              <a:buNone/>
              <a:defRPr sz="1600" b="1"/>
            </a:lvl9pPr>
          </a:lstStyle>
          <a:p>
            <a:pPr lvl="0"/>
            <a:r>
              <a:rPr lang="es-ES"/>
              <a:t>Haga clic para modificar el estilo de texto del patrón</a:t>
            </a:r>
          </a:p>
        </p:txBody>
      </p:sp>
      <p:sp>
        <p:nvSpPr>
          <p:cNvPr id="6" name="5 Marcador de contenido"/>
          <p:cNvSpPr>
            <a:spLocks noGrp="1"/>
          </p:cNvSpPr>
          <p:nvPr>
            <p:ph sz="quarter" idx="4"/>
          </p:nvPr>
        </p:nvSpPr>
        <p:spPr>
          <a:xfrm>
            <a:off x="4645328"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7" name="3 Marcador de fecha"/>
          <p:cNvSpPr>
            <a:spLocks noGrp="1"/>
          </p:cNvSpPr>
          <p:nvPr>
            <p:ph type="dt" sz="half" idx="10"/>
          </p:nvPr>
        </p:nvSpPr>
        <p:spPr>
          <a:xfrm>
            <a:off x="457201" y="4767357"/>
            <a:ext cx="2133600" cy="273844"/>
          </a:xfrm>
          <a:prstGeom prst="rect">
            <a:avLst/>
          </a:prstGeom>
        </p:spPr>
        <p:txBody>
          <a:bodyPr lIns="89831" tIns="44915" rIns="89831" bIns="44915"/>
          <a:lstStyle>
            <a:lvl1pPr>
              <a:defRPr b="1"/>
            </a:lvl1pPr>
          </a:lstStyle>
          <a:p>
            <a:pPr defTabSz="895763">
              <a:defRPr/>
            </a:pPr>
            <a:fld id="{6955C616-7917-489D-8DE3-16436D157E1F}" type="datetimeFigureOut">
              <a:rPr lang="es-ES" smtClean="0">
                <a:solidFill>
                  <a:prstClr val="black"/>
                </a:solidFill>
              </a:rPr>
              <a:pPr defTabSz="895763">
                <a:defRPr/>
              </a:pPr>
              <a:t>07/08/2024</a:t>
            </a:fld>
            <a:endParaRPr lang="es-ES">
              <a:solidFill>
                <a:prstClr val="black"/>
              </a:solidFill>
            </a:endParaRPr>
          </a:p>
        </p:txBody>
      </p:sp>
      <p:sp>
        <p:nvSpPr>
          <p:cNvPr id="8" name="4 Marcador de pie de página"/>
          <p:cNvSpPr>
            <a:spLocks noGrp="1"/>
          </p:cNvSpPr>
          <p:nvPr>
            <p:ph type="ftr" sz="quarter" idx="11"/>
          </p:nvPr>
        </p:nvSpPr>
        <p:spPr/>
        <p:txBody>
          <a:bodyPr/>
          <a:lstStyle>
            <a:lvl1pPr>
              <a:defRPr b="1"/>
            </a:lvl1pPr>
          </a:lstStyle>
          <a:p>
            <a:pPr>
              <a:defRPr/>
            </a:pPr>
            <a:endParaRPr lang="es-ES"/>
          </a:p>
        </p:txBody>
      </p:sp>
      <p:sp>
        <p:nvSpPr>
          <p:cNvPr id="9" name="5 Marcador de número de diapositiva"/>
          <p:cNvSpPr>
            <a:spLocks noGrp="1"/>
          </p:cNvSpPr>
          <p:nvPr>
            <p:ph type="sldNum" sz="quarter" idx="12"/>
          </p:nvPr>
        </p:nvSpPr>
        <p:spPr/>
        <p:txBody>
          <a:bodyPr/>
          <a:lstStyle>
            <a:lvl1pPr>
              <a:defRPr b="1"/>
            </a:lvl1pPr>
          </a:lstStyle>
          <a:p>
            <a:pPr>
              <a:defRPr/>
            </a:pPr>
            <a:fld id="{1A38C932-5B66-4D36-A630-B1C832CD1416}" type="slidenum">
              <a:rPr lang="es-ES"/>
              <a:pPr>
                <a:defRPr/>
              </a:pPr>
              <a:t>‹Nº›</a:t>
            </a:fld>
            <a:endParaRPr lang="es-ES"/>
          </a:p>
        </p:txBody>
      </p:sp>
    </p:spTree>
    <p:extLst>
      <p:ext uri="{BB962C8B-B14F-4D97-AF65-F5344CB8AC3E}">
        <p14:creationId xmlns:p14="http://schemas.microsoft.com/office/powerpoint/2010/main" val="1332208700"/>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3 Marcador de fecha"/>
          <p:cNvSpPr>
            <a:spLocks noGrp="1"/>
          </p:cNvSpPr>
          <p:nvPr>
            <p:ph type="dt" sz="half" idx="10"/>
          </p:nvPr>
        </p:nvSpPr>
        <p:spPr>
          <a:xfrm>
            <a:off x="457201" y="4767357"/>
            <a:ext cx="2133600" cy="273844"/>
          </a:xfrm>
          <a:prstGeom prst="rect">
            <a:avLst/>
          </a:prstGeom>
        </p:spPr>
        <p:txBody>
          <a:bodyPr lIns="89831" tIns="44915" rIns="89831" bIns="44915"/>
          <a:lstStyle>
            <a:lvl1pPr>
              <a:defRPr b="1"/>
            </a:lvl1pPr>
          </a:lstStyle>
          <a:p>
            <a:pPr defTabSz="895763">
              <a:defRPr/>
            </a:pPr>
            <a:fld id="{C9D3579C-2116-44A5-A6F3-5EEB2DD7BDFE}" type="datetimeFigureOut">
              <a:rPr lang="es-ES" smtClean="0">
                <a:solidFill>
                  <a:prstClr val="black"/>
                </a:solidFill>
              </a:rPr>
              <a:pPr defTabSz="895763">
                <a:defRPr/>
              </a:pPr>
              <a:t>07/08/2024</a:t>
            </a:fld>
            <a:endParaRPr lang="es-ES">
              <a:solidFill>
                <a:prstClr val="black"/>
              </a:solidFill>
            </a:endParaRPr>
          </a:p>
        </p:txBody>
      </p:sp>
      <p:sp>
        <p:nvSpPr>
          <p:cNvPr id="4" name="4 Marcador de pie de página"/>
          <p:cNvSpPr>
            <a:spLocks noGrp="1"/>
          </p:cNvSpPr>
          <p:nvPr>
            <p:ph type="ftr" sz="quarter" idx="11"/>
          </p:nvPr>
        </p:nvSpPr>
        <p:spPr/>
        <p:txBody>
          <a:bodyPr/>
          <a:lstStyle>
            <a:lvl1pPr>
              <a:defRPr b="1"/>
            </a:lvl1pPr>
          </a:lstStyle>
          <a:p>
            <a:pPr>
              <a:defRPr/>
            </a:pPr>
            <a:endParaRPr lang="es-ES"/>
          </a:p>
        </p:txBody>
      </p:sp>
      <p:sp>
        <p:nvSpPr>
          <p:cNvPr id="5" name="5 Marcador de número de diapositiva"/>
          <p:cNvSpPr>
            <a:spLocks noGrp="1"/>
          </p:cNvSpPr>
          <p:nvPr>
            <p:ph type="sldNum" sz="quarter" idx="12"/>
          </p:nvPr>
        </p:nvSpPr>
        <p:spPr/>
        <p:txBody>
          <a:bodyPr/>
          <a:lstStyle>
            <a:lvl1pPr>
              <a:defRPr b="1"/>
            </a:lvl1pPr>
          </a:lstStyle>
          <a:p>
            <a:pPr>
              <a:defRPr/>
            </a:pPr>
            <a:fld id="{95BCE4A3-11FA-4739-8BF5-4DC9AC894E97}" type="slidenum">
              <a:rPr lang="es-ES"/>
              <a:pPr>
                <a:defRPr/>
              </a:pPr>
              <a:t>‹Nº›</a:t>
            </a:fld>
            <a:endParaRPr lang="es-ES"/>
          </a:p>
        </p:txBody>
      </p:sp>
    </p:spTree>
    <p:extLst>
      <p:ext uri="{BB962C8B-B14F-4D97-AF65-F5344CB8AC3E}">
        <p14:creationId xmlns:p14="http://schemas.microsoft.com/office/powerpoint/2010/main" val="1961542505"/>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3 Marcador de fecha"/>
          <p:cNvSpPr>
            <a:spLocks noGrp="1"/>
          </p:cNvSpPr>
          <p:nvPr>
            <p:ph type="dt" sz="half" idx="10"/>
          </p:nvPr>
        </p:nvSpPr>
        <p:spPr>
          <a:xfrm>
            <a:off x="457201" y="4767357"/>
            <a:ext cx="2133600" cy="273844"/>
          </a:xfrm>
          <a:prstGeom prst="rect">
            <a:avLst/>
          </a:prstGeom>
        </p:spPr>
        <p:txBody>
          <a:bodyPr lIns="89831" tIns="44915" rIns="89831" bIns="44915"/>
          <a:lstStyle>
            <a:lvl1pPr>
              <a:defRPr b="1"/>
            </a:lvl1pPr>
          </a:lstStyle>
          <a:p>
            <a:pPr defTabSz="895763">
              <a:defRPr/>
            </a:pPr>
            <a:fld id="{C910B865-06C9-47EF-B716-6E285541543F}" type="datetimeFigureOut">
              <a:rPr lang="es-ES" smtClean="0">
                <a:solidFill>
                  <a:prstClr val="black"/>
                </a:solidFill>
              </a:rPr>
              <a:pPr defTabSz="895763">
                <a:defRPr/>
              </a:pPr>
              <a:t>07/08/2024</a:t>
            </a:fld>
            <a:endParaRPr lang="es-ES">
              <a:solidFill>
                <a:prstClr val="black"/>
              </a:solidFill>
            </a:endParaRPr>
          </a:p>
        </p:txBody>
      </p:sp>
      <p:sp>
        <p:nvSpPr>
          <p:cNvPr id="3" name="4 Marcador de pie de página"/>
          <p:cNvSpPr>
            <a:spLocks noGrp="1"/>
          </p:cNvSpPr>
          <p:nvPr>
            <p:ph type="ftr" sz="quarter" idx="11"/>
          </p:nvPr>
        </p:nvSpPr>
        <p:spPr/>
        <p:txBody>
          <a:bodyPr/>
          <a:lstStyle>
            <a:lvl1pPr>
              <a:defRPr b="1"/>
            </a:lvl1pPr>
          </a:lstStyle>
          <a:p>
            <a:pPr>
              <a:defRPr/>
            </a:pPr>
            <a:endParaRPr lang="es-ES"/>
          </a:p>
        </p:txBody>
      </p:sp>
      <p:sp>
        <p:nvSpPr>
          <p:cNvPr id="4" name="5 Marcador de número de diapositiva"/>
          <p:cNvSpPr>
            <a:spLocks noGrp="1"/>
          </p:cNvSpPr>
          <p:nvPr>
            <p:ph type="sldNum" sz="quarter" idx="12"/>
          </p:nvPr>
        </p:nvSpPr>
        <p:spPr/>
        <p:txBody>
          <a:bodyPr/>
          <a:lstStyle>
            <a:lvl1pPr>
              <a:defRPr b="1"/>
            </a:lvl1pPr>
          </a:lstStyle>
          <a:p>
            <a:pPr>
              <a:defRPr/>
            </a:pPr>
            <a:fld id="{F39067CC-85CD-4833-92B2-8B99CE5F6C01}" type="slidenum">
              <a:rPr lang="es-ES"/>
              <a:pPr>
                <a:defRPr/>
              </a:pPr>
              <a:t>‹Nº›</a:t>
            </a:fld>
            <a:endParaRPr lang="es-ES"/>
          </a:p>
        </p:txBody>
      </p:sp>
    </p:spTree>
    <p:extLst>
      <p:ext uri="{BB962C8B-B14F-4D97-AF65-F5344CB8AC3E}">
        <p14:creationId xmlns:p14="http://schemas.microsoft.com/office/powerpoint/2010/main" val="4017910480"/>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526" y="204787"/>
            <a:ext cx="3008313" cy="871538"/>
          </a:xfrm>
        </p:spPr>
        <p:txBody>
          <a:bodyPr anchor="b"/>
          <a:lstStyle>
            <a:lvl1pPr algn="l">
              <a:defRPr sz="2000" b="1"/>
            </a:lvl1pPr>
          </a:lstStyle>
          <a:p>
            <a:r>
              <a:rPr lang="es-ES"/>
              <a:t>Haga clic para modificar el estilo de título del patrón</a:t>
            </a:r>
          </a:p>
        </p:txBody>
      </p:sp>
      <p:sp>
        <p:nvSpPr>
          <p:cNvPr id="3" name="2 Marcador de contenido"/>
          <p:cNvSpPr>
            <a:spLocks noGrp="1"/>
          </p:cNvSpPr>
          <p:nvPr>
            <p:ph idx="1"/>
          </p:nvPr>
        </p:nvSpPr>
        <p:spPr>
          <a:xfrm>
            <a:off x="3575050" y="204863"/>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texto"/>
          <p:cNvSpPr>
            <a:spLocks noGrp="1"/>
          </p:cNvSpPr>
          <p:nvPr>
            <p:ph type="body" sz="half" idx="2"/>
          </p:nvPr>
        </p:nvSpPr>
        <p:spPr>
          <a:xfrm>
            <a:off x="457526" y="1076328"/>
            <a:ext cx="3008313" cy="3518297"/>
          </a:xfrm>
        </p:spPr>
        <p:txBody>
          <a:bodyPr/>
          <a:lstStyle>
            <a:lvl1pPr marL="0" indent="0">
              <a:buNone/>
              <a:defRPr sz="1400"/>
            </a:lvl1pPr>
            <a:lvl2pPr marL="447904" indent="0">
              <a:buNone/>
              <a:defRPr sz="1200"/>
            </a:lvl2pPr>
            <a:lvl3pPr marL="895763" indent="0">
              <a:buNone/>
              <a:defRPr sz="1000"/>
            </a:lvl3pPr>
            <a:lvl4pPr marL="1343687" indent="0">
              <a:buNone/>
              <a:defRPr sz="900"/>
            </a:lvl4pPr>
            <a:lvl5pPr marL="1791534" indent="0">
              <a:buNone/>
              <a:defRPr sz="900"/>
            </a:lvl5pPr>
            <a:lvl6pPr marL="2239429" indent="0">
              <a:buNone/>
              <a:defRPr sz="900"/>
            </a:lvl6pPr>
            <a:lvl7pPr marL="2687326" indent="0">
              <a:buNone/>
              <a:defRPr sz="900"/>
            </a:lvl7pPr>
            <a:lvl8pPr marL="3135229" indent="0">
              <a:buNone/>
              <a:defRPr sz="900"/>
            </a:lvl8pPr>
            <a:lvl9pPr marL="3583064" indent="0">
              <a:buNone/>
              <a:defRPr sz="900"/>
            </a:lvl9pPr>
          </a:lstStyle>
          <a:p>
            <a:pPr lvl="0"/>
            <a:r>
              <a:rPr lang="es-ES"/>
              <a:t>Haga clic para modificar el estilo de texto del patrón</a:t>
            </a:r>
          </a:p>
        </p:txBody>
      </p:sp>
      <p:sp>
        <p:nvSpPr>
          <p:cNvPr id="5" name="3 Marcador de fecha"/>
          <p:cNvSpPr>
            <a:spLocks noGrp="1"/>
          </p:cNvSpPr>
          <p:nvPr>
            <p:ph type="dt" sz="half" idx="10"/>
          </p:nvPr>
        </p:nvSpPr>
        <p:spPr>
          <a:xfrm>
            <a:off x="457201" y="4767357"/>
            <a:ext cx="2133600" cy="273844"/>
          </a:xfrm>
          <a:prstGeom prst="rect">
            <a:avLst/>
          </a:prstGeom>
        </p:spPr>
        <p:txBody>
          <a:bodyPr lIns="89831" tIns="44915" rIns="89831" bIns="44915"/>
          <a:lstStyle>
            <a:lvl1pPr>
              <a:defRPr b="1"/>
            </a:lvl1pPr>
          </a:lstStyle>
          <a:p>
            <a:pPr defTabSz="895763">
              <a:defRPr/>
            </a:pPr>
            <a:fld id="{41EDBB76-DCE5-4F31-8382-7A9638B1C43B}" type="datetimeFigureOut">
              <a:rPr lang="es-ES" smtClean="0">
                <a:solidFill>
                  <a:prstClr val="black"/>
                </a:solidFill>
              </a:rPr>
              <a:pPr defTabSz="895763">
                <a:defRPr/>
              </a:pPr>
              <a:t>07/08/2024</a:t>
            </a:fld>
            <a:endParaRPr lang="es-ES">
              <a:solidFill>
                <a:prstClr val="black"/>
              </a:solidFill>
            </a:endParaRPr>
          </a:p>
        </p:txBody>
      </p:sp>
      <p:sp>
        <p:nvSpPr>
          <p:cNvPr id="6" name="4 Marcador de pie de página"/>
          <p:cNvSpPr>
            <a:spLocks noGrp="1"/>
          </p:cNvSpPr>
          <p:nvPr>
            <p:ph type="ftr" sz="quarter" idx="11"/>
          </p:nvPr>
        </p:nvSpPr>
        <p:spPr/>
        <p:txBody>
          <a:bodyPr/>
          <a:lstStyle>
            <a:lvl1pPr>
              <a:defRPr b="1"/>
            </a:lvl1pPr>
          </a:lstStyle>
          <a:p>
            <a:pPr>
              <a:defRPr/>
            </a:pPr>
            <a:endParaRPr lang="es-ES"/>
          </a:p>
        </p:txBody>
      </p:sp>
      <p:sp>
        <p:nvSpPr>
          <p:cNvPr id="7" name="5 Marcador de número de diapositiva"/>
          <p:cNvSpPr>
            <a:spLocks noGrp="1"/>
          </p:cNvSpPr>
          <p:nvPr>
            <p:ph type="sldNum" sz="quarter" idx="12"/>
          </p:nvPr>
        </p:nvSpPr>
        <p:spPr/>
        <p:txBody>
          <a:bodyPr/>
          <a:lstStyle>
            <a:lvl1pPr>
              <a:defRPr b="1"/>
            </a:lvl1pPr>
          </a:lstStyle>
          <a:p>
            <a:pPr>
              <a:defRPr/>
            </a:pPr>
            <a:fld id="{7C55D46E-58B9-444E-B735-442E03077310}" type="slidenum">
              <a:rPr lang="es-ES"/>
              <a:pPr>
                <a:defRPr/>
              </a:pPr>
              <a:t>‹Nº›</a:t>
            </a:fld>
            <a:endParaRPr lang="es-ES"/>
          </a:p>
        </p:txBody>
      </p:sp>
    </p:spTree>
    <p:extLst>
      <p:ext uri="{BB962C8B-B14F-4D97-AF65-F5344CB8AC3E}">
        <p14:creationId xmlns:p14="http://schemas.microsoft.com/office/powerpoint/2010/main" val="1874398127"/>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792291" y="3600451"/>
            <a:ext cx="5486400" cy="425054"/>
          </a:xfrm>
        </p:spPr>
        <p:txBody>
          <a:bodyPr anchor="b"/>
          <a:lstStyle>
            <a:lvl1pPr algn="l">
              <a:defRPr sz="2000" b="1"/>
            </a:lvl1pPr>
          </a:lstStyle>
          <a:p>
            <a:r>
              <a:rPr lang="es-ES"/>
              <a:t>Haga clic para modificar el estilo de título del patrón</a:t>
            </a:r>
          </a:p>
        </p:txBody>
      </p:sp>
      <p:sp>
        <p:nvSpPr>
          <p:cNvPr id="3" name="2 Marcador de posición de imagen"/>
          <p:cNvSpPr>
            <a:spLocks noGrp="1"/>
          </p:cNvSpPr>
          <p:nvPr>
            <p:ph type="pic" idx="1"/>
          </p:nvPr>
        </p:nvSpPr>
        <p:spPr>
          <a:xfrm>
            <a:off x="1792291" y="459581"/>
            <a:ext cx="5486400" cy="3086100"/>
          </a:xfrm>
        </p:spPr>
        <p:txBody>
          <a:bodyPr rtlCol="0">
            <a:normAutofit/>
          </a:bodyPr>
          <a:lstStyle>
            <a:lvl1pPr marL="0" indent="0">
              <a:buNone/>
              <a:defRPr sz="3200"/>
            </a:lvl1pPr>
            <a:lvl2pPr marL="447904" indent="0">
              <a:buNone/>
              <a:defRPr sz="2800"/>
            </a:lvl2pPr>
            <a:lvl3pPr marL="895763" indent="0">
              <a:buNone/>
              <a:defRPr sz="2400"/>
            </a:lvl3pPr>
            <a:lvl4pPr marL="1343687" indent="0">
              <a:buNone/>
              <a:defRPr sz="2000"/>
            </a:lvl4pPr>
            <a:lvl5pPr marL="1791534" indent="0">
              <a:buNone/>
              <a:defRPr sz="2000"/>
            </a:lvl5pPr>
            <a:lvl6pPr marL="2239429" indent="0">
              <a:buNone/>
              <a:defRPr sz="2000"/>
            </a:lvl6pPr>
            <a:lvl7pPr marL="2687326" indent="0">
              <a:buNone/>
              <a:defRPr sz="2000"/>
            </a:lvl7pPr>
            <a:lvl8pPr marL="3135229" indent="0">
              <a:buNone/>
              <a:defRPr sz="2000"/>
            </a:lvl8pPr>
            <a:lvl9pPr marL="3583064" indent="0">
              <a:buNone/>
              <a:defRPr sz="2000"/>
            </a:lvl9pPr>
          </a:lstStyle>
          <a:p>
            <a:pPr lvl="0"/>
            <a:endParaRPr lang="es-ES" noProof="0"/>
          </a:p>
        </p:txBody>
      </p:sp>
      <p:sp>
        <p:nvSpPr>
          <p:cNvPr id="4" name="3 Marcador de texto"/>
          <p:cNvSpPr>
            <a:spLocks noGrp="1"/>
          </p:cNvSpPr>
          <p:nvPr>
            <p:ph type="body" sz="half" idx="2"/>
          </p:nvPr>
        </p:nvSpPr>
        <p:spPr>
          <a:xfrm>
            <a:off x="1792291" y="4025626"/>
            <a:ext cx="5486400" cy="603647"/>
          </a:xfrm>
        </p:spPr>
        <p:txBody>
          <a:bodyPr/>
          <a:lstStyle>
            <a:lvl1pPr marL="0" indent="0">
              <a:buNone/>
              <a:defRPr sz="1400"/>
            </a:lvl1pPr>
            <a:lvl2pPr marL="447904" indent="0">
              <a:buNone/>
              <a:defRPr sz="1200"/>
            </a:lvl2pPr>
            <a:lvl3pPr marL="895763" indent="0">
              <a:buNone/>
              <a:defRPr sz="1000"/>
            </a:lvl3pPr>
            <a:lvl4pPr marL="1343687" indent="0">
              <a:buNone/>
              <a:defRPr sz="900"/>
            </a:lvl4pPr>
            <a:lvl5pPr marL="1791534" indent="0">
              <a:buNone/>
              <a:defRPr sz="900"/>
            </a:lvl5pPr>
            <a:lvl6pPr marL="2239429" indent="0">
              <a:buNone/>
              <a:defRPr sz="900"/>
            </a:lvl6pPr>
            <a:lvl7pPr marL="2687326" indent="0">
              <a:buNone/>
              <a:defRPr sz="900"/>
            </a:lvl7pPr>
            <a:lvl8pPr marL="3135229" indent="0">
              <a:buNone/>
              <a:defRPr sz="900"/>
            </a:lvl8pPr>
            <a:lvl9pPr marL="3583064" indent="0">
              <a:buNone/>
              <a:defRPr sz="900"/>
            </a:lvl9pPr>
          </a:lstStyle>
          <a:p>
            <a:pPr lvl="0"/>
            <a:r>
              <a:rPr lang="es-ES"/>
              <a:t>Haga clic para modificar el estilo de texto del patrón</a:t>
            </a:r>
          </a:p>
        </p:txBody>
      </p:sp>
      <p:sp>
        <p:nvSpPr>
          <p:cNvPr id="5" name="3 Marcador de fecha"/>
          <p:cNvSpPr>
            <a:spLocks noGrp="1"/>
          </p:cNvSpPr>
          <p:nvPr>
            <p:ph type="dt" sz="half" idx="10"/>
          </p:nvPr>
        </p:nvSpPr>
        <p:spPr>
          <a:xfrm>
            <a:off x="457201" y="4767357"/>
            <a:ext cx="2133600" cy="273844"/>
          </a:xfrm>
          <a:prstGeom prst="rect">
            <a:avLst/>
          </a:prstGeom>
        </p:spPr>
        <p:txBody>
          <a:bodyPr lIns="89831" tIns="44915" rIns="89831" bIns="44915"/>
          <a:lstStyle>
            <a:lvl1pPr>
              <a:defRPr b="1"/>
            </a:lvl1pPr>
          </a:lstStyle>
          <a:p>
            <a:pPr defTabSz="895763">
              <a:defRPr/>
            </a:pPr>
            <a:fld id="{A493F893-D7CD-4E05-A7AF-B7C9FEA08782}" type="datetimeFigureOut">
              <a:rPr lang="es-ES" smtClean="0">
                <a:solidFill>
                  <a:prstClr val="black"/>
                </a:solidFill>
              </a:rPr>
              <a:pPr defTabSz="895763">
                <a:defRPr/>
              </a:pPr>
              <a:t>07/08/2024</a:t>
            </a:fld>
            <a:endParaRPr lang="es-ES">
              <a:solidFill>
                <a:prstClr val="black"/>
              </a:solidFill>
            </a:endParaRPr>
          </a:p>
        </p:txBody>
      </p:sp>
      <p:sp>
        <p:nvSpPr>
          <p:cNvPr id="6" name="4 Marcador de pie de página"/>
          <p:cNvSpPr>
            <a:spLocks noGrp="1"/>
          </p:cNvSpPr>
          <p:nvPr>
            <p:ph type="ftr" sz="quarter" idx="11"/>
          </p:nvPr>
        </p:nvSpPr>
        <p:spPr/>
        <p:txBody>
          <a:bodyPr/>
          <a:lstStyle>
            <a:lvl1pPr>
              <a:defRPr b="1"/>
            </a:lvl1pPr>
          </a:lstStyle>
          <a:p>
            <a:pPr>
              <a:defRPr/>
            </a:pPr>
            <a:endParaRPr lang="es-ES"/>
          </a:p>
        </p:txBody>
      </p:sp>
      <p:sp>
        <p:nvSpPr>
          <p:cNvPr id="7" name="5 Marcador de número de diapositiva"/>
          <p:cNvSpPr>
            <a:spLocks noGrp="1"/>
          </p:cNvSpPr>
          <p:nvPr>
            <p:ph type="sldNum" sz="quarter" idx="12"/>
          </p:nvPr>
        </p:nvSpPr>
        <p:spPr/>
        <p:txBody>
          <a:bodyPr/>
          <a:lstStyle>
            <a:lvl1pPr>
              <a:defRPr b="1"/>
            </a:lvl1pPr>
          </a:lstStyle>
          <a:p>
            <a:pPr>
              <a:defRPr/>
            </a:pPr>
            <a:fld id="{31563E84-710B-4F8D-94D6-27592425B836}" type="slidenum">
              <a:rPr lang="es-ES"/>
              <a:pPr>
                <a:defRPr/>
              </a:pPr>
              <a:t>‹Nº›</a:t>
            </a:fld>
            <a:endParaRPr lang="es-ES"/>
          </a:p>
        </p:txBody>
      </p:sp>
    </p:spTree>
    <p:extLst>
      <p:ext uri="{BB962C8B-B14F-4D97-AF65-F5344CB8AC3E}">
        <p14:creationId xmlns:p14="http://schemas.microsoft.com/office/powerpoint/2010/main" val="2756615464"/>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texto vertical"/>
          <p:cNvSpPr>
            <a:spLocks noGrp="1"/>
          </p:cNvSpPr>
          <p:nvPr>
            <p:ph type="body" orient="vert" idx="1"/>
          </p:nvPr>
        </p:nvSpPr>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fecha"/>
          <p:cNvSpPr>
            <a:spLocks noGrp="1"/>
          </p:cNvSpPr>
          <p:nvPr>
            <p:ph type="dt" sz="half" idx="10"/>
          </p:nvPr>
        </p:nvSpPr>
        <p:spPr>
          <a:xfrm>
            <a:off x="457201" y="4767357"/>
            <a:ext cx="2133600" cy="273844"/>
          </a:xfrm>
          <a:prstGeom prst="rect">
            <a:avLst/>
          </a:prstGeom>
        </p:spPr>
        <p:txBody>
          <a:bodyPr lIns="89831" tIns="44915" rIns="89831" bIns="44915"/>
          <a:lstStyle>
            <a:lvl1pPr>
              <a:defRPr b="1"/>
            </a:lvl1pPr>
          </a:lstStyle>
          <a:p>
            <a:pPr defTabSz="895763">
              <a:defRPr/>
            </a:pPr>
            <a:fld id="{8DDBBA3F-9E5D-4BC6-920C-9FE491A5326B}" type="datetimeFigureOut">
              <a:rPr lang="es-ES" smtClean="0">
                <a:solidFill>
                  <a:prstClr val="black"/>
                </a:solidFill>
              </a:rPr>
              <a:pPr defTabSz="895763">
                <a:defRPr/>
              </a:pPr>
              <a:t>07/08/2024</a:t>
            </a:fld>
            <a:endParaRPr lang="es-ES">
              <a:solidFill>
                <a:prstClr val="black"/>
              </a:solidFill>
            </a:endParaRPr>
          </a:p>
        </p:txBody>
      </p:sp>
      <p:sp>
        <p:nvSpPr>
          <p:cNvPr id="5" name="4 Marcador de pie de página"/>
          <p:cNvSpPr>
            <a:spLocks noGrp="1"/>
          </p:cNvSpPr>
          <p:nvPr>
            <p:ph type="ftr" sz="quarter" idx="11"/>
          </p:nvPr>
        </p:nvSpPr>
        <p:spPr/>
        <p:txBody>
          <a:bodyPr/>
          <a:lstStyle>
            <a:lvl1pPr>
              <a:defRPr b="1"/>
            </a:lvl1pPr>
          </a:lstStyle>
          <a:p>
            <a:pPr>
              <a:defRPr/>
            </a:pPr>
            <a:endParaRPr lang="es-ES"/>
          </a:p>
        </p:txBody>
      </p:sp>
      <p:sp>
        <p:nvSpPr>
          <p:cNvPr id="6" name="5 Marcador de número de diapositiva"/>
          <p:cNvSpPr>
            <a:spLocks noGrp="1"/>
          </p:cNvSpPr>
          <p:nvPr>
            <p:ph type="sldNum" sz="quarter" idx="12"/>
          </p:nvPr>
        </p:nvSpPr>
        <p:spPr/>
        <p:txBody>
          <a:bodyPr/>
          <a:lstStyle>
            <a:lvl1pPr>
              <a:defRPr b="1"/>
            </a:lvl1pPr>
          </a:lstStyle>
          <a:p>
            <a:pPr>
              <a:defRPr/>
            </a:pPr>
            <a:fld id="{8DF4B2DE-53DE-4CE0-AB89-BBC05A729ABB}" type="slidenum">
              <a:rPr lang="es-ES"/>
              <a:pPr>
                <a:defRPr/>
              </a:pPr>
              <a:t>‹Nº›</a:t>
            </a:fld>
            <a:endParaRPr lang="es-ES"/>
          </a:p>
        </p:txBody>
      </p:sp>
    </p:spTree>
    <p:extLst>
      <p:ext uri="{BB962C8B-B14F-4D97-AF65-F5344CB8AC3E}">
        <p14:creationId xmlns:p14="http://schemas.microsoft.com/office/powerpoint/2010/main" val="254097835"/>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629400" y="205983"/>
            <a:ext cx="2057400" cy="4388644"/>
          </a:xfrm>
        </p:spPr>
        <p:txBody>
          <a:bodyPr vert="eaVert"/>
          <a:lstStyle/>
          <a:p>
            <a:r>
              <a:rPr lang="es-ES"/>
              <a:t>Haga clic para modificar el estilo de título del patrón</a:t>
            </a:r>
          </a:p>
        </p:txBody>
      </p:sp>
      <p:sp>
        <p:nvSpPr>
          <p:cNvPr id="3" name="2 Marcador de texto vertical"/>
          <p:cNvSpPr>
            <a:spLocks noGrp="1"/>
          </p:cNvSpPr>
          <p:nvPr>
            <p:ph type="body" orient="vert" idx="1"/>
          </p:nvPr>
        </p:nvSpPr>
        <p:spPr>
          <a:xfrm>
            <a:off x="457200" y="205983"/>
            <a:ext cx="6019800" cy="4388644"/>
          </a:xfrm>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fecha"/>
          <p:cNvSpPr>
            <a:spLocks noGrp="1"/>
          </p:cNvSpPr>
          <p:nvPr>
            <p:ph type="dt" sz="half" idx="10"/>
          </p:nvPr>
        </p:nvSpPr>
        <p:spPr>
          <a:xfrm>
            <a:off x="457201" y="4767357"/>
            <a:ext cx="2133600" cy="273844"/>
          </a:xfrm>
          <a:prstGeom prst="rect">
            <a:avLst/>
          </a:prstGeom>
        </p:spPr>
        <p:txBody>
          <a:bodyPr lIns="89831" tIns="44915" rIns="89831" bIns="44915"/>
          <a:lstStyle>
            <a:lvl1pPr>
              <a:defRPr b="1"/>
            </a:lvl1pPr>
          </a:lstStyle>
          <a:p>
            <a:pPr defTabSz="895763">
              <a:defRPr/>
            </a:pPr>
            <a:fld id="{92D4531A-93F6-46E7-95FD-55A15B0A4327}" type="datetimeFigureOut">
              <a:rPr lang="es-ES" smtClean="0">
                <a:solidFill>
                  <a:prstClr val="black"/>
                </a:solidFill>
              </a:rPr>
              <a:pPr defTabSz="895763">
                <a:defRPr/>
              </a:pPr>
              <a:t>07/08/2024</a:t>
            </a:fld>
            <a:endParaRPr lang="es-ES">
              <a:solidFill>
                <a:prstClr val="black"/>
              </a:solidFill>
            </a:endParaRPr>
          </a:p>
        </p:txBody>
      </p:sp>
      <p:sp>
        <p:nvSpPr>
          <p:cNvPr id="5" name="4 Marcador de pie de página"/>
          <p:cNvSpPr>
            <a:spLocks noGrp="1"/>
          </p:cNvSpPr>
          <p:nvPr>
            <p:ph type="ftr" sz="quarter" idx="11"/>
          </p:nvPr>
        </p:nvSpPr>
        <p:spPr/>
        <p:txBody>
          <a:bodyPr/>
          <a:lstStyle>
            <a:lvl1pPr>
              <a:defRPr b="1"/>
            </a:lvl1pPr>
          </a:lstStyle>
          <a:p>
            <a:pPr>
              <a:defRPr/>
            </a:pPr>
            <a:endParaRPr lang="es-ES"/>
          </a:p>
        </p:txBody>
      </p:sp>
      <p:sp>
        <p:nvSpPr>
          <p:cNvPr id="6" name="5 Marcador de número de diapositiva"/>
          <p:cNvSpPr>
            <a:spLocks noGrp="1"/>
          </p:cNvSpPr>
          <p:nvPr>
            <p:ph type="sldNum" sz="quarter" idx="12"/>
          </p:nvPr>
        </p:nvSpPr>
        <p:spPr/>
        <p:txBody>
          <a:bodyPr/>
          <a:lstStyle>
            <a:lvl1pPr>
              <a:defRPr b="1"/>
            </a:lvl1pPr>
          </a:lstStyle>
          <a:p>
            <a:pPr>
              <a:defRPr/>
            </a:pPr>
            <a:fld id="{2377CA2C-EDB0-4929-9301-5C5E4E04D91A}" type="slidenum">
              <a:rPr lang="es-ES"/>
              <a:pPr>
                <a:defRPr/>
              </a:pPr>
              <a:t>‹Nº›</a:t>
            </a:fld>
            <a:endParaRPr lang="es-ES"/>
          </a:p>
        </p:txBody>
      </p:sp>
    </p:spTree>
    <p:extLst>
      <p:ext uri="{BB962C8B-B14F-4D97-AF65-F5344CB8AC3E}">
        <p14:creationId xmlns:p14="http://schemas.microsoft.com/office/powerpoint/2010/main" val="2840768265"/>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311700" y="445025"/>
            <a:ext cx="8520600" cy="572700"/>
          </a:xfrm>
          <a:prstGeom prst="rect">
            <a:avLst/>
          </a:prstGeom>
        </p:spPr>
        <p:txBody>
          <a:bodyPr spcFirstLastPara="1" wrap="square" lIns="89576" tIns="89576" rIns="89576" bIns="89576"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311700" y="1152475"/>
            <a:ext cx="8520600" cy="3416400"/>
          </a:xfrm>
          <a:prstGeom prst="rect">
            <a:avLst/>
          </a:prstGeom>
        </p:spPr>
        <p:txBody>
          <a:bodyPr spcFirstLastPara="1" wrap="square" lIns="89576" tIns="89576" rIns="89576" bIns="89576" anchor="t" anchorCtr="0">
            <a:noAutofit/>
          </a:bodyPr>
          <a:lstStyle>
            <a:lvl1pPr marL="597162" lvl="0" indent="-447892">
              <a:spcBef>
                <a:spcPts val="0"/>
              </a:spcBef>
              <a:spcAft>
                <a:spcPts val="0"/>
              </a:spcAft>
              <a:buSzPts val="1800"/>
              <a:buChar char="●"/>
              <a:defRPr/>
            </a:lvl1pPr>
            <a:lvl2pPr marL="1194324" lvl="1" indent="-414707">
              <a:spcBef>
                <a:spcPts val="2133"/>
              </a:spcBef>
              <a:spcAft>
                <a:spcPts val="0"/>
              </a:spcAft>
              <a:buSzPts val="1400"/>
              <a:buChar char="○"/>
              <a:defRPr/>
            </a:lvl2pPr>
            <a:lvl3pPr marL="1791488" lvl="2" indent="-414707">
              <a:spcBef>
                <a:spcPts val="2133"/>
              </a:spcBef>
              <a:spcAft>
                <a:spcPts val="0"/>
              </a:spcAft>
              <a:buSzPts val="1400"/>
              <a:buChar char="■"/>
              <a:defRPr/>
            </a:lvl3pPr>
            <a:lvl4pPr marL="2388653" lvl="3" indent="-414707">
              <a:spcBef>
                <a:spcPts val="2133"/>
              </a:spcBef>
              <a:spcAft>
                <a:spcPts val="0"/>
              </a:spcAft>
              <a:buSzPts val="1400"/>
              <a:buChar char="●"/>
              <a:defRPr/>
            </a:lvl4pPr>
            <a:lvl5pPr marL="2985810" lvl="4" indent="-414707">
              <a:spcBef>
                <a:spcPts val="2133"/>
              </a:spcBef>
              <a:spcAft>
                <a:spcPts val="0"/>
              </a:spcAft>
              <a:buSzPts val="1400"/>
              <a:buChar char="○"/>
              <a:defRPr/>
            </a:lvl5pPr>
            <a:lvl6pPr marL="3582977" lvl="5" indent="-414707">
              <a:spcBef>
                <a:spcPts val="2133"/>
              </a:spcBef>
              <a:spcAft>
                <a:spcPts val="0"/>
              </a:spcAft>
              <a:buSzPts val="1400"/>
              <a:buChar char="■"/>
              <a:defRPr/>
            </a:lvl6pPr>
            <a:lvl7pPr marL="4180133" lvl="6" indent="-414707">
              <a:spcBef>
                <a:spcPts val="2133"/>
              </a:spcBef>
              <a:spcAft>
                <a:spcPts val="0"/>
              </a:spcAft>
              <a:buSzPts val="1400"/>
              <a:buChar char="●"/>
              <a:defRPr/>
            </a:lvl7pPr>
            <a:lvl8pPr marL="4777307" lvl="7" indent="-414707">
              <a:spcBef>
                <a:spcPts val="2133"/>
              </a:spcBef>
              <a:spcAft>
                <a:spcPts val="0"/>
              </a:spcAft>
              <a:buSzPts val="1400"/>
              <a:buChar char="○"/>
              <a:defRPr/>
            </a:lvl8pPr>
            <a:lvl9pPr marL="5374458" lvl="8" indent="-414707">
              <a:spcBef>
                <a:spcPts val="2133"/>
              </a:spcBef>
              <a:spcAft>
                <a:spcPts val="2133"/>
              </a:spcAft>
              <a:buSzPts val="1400"/>
              <a:buChar char="■"/>
              <a:defRPr/>
            </a:lvl9pPr>
          </a:lstStyle>
          <a:p>
            <a:endParaRPr/>
          </a:p>
        </p:txBody>
      </p:sp>
      <p:sp>
        <p:nvSpPr>
          <p:cNvPr id="19" name="Google Shape;19;p4"/>
          <p:cNvSpPr txBox="1">
            <a:spLocks noGrp="1"/>
          </p:cNvSpPr>
          <p:nvPr>
            <p:ph type="sldNum" idx="12"/>
          </p:nvPr>
        </p:nvSpPr>
        <p:spPr>
          <a:xfrm>
            <a:off x="8472458" y="4663217"/>
            <a:ext cx="548700" cy="393600"/>
          </a:xfrm>
          <a:prstGeom prst="rect">
            <a:avLst/>
          </a:prstGeom>
        </p:spPr>
        <p:txBody>
          <a:bodyPr spcFirstLastPara="1" wrap="square" lIns="89576" tIns="89576" rIns="89576" bIns="89576"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s-AR" smtClean="0"/>
              <a:pPr/>
              <a:t>‹Nº›</a:t>
            </a:fld>
            <a:endParaRPr lang="es-AR"/>
          </a:p>
        </p:txBody>
      </p:sp>
    </p:spTree>
    <p:extLst>
      <p:ext uri="{BB962C8B-B14F-4D97-AF65-F5344CB8AC3E}">
        <p14:creationId xmlns:p14="http://schemas.microsoft.com/office/powerpoint/2010/main" val="1022233430"/>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type="txAndObj">
  <p:cSld name="Título, texto y objetos">
    <p:spTree>
      <p:nvGrpSpPr>
        <p:cNvPr id="1" name=""/>
        <p:cNvGrpSpPr/>
        <p:nvPr/>
      </p:nvGrpSpPr>
      <p:grpSpPr>
        <a:xfrm>
          <a:off x="0" y="0"/>
          <a:ext cx="0" cy="0"/>
          <a:chOff x="0" y="0"/>
          <a:chExt cx="0" cy="0"/>
        </a:xfrm>
      </p:grpSpPr>
      <p:sp>
        <p:nvSpPr>
          <p:cNvPr id="2" name="1 Título"/>
          <p:cNvSpPr>
            <a:spLocks noGrp="1"/>
          </p:cNvSpPr>
          <p:nvPr>
            <p:ph type="title"/>
          </p:nvPr>
        </p:nvSpPr>
        <p:spPr>
          <a:xfrm>
            <a:off x="685800" y="457200"/>
            <a:ext cx="7772400" cy="685800"/>
          </a:xfrm>
        </p:spPr>
        <p:txBody>
          <a:bodyPr/>
          <a:lstStyle/>
          <a:p>
            <a:r>
              <a:rPr lang="es-ES"/>
              <a:t>Haga clic para modificar el estilo de título del patrón</a:t>
            </a:r>
            <a:endParaRPr lang="es-AR"/>
          </a:p>
        </p:txBody>
      </p:sp>
      <p:sp>
        <p:nvSpPr>
          <p:cNvPr id="3" name="2 Marcador de texto"/>
          <p:cNvSpPr>
            <a:spLocks noGrp="1"/>
          </p:cNvSpPr>
          <p:nvPr>
            <p:ph type="body" sz="half" idx="1"/>
          </p:nvPr>
        </p:nvSpPr>
        <p:spPr>
          <a:xfrm>
            <a:off x="685800" y="1485900"/>
            <a:ext cx="3810000" cy="3086100"/>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AR"/>
          </a:p>
        </p:txBody>
      </p:sp>
      <p:sp>
        <p:nvSpPr>
          <p:cNvPr id="4" name="3 Marcador de contenido"/>
          <p:cNvSpPr>
            <a:spLocks noGrp="1"/>
          </p:cNvSpPr>
          <p:nvPr>
            <p:ph sz="half" idx="2"/>
          </p:nvPr>
        </p:nvSpPr>
        <p:spPr>
          <a:xfrm>
            <a:off x="4648201" y="1485900"/>
            <a:ext cx="3810000" cy="3086100"/>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AR"/>
          </a:p>
        </p:txBody>
      </p:sp>
      <p:sp>
        <p:nvSpPr>
          <p:cNvPr id="5" name="4 Marcador de pie de página"/>
          <p:cNvSpPr>
            <a:spLocks noGrp="1"/>
          </p:cNvSpPr>
          <p:nvPr>
            <p:ph type="ftr" sz="quarter" idx="10"/>
          </p:nvPr>
        </p:nvSpPr>
        <p:spPr>
          <a:xfrm>
            <a:off x="2195623" y="4814888"/>
            <a:ext cx="4764087" cy="342900"/>
          </a:xfrm>
        </p:spPr>
        <p:txBody>
          <a:bodyPr/>
          <a:lstStyle>
            <a:lvl1pPr>
              <a:defRPr/>
            </a:lvl1pPr>
          </a:lstStyle>
          <a:p>
            <a:r>
              <a:rPr lang="en-US">
                <a:solidFill>
                  <a:srgbClr val="438086"/>
                </a:solidFill>
              </a:rPr>
              <a:t>44. Consejo Directivo, septiembre 2003</a:t>
            </a:r>
          </a:p>
        </p:txBody>
      </p:sp>
      <p:sp>
        <p:nvSpPr>
          <p:cNvPr id="6" name="5 Marcador de número de diapositiva"/>
          <p:cNvSpPr>
            <a:spLocks noGrp="1"/>
          </p:cNvSpPr>
          <p:nvPr>
            <p:ph type="sldNum" sz="quarter" idx="11"/>
          </p:nvPr>
        </p:nvSpPr>
        <p:spPr>
          <a:xfrm>
            <a:off x="7253288" y="4804172"/>
            <a:ext cx="1905000" cy="342900"/>
          </a:xfrm>
        </p:spPr>
        <p:txBody>
          <a:bodyPr/>
          <a:lstStyle>
            <a:lvl1pPr>
              <a:defRPr/>
            </a:lvl1pPr>
          </a:lstStyle>
          <a:p>
            <a:fld id="{2072D06B-150C-4DB8-884B-2C600CB49BCF}" type="slidenum">
              <a:rPr lang="en-US"/>
              <a:pPr/>
              <a:t>‹Nº›</a:t>
            </a:fld>
            <a:endParaRPr lang="en-US"/>
          </a:p>
        </p:txBody>
      </p:sp>
    </p:spTree>
    <p:extLst>
      <p:ext uri="{BB962C8B-B14F-4D97-AF65-F5344CB8AC3E}">
        <p14:creationId xmlns:p14="http://schemas.microsoft.com/office/powerpoint/2010/main" val="3796211433"/>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6" name="Text Placeholder 3">
            <a:extLst>
              <a:ext uri="{FF2B5EF4-FFF2-40B4-BE49-F238E27FC236}">
                <a16:creationId xmlns="" xmlns:a16="http://schemas.microsoft.com/office/drawing/2014/main" id="{B08CFEF5-24AE-495E-BBF3-2FCF473E5A90}"/>
              </a:ext>
            </a:extLst>
          </p:cNvPr>
          <p:cNvSpPr>
            <a:spLocks noGrp="1"/>
          </p:cNvSpPr>
          <p:nvPr>
            <p:ph type="body" sz="quarter" idx="14" hasCustomPrompt="1"/>
          </p:nvPr>
        </p:nvSpPr>
        <p:spPr>
          <a:xfrm>
            <a:off x="395289" y="4431370"/>
            <a:ext cx="7529513" cy="340727"/>
          </a:xfrm>
        </p:spPr>
        <p:txBody>
          <a:bodyPr bIns="0" anchor="b" anchorCtr="0">
            <a:noAutofit/>
          </a:bodyPr>
          <a:lstStyle>
            <a:lvl1pPr marL="0" indent="0">
              <a:spcBef>
                <a:spcPts val="0"/>
              </a:spcBef>
              <a:buFontTx/>
              <a:buNone/>
              <a:defRPr sz="700"/>
            </a:lvl1pPr>
          </a:lstStyle>
          <a:p>
            <a:r>
              <a:rPr lang="en-US"/>
              <a:t>Footnotes.</a:t>
            </a:r>
          </a:p>
          <a:p>
            <a:r>
              <a:rPr lang="en-US"/>
              <a:t>Abbreviations.</a:t>
            </a:r>
          </a:p>
          <a:p>
            <a:r>
              <a:rPr lang="en-US"/>
              <a:t>References.</a:t>
            </a:r>
          </a:p>
        </p:txBody>
      </p:sp>
      <p:sp>
        <p:nvSpPr>
          <p:cNvPr id="5" name="Slide Number Placeholder 4">
            <a:extLst>
              <a:ext uri="{FF2B5EF4-FFF2-40B4-BE49-F238E27FC236}">
                <a16:creationId xmlns="" xmlns:a16="http://schemas.microsoft.com/office/drawing/2014/main" id="{D62C38EF-9E03-4702-A967-554F359F12DA}"/>
              </a:ext>
            </a:extLst>
          </p:cNvPr>
          <p:cNvSpPr>
            <a:spLocks noGrp="1"/>
          </p:cNvSpPr>
          <p:nvPr>
            <p:ph type="sldNum" sz="quarter" idx="16"/>
          </p:nvPr>
        </p:nvSpPr>
        <p:spPr/>
        <p:txBody>
          <a:bodyPr/>
          <a:lstStyle/>
          <a:p>
            <a:fld id="{E9B57936-92EF-4126-AE48-1D9D36D15E98}" type="slidenum">
              <a:rPr lang="ja-JP" altLang="en-US" smtClean="0">
                <a:solidFill>
                  <a:srgbClr val="A1A4AC"/>
                </a:solidFill>
              </a:rPr>
              <a:pPr/>
              <a:t>‹Nº›</a:t>
            </a:fld>
            <a:endParaRPr lang="ja-JP" altLang="en-US">
              <a:solidFill>
                <a:srgbClr val="A1A4AC"/>
              </a:solidFill>
            </a:endParaRPr>
          </a:p>
        </p:txBody>
      </p:sp>
      <p:sp>
        <p:nvSpPr>
          <p:cNvPr id="14" name="Content Placeholder 13">
            <a:extLst>
              <a:ext uri="{FF2B5EF4-FFF2-40B4-BE49-F238E27FC236}">
                <a16:creationId xmlns="" xmlns:a16="http://schemas.microsoft.com/office/drawing/2014/main" id="{BD455CB7-5206-463D-BED2-EAD28551A070}"/>
              </a:ext>
            </a:extLst>
          </p:cNvPr>
          <p:cNvSpPr>
            <a:spLocks noGrp="1"/>
          </p:cNvSpPr>
          <p:nvPr>
            <p:ph sz="quarter" idx="17" hasCustomPrompt="1"/>
          </p:nvPr>
        </p:nvSpPr>
        <p:spPr>
          <a:xfrm>
            <a:off x="395289" y="925682"/>
            <a:ext cx="8343899" cy="3564931"/>
          </a:xfrm>
        </p:spPr>
        <p:txBody>
          <a:bodyPr>
            <a:normAutofit/>
          </a:bodyPr>
          <a:lstStyle>
            <a:lvl1pPr marL="215828" indent="-215828">
              <a:defRPr sz="1800"/>
            </a:lvl1pPr>
            <a:lvl2pPr>
              <a:defRPr sz="1500"/>
            </a:lvl2pPr>
            <a:lvl3pPr>
              <a:defRPr sz="1500"/>
            </a:lvl3pPr>
            <a:lvl4pPr>
              <a:defRPr sz="1400"/>
            </a:lvl4pPr>
            <a:lvl5pPr>
              <a:defRPr sz="1400"/>
            </a:lvl5pPr>
          </a:lstStyle>
          <a:p>
            <a:pPr lvl="0"/>
            <a:r>
              <a:rPr lang="en-US"/>
              <a:t>Add your content here</a:t>
            </a:r>
          </a:p>
          <a:p>
            <a:pPr lvl="1"/>
            <a:r>
              <a:rPr lang="en-US"/>
              <a:t>Second level</a:t>
            </a:r>
          </a:p>
          <a:p>
            <a:pPr lvl="2"/>
            <a:r>
              <a:rPr lang="en-US"/>
              <a:t>Third level</a:t>
            </a:r>
          </a:p>
          <a:p>
            <a:pPr lvl="3"/>
            <a:r>
              <a:rPr lang="en-US"/>
              <a:t>Fourth level</a:t>
            </a:r>
          </a:p>
          <a:p>
            <a:pPr lvl="4"/>
            <a:r>
              <a:rPr lang="en-US"/>
              <a:t>Fifth level</a:t>
            </a:r>
          </a:p>
        </p:txBody>
      </p:sp>
      <p:sp>
        <p:nvSpPr>
          <p:cNvPr id="3" name="Title 7">
            <a:extLst>
              <a:ext uri="{FF2B5EF4-FFF2-40B4-BE49-F238E27FC236}">
                <a16:creationId xmlns="" xmlns:a16="http://schemas.microsoft.com/office/drawing/2014/main" id="{D413BE8E-FF8E-A838-3C00-90C82913550B}"/>
              </a:ext>
            </a:extLst>
          </p:cNvPr>
          <p:cNvSpPr>
            <a:spLocks noGrp="1"/>
          </p:cNvSpPr>
          <p:nvPr>
            <p:ph type="title"/>
          </p:nvPr>
        </p:nvSpPr>
        <p:spPr>
          <a:xfrm>
            <a:off x="395289" y="145305"/>
            <a:ext cx="7357234" cy="527957"/>
          </a:xfrm>
        </p:spPr>
        <p:txBody>
          <a:bodyPr anchor="b"/>
          <a:lstStyle>
            <a:lvl1pPr>
              <a:defRPr sz="1800"/>
            </a:lvl1pPr>
          </a:lstStyle>
          <a:p>
            <a:r>
              <a:rPr lang="en-US"/>
              <a:t>Click to edit Master title style</a:t>
            </a:r>
          </a:p>
        </p:txBody>
      </p:sp>
    </p:spTree>
    <p:extLst>
      <p:ext uri="{BB962C8B-B14F-4D97-AF65-F5344CB8AC3E}">
        <p14:creationId xmlns:p14="http://schemas.microsoft.com/office/powerpoint/2010/main" val="225986317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Video Standard (4x3)">
    <p:spTree>
      <p:nvGrpSpPr>
        <p:cNvPr id="1" name=""/>
        <p:cNvGrpSpPr/>
        <p:nvPr/>
      </p:nvGrpSpPr>
      <p:grpSpPr>
        <a:xfrm>
          <a:off x="0" y="0"/>
          <a:ext cx="0" cy="0"/>
          <a:chOff x="0" y="0"/>
          <a:chExt cx="0" cy="0"/>
        </a:xfrm>
      </p:grpSpPr>
      <p:sp>
        <p:nvSpPr>
          <p:cNvPr id="6" name="Media Placeholder 5"/>
          <p:cNvSpPr>
            <a:spLocks noGrp="1" noChangeAspect="1"/>
          </p:cNvSpPr>
          <p:nvPr>
            <p:ph type="media" sz="quarter" idx="12" hasCustomPrompt="1"/>
          </p:nvPr>
        </p:nvSpPr>
        <p:spPr>
          <a:xfrm>
            <a:off x="1795746" y="1033436"/>
            <a:ext cx="5557520" cy="3126106"/>
          </a:xfrm>
        </p:spPr>
        <p:txBody>
          <a:bodyPr lIns="108000" tIns="108000"/>
          <a:lstStyle>
            <a:lvl1pPr marL="0" indent="0">
              <a:buNone/>
              <a:defRPr baseline="0">
                <a:solidFill>
                  <a:schemeClr val="tx1"/>
                </a:solidFill>
              </a:defRPr>
            </a:lvl1pPr>
          </a:lstStyle>
          <a:p>
            <a:r>
              <a:rPr lang="en-GB"/>
              <a:t>Click on the film icon to insert your Standard (4x3 video)</a:t>
            </a:r>
          </a:p>
        </p:txBody>
      </p:sp>
      <p:sp>
        <p:nvSpPr>
          <p:cNvPr id="9" name="Title 8"/>
          <p:cNvSpPr>
            <a:spLocks noGrp="1"/>
          </p:cNvSpPr>
          <p:nvPr>
            <p:ph type="title"/>
          </p:nvPr>
        </p:nvSpPr>
        <p:spPr>
          <a:xfrm>
            <a:off x="365133" y="221107"/>
            <a:ext cx="7577139" cy="253916"/>
          </a:xfrm>
        </p:spPr>
        <p:txBody>
          <a:bodyPr/>
          <a:lstStyle>
            <a:lvl1pPr>
              <a:defRPr>
                <a:solidFill>
                  <a:schemeClr val="bg2"/>
                </a:solidFill>
              </a:defRPr>
            </a:lvl1pPr>
          </a:lstStyle>
          <a:p>
            <a:r>
              <a:rPr lang="en-US"/>
              <a:t>Click to edit Master title style</a:t>
            </a:r>
            <a:endParaRPr lang="en-GB"/>
          </a:p>
        </p:txBody>
      </p:sp>
      <p:sp>
        <p:nvSpPr>
          <p:cNvPr id="5" name="Date Placeholder 4"/>
          <p:cNvSpPr>
            <a:spLocks noGrp="1"/>
          </p:cNvSpPr>
          <p:nvPr>
            <p:ph type="dt" sz="half" idx="15"/>
          </p:nvPr>
        </p:nvSpPr>
        <p:spPr>
          <a:xfrm>
            <a:off x="2985247" y="4827993"/>
            <a:ext cx="3164730" cy="273844"/>
          </a:xfrm>
          <a:prstGeom prst="rect">
            <a:avLst/>
          </a:prstGeom>
        </p:spPr>
        <p:txBody>
          <a:bodyPr/>
          <a:lstStyle/>
          <a:p>
            <a:pPr algn="ctr"/>
            <a:endParaRPr lang="en-GB">
              <a:solidFill>
                <a:srgbClr val="9A8B7D"/>
              </a:solidFill>
            </a:endParaRPr>
          </a:p>
        </p:txBody>
      </p:sp>
      <p:sp>
        <p:nvSpPr>
          <p:cNvPr id="7" name="Footer Placeholder 6"/>
          <p:cNvSpPr>
            <a:spLocks noGrp="1"/>
          </p:cNvSpPr>
          <p:nvPr>
            <p:ph type="ftr" sz="quarter" idx="16"/>
          </p:nvPr>
        </p:nvSpPr>
        <p:spPr>
          <a:xfrm>
            <a:off x="287372" y="4827993"/>
            <a:ext cx="2636807" cy="273844"/>
          </a:xfrm>
          <a:prstGeom prst="rect">
            <a:avLst/>
          </a:prstGeom>
        </p:spPr>
        <p:txBody>
          <a:bodyPr/>
          <a:lstStyle/>
          <a:p>
            <a:endParaRPr lang="en-GB">
              <a:solidFill>
                <a:srgbClr val="9A8B7D"/>
              </a:solidFill>
            </a:endParaRPr>
          </a:p>
        </p:txBody>
      </p:sp>
      <p:sp>
        <p:nvSpPr>
          <p:cNvPr id="8" name="Slide Number Placeholder 7"/>
          <p:cNvSpPr>
            <a:spLocks noGrp="1"/>
          </p:cNvSpPr>
          <p:nvPr>
            <p:ph type="sldNum" sz="quarter" idx="17"/>
          </p:nvPr>
        </p:nvSpPr>
        <p:spPr/>
        <p:txBody>
          <a:bodyPr/>
          <a:lstStyle/>
          <a:p>
            <a:fld id="{9F9F533D-B52E-4A2F-BF72-0ADD2D94BD75}" type="slidenum">
              <a:rPr lang="en-GB" smtClean="0">
                <a:solidFill>
                  <a:srgbClr val="9A8B7D"/>
                </a:solidFill>
              </a:rPr>
              <a:pPr/>
              <a:t>‹Nº›</a:t>
            </a:fld>
            <a:endParaRPr lang="en-GB">
              <a:solidFill>
                <a:srgbClr val="9A8B7D"/>
              </a:solidFill>
            </a:endParaRPr>
          </a:p>
        </p:txBody>
      </p:sp>
      <p:sp>
        <p:nvSpPr>
          <p:cNvPr id="11" name="Text Placeholder 2"/>
          <p:cNvSpPr>
            <a:spLocks noGrp="1"/>
          </p:cNvSpPr>
          <p:nvPr>
            <p:ph type="body" sz="quarter" idx="14" hasCustomPrompt="1"/>
          </p:nvPr>
        </p:nvSpPr>
        <p:spPr>
          <a:xfrm>
            <a:off x="365124" y="519477"/>
            <a:ext cx="7597776" cy="176213"/>
          </a:xfrm>
        </p:spPr>
        <p:txBody>
          <a:bodyPr anchor="t" anchorCtr="0"/>
          <a:lstStyle>
            <a:lvl1pPr marL="0" indent="0">
              <a:spcAft>
                <a:spcPts val="0"/>
              </a:spcAft>
              <a:buNone/>
              <a:defRPr sz="1350"/>
            </a:lvl1pPr>
            <a:lvl2pPr marL="203597" indent="0">
              <a:buNone/>
              <a:defRPr/>
            </a:lvl2pPr>
            <a:lvl3pPr marL="400050" indent="0">
              <a:buNone/>
              <a:defRPr/>
            </a:lvl3pPr>
            <a:lvl4pPr marL="611981" indent="0">
              <a:buNone/>
              <a:defRPr/>
            </a:lvl4pPr>
            <a:lvl5pPr marL="828675" indent="0">
              <a:buNone/>
              <a:defRPr/>
            </a:lvl5pPr>
          </a:lstStyle>
          <a:p>
            <a:pPr lvl="0"/>
            <a:r>
              <a:rPr lang="en-US"/>
              <a:t>Subtitle here if required</a:t>
            </a:r>
          </a:p>
        </p:txBody>
      </p:sp>
    </p:spTree>
    <p:extLst>
      <p:ext uri="{BB962C8B-B14F-4D97-AF65-F5344CB8AC3E}">
        <p14:creationId xmlns:p14="http://schemas.microsoft.com/office/powerpoint/2010/main" val="3068527599"/>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800" y="1597880"/>
            <a:ext cx="7772400" cy="1102519"/>
          </a:xfrm>
        </p:spPr>
        <p:txBody>
          <a:bodyPr/>
          <a:lstStyle/>
          <a:p>
            <a:r>
              <a:rPr lang="es-ES" smtClean="0"/>
              <a:t>Haga clic para modificar el estilo de título del patrón</a:t>
            </a:r>
            <a:endParaRPr lang="es-AR"/>
          </a:p>
        </p:txBody>
      </p:sp>
      <p:sp>
        <p:nvSpPr>
          <p:cNvPr id="3" name="2 Subtítulo"/>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6470" indent="0" algn="ctr">
              <a:buNone/>
              <a:defRPr>
                <a:solidFill>
                  <a:schemeClr val="tx1">
                    <a:tint val="75000"/>
                  </a:schemeClr>
                </a:solidFill>
              </a:defRPr>
            </a:lvl2pPr>
            <a:lvl3pPr marL="913028" indent="0" algn="ctr">
              <a:buNone/>
              <a:defRPr>
                <a:solidFill>
                  <a:schemeClr val="tx1">
                    <a:tint val="75000"/>
                  </a:schemeClr>
                </a:solidFill>
              </a:defRPr>
            </a:lvl3pPr>
            <a:lvl4pPr marL="1369526" indent="0" algn="ctr">
              <a:buNone/>
              <a:defRPr>
                <a:solidFill>
                  <a:schemeClr val="tx1">
                    <a:tint val="75000"/>
                  </a:schemeClr>
                </a:solidFill>
              </a:defRPr>
            </a:lvl4pPr>
            <a:lvl5pPr marL="1826054" indent="0" algn="ctr">
              <a:buNone/>
              <a:defRPr>
                <a:solidFill>
                  <a:schemeClr val="tx1">
                    <a:tint val="75000"/>
                  </a:schemeClr>
                </a:solidFill>
              </a:defRPr>
            </a:lvl5pPr>
            <a:lvl6pPr marL="2282523" indent="0" algn="ctr">
              <a:buNone/>
              <a:defRPr>
                <a:solidFill>
                  <a:schemeClr val="tx1">
                    <a:tint val="75000"/>
                  </a:schemeClr>
                </a:solidFill>
              </a:defRPr>
            </a:lvl6pPr>
            <a:lvl7pPr marL="2738993" indent="0" algn="ctr">
              <a:buNone/>
              <a:defRPr>
                <a:solidFill>
                  <a:schemeClr val="tx1">
                    <a:tint val="75000"/>
                  </a:schemeClr>
                </a:solidFill>
              </a:defRPr>
            </a:lvl7pPr>
            <a:lvl8pPr marL="3195520" indent="0" algn="ctr">
              <a:buNone/>
              <a:defRPr>
                <a:solidFill>
                  <a:schemeClr val="tx1">
                    <a:tint val="75000"/>
                  </a:schemeClr>
                </a:solidFill>
              </a:defRPr>
            </a:lvl8pPr>
            <a:lvl9pPr marL="3652035" indent="0" algn="ctr">
              <a:buNone/>
              <a:defRPr>
                <a:solidFill>
                  <a:schemeClr val="tx1">
                    <a:tint val="75000"/>
                  </a:schemeClr>
                </a:solidFill>
              </a:defRPr>
            </a:lvl9pPr>
          </a:lstStyle>
          <a:p>
            <a:r>
              <a:rPr lang="es-ES" smtClean="0"/>
              <a:t>Haga clic para modificar el estilo de subtítulo del patrón</a:t>
            </a:r>
            <a:endParaRPr lang="es-AR"/>
          </a:p>
        </p:txBody>
      </p:sp>
      <p:sp>
        <p:nvSpPr>
          <p:cNvPr id="4" name="3 Marcador de fecha"/>
          <p:cNvSpPr>
            <a:spLocks noGrp="1"/>
          </p:cNvSpPr>
          <p:nvPr>
            <p:ph type="dt" sz="half" idx="10"/>
          </p:nvPr>
        </p:nvSpPr>
        <p:spPr/>
        <p:txBody>
          <a:bodyPr/>
          <a:lstStyle/>
          <a:p>
            <a:fld id="{0725BAA1-FBBD-4E70-A359-A09EE94F66E3}" type="datetimeFigureOut">
              <a:rPr lang="es-AR" smtClean="0">
                <a:solidFill>
                  <a:prstClr val="black">
                    <a:tint val="75000"/>
                  </a:prstClr>
                </a:solidFill>
              </a:rPr>
              <a:pPr/>
              <a:t>7/8/2024</a:t>
            </a:fld>
            <a:endParaRPr lang="es-AR">
              <a:solidFill>
                <a:prstClr val="black">
                  <a:tint val="75000"/>
                </a:prstClr>
              </a:solidFill>
            </a:endParaRPr>
          </a:p>
        </p:txBody>
      </p:sp>
      <p:sp>
        <p:nvSpPr>
          <p:cNvPr id="5" name="4 Marcador de pie de página"/>
          <p:cNvSpPr>
            <a:spLocks noGrp="1"/>
          </p:cNvSpPr>
          <p:nvPr>
            <p:ph type="ftr" sz="quarter" idx="11"/>
          </p:nvPr>
        </p:nvSpPr>
        <p:spPr/>
        <p:txBody>
          <a:bodyPr/>
          <a:lstStyle/>
          <a:p>
            <a:endParaRPr lang="es-AR">
              <a:solidFill>
                <a:prstClr val="black">
                  <a:tint val="75000"/>
                </a:prstClr>
              </a:solidFill>
            </a:endParaRPr>
          </a:p>
        </p:txBody>
      </p:sp>
      <p:sp>
        <p:nvSpPr>
          <p:cNvPr id="6" name="5 Marcador de número de diapositiva"/>
          <p:cNvSpPr>
            <a:spLocks noGrp="1"/>
          </p:cNvSpPr>
          <p:nvPr>
            <p:ph type="sldNum" sz="quarter" idx="12"/>
          </p:nvPr>
        </p:nvSpPr>
        <p:spPr/>
        <p:txBody>
          <a:bodyPr/>
          <a:lstStyle/>
          <a:p>
            <a:fld id="{59E1C38B-2DCA-4AC1-8602-45EA13F687CD}" type="slidenum">
              <a:rPr lang="es-AR" smtClean="0">
                <a:solidFill>
                  <a:prstClr val="black">
                    <a:tint val="75000"/>
                  </a:prstClr>
                </a:solidFill>
              </a:rPr>
              <a:pPr/>
              <a:t>‹Nº›</a:t>
            </a:fld>
            <a:endParaRPr lang="es-AR">
              <a:solidFill>
                <a:prstClr val="black">
                  <a:tint val="75000"/>
                </a:prstClr>
              </a:solidFill>
            </a:endParaRPr>
          </a:p>
        </p:txBody>
      </p:sp>
    </p:spTree>
    <p:extLst>
      <p:ext uri="{BB962C8B-B14F-4D97-AF65-F5344CB8AC3E}">
        <p14:creationId xmlns:p14="http://schemas.microsoft.com/office/powerpoint/2010/main" val="2920319546"/>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AR"/>
          </a:p>
        </p:txBody>
      </p:sp>
      <p:sp>
        <p:nvSpPr>
          <p:cNvPr id="3" name="2 Marcador de contenido"/>
          <p:cNvSpPr>
            <a:spLocks noGrp="1"/>
          </p:cNvSpPr>
          <p:nvPr>
            <p:ph idx="1"/>
          </p:nvPr>
        </p:nvSpPr>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AR"/>
          </a:p>
        </p:txBody>
      </p:sp>
      <p:sp>
        <p:nvSpPr>
          <p:cNvPr id="4" name="3 Marcador de fecha"/>
          <p:cNvSpPr>
            <a:spLocks noGrp="1"/>
          </p:cNvSpPr>
          <p:nvPr>
            <p:ph type="dt" sz="half" idx="10"/>
          </p:nvPr>
        </p:nvSpPr>
        <p:spPr/>
        <p:txBody>
          <a:bodyPr/>
          <a:lstStyle/>
          <a:p>
            <a:fld id="{0725BAA1-FBBD-4E70-A359-A09EE94F66E3}" type="datetimeFigureOut">
              <a:rPr lang="es-AR" smtClean="0">
                <a:solidFill>
                  <a:prstClr val="black">
                    <a:tint val="75000"/>
                  </a:prstClr>
                </a:solidFill>
              </a:rPr>
              <a:pPr/>
              <a:t>7/8/2024</a:t>
            </a:fld>
            <a:endParaRPr lang="es-AR">
              <a:solidFill>
                <a:prstClr val="black">
                  <a:tint val="75000"/>
                </a:prstClr>
              </a:solidFill>
            </a:endParaRPr>
          </a:p>
        </p:txBody>
      </p:sp>
      <p:sp>
        <p:nvSpPr>
          <p:cNvPr id="5" name="4 Marcador de pie de página"/>
          <p:cNvSpPr>
            <a:spLocks noGrp="1"/>
          </p:cNvSpPr>
          <p:nvPr>
            <p:ph type="ftr" sz="quarter" idx="11"/>
          </p:nvPr>
        </p:nvSpPr>
        <p:spPr/>
        <p:txBody>
          <a:bodyPr/>
          <a:lstStyle/>
          <a:p>
            <a:endParaRPr lang="es-AR">
              <a:solidFill>
                <a:prstClr val="black">
                  <a:tint val="75000"/>
                </a:prstClr>
              </a:solidFill>
            </a:endParaRPr>
          </a:p>
        </p:txBody>
      </p:sp>
      <p:sp>
        <p:nvSpPr>
          <p:cNvPr id="6" name="5 Marcador de número de diapositiva"/>
          <p:cNvSpPr>
            <a:spLocks noGrp="1"/>
          </p:cNvSpPr>
          <p:nvPr>
            <p:ph type="sldNum" sz="quarter" idx="12"/>
          </p:nvPr>
        </p:nvSpPr>
        <p:spPr/>
        <p:txBody>
          <a:bodyPr/>
          <a:lstStyle/>
          <a:p>
            <a:fld id="{59E1C38B-2DCA-4AC1-8602-45EA13F687CD}" type="slidenum">
              <a:rPr lang="es-AR" smtClean="0">
                <a:solidFill>
                  <a:prstClr val="black">
                    <a:tint val="75000"/>
                  </a:prstClr>
                </a:solidFill>
              </a:rPr>
              <a:pPr/>
              <a:t>‹Nº›</a:t>
            </a:fld>
            <a:endParaRPr lang="es-AR">
              <a:solidFill>
                <a:prstClr val="black">
                  <a:tint val="75000"/>
                </a:prstClr>
              </a:solidFill>
            </a:endParaRPr>
          </a:p>
        </p:txBody>
      </p:sp>
    </p:spTree>
    <p:extLst>
      <p:ext uri="{BB962C8B-B14F-4D97-AF65-F5344CB8AC3E}">
        <p14:creationId xmlns:p14="http://schemas.microsoft.com/office/powerpoint/2010/main" val="4133977400"/>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313" y="3305176"/>
            <a:ext cx="7772400" cy="1021556"/>
          </a:xfrm>
        </p:spPr>
        <p:txBody>
          <a:bodyPr anchor="t"/>
          <a:lstStyle>
            <a:lvl1pPr algn="l">
              <a:defRPr sz="4000" b="1" cap="all"/>
            </a:lvl1pPr>
          </a:lstStyle>
          <a:p>
            <a:r>
              <a:rPr lang="es-ES" smtClean="0"/>
              <a:t>Haga clic para modificar el estilo de título del patrón</a:t>
            </a:r>
            <a:endParaRPr lang="es-AR"/>
          </a:p>
        </p:txBody>
      </p:sp>
      <p:sp>
        <p:nvSpPr>
          <p:cNvPr id="3" name="2 Marcador de texto"/>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6470" indent="0">
              <a:buNone/>
              <a:defRPr sz="1800">
                <a:solidFill>
                  <a:schemeClr val="tx1">
                    <a:tint val="75000"/>
                  </a:schemeClr>
                </a:solidFill>
              </a:defRPr>
            </a:lvl2pPr>
            <a:lvl3pPr marL="913028" indent="0">
              <a:buNone/>
              <a:defRPr sz="1600">
                <a:solidFill>
                  <a:schemeClr val="tx1">
                    <a:tint val="75000"/>
                  </a:schemeClr>
                </a:solidFill>
              </a:defRPr>
            </a:lvl3pPr>
            <a:lvl4pPr marL="1369526" indent="0">
              <a:buNone/>
              <a:defRPr sz="1400">
                <a:solidFill>
                  <a:schemeClr val="tx1">
                    <a:tint val="75000"/>
                  </a:schemeClr>
                </a:solidFill>
              </a:defRPr>
            </a:lvl4pPr>
            <a:lvl5pPr marL="1826054" indent="0">
              <a:buNone/>
              <a:defRPr sz="1400">
                <a:solidFill>
                  <a:schemeClr val="tx1">
                    <a:tint val="75000"/>
                  </a:schemeClr>
                </a:solidFill>
              </a:defRPr>
            </a:lvl5pPr>
            <a:lvl6pPr marL="2282523" indent="0">
              <a:buNone/>
              <a:defRPr sz="1400">
                <a:solidFill>
                  <a:schemeClr val="tx1">
                    <a:tint val="75000"/>
                  </a:schemeClr>
                </a:solidFill>
              </a:defRPr>
            </a:lvl6pPr>
            <a:lvl7pPr marL="2738993" indent="0">
              <a:buNone/>
              <a:defRPr sz="1400">
                <a:solidFill>
                  <a:schemeClr val="tx1">
                    <a:tint val="75000"/>
                  </a:schemeClr>
                </a:solidFill>
              </a:defRPr>
            </a:lvl7pPr>
            <a:lvl8pPr marL="3195520" indent="0">
              <a:buNone/>
              <a:defRPr sz="1400">
                <a:solidFill>
                  <a:schemeClr val="tx1">
                    <a:tint val="75000"/>
                  </a:schemeClr>
                </a:solidFill>
              </a:defRPr>
            </a:lvl8pPr>
            <a:lvl9pPr marL="3652035" indent="0">
              <a:buNone/>
              <a:defRPr sz="1400">
                <a:solidFill>
                  <a:schemeClr val="tx1">
                    <a:tint val="75000"/>
                  </a:schemeClr>
                </a:solidFill>
              </a:defRPr>
            </a:lvl9pPr>
          </a:lstStyle>
          <a:p>
            <a:pPr lvl="0"/>
            <a:r>
              <a:rPr lang="es-ES" smtClean="0"/>
              <a:t>Haga clic para modificar el estilo de texto del patrón</a:t>
            </a:r>
          </a:p>
        </p:txBody>
      </p:sp>
      <p:sp>
        <p:nvSpPr>
          <p:cNvPr id="4" name="3 Marcador de fecha"/>
          <p:cNvSpPr>
            <a:spLocks noGrp="1"/>
          </p:cNvSpPr>
          <p:nvPr>
            <p:ph type="dt" sz="half" idx="10"/>
          </p:nvPr>
        </p:nvSpPr>
        <p:spPr/>
        <p:txBody>
          <a:bodyPr/>
          <a:lstStyle/>
          <a:p>
            <a:fld id="{0725BAA1-FBBD-4E70-A359-A09EE94F66E3}" type="datetimeFigureOut">
              <a:rPr lang="es-AR" smtClean="0">
                <a:solidFill>
                  <a:prstClr val="black">
                    <a:tint val="75000"/>
                  </a:prstClr>
                </a:solidFill>
              </a:rPr>
              <a:pPr/>
              <a:t>7/8/2024</a:t>
            </a:fld>
            <a:endParaRPr lang="es-AR">
              <a:solidFill>
                <a:prstClr val="black">
                  <a:tint val="75000"/>
                </a:prstClr>
              </a:solidFill>
            </a:endParaRPr>
          </a:p>
        </p:txBody>
      </p:sp>
      <p:sp>
        <p:nvSpPr>
          <p:cNvPr id="5" name="4 Marcador de pie de página"/>
          <p:cNvSpPr>
            <a:spLocks noGrp="1"/>
          </p:cNvSpPr>
          <p:nvPr>
            <p:ph type="ftr" sz="quarter" idx="11"/>
          </p:nvPr>
        </p:nvSpPr>
        <p:spPr/>
        <p:txBody>
          <a:bodyPr/>
          <a:lstStyle/>
          <a:p>
            <a:endParaRPr lang="es-AR">
              <a:solidFill>
                <a:prstClr val="black">
                  <a:tint val="75000"/>
                </a:prstClr>
              </a:solidFill>
            </a:endParaRPr>
          </a:p>
        </p:txBody>
      </p:sp>
      <p:sp>
        <p:nvSpPr>
          <p:cNvPr id="6" name="5 Marcador de número de diapositiva"/>
          <p:cNvSpPr>
            <a:spLocks noGrp="1"/>
          </p:cNvSpPr>
          <p:nvPr>
            <p:ph type="sldNum" sz="quarter" idx="12"/>
          </p:nvPr>
        </p:nvSpPr>
        <p:spPr/>
        <p:txBody>
          <a:bodyPr/>
          <a:lstStyle/>
          <a:p>
            <a:fld id="{59E1C38B-2DCA-4AC1-8602-45EA13F687CD}" type="slidenum">
              <a:rPr lang="es-AR" smtClean="0">
                <a:solidFill>
                  <a:prstClr val="black">
                    <a:tint val="75000"/>
                  </a:prstClr>
                </a:solidFill>
              </a:rPr>
              <a:pPr/>
              <a:t>‹Nº›</a:t>
            </a:fld>
            <a:endParaRPr lang="es-AR">
              <a:solidFill>
                <a:prstClr val="black">
                  <a:tint val="75000"/>
                </a:prstClr>
              </a:solidFill>
            </a:endParaRPr>
          </a:p>
        </p:txBody>
      </p:sp>
    </p:spTree>
    <p:extLst>
      <p:ext uri="{BB962C8B-B14F-4D97-AF65-F5344CB8AC3E}">
        <p14:creationId xmlns:p14="http://schemas.microsoft.com/office/powerpoint/2010/main" val="3619243577"/>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AR"/>
          </a:p>
        </p:txBody>
      </p:sp>
      <p:sp>
        <p:nvSpPr>
          <p:cNvPr id="3" name="2 Marcador de contenido"/>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AR"/>
          </a:p>
        </p:txBody>
      </p:sp>
      <p:sp>
        <p:nvSpPr>
          <p:cNvPr id="4" name="3 Marcador de contenido"/>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AR"/>
          </a:p>
        </p:txBody>
      </p:sp>
      <p:sp>
        <p:nvSpPr>
          <p:cNvPr id="5" name="4 Marcador de fecha"/>
          <p:cNvSpPr>
            <a:spLocks noGrp="1"/>
          </p:cNvSpPr>
          <p:nvPr>
            <p:ph type="dt" sz="half" idx="10"/>
          </p:nvPr>
        </p:nvSpPr>
        <p:spPr/>
        <p:txBody>
          <a:bodyPr/>
          <a:lstStyle/>
          <a:p>
            <a:fld id="{0725BAA1-FBBD-4E70-A359-A09EE94F66E3}" type="datetimeFigureOut">
              <a:rPr lang="es-AR" smtClean="0">
                <a:solidFill>
                  <a:prstClr val="black">
                    <a:tint val="75000"/>
                  </a:prstClr>
                </a:solidFill>
              </a:rPr>
              <a:pPr/>
              <a:t>7/8/2024</a:t>
            </a:fld>
            <a:endParaRPr lang="es-AR">
              <a:solidFill>
                <a:prstClr val="black">
                  <a:tint val="75000"/>
                </a:prstClr>
              </a:solidFill>
            </a:endParaRPr>
          </a:p>
        </p:txBody>
      </p:sp>
      <p:sp>
        <p:nvSpPr>
          <p:cNvPr id="6" name="5 Marcador de pie de página"/>
          <p:cNvSpPr>
            <a:spLocks noGrp="1"/>
          </p:cNvSpPr>
          <p:nvPr>
            <p:ph type="ftr" sz="quarter" idx="11"/>
          </p:nvPr>
        </p:nvSpPr>
        <p:spPr/>
        <p:txBody>
          <a:bodyPr/>
          <a:lstStyle/>
          <a:p>
            <a:endParaRPr lang="es-AR">
              <a:solidFill>
                <a:prstClr val="black">
                  <a:tint val="75000"/>
                </a:prstClr>
              </a:solidFill>
            </a:endParaRPr>
          </a:p>
        </p:txBody>
      </p:sp>
      <p:sp>
        <p:nvSpPr>
          <p:cNvPr id="7" name="6 Marcador de número de diapositiva"/>
          <p:cNvSpPr>
            <a:spLocks noGrp="1"/>
          </p:cNvSpPr>
          <p:nvPr>
            <p:ph type="sldNum" sz="quarter" idx="12"/>
          </p:nvPr>
        </p:nvSpPr>
        <p:spPr/>
        <p:txBody>
          <a:bodyPr/>
          <a:lstStyle/>
          <a:p>
            <a:fld id="{59E1C38B-2DCA-4AC1-8602-45EA13F687CD}" type="slidenum">
              <a:rPr lang="es-AR" smtClean="0">
                <a:solidFill>
                  <a:prstClr val="black">
                    <a:tint val="75000"/>
                  </a:prstClr>
                </a:solidFill>
              </a:rPr>
              <a:pPr/>
              <a:t>‹Nº›</a:t>
            </a:fld>
            <a:endParaRPr lang="es-AR">
              <a:solidFill>
                <a:prstClr val="black">
                  <a:tint val="75000"/>
                </a:prstClr>
              </a:solidFill>
            </a:endParaRPr>
          </a:p>
        </p:txBody>
      </p:sp>
    </p:spTree>
    <p:extLst>
      <p:ext uri="{BB962C8B-B14F-4D97-AF65-F5344CB8AC3E}">
        <p14:creationId xmlns:p14="http://schemas.microsoft.com/office/powerpoint/2010/main" val="3708997446"/>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lvl1pPr>
              <a:defRPr/>
            </a:lvl1pPr>
          </a:lstStyle>
          <a:p>
            <a:r>
              <a:rPr lang="es-ES" smtClean="0"/>
              <a:t>Haga clic para modificar el estilo de título del patrón</a:t>
            </a:r>
            <a:endParaRPr lang="es-AR"/>
          </a:p>
        </p:txBody>
      </p:sp>
      <p:sp>
        <p:nvSpPr>
          <p:cNvPr id="3" name="2 Marcador de texto"/>
          <p:cNvSpPr>
            <a:spLocks noGrp="1"/>
          </p:cNvSpPr>
          <p:nvPr>
            <p:ph type="body" idx="1"/>
          </p:nvPr>
        </p:nvSpPr>
        <p:spPr>
          <a:xfrm>
            <a:off x="457200" y="1151335"/>
            <a:ext cx="4040188" cy="479822"/>
          </a:xfrm>
        </p:spPr>
        <p:txBody>
          <a:bodyPr anchor="b"/>
          <a:lstStyle>
            <a:lvl1pPr marL="0" indent="0">
              <a:buNone/>
              <a:defRPr sz="2400" b="1"/>
            </a:lvl1pPr>
            <a:lvl2pPr marL="456470" indent="0">
              <a:buNone/>
              <a:defRPr sz="2000" b="1"/>
            </a:lvl2pPr>
            <a:lvl3pPr marL="913028" indent="0">
              <a:buNone/>
              <a:defRPr sz="1800" b="1"/>
            </a:lvl3pPr>
            <a:lvl4pPr marL="1369526" indent="0">
              <a:buNone/>
              <a:defRPr sz="1600" b="1"/>
            </a:lvl4pPr>
            <a:lvl5pPr marL="1826054" indent="0">
              <a:buNone/>
              <a:defRPr sz="1600" b="1"/>
            </a:lvl5pPr>
            <a:lvl6pPr marL="2282523" indent="0">
              <a:buNone/>
              <a:defRPr sz="1600" b="1"/>
            </a:lvl6pPr>
            <a:lvl7pPr marL="2738993" indent="0">
              <a:buNone/>
              <a:defRPr sz="1600" b="1"/>
            </a:lvl7pPr>
            <a:lvl8pPr marL="3195520" indent="0">
              <a:buNone/>
              <a:defRPr sz="1600" b="1"/>
            </a:lvl8pPr>
            <a:lvl9pPr marL="3652035" indent="0">
              <a:buNone/>
              <a:defRPr sz="1600" b="1"/>
            </a:lvl9pPr>
          </a:lstStyle>
          <a:p>
            <a:pPr lvl="0"/>
            <a:r>
              <a:rPr lang="es-ES" smtClean="0"/>
              <a:t>Haga clic para modificar el estilo de texto del patrón</a:t>
            </a:r>
          </a:p>
        </p:txBody>
      </p:sp>
      <p:sp>
        <p:nvSpPr>
          <p:cNvPr id="4" name="3 Marcador de contenido"/>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AR"/>
          </a:p>
        </p:txBody>
      </p:sp>
      <p:sp>
        <p:nvSpPr>
          <p:cNvPr id="5" name="4 Marcador de texto"/>
          <p:cNvSpPr>
            <a:spLocks noGrp="1"/>
          </p:cNvSpPr>
          <p:nvPr>
            <p:ph type="body" sz="quarter" idx="3"/>
          </p:nvPr>
        </p:nvSpPr>
        <p:spPr>
          <a:xfrm>
            <a:off x="4645087" y="1151335"/>
            <a:ext cx="4041775" cy="479822"/>
          </a:xfrm>
        </p:spPr>
        <p:txBody>
          <a:bodyPr anchor="b"/>
          <a:lstStyle>
            <a:lvl1pPr marL="0" indent="0">
              <a:buNone/>
              <a:defRPr sz="2400" b="1"/>
            </a:lvl1pPr>
            <a:lvl2pPr marL="456470" indent="0">
              <a:buNone/>
              <a:defRPr sz="2000" b="1"/>
            </a:lvl2pPr>
            <a:lvl3pPr marL="913028" indent="0">
              <a:buNone/>
              <a:defRPr sz="1800" b="1"/>
            </a:lvl3pPr>
            <a:lvl4pPr marL="1369526" indent="0">
              <a:buNone/>
              <a:defRPr sz="1600" b="1"/>
            </a:lvl4pPr>
            <a:lvl5pPr marL="1826054" indent="0">
              <a:buNone/>
              <a:defRPr sz="1600" b="1"/>
            </a:lvl5pPr>
            <a:lvl6pPr marL="2282523" indent="0">
              <a:buNone/>
              <a:defRPr sz="1600" b="1"/>
            </a:lvl6pPr>
            <a:lvl7pPr marL="2738993" indent="0">
              <a:buNone/>
              <a:defRPr sz="1600" b="1"/>
            </a:lvl7pPr>
            <a:lvl8pPr marL="3195520" indent="0">
              <a:buNone/>
              <a:defRPr sz="1600" b="1"/>
            </a:lvl8pPr>
            <a:lvl9pPr marL="3652035" indent="0">
              <a:buNone/>
              <a:defRPr sz="1600" b="1"/>
            </a:lvl9pPr>
          </a:lstStyle>
          <a:p>
            <a:pPr lvl="0"/>
            <a:r>
              <a:rPr lang="es-ES" smtClean="0"/>
              <a:t>Haga clic para modificar el estilo de texto del patrón</a:t>
            </a:r>
          </a:p>
        </p:txBody>
      </p:sp>
      <p:sp>
        <p:nvSpPr>
          <p:cNvPr id="6" name="5 Marcador de contenido"/>
          <p:cNvSpPr>
            <a:spLocks noGrp="1"/>
          </p:cNvSpPr>
          <p:nvPr>
            <p:ph sz="quarter" idx="4"/>
          </p:nvPr>
        </p:nvSpPr>
        <p:spPr>
          <a:xfrm>
            <a:off x="4645087"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AR"/>
          </a:p>
        </p:txBody>
      </p:sp>
      <p:sp>
        <p:nvSpPr>
          <p:cNvPr id="7" name="6 Marcador de fecha"/>
          <p:cNvSpPr>
            <a:spLocks noGrp="1"/>
          </p:cNvSpPr>
          <p:nvPr>
            <p:ph type="dt" sz="half" idx="10"/>
          </p:nvPr>
        </p:nvSpPr>
        <p:spPr/>
        <p:txBody>
          <a:bodyPr/>
          <a:lstStyle/>
          <a:p>
            <a:fld id="{0725BAA1-FBBD-4E70-A359-A09EE94F66E3}" type="datetimeFigureOut">
              <a:rPr lang="es-AR" smtClean="0">
                <a:solidFill>
                  <a:prstClr val="black">
                    <a:tint val="75000"/>
                  </a:prstClr>
                </a:solidFill>
              </a:rPr>
              <a:pPr/>
              <a:t>7/8/2024</a:t>
            </a:fld>
            <a:endParaRPr lang="es-AR">
              <a:solidFill>
                <a:prstClr val="black">
                  <a:tint val="75000"/>
                </a:prstClr>
              </a:solidFill>
            </a:endParaRPr>
          </a:p>
        </p:txBody>
      </p:sp>
      <p:sp>
        <p:nvSpPr>
          <p:cNvPr id="8" name="7 Marcador de pie de página"/>
          <p:cNvSpPr>
            <a:spLocks noGrp="1"/>
          </p:cNvSpPr>
          <p:nvPr>
            <p:ph type="ftr" sz="quarter" idx="11"/>
          </p:nvPr>
        </p:nvSpPr>
        <p:spPr/>
        <p:txBody>
          <a:bodyPr/>
          <a:lstStyle/>
          <a:p>
            <a:endParaRPr lang="es-AR">
              <a:solidFill>
                <a:prstClr val="black">
                  <a:tint val="75000"/>
                </a:prstClr>
              </a:solidFill>
            </a:endParaRPr>
          </a:p>
        </p:txBody>
      </p:sp>
      <p:sp>
        <p:nvSpPr>
          <p:cNvPr id="9" name="8 Marcador de número de diapositiva"/>
          <p:cNvSpPr>
            <a:spLocks noGrp="1"/>
          </p:cNvSpPr>
          <p:nvPr>
            <p:ph type="sldNum" sz="quarter" idx="12"/>
          </p:nvPr>
        </p:nvSpPr>
        <p:spPr/>
        <p:txBody>
          <a:bodyPr/>
          <a:lstStyle/>
          <a:p>
            <a:fld id="{59E1C38B-2DCA-4AC1-8602-45EA13F687CD}" type="slidenum">
              <a:rPr lang="es-AR" smtClean="0">
                <a:solidFill>
                  <a:prstClr val="black">
                    <a:tint val="75000"/>
                  </a:prstClr>
                </a:solidFill>
              </a:rPr>
              <a:pPr/>
              <a:t>‹Nº›</a:t>
            </a:fld>
            <a:endParaRPr lang="es-AR">
              <a:solidFill>
                <a:prstClr val="black">
                  <a:tint val="75000"/>
                </a:prstClr>
              </a:solidFill>
            </a:endParaRPr>
          </a:p>
        </p:txBody>
      </p:sp>
    </p:spTree>
    <p:extLst>
      <p:ext uri="{BB962C8B-B14F-4D97-AF65-F5344CB8AC3E}">
        <p14:creationId xmlns:p14="http://schemas.microsoft.com/office/powerpoint/2010/main" val="1631785881"/>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AR"/>
          </a:p>
        </p:txBody>
      </p:sp>
      <p:sp>
        <p:nvSpPr>
          <p:cNvPr id="3" name="2 Marcador de fecha"/>
          <p:cNvSpPr>
            <a:spLocks noGrp="1"/>
          </p:cNvSpPr>
          <p:nvPr>
            <p:ph type="dt" sz="half" idx="10"/>
          </p:nvPr>
        </p:nvSpPr>
        <p:spPr/>
        <p:txBody>
          <a:bodyPr/>
          <a:lstStyle/>
          <a:p>
            <a:fld id="{0725BAA1-FBBD-4E70-A359-A09EE94F66E3}" type="datetimeFigureOut">
              <a:rPr lang="es-AR" smtClean="0">
                <a:solidFill>
                  <a:prstClr val="black">
                    <a:tint val="75000"/>
                  </a:prstClr>
                </a:solidFill>
              </a:rPr>
              <a:pPr/>
              <a:t>7/8/2024</a:t>
            </a:fld>
            <a:endParaRPr lang="es-AR">
              <a:solidFill>
                <a:prstClr val="black">
                  <a:tint val="75000"/>
                </a:prstClr>
              </a:solidFill>
            </a:endParaRPr>
          </a:p>
        </p:txBody>
      </p:sp>
      <p:sp>
        <p:nvSpPr>
          <p:cNvPr id="4" name="3 Marcador de pie de página"/>
          <p:cNvSpPr>
            <a:spLocks noGrp="1"/>
          </p:cNvSpPr>
          <p:nvPr>
            <p:ph type="ftr" sz="quarter" idx="11"/>
          </p:nvPr>
        </p:nvSpPr>
        <p:spPr/>
        <p:txBody>
          <a:bodyPr/>
          <a:lstStyle/>
          <a:p>
            <a:endParaRPr lang="es-AR">
              <a:solidFill>
                <a:prstClr val="black">
                  <a:tint val="75000"/>
                </a:prstClr>
              </a:solidFill>
            </a:endParaRPr>
          </a:p>
        </p:txBody>
      </p:sp>
      <p:sp>
        <p:nvSpPr>
          <p:cNvPr id="5" name="4 Marcador de número de diapositiva"/>
          <p:cNvSpPr>
            <a:spLocks noGrp="1"/>
          </p:cNvSpPr>
          <p:nvPr>
            <p:ph type="sldNum" sz="quarter" idx="12"/>
          </p:nvPr>
        </p:nvSpPr>
        <p:spPr/>
        <p:txBody>
          <a:bodyPr/>
          <a:lstStyle/>
          <a:p>
            <a:fld id="{59E1C38B-2DCA-4AC1-8602-45EA13F687CD}" type="slidenum">
              <a:rPr lang="es-AR" smtClean="0">
                <a:solidFill>
                  <a:prstClr val="black">
                    <a:tint val="75000"/>
                  </a:prstClr>
                </a:solidFill>
              </a:rPr>
              <a:pPr/>
              <a:t>‹Nº›</a:t>
            </a:fld>
            <a:endParaRPr lang="es-AR">
              <a:solidFill>
                <a:prstClr val="black">
                  <a:tint val="75000"/>
                </a:prstClr>
              </a:solidFill>
            </a:endParaRPr>
          </a:p>
        </p:txBody>
      </p:sp>
    </p:spTree>
    <p:extLst>
      <p:ext uri="{BB962C8B-B14F-4D97-AF65-F5344CB8AC3E}">
        <p14:creationId xmlns:p14="http://schemas.microsoft.com/office/powerpoint/2010/main" val="1995252607"/>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1 Marcador de fecha"/>
          <p:cNvSpPr>
            <a:spLocks noGrp="1"/>
          </p:cNvSpPr>
          <p:nvPr>
            <p:ph type="dt" sz="half" idx="10"/>
          </p:nvPr>
        </p:nvSpPr>
        <p:spPr/>
        <p:txBody>
          <a:bodyPr/>
          <a:lstStyle/>
          <a:p>
            <a:fld id="{0725BAA1-FBBD-4E70-A359-A09EE94F66E3}" type="datetimeFigureOut">
              <a:rPr lang="es-AR" smtClean="0">
                <a:solidFill>
                  <a:prstClr val="black">
                    <a:tint val="75000"/>
                  </a:prstClr>
                </a:solidFill>
              </a:rPr>
              <a:pPr/>
              <a:t>7/8/2024</a:t>
            </a:fld>
            <a:endParaRPr lang="es-AR">
              <a:solidFill>
                <a:prstClr val="black">
                  <a:tint val="75000"/>
                </a:prstClr>
              </a:solidFill>
            </a:endParaRPr>
          </a:p>
        </p:txBody>
      </p:sp>
      <p:sp>
        <p:nvSpPr>
          <p:cNvPr id="3" name="2 Marcador de pie de página"/>
          <p:cNvSpPr>
            <a:spLocks noGrp="1"/>
          </p:cNvSpPr>
          <p:nvPr>
            <p:ph type="ftr" sz="quarter" idx="11"/>
          </p:nvPr>
        </p:nvSpPr>
        <p:spPr/>
        <p:txBody>
          <a:bodyPr/>
          <a:lstStyle/>
          <a:p>
            <a:endParaRPr lang="es-AR">
              <a:solidFill>
                <a:prstClr val="black">
                  <a:tint val="75000"/>
                </a:prstClr>
              </a:solidFill>
            </a:endParaRPr>
          </a:p>
        </p:txBody>
      </p:sp>
      <p:sp>
        <p:nvSpPr>
          <p:cNvPr id="4" name="3 Marcador de número de diapositiva"/>
          <p:cNvSpPr>
            <a:spLocks noGrp="1"/>
          </p:cNvSpPr>
          <p:nvPr>
            <p:ph type="sldNum" sz="quarter" idx="12"/>
          </p:nvPr>
        </p:nvSpPr>
        <p:spPr/>
        <p:txBody>
          <a:bodyPr/>
          <a:lstStyle/>
          <a:p>
            <a:fld id="{59E1C38B-2DCA-4AC1-8602-45EA13F687CD}" type="slidenum">
              <a:rPr lang="es-AR" smtClean="0">
                <a:solidFill>
                  <a:prstClr val="black">
                    <a:tint val="75000"/>
                  </a:prstClr>
                </a:solidFill>
              </a:rPr>
              <a:pPr/>
              <a:t>‹Nº›</a:t>
            </a:fld>
            <a:endParaRPr lang="es-AR">
              <a:solidFill>
                <a:prstClr val="black">
                  <a:tint val="75000"/>
                </a:prstClr>
              </a:solidFill>
            </a:endParaRPr>
          </a:p>
        </p:txBody>
      </p:sp>
    </p:spTree>
    <p:extLst>
      <p:ext uri="{BB962C8B-B14F-4D97-AF65-F5344CB8AC3E}">
        <p14:creationId xmlns:p14="http://schemas.microsoft.com/office/powerpoint/2010/main" val="853358056"/>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202" y="204787"/>
            <a:ext cx="3008313" cy="871538"/>
          </a:xfrm>
        </p:spPr>
        <p:txBody>
          <a:bodyPr anchor="b"/>
          <a:lstStyle>
            <a:lvl1pPr algn="l">
              <a:defRPr sz="2000" b="1"/>
            </a:lvl1pPr>
          </a:lstStyle>
          <a:p>
            <a:r>
              <a:rPr lang="es-ES" smtClean="0"/>
              <a:t>Haga clic para modificar el estilo de título del patrón</a:t>
            </a:r>
            <a:endParaRPr lang="es-AR"/>
          </a:p>
        </p:txBody>
      </p:sp>
      <p:sp>
        <p:nvSpPr>
          <p:cNvPr id="3" name="2 Marcador de contenido"/>
          <p:cNvSpPr>
            <a:spLocks noGrp="1"/>
          </p:cNvSpPr>
          <p:nvPr>
            <p:ph idx="1"/>
          </p:nvPr>
        </p:nvSpPr>
        <p:spPr>
          <a:xfrm>
            <a:off x="3575050" y="204800"/>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AR"/>
          </a:p>
        </p:txBody>
      </p:sp>
      <p:sp>
        <p:nvSpPr>
          <p:cNvPr id="4" name="3 Marcador de texto"/>
          <p:cNvSpPr>
            <a:spLocks noGrp="1"/>
          </p:cNvSpPr>
          <p:nvPr>
            <p:ph type="body" sz="half" idx="2"/>
          </p:nvPr>
        </p:nvSpPr>
        <p:spPr>
          <a:xfrm>
            <a:off x="457202" y="1076328"/>
            <a:ext cx="3008313" cy="3518297"/>
          </a:xfrm>
        </p:spPr>
        <p:txBody>
          <a:bodyPr/>
          <a:lstStyle>
            <a:lvl1pPr marL="0" indent="0">
              <a:buNone/>
              <a:defRPr sz="1400"/>
            </a:lvl1pPr>
            <a:lvl2pPr marL="456470" indent="0">
              <a:buNone/>
              <a:defRPr sz="1200"/>
            </a:lvl2pPr>
            <a:lvl3pPr marL="913028" indent="0">
              <a:buNone/>
              <a:defRPr sz="1000"/>
            </a:lvl3pPr>
            <a:lvl4pPr marL="1369526" indent="0">
              <a:buNone/>
              <a:defRPr sz="900"/>
            </a:lvl4pPr>
            <a:lvl5pPr marL="1826054" indent="0">
              <a:buNone/>
              <a:defRPr sz="900"/>
            </a:lvl5pPr>
            <a:lvl6pPr marL="2282523" indent="0">
              <a:buNone/>
              <a:defRPr sz="900"/>
            </a:lvl6pPr>
            <a:lvl7pPr marL="2738993" indent="0">
              <a:buNone/>
              <a:defRPr sz="900"/>
            </a:lvl7pPr>
            <a:lvl8pPr marL="3195520" indent="0">
              <a:buNone/>
              <a:defRPr sz="900"/>
            </a:lvl8pPr>
            <a:lvl9pPr marL="3652035" indent="0">
              <a:buNone/>
              <a:defRPr sz="900"/>
            </a:lvl9pPr>
          </a:lstStyle>
          <a:p>
            <a:pPr lvl="0"/>
            <a:r>
              <a:rPr lang="es-ES" smtClean="0"/>
              <a:t>Haga clic para modificar el estilo de texto del patrón</a:t>
            </a:r>
          </a:p>
        </p:txBody>
      </p:sp>
      <p:sp>
        <p:nvSpPr>
          <p:cNvPr id="5" name="4 Marcador de fecha"/>
          <p:cNvSpPr>
            <a:spLocks noGrp="1"/>
          </p:cNvSpPr>
          <p:nvPr>
            <p:ph type="dt" sz="half" idx="10"/>
          </p:nvPr>
        </p:nvSpPr>
        <p:spPr/>
        <p:txBody>
          <a:bodyPr/>
          <a:lstStyle/>
          <a:p>
            <a:fld id="{0725BAA1-FBBD-4E70-A359-A09EE94F66E3}" type="datetimeFigureOut">
              <a:rPr lang="es-AR" smtClean="0">
                <a:solidFill>
                  <a:prstClr val="black">
                    <a:tint val="75000"/>
                  </a:prstClr>
                </a:solidFill>
              </a:rPr>
              <a:pPr/>
              <a:t>7/8/2024</a:t>
            </a:fld>
            <a:endParaRPr lang="es-AR">
              <a:solidFill>
                <a:prstClr val="black">
                  <a:tint val="75000"/>
                </a:prstClr>
              </a:solidFill>
            </a:endParaRPr>
          </a:p>
        </p:txBody>
      </p:sp>
      <p:sp>
        <p:nvSpPr>
          <p:cNvPr id="6" name="5 Marcador de pie de página"/>
          <p:cNvSpPr>
            <a:spLocks noGrp="1"/>
          </p:cNvSpPr>
          <p:nvPr>
            <p:ph type="ftr" sz="quarter" idx="11"/>
          </p:nvPr>
        </p:nvSpPr>
        <p:spPr/>
        <p:txBody>
          <a:bodyPr/>
          <a:lstStyle/>
          <a:p>
            <a:endParaRPr lang="es-AR">
              <a:solidFill>
                <a:prstClr val="black">
                  <a:tint val="75000"/>
                </a:prstClr>
              </a:solidFill>
            </a:endParaRPr>
          </a:p>
        </p:txBody>
      </p:sp>
      <p:sp>
        <p:nvSpPr>
          <p:cNvPr id="7" name="6 Marcador de número de diapositiva"/>
          <p:cNvSpPr>
            <a:spLocks noGrp="1"/>
          </p:cNvSpPr>
          <p:nvPr>
            <p:ph type="sldNum" sz="quarter" idx="12"/>
          </p:nvPr>
        </p:nvSpPr>
        <p:spPr/>
        <p:txBody>
          <a:bodyPr/>
          <a:lstStyle/>
          <a:p>
            <a:fld id="{59E1C38B-2DCA-4AC1-8602-45EA13F687CD}" type="slidenum">
              <a:rPr lang="es-AR" smtClean="0">
                <a:solidFill>
                  <a:prstClr val="black">
                    <a:tint val="75000"/>
                  </a:prstClr>
                </a:solidFill>
              </a:rPr>
              <a:pPr/>
              <a:t>‹Nº›</a:t>
            </a:fld>
            <a:endParaRPr lang="es-AR">
              <a:solidFill>
                <a:prstClr val="black">
                  <a:tint val="75000"/>
                </a:prstClr>
              </a:solidFill>
            </a:endParaRPr>
          </a:p>
        </p:txBody>
      </p:sp>
    </p:spTree>
    <p:extLst>
      <p:ext uri="{BB962C8B-B14F-4D97-AF65-F5344CB8AC3E}">
        <p14:creationId xmlns:p14="http://schemas.microsoft.com/office/powerpoint/2010/main" val="503325583"/>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792288" y="3600451"/>
            <a:ext cx="5486400" cy="425054"/>
          </a:xfrm>
        </p:spPr>
        <p:txBody>
          <a:bodyPr anchor="b"/>
          <a:lstStyle>
            <a:lvl1pPr algn="l">
              <a:defRPr sz="2000" b="1"/>
            </a:lvl1pPr>
          </a:lstStyle>
          <a:p>
            <a:r>
              <a:rPr lang="es-ES" smtClean="0"/>
              <a:t>Haga clic para modificar el estilo de título del patrón</a:t>
            </a:r>
            <a:endParaRPr lang="es-AR"/>
          </a:p>
        </p:txBody>
      </p:sp>
      <p:sp>
        <p:nvSpPr>
          <p:cNvPr id="3" name="2 Marcador de posición de imagen"/>
          <p:cNvSpPr>
            <a:spLocks noGrp="1"/>
          </p:cNvSpPr>
          <p:nvPr>
            <p:ph type="pic" idx="1"/>
          </p:nvPr>
        </p:nvSpPr>
        <p:spPr>
          <a:xfrm>
            <a:off x="1792288" y="459581"/>
            <a:ext cx="5486400" cy="3086100"/>
          </a:xfrm>
        </p:spPr>
        <p:txBody>
          <a:bodyPr/>
          <a:lstStyle>
            <a:lvl1pPr marL="0" indent="0">
              <a:buNone/>
              <a:defRPr sz="3200"/>
            </a:lvl1pPr>
            <a:lvl2pPr marL="456470" indent="0">
              <a:buNone/>
              <a:defRPr sz="2800"/>
            </a:lvl2pPr>
            <a:lvl3pPr marL="913028" indent="0">
              <a:buNone/>
              <a:defRPr sz="2400"/>
            </a:lvl3pPr>
            <a:lvl4pPr marL="1369526" indent="0">
              <a:buNone/>
              <a:defRPr sz="2000"/>
            </a:lvl4pPr>
            <a:lvl5pPr marL="1826054" indent="0">
              <a:buNone/>
              <a:defRPr sz="2000"/>
            </a:lvl5pPr>
            <a:lvl6pPr marL="2282523" indent="0">
              <a:buNone/>
              <a:defRPr sz="2000"/>
            </a:lvl6pPr>
            <a:lvl7pPr marL="2738993" indent="0">
              <a:buNone/>
              <a:defRPr sz="2000"/>
            </a:lvl7pPr>
            <a:lvl8pPr marL="3195520" indent="0">
              <a:buNone/>
              <a:defRPr sz="2000"/>
            </a:lvl8pPr>
            <a:lvl9pPr marL="3652035" indent="0">
              <a:buNone/>
              <a:defRPr sz="2000"/>
            </a:lvl9pPr>
          </a:lstStyle>
          <a:p>
            <a:endParaRPr lang="es-AR"/>
          </a:p>
        </p:txBody>
      </p:sp>
      <p:sp>
        <p:nvSpPr>
          <p:cNvPr id="4" name="3 Marcador de texto"/>
          <p:cNvSpPr>
            <a:spLocks noGrp="1"/>
          </p:cNvSpPr>
          <p:nvPr>
            <p:ph type="body" sz="half" idx="2"/>
          </p:nvPr>
        </p:nvSpPr>
        <p:spPr>
          <a:xfrm>
            <a:off x="1792288" y="4025564"/>
            <a:ext cx="5486400" cy="603647"/>
          </a:xfrm>
        </p:spPr>
        <p:txBody>
          <a:bodyPr/>
          <a:lstStyle>
            <a:lvl1pPr marL="0" indent="0">
              <a:buNone/>
              <a:defRPr sz="1400"/>
            </a:lvl1pPr>
            <a:lvl2pPr marL="456470" indent="0">
              <a:buNone/>
              <a:defRPr sz="1200"/>
            </a:lvl2pPr>
            <a:lvl3pPr marL="913028" indent="0">
              <a:buNone/>
              <a:defRPr sz="1000"/>
            </a:lvl3pPr>
            <a:lvl4pPr marL="1369526" indent="0">
              <a:buNone/>
              <a:defRPr sz="900"/>
            </a:lvl4pPr>
            <a:lvl5pPr marL="1826054" indent="0">
              <a:buNone/>
              <a:defRPr sz="900"/>
            </a:lvl5pPr>
            <a:lvl6pPr marL="2282523" indent="0">
              <a:buNone/>
              <a:defRPr sz="900"/>
            </a:lvl6pPr>
            <a:lvl7pPr marL="2738993" indent="0">
              <a:buNone/>
              <a:defRPr sz="900"/>
            </a:lvl7pPr>
            <a:lvl8pPr marL="3195520" indent="0">
              <a:buNone/>
              <a:defRPr sz="900"/>
            </a:lvl8pPr>
            <a:lvl9pPr marL="3652035" indent="0">
              <a:buNone/>
              <a:defRPr sz="900"/>
            </a:lvl9pPr>
          </a:lstStyle>
          <a:p>
            <a:pPr lvl="0"/>
            <a:r>
              <a:rPr lang="es-ES" smtClean="0"/>
              <a:t>Haga clic para modificar el estilo de texto del patrón</a:t>
            </a:r>
          </a:p>
        </p:txBody>
      </p:sp>
      <p:sp>
        <p:nvSpPr>
          <p:cNvPr id="5" name="4 Marcador de fecha"/>
          <p:cNvSpPr>
            <a:spLocks noGrp="1"/>
          </p:cNvSpPr>
          <p:nvPr>
            <p:ph type="dt" sz="half" idx="10"/>
          </p:nvPr>
        </p:nvSpPr>
        <p:spPr/>
        <p:txBody>
          <a:bodyPr/>
          <a:lstStyle/>
          <a:p>
            <a:fld id="{0725BAA1-FBBD-4E70-A359-A09EE94F66E3}" type="datetimeFigureOut">
              <a:rPr lang="es-AR" smtClean="0">
                <a:solidFill>
                  <a:prstClr val="black">
                    <a:tint val="75000"/>
                  </a:prstClr>
                </a:solidFill>
              </a:rPr>
              <a:pPr/>
              <a:t>7/8/2024</a:t>
            </a:fld>
            <a:endParaRPr lang="es-AR">
              <a:solidFill>
                <a:prstClr val="black">
                  <a:tint val="75000"/>
                </a:prstClr>
              </a:solidFill>
            </a:endParaRPr>
          </a:p>
        </p:txBody>
      </p:sp>
      <p:sp>
        <p:nvSpPr>
          <p:cNvPr id="6" name="5 Marcador de pie de página"/>
          <p:cNvSpPr>
            <a:spLocks noGrp="1"/>
          </p:cNvSpPr>
          <p:nvPr>
            <p:ph type="ftr" sz="quarter" idx="11"/>
          </p:nvPr>
        </p:nvSpPr>
        <p:spPr/>
        <p:txBody>
          <a:bodyPr/>
          <a:lstStyle/>
          <a:p>
            <a:endParaRPr lang="es-AR">
              <a:solidFill>
                <a:prstClr val="black">
                  <a:tint val="75000"/>
                </a:prstClr>
              </a:solidFill>
            </a:endParaRPr>
          </a:p>
        </p:txBody>
      </p:sp>
      <p:sp>
        <p:nvSpPr>
          <p:cNvPr id="7" name="6 Marcador de número de diapositiva"/>
          <p:cNvSpPr>
            <a:spLocks noGrp="1"/>
          </p:cNvSpPr>
          <p:nvPr>
            <p:ph type="sldNum" sz="quarter" idx="12"/>
          </p:nvPr>
        </p:nvSpPr>
        <p:spPr/>
        <p:txBody>
          <a:bodyPr/>
          <a:lstStyle/>
          <a:p>
            <a:fld id="{59E1C38B-2DCA-4AC1-8602-45EA13F687CD}" type="slidenum">
              <a:rPr lang="es-AR" smtClean="0">
                <a:solidFill>
                  <a:prstClr val="black">
                    <a:tint val="75000"/>
                  </a:prstClr>
                </a:solidFill>
              </a:rPr>
              <a:pPr/>
              <a:t>‹Nº›</a:t>
            </a:fld>
            <a:endParaRPr lang="es-AR">
              <a:solidFill>
                <a:prstClr val="black">
                  <a:tint val="75000"/>
                </a:prstClr>
              </a:solidFill>
            </a:endParaRPr>
          </a:p>
        </p:txBody>
      </p:sp>
    </p:spTree>
    <p:extLst>
      <p:ext uri="{BB962C8B-B14F-4D97-AF65-F5344CB8AC3E}">
        <p14:creationId xmlns:p14="http://schemas.microsoft.com/office/powerpoint/2010/main" val="3215859803"/>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AR"/>
          </a:p>
        </p:txBody>
      </p:sp>
      <p:sp>
        <p:nvSpPr>
          <p:cNvPr id="3" name="2 Marcador de texto vertical"/>
          <p:cNvSpPr>
            <a:spLocks noGrp="1"/>
          </p:cNvSpPr>
          <p:nvPr>
            <p:ph type="body" orient="vert" idx="1"/>
          </p:nvPr>
        </p:nvSpPr>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AR"/>
          </a:p>
        </p:txBody>
      </p:sp>
      <p:sp>
        <p:nvSpPr>
          <p:cNvPr id="4" name="3 Marcador de fecha"/>
          <p:cNvSpPr>
            <a:spLocks noGrp="1"/>
          </p:cNvSpPr>
          <p:nvPr>
            <p:ph type="dt" sz="half" idx="10"/>
          </p:nvPr>
        </p:nvSpPr>
        <p:spPr/>
        <p:txBody>
          <a:bodyPr/>
          <a:lstStyle/>
          <a:p>
            <a:fld id="{0725BAA1-FBBD-4E70-A359-A09EE94F66E3}" type="datetimeFigureOut">
              <a:rPr lang="es-AR" smtClean="0">
                <a:solidFill>
                  <a:prstClr val="black">
                    <a:tint val="75000"/>
                  </a:prstClr>
                </a:solidFill>
              </a:rPr>
              <a:pPr/>
              <a:t>7/8/2024</a:t>
            </a:fld>
            <a:endParaRPr lang="es-AR">
              <a:solidFill>
                <a:prstClr val="black">
                  <a:tint val="75000"/>
                </a:prstClr>
              </a:solidFill>
            </a:endParaRPr>
          </a:p>
        </p:txBody>
      </p:sp>
      <p:sp>
        <p:nvSpPr>
          <p:cNvPr id="5" name="4 Marcador de pie de página"/>
          <p:cNvSpPr>
            <a:spLocks noGrp="1"/>
          </p:cNvSpPr>
          <p:nvPr>
            <p:ph type="ftr" sz="quarter" idx="11"/>
          </p:nvPr>
        </p:nvSpPr>
        <p:spPr/>
        <p:txBody>
          <a:bodyPr/>
          <a:lstStyle/>
          <a:p>
            <a:endParaRPr lang="es-AR">
              <a:solidFill>
                <a:prstClr val="black">
                  <a:tint val="75000"/>
                </a:prstClr>
              </a:solidFill>
            </a:endParaRPr>
          </a:p>
        </p:txBody>
      </p:sp>
      <p:sp>
        <p:nvSpPr>
          <p:cNvPr id="6" name="5 Marcador de número de diapositiva"/>
          <p:cNvSpPr>
            <a:spLocks noGrp="1"/>
          </p:cNvSpPr>
          <p:nvPr>
            <p:ph type="sldNum" sz="quarter" idx="12"/>
          </p:nvPr>
        </p:nvSpPr>
        <p:spPr/>
        <p:txBody>
          <a:bodyPr/>
          <a:lstStyle/>
          <a:p>
            <a:fld id="{59E1C38B-2DCA-4AC1-8602-45EA13F687CD}" type="slidenum">
              <a:rPr lang="es-AR" smtClean="0">
                <a:solidFill>
                  <a:prstClr val="black">
                    <a:tint val="75000"/>
                  </a:prstClr>
                </a:solidFill>
              </a:rPr>
              <a:pPr/>
              <a:t>‹Nº›</a:t>
            </a:fld>
            <a:endParaRPr lang="es-AR">
              <a:solidFill>
                <a:prstClr val="black">
                  <a:tint val="75000"/>
                </a:prstClr>
              </a:solidFill>
            </a:endParaRPr>
          </a:p>
        </p:txBody>
      </p:sp>
    </p:spTree>
    <p:extLst>
      <p:ext uri="{BB962C8B-B14F-4D97-AF65-F5344CB8AC3E}">
        <p14:creationId xmlns:p14="http://schemas.microsoft.com/office/powerpoint/2010/main" val="165210962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Video Widescreen (16 x 9)">
    <p:spTree>
      <p:nvGrpSpPr>
        <p:cNvPr id="1" name=""/>
        <p:cNvGrpSpPr/>
        <p:nvPr/>
      </p:nvGrpSpPr>
      <p:grpSpPr>
        <a:xfrm>
          <a:off x="0" y="0"/>
          <a:ext cx="0" cy="0"/>
          <a:chOff x="0" y="0"/>
          <a:chExt cx="0" cy="0"/>
        </a:xfrm>
      </p:grpSpPr>
      <p:sp>
        <p:nvSpPr>
          <p:cNvPr id="5" name="Media Placeholder 5"/>
          <p:cNvSpPr>
            <a:spLocks noGrp="1" noChangeAspect="1"/>
          </p:cNvSpPr>
          <p:nvPr>
            <p:ph type="media" sz="quarter" idx="12" hasCustomPrompt="1"/>
          </p:nvPr>
        </p:nvSpPr>
        <p:spPr>
          <a:xfrm>
            <a:off x="870331" y="1035845"/>
            <a:ext cx="7405070" cy="3136923"/>
          </a:xfrm>
        </p:spPr>
        <p:txBody>
          <a:bodyPr lIns="108000" tIns="108000"/>
          <a:lstStyle>
            <a:lvl1pPr marL="0" indent="0">
              <a:buNone/>
              <a:defRPr baseline="0">
                <a:solidFill>
                  <a:schemeClr val="tx1"/>
                </a:solidFill>
              </a:defRPr>
            </a:lvl1pPr>
          </a:lstStyle>
          <a:p>
            <a:r>
              <a:rPr lang="en-GB"/>
              <a:t>Click on the film icon to insert your widescreen (16x9) video</a:t>
            </a:r>
          </a:p>
        </p:txBody>
      </p:sp>
      <p:sp>
        <p:nvSpPr>
          <p:cNvPr id="8" name="Title 7"/>
          <p:cNvSpPr>
            <a:spLocks noGrp="1"/>
          </p:cNvSpPr>
          <p:nvPr>
            <p:ph type="title"/>
          </p:nvPr>
        </p:nvSpPr>
        <p:spPr>
          <a:xfrm>
            <a:off x="365133" y="221107"/>
            <a:ext cx="7577139" cy="253916"/>
          </a:xfrm>
        </p:spPr>
        <p:txBody>
          <a:bodyPr/>
          <a:lstStyle>
            <a:lvl1pPr>
              <a:defRPr>
                <a:solidFill>
                  <a:schemeClr val="bg2"/>
                </a:solidFill>
              </a:defRPr>
            </a:lvl1pPr>
          </a:lstStyle>
          <a:p>
            <a:r>
              <a:rPr lang="en-US"/>
              <a:t>Click to edit Master title style</a:t>
            </a:r>
            <a:endParaRPr lang="en-GB"/>
          </a:p>
        </p:txBody>
      </p:sp>
      <p:sp>
        <p:nvSpPr>
          <p:cNvPr id="6" name="Date Placeholder 5"/>
          <p:cNvSpPr>
            <a:spLocks noGrp="1"/>
          </p:cNvSpPr>
          <p:nvPr>
            <p:ph type="dt" sz="half" idx="16"/>
          </p:nvPr>
        </p:nvSpPr>
        <p:spPr>
          <a:xfrm>
            <a:off x="2985247" y="4827993"/>
            <a:ext cx="3164730" cy="273844"/>
          </a:xfrm>
          <a:prstGeom prst="rect">
            <a:avLst/>
          </a:prstGeom>
        </p:spPr>
        <p:txBody>
          <a:bodyPr/>
          <a:lstStyle/>
          <a:p>
            <a:pPr algn="ctr"/>
            <a:endParaRPr lang="en-GB">
              <a:solidFill>
                <a:srgbClr val="9A8B7D"/>
              </a:solidFill>
            </a:endParaRPr>
          </a:p>
        </p:txBody>
      </p:sp>
      <p:sp>
        <p:nvSpPr>
          <p:cNvPr id="7" name="Footer Placeholder 6"/>
          <p:cNvSpPr>
            <a:spLocks noGrp="1"/>
          </p:cNvSpPr>
          <p:nvPr>
            <p:ph type="ftr" sz="quarter" idx="17"/>
          </p:nvPr>
        </p:nvSpPr>
        <p:spPr>
          <a:xfrm>
            <a:off x="287372" y="4827993"/>
            <a:ext cx="2636807" cy="273844"/>
          </a:xfrm>
          <a:prstGeom prst="rect">
            <a:avLst/>
          </a:prstGeom>
        </p:spPr>
        <p:txBody>
          <a:bodyPr/>
          <a:lstStyle/>
          <a:p>
            <a:endParaRPr lang="en-GB">
              <a:solidFill>
                <a:srgbClr val="9A8B7D"/>
              </a:solidFill>
            </a:endParaRPr>
          </a:p>
        </p:txBody>
      </p:sp>
      <p:sp>
        <p:nvSpPr>
          <p:cNvPr id="9" name="Slide Number Placeholder 8"/>
          <p:cNvSpPr>
            <a:spLocks noGrp="1"/>
          </p:cNvSpPr>
          <p:nvPr>
            <p:ph type="sldNum" sz="quarter" idx="18"/>
          </p:nvPr>
        </p:nvSpPr>
        <p:spPr/>
        <p:txBody>
          <a:bodyPr/>
          <a:lstStyle/>
          <a:p>
            <a:fld id="{9F9F533D-B52E-4A2F-BF72-0ADD2D94BD75}" type="slidenum">
              <a:rPr lang="en-GB" smtClean="0">
                <a:solidFill>
                  <a:srgbClr val="9A8B7D"/>
                </a:solidFill>
              </a:rPr>
              <a:pPr/>
              <a:t>‹Nº›</a:t>
            </a:fld>
            <a:endParaRPr lang="en-GB">
              <a:solidFill>
                <a:srgbClr val="9A8B7D"/>
              </a:solidFill>
            </a:endParaRPr>
          </a:p>
        </p:txBody>
      </p:sp>
      <p:sp>
        <p:nvSpPr>
          <p:cNvPr id="11" name="Text Placeholder 2"/>
          <p:cNvSpPr>
            <a:spLocks noGrp="1"/>
          </p:cNvSpPr>
          <p:nvPr>
            <p:ph type="body" sz="quarter" idx="14" hasCustomPrompt="1"/>
          </p:nvPr>
        </p:nvSpPr>
        <p:spPr>
          <a:xfrm>
            <a:off x="365124" y="519477"/>
            <a:ext cx="7597776" cy="176213"/>
          </a:xfrm>
        </p:spPr>
        <p:txBody>
          <a:bodyPr anchor="t" anchorCtr="0"/>
          <a:lstStyle>
            <a:lvl1pPr marL="0" indent="0">
              <a:spcAft>
                <a:spcPts val="0"/>
              </a:spcAft>
              <a:buNone/>
              <a:defRPr sz="1350"/>
            </a:lvl1pPr>
            <a:lvl2pPr marL="203597" indent="0">
              <a:buNone/>
              <a:defRPr/>
            </a:lvl2pPr>
            <a:lvl3pPr marL="400050" indent="0">
              <a:buNone/>
              <a:defRPr/>
            </a:lvl3pPr>
            <a:lvl4pPr marL="611981" indent="0">
              <a:buNone/>
              <a:defRPr/>
            </a:lvl4pPr>
            <a:lvl5pPr marL="828675" indent="0">
              <a:buNone/>
              <a:defRPr/>
            </a:lvl5pPr>
          </a:lstStyle>
          <a:p>
            <a:pPr lvl="0"/>
            <a:r>
              <a:rPr lang="en-US"/>
              <a:t>Subtitle here if required</a:t>
            </a:r>
          </a:p>
        </p:txBody>
      </p:sp>
    </p:spTree>
    <p:extLst>
      <p:ext uri="{BB962C8B-B14F-4D97-AF65-F5344CB8AC3E}">
        <p14:creationId xmlns:p14="http://schemas.microsoft.com/office/powerpoint/2010/main" val="1770025369"/>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629400" y="205980"/>
            <a:ext cx="2057400" cy="4388644"/>
          </a:xfrm>
        </p:spPr>
        <p:txBody>
          <a:bodyPr vert="eaVert"/>
          <a:lstStyle/>
          <a:p>
            <a:r>
              <a:rPr lang="es-ES" smtClean="0"/>
              <a:t>Haga clic para modificar el estilo de título del patrón</a:t>
            </a:r>
            <a:endParaRPr lang="es-AR"/>
          </a:p>
        </p:txBody>
      </p:sp>
      <p:sp>
        <p:nvSpPr>
          <p:cNvPr id="3" name="2 Marcador de texto vertical"/>
          <p:cNvSpPr>
            <a:spLocks noGrp="1"/>
          </p:cNvSpPr>
          <p:nvPr>
            <p:ph type="body" orient="vert" idx="1"/>
          </p:nvPr>
        </p:nvSpPr>
        <p:spPr>
          <a:xfrm>
            <a:off x="457200" y="205980"/>
            <a:ext cx="6019800" cy="4388644"/>
          </a:xfr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AR"/>
          </a:p>
        </p:txBody>
      </p:sp>
      <p:sp>
        <p:nvSpPr>
          <p:cNvPr id="4" name="3 Marcador de fecha"/>
          <p:cNvSpPr>
            <a:spLocks noGrp="1"/>
          </p:cNvSpPr>
          <p:nvPr>
            <p:ph type="dt" sz="half" idx="10"/>
          </p:nvPr>
        </p:nvSpPr>
        <p:spPr/>
        <p:txBody>
          <a:bodyPr/>
          <a:lstStyle/>
          <a:p>
            <a:fld id="{0725BAA1-FBBD-4E70-A359-A09EE94F66E3}" type="datetimeFigureOut">
              <a:rPr lang="es-AR" smtClean="0">
                <a:solidFill>
                  <a:prstClr val="black">
                    <a:tint val="75000"/>
                  </a:prstClr>
                </a:solidFill>
              </a:rPr>
              <a:pPr/>
              <a:t>7/8/2024</a:t>
            </a:fld>
            <a:endParaRPr lang="es-AR">
              <a:solidFill>
                <a:prstClr val="black">
                  <a:tint val="75000"/>
                </a:prstClr>
              </a:solidFill>
            </a:endParaRPr>
          </a:p>
        </p:txBody>
      </p:sp>
      <p:sp>
        <p:nvSpPr>
          <p:cNvPr id="5" name="4 Marcador de pie de página"/>
          <p:cNvSpPr>
            <a:spLocks noGrp="1"/>
          </p:cNvSpPr>
          <p:nvPr>
            <p:ph type="ftr" sz="quarter" idx="11"/>
          </p:nvPr>
        </p:nvSpPr>
        <p:spPr/>
        <p:txBody>
          <a:bodyPr/>
          <a:lstStyle/>
          <a:p>
            <a:endParaRPr lang="es-AR">
              <a:solidFill>
                <a:prstClr val="black">
                  <a:tint val="75000"/>
                </a:prstClr>
              </a:solidFill>
            </a:endParaRPr>
          </a:p>
        </p:txBody>
      </p:sp>
      <p:sp>
        <p:nvSpPr>
          <p:cNvPr id="6" name="5 Marcador de número de diapositiva"/>
          <p:cNvSpPr>
            <a:spLocks noGrp="1"/>
          </p:cNvSpPr>
          <p:nvPr>
            <p:ph type="sldNum" sz="quarter" idx="12"/>
          </p:nvPr>
        </p:nvSpPr>
        <p:spPr/>
        <p:txBody>
          <a:bodyPr/>
          <a:lstStyle/>
          <a:p>
            <a:fld id="{59E1C38B-2DCA-4AC1-8602-45EA13F687CD}" type="slidenum">
              <a:rPr lang="es-AR" smtClean="0">
                <a:solidFill>
                  <a:prstClr val="black">
                    <a:tint val="75000"/>
                  </a:prstClr>
                </a:solidFill>
              </a:rPr>
              <a:pPr/>
              <a:t>‹Nº›</a:t>
            </a:fld>
            <a:endParaRPr lang="es-AR">
              <a:solidFill>
                <a:prstClr val="black">
                  <a:tint val="75000"/>
                </a:prstClr>
              </a:solidFill>
            </a:endParaRPr>
          </a:p>
        </p:txBody>
      </p:sp>
    </p:spTree>
    <p:extLst>
      <p:ext uri="{BB962C8B-B14F-4D97-AF65-F5344CB8AC3E}">
        <p14:creationId xmlns:p14="http://schemas.microsoft.com/office/powerpoint/2010/main" val="631663626"/>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type="txAndObj">
  <p:cSld name="Título, texto y objetos">
    <p:spTree>
      <p:nvGrpSpPr>
        <p:cNvPr id="1" name=""/>
        <p:cNvGrpSpPr/>
        <p:nvPr/>
      </p:nvGrpSpPr>
      <p:grpSpPr>
        <a:xfrm>
          <a:off x="0" y="0"/>
          <a:ext cx="0" cy="0"/>
          <a:chOff x="0" y="0"/>
          <a:chExt cx="0" cy="0"/>
        </a:xfrm>
      </p:grpSpPr>
      <p:sp>
        <p:nvSpPr>
          <p:cNvPr id="2" name="1 Título"/>
          <p:cNvSpPr>
            <a:spLocks noGrp="1"/>
          </p:cNvSpPr>
          <p:nvPr>
            <p:ph type="title"/>
          </p:nvPr>
        </p:nvSpPr>
        <p:spPr>
          <a:xfrm>
            <a:off x="685800" y="457200"/>
            <a:ext cx="7772400" cy="685800"/>
          </a:xfrm>
        </p:spPr>
        <p:txBody>
          <a:bodyPr/>
          <a:lstStyle/>
          <a:p>
            <a:r>
              <a:rPr lang="es-ES" smtClean="0"/>
              <a:t>Haga clic para modificar el estilo de título del patrón</a:t>
            </a:r>
            <a:endParaRPr lang="es-AR"/>
          </a:p>
        </p:txBody>
      </p:sp>
      <p:sp>
        <p:nvSpPr>
          <p:cNvPr id="3" name="2 Marcador de texto"/>
          <p:cNvSpPr>
            <a:spLocks noGrp="1"/>
          </p:cNvSpPr>
          <p:nvPr>
            <p:ph type="body" sz="half" idx="1"/>
          </p:nvPr>
        </p:nvSpPr>
        <p:spPr>
          <a:xfrm>
            <a:off x="685800" y="1485900"/>
            <a:ext cx="3810000" cy="3086100"/>
          </a:xfrm>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AR"/>
          </a:p>
        </p:txBody>
      </p:sp>
      <p:sp>
        <p:nvSpPr>
          <p:cNvPr id="4" name="3 Marcador de contenido"/>
          <p:cNvSpPr>
            <a:spLocks noGrp="1"/>
          </p:cNvSpPr>
          <p:nvPr>
            <p:ph sz="half" idx="2"/>
          </p:nvPr>
        </p:nvSpPr>
        <p:spPr>
          <a:xfrm>
            <a:off x="4648200" y="1485900"/>
            <a:ext cx="3810000" cy="3086100"/>
          </a:xfrm>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AR"/>
          </a:p>
        </p:txBody>
      </p:sp>
      <p:sp>
        <p:nvSpPr>
          <p:cNvPr id="5" name="4 Marcador de pie de página"/>
          <p:cNvSpPr>
            <a:spLocks noGrp="1"/>
          </p:cNvSpPr>
          <p:nvPr>
            <p:ph type="ftr" sz="quarter" idx="10"/>
          </p:nvPr>
        </p:nvSpPr>
        <p:spPr>
          <a:xfrm>
            <a:off x="2195516" y="4814888"/>
            <a:ext cx="4764087" cy="342900"/>
          </a:xfrm>
        </p:spPr>
        <p:txBody>
          <a:bodyPr/>
          <a:lstStyle>
            <a:lvl1pPr>
              <a:defRPr/>
            </a:lvl1pPr>
          </a:lstStyle>
          <a:p>
            <a:r>
              <a:rPr lang="en-US">
                <a:solidFill>
                  <a:prstClr val="black">
                    <a:tint val="75000"/>
                  </a:prstClr>
                </a:solidFill>
              </a:rPr>
              <a:t>44. Consejo Directivo, septiembre 2003</a:t>
            </a:r>
          </a:p>
        </p:txBody>
      </p:sp>
      <p:sp>
        <p:nvSpPr>
          <p:cNvPr id="6" name="5 Marcador de número de diapositiva"/>
          <p:cNvSpPr>
            <a:spLocks noGrp="1"/>
          </p:cNvSpPr>
          <p:nvPr>
            <p:ph type="sldNum" sz="quarter" idx="11"/>
          </p:nvPr>
        </p:nvSpPr>
        <p:spPr>
          <a:xfrm>
            <a:off x="7253288" y="4804172"/>
            <a:ext cx="1905000" cy="342900"/>
          </a:xfrm>
        </p:spPr>
        <p:txBody>
          <a:bodyPr/>
          <a:lstStyle>
            <a:lvl1pPr>
              <a:defRPr/>
            </a:lvl1pPr>
          </a:lstStyle>
          <a:p>
            <a:fld id="{2072D06B-150C-4DB8-884B-2C600CB49BCF}" type="slidenum">
              <a:rPr lang="en-US">
                <a:solidFill>
                  <a:prstClr val="black">
                    <a:tint val="75000"/>
                  </a:prstClr>
                </a:solidFill>
              </a:rPr>
              <a:pPr/>
              <a:t>‹Nº›</a:t>
            </a:fld>
            <a:endParaRPr lang="en-US">
              <a:solidFill>
                <a:prstClr val="black">
                  <a:tint val="75000"/>
                </a:prstClr>
              </a:solidFill>
            </a:endParaRPr>
          </a:p>
        </p:txBody>
      </p:sp>
    </p:spTree>
    <p:extLst>
      <p:ext uri="{BB962C8B-B14F-4D97-AF65-F5344CB8AC3E}">
        <p14:creationId xmlns:p14="http://schemas.microsoft.com/office/powerpoint/2010/main" val="392292196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2" name="Title 1"/>
          <p:cNvSpPr>
            <a:spLocks noGrp="1"/>
          </p:cNvSpPr>
          <p:nvPr>
            <p:ph type="title"/>
          </p:nvPr>
        </p:nvSpPr>
        <p:spPr>
          <a:xfrm>
            <a:off x="365133" y="221107"/>
            <a:ext cx="7577139" cy="253916"/>
          </a:xfrm>
        </p:spPr>
        <p:txBody>
          <a:bodyPr/>
          <a:lstStyle/>
          <a:p>
            <a:r>
              <a:rPr lang="en-US"/>
              <a:t>Click to edit Master title style</a:t>
            </a:r>
            <a:endParaRPr lang="en-GB"/>
          </a:p>
        </p:txBody>
      </p:sp>
      <p:sp>
        <p:nvSpPr>
          <p:cNvPr id="7" name="Text Placeholder 6"/>
          <p:cNvSpPr>
            <a:spLocks noGrp="1"/>
          </p:cNvSpPr>
          <p:nvPr>
            <p:ph type="body" sz="quarter" idx="13"/>
          </p:nvPr>
        </p:nvSpPr>
        <p:spPr>
          <a:xfrm>
            <a:off x="365124" y="885831"/>
            <a:ext cx="3986213" cy="374927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Picture Placeholder 8"/>
          <p:cNvSpPr>
            <a:spLocks noGrp="1"/>
          </p:cNvSpPr>
          <p:nvPr>
            <p:ph type="pic" sz="quarter" idx="14" hasCustomPrompt="1"/>
          </p:nvPr>
        </p:nvSpPr>
        <p:spPr>
          <a:xfrm>
            <a:off x="4801132" y="885827"/>
            <a:ext cx="3996794" cy="3476625"/>
          </a:xfrm>
        </p:spPr>
        <p:txBody>
          <a:bodyPr lIns="0" tIns="0"/>
          <a:lstStyle>
            <a:lvl1pPr marL="0" indent="0">
              <a:buNone/>
              <a:defRPr sz="825" baseline="0"/>
            </a:lvl1pPr>
          </a:lstStyle>
          <a:p>
            <a:r>
              <a:rPr lang="en-GB"/>
              <a:t>Click on the picture icon to insert your picture</a:t>
            </a:r>
          </a:p>
        </p:txBody>
      </p:sp>
      <p:sp>
        <p:nvSpPr>
          <p:cNvPr id="3" name="Date Placeholder 2"/>
          <p:cNvSpPr>
            <a:spLocks noGrp="1"/>
          </p:cNvSpPr>
          <p:nvPr>
            <p:ph type="dt" sz="half" idx="16"/>
          </p:nvPr>
        </p:nvSpPr>
        <p:spPr>
          <a:xfrm>
            <a:off x="2985247" y="4827993"/>
            <a:ext cx="3164730" cy="273844"/>
          </a:xfrm>
          <a:prstGeom prst="rect">
            <a:avLst/>
          </a:prstGeom>
        </p:spPr>
        <p:txBody>
          <a:bodyPr/>
          <a:lstStyle/>
          <a:p>
            <a:pPr algn="ctr"/>
            <a:endParaRPr lang="en-GB">
              <a:solidFill>
                <a:srgbClr val="9A8B7D"/>
              </a:solidFill>
            </a:endParaRPr>
          </a:p>
        </p:txBody>
      </p:sp>
      <p:sp>
        <p:nvSpPr>
          <p:cNvPr id="4" name="Footer Placeholder 3"/>
          <p:cNvSpPr>
            <a:spLocks noGrp="1"/>
          </p:cNvSpPr>
          <p:nvPr>
            <p:ph type="ftr" sz="quarter" idx="17"/>
          </p:nvPr>
        </p:nvSpPr>
        <p:spPr>
          <a:xfrm>
            <a:off x="287372" y="4827993"/>
            <a:ext cx="2636807" cy="273844"/>
          </a:xfrm>
          <a:prstGeom prst="rect">
            <a:avLst/>
          </a:prstGeom>
        </p:spPr>
        <p:txBody>
          <a:bodyPr/>
          <a:lstStyle/>
          <a:p>
            <a:endParaRPr lang="en-GB">
              <a:solidFill>
                <a:srgbClr val="9A8B7D"/>
              </a:solidFill>
            </a:endParaRPr>
          </a:p>
        </p:txBody>
      </p:sp>
      <p:sp>
        <p:nvSpPr>
          <p:cNvPr id="5" name="Slide Number Placeholder 4"/>
          <p:cNvSpPr>
            <a:spLocks noGrp="1"/>
          </p:cNvSpPr>
          <p:nvPr>
            <p:ph type="sldNum" sz="quarter" idx="18"/>
          </p:nvPr>
        </p:nvSpPr>
        <p:spPr/>
        <p:txBody>
          <a:bodyPr/>
          <a:lstStyle/>
          <a:p>
            <a:fld id="{9F9F533D-B52E-4A2F-BF72-0ADD2D94BD75}" type="slidenum">
              <a:rPr lang="en-GB" smtClean="0">
                <a:solidFill>
                  <a:srgbClr val="9A8B7D"/>
                </a:solidFill>
              </a:rPr>
              <a:pPr/>
              <a:t>‹Nº›</a:t>
            </a:fld>
            <a:endParaRPr lang="en-GB">
              <a:solidFill>
                <a:srgbClr val="9A8B7D"/>
              </a:solidFill>
            </a:endParaRPr>
          </a:p>
        </p:txBody>
      </p:sp>
      <p:sp>
        <p:nvSpPr>
          <p:cNvPr id="13" name="Text Placeholder 2"/>
          <p:cNvSpPr>
            <a:spLocks noGrp="1"/>
          </p:cNvSpPr>
          <p:nvPr>
            <p:ph type="body" sz="quarter" idx="19" hasCustomPrompt="1"/>
          </p:nvPr>
        </p:nvSpPr>
        <p:spPr>
          <a:xfrm>
            <a:off x="365124" y="519477"/>
            <a:ext cx="7597776" cy="176213"/>
          </a:xfrm>
        </p:spPr>
        <p:txBody>
          <a:bodyPr anchor="t" anchorCtr="0"/>
          <a:lstStyle>
            <a:lvl1pPr marL="0" indent="0">
              <a:spcAft>
                <a:spcPts val="0"/>
              </a:spcAft>
              <a:buNone/>
              <a:defRPr sz="1350"/>
            </a:lvl1pPr>
            <a:lvl2pPr marL="203597" indent="0">
              <a:buNone/>
              <a:defRPr/>
            </a:lvl2pPr>
            <a:lvl3pPr marL="400050" indent="0">
              <a:buNone/>
              <a:defRPr/>
            </a:lvl3pPr>
            <a:lvl4pPr marL="611981" indent="0">
              <a:buNone/>
              <a:defRPr/>
            </a:lvl4pPr>
            <a:lvl5pPr marL="828675" indent="0">
              <a:buNone/>
              <a:defRPr/>
            </a:lvl5pPr>
          </a:lstStyle>
          <a:p>
            <a:pPr lvl="0"/>
            <a:r>
              <a:rPr lang="en-US"/>
              <a:t>Subtitle here if required</a:t>
            </a:r>
          </a:p>
        </p:txBody>
      </p:sp>
      <p:sp>
        <p:nvSpPr>
          <p:cNvPr id="11" name="Text Placeholder 7"/>
          <p:cNvSpPr>
            <a:spLocks noGrp="1"/>
          </p:cNvSpPr>
          <p:nvPr>
            <p:ph type="body" sz="quarter" idx="26" hasCustomPrompt="1"/>
          </p:nvPr>
        </p:nvSpPr>
        <p:spPr>
          <a:xfrm>
            <a:off x="4801132" y="4413319"/>
            <a:ext cx="3996266" cy="226219"/>
          </a:xfrm>
        </p:spPr>
        <p:txBody>
          <a:bodyPr lIns="0" tIns="0" rIns="0" bIns="0"/>
          <a:lstStyle>
            <a:lvl1pPr marL="0" indent="0">
              <a:buNone/>
              <a:defRPr sz="600">
                <a:solidFill>
                  <a:schemeClr val="bg2"/>
                </a:solidFill>
              </a:defRPr>
            </a:lvl1pPr>
            <a:lvl2pPr marL="201122" indent="0">
              <a:buNone/>
              <a:defRPr sz="600">
                <a:solidFill>
                  <a:schemeClr val="bg2"/>
                </a:solidFill>
              </a:defRPr>
            </a:lvl2pPr>
            <a:lvl3pPr marL="405000" indent="0">
              <a:buNone/>
              <a:defRPr sz="600">
                <a:solidFill>
                  <a:schemeClr val="bg2"/>
                </a:solidFill>
              </a:defRPr>
            </a:lvl3pPr>
            <a:lvl4pPr marL="608316" indent="0">
              <a:buNone/>
              <a:defRPr sz="600">
                <a:solidFill>
                  <a:schemeClr val="bg2"/>
                </a:solidFill>
              </a:defRPr>
            </a:lvl4pPr>
            <a:lvl5pPr marL="810000" indent="0">
              <a:buNone/>
              <a:defRPr sz="600">
                <a:solidFill>
                  <a:schemeClr val="bg2"/>
                </a:solidFill>
              </a:defRPr>
            </a:lvl5pPr>
          </a:lstStyle>
          <a:p>
            <a:pPr lvl="0"/>
            <a:r>
              <a:rPr lang="en-US"/>
              <a:t>Enter your image caption text here</a:t>
            </a:r>
          </a:p>
        </p:txBody>
      </p:sp>
    </p:spTree>
    <p:extLst>
      <p:ext uri="{BB962C8B-B14F-4D97-AF65-F5344CB8AC3E}">
        <p14:creationId xmlns:p14="http://schemas.microsoft.com/office/powerpoint/2010/main" val="326940072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Image and Text">
    <p:spTree>
      <p:nvGrpSpPr>
        <p:cNvPr id="1" name=""/>
        <p:cNvGrpSpPr/>
        <p:nvPr/>
      </p:nvGrpSpPr>
      <p:grpSpPr>
        <a:xfrm>
          <a:off x="0" y="0"/>
          <a:ext cx="0" cy="0"/>
          <a:chOff x="0" y="0"/>
          <a:chExt cx="0" cy="0"/>
        </a:xfrm>
      </p:grpSpPr>
      <p:sp>
        <p:nvSpPr>
          <p:cNvPr id="2" name="Title 1"/>
          <p:cNvSpPr>
            <a:spLocks noGrp="1"/>
          </p:cNvSpPr>
          <p:nvPr>
            <p:ph type="title"/>
          </p:nvPr>
        </p:nvSpPr>
        <p:spPr>
          <a:xfrm>
            <a:off x="365133" y="221107"/>
            <a:ext cx="7577139" cy="253916"/>
          </a:xfrm>
        </p:spPr>
        <p:txBody>
          <a:bodyPr/>
          <a:lstStyle/>
          <a:p>
            <a:r>
              <a:rPr lang="en-US"/>
              <a:t>Click to edit Master title style</a:t>
            </a:r>
            <a:endParaRPr lang="en-GB"/>
          </a:p>
        </p:txBody>
      </p:sp>
      <p:sp>
        <p:nvSpPr>
          <p:cNvPr id="7" name="Text Placeholder 6"/>
          <p:cNvSpPr>
            <a:spLocks noGrp="1"/>
          </p:cNvSpPr>
          <p:nvPr>
            <p:ph type="body" sz="quarter" idx="13"/>
          </p:nvPr>
        </p:nvSpPr>
        <p:spPr>
          <a:xfrm>
            <a:off x="365124" y="885831"/>
            <a:ext cx="3986213" cy="37564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Date Placeholder 2"/>
          <p:cNvSpPr>
            <a:spLocks noGrp="1"/>
          </p:cNvSpPr>
          <p:nvPr>
            <p:ph type="dt" sz="half" idx="18"/>
          </p:nvPr>
        </p:nvSpPr>
        <p:spPr>
          <a:xfrm>
            <a:off x="2985247" y="4827993"/>
            <a:ext cx="3164730" cy="273844"/>
          </a:xfrm>
          <a:prstGeom prst="rect">
            <a:avLst/>
          </a:prstGeom>
        </p:spPr>
        <p:txBody>
          <a:bodyPr/>
          <a:lstStyle/>
          <a:p>
            <a:pPr algn="ctr"/>
            <a:endParaRPr lang="en-GB">
              <a:solidFill>
                <a:srgbClr val="9A8B7D"/>
              </a:solidFill>
            </a:endParaRPr>
          </a:p>
        </p:txBody>
      </p:sp>
      <p:sp>
        <p:nvSpPr>
          <p:cNvPr id="4" name="Footer Placeholder 3"/>
          <p:cNvSpPr>
            <a:spLocks noGrp="1"/>
          </p:cNvSpPr>
          <p:nvPr>
            <p:ph type="ftr" sz="quarter" idx="19"/>
          </p:nvPr>
        </p:nvSpPr>
        <p:spPr>
          <a:xfrm>
            <a:off x="287372" y="4827993"/>
            <a:ext cx="2636807" cy="273844"/>
          </a:xfrm>
          <a:prstGeom prst="rect">
            <a:avLst/>
          </a:prstGeom>
        </p:spPr>
        <p:txBody>
          <a:bodyPr/>
          <a:lstStyle/>
          <a:p>
            <a:endParaRPr lang="en-GB">
              <a:solidFill>
                <a:srgbClr val="9A8B7D"/>
              </a:solidFill>
            </a:endParaRPr>
          </a:p>
        </p:txBody>
      </p:sp>
      <p:sp>
        <p:nvSpPr>
          <p:cNvPr id="5" name="Slide Number Placeholder 4"/>
          <p:cNvSpPr>
            <a:spLocks noGrp="1"/>
          </p:cNvSpPr>
          <p:nvPr>
            <p:ph type="sldNum" sz="quarter" idx="20"/>
          </p:nvPr>
        </p:nvSpPr>
        <p:spPr/>
        <p:txBody>
          <a:bodyPr/>
          <a:lstStyle/>
          <a:p>
            <a:fld id="{9F9F533D-B52E-4A2F-BF72-0ADD2D94BD75}" type="slidenum">
              <a:rPr lang="en-GB" smtClean="0">
                <a:solidFill>
                  <a:srgbClr val="9A8B7D"/>
                </a:solidFill>
              </a:rPr>
              <a:pPr/>
              <a:t>‹Nº›</a:t>
            </a:fld>
            <a:endParaRPr lang="en-GB">
              <a:solidFill>
                <a:srgbClr val="9A8B7D"/>
              </a:solidFill>
            </a:endParaRPr>
          </a:p>
        </p:txBody>
      </p:sp>
      <p:sp>
        <p:nvSpPr>
          <p:cNvPr id="13" name="Text Placeholder 2"/>
          <p:cNvSpPr>
            <a:spLocks noGrp="1"/>
          </p:cNvSpPr>
          <p:nvPr>
            <p:ph type="body" sz="quarter" idx="21" hasCustomPrompt="1"/>
          </p:nvPr>
        </p:nvSpPr>
        <p:spPr>
          <a:xfrm>
            <a:off x="365124" y="519477"/>
            <a:ext cx="7597776" cy="176213"/>
          </a:xfrm>
        </p:spPr>
        <p:txBody>
          <a:bodyPr anchor="t" anchorCtr="0"/>
          <a:lstStyle>
            <a:lvl1pPr marL="0" indent="0">
              <a:spcAft>
                <a:spcPts val="0"/>
              </a:spcAft>
              <a:buNone/>
              <a:defRPr sz="1350"/>
            </a:lvl1pPr>
            <a:lvl2pPr marL="203597" indent="0">
              <a:buNone/>
              <a:defRPr/>
            </a:lvl2pPr>
            <a:lvl3pPr marL="400050" indent="0">
              <a:buNone/>
              <a:defRPr/>
            </a:lvl3pPr>
            <a:lvl4pPr marL="611981" indent="0">
              <a:buNone/>
              <a:defRPr/>
            </a:lvl4pPr>
            <a:lvl5pPr marL="828675" indent="0">
              <a:buNone/>
              <a:defRPr/>
            </a:lvl5pPr>
          </a:lstStyle>
          <a:p>
            <a:pPr lvl="0"/>
            <a:r>
              <a:rPr lang="en-US"/>
              <a:t>Subtitle here if required</a:t>
            </a:r>
          </a:p>
        </p:txBody>
      </p:sp>
      <p:sp>
        <p:nvSpPr>
          <p:cNvPr id="11" name="Picture Placeholder 8"/>
          <p:cNvSpPr>
            <a:spLocks noGrp="1"/>
          </p:cNvSpPr>
          <p:nvPr>
            <p:ph type="pic" sz="quarter" idx="23" hasCustomPrompt="1"/>
          </p:nvPr>
        </p:nvSpPr>
        <p:spPr>
          <a:xfrm>
            <a:off x="4801132" y="885429"/>
            <a:ext cx="3996794" cy="1533922"/>
          </a:xfrm>
        </p:spPr>
        <p:txBody>
          <a:bodyPr lIns="0" tIns="0"/>
          <a:lstStyle>
            <a:lvl1pPr marL="0" indent="0">
              <a:buNone/>
              <a:defRPr sz="825">
                <a:solidFill>
                  <a:schemeClr val="tx1"/>
                </a:solidFill>
              </a:defRPr>
            </a:lvl1pPr>
          </a:lstStyle>
          <a:p>
            <a:r>
              <a:rPr lang="en-GB"/>
              <a:t>Click on the picture icon to insert your picture</a:t>
            </a:r>
          </a:p>
        </p:txBody>
      </p:sp>
      <p:sp>
        <p:nvSpPr>
          <p:cNvPr id="12" name="Text Placeholder 7"/>
          <p:cNvSpPr>
            <a:spLocks noGrp="1"/>
          </p:cNvSpPr>
          <p:nvPr>
            <p:ph type="body" sz="quarter" idx="24" hasCustomPrompt="1"/>
          </p:nvPr>
        </p:nvSpPr>
        <p:spPr>
          <a:xfrm>
            <a:off x="4801132" y="2482856"/>
            <a:ext cx="3996266" cy="226219"/>
          </a:xfrm>
        </p:spPr>
        <p:txBody>
          <a:bodyPr lIns="0" tIns="0" rIns="0" bIns="0"/>
          <a:lstStyle>
            <a:lvl1pPr marL="0" indent="0">
              <a:buNone/>
              <a:defRPr sz="600">
                <a:solidFill>
                  <a:schemeClr val="bg2"/>
                </a:solidFill>
              </a:defRPr>
            </a:lvl1pPr>
            <a:lvl2pPr marL="201122" indent="0">
              <a:buNone/>
              <a:defRPr sz="600">
                <a:solidFill>
                  <a:schemeClr val="bg2"/>
                </a:solidFill>
              </a:defRPr>
            </a:lvl2pPr>
            <a:lvl3pPr marL="405000" indent="0">
              <a:buNone/>
              <a:defRPr sz="600">
                <a:solidFill>
                  <a:schemeClr val="bg2"/>
                </a:solidFill>
              </a:defRPr>
            </a:lvl3pPr>
            <a:lvl4pPr marL="608316" indent="0">
              <a:buNone/>
              <a:defRPr sz="600">
                <a:solidFill>
                  <a:schemeClr val="bg2"/>
                </a:solidFill>
              </a:defRPr>
            </a:lvl4pPr>
            <a:lvl5pPr marL="810000" indent="0">
              <a:buNone/>
              <a:defRPr sz="600">
                <a:solidFill>
                  <a:schemeClr val="bg2"/>
                </a:solidFill>
              </a:defRPr>
            </a:lvl5pPr>
          </a:lstStyle>
          <a:p>
            <a:pPr lvl="0"/>
            <a:r>
              <a:rPr lang="en-US"/>
              <a:t>Enter your image caption text here</a:t>
            </a:r>
          </a:p>
        </p:txBody>
      </p:sp>
      <p:sp>
        <p:nvSpPr>
          <p:cNvPr id="15" name="Picture Placeholder 8"/>
          <p:cNvSpPr>
            <a:spLocks noGrp="1"/>
          </p:cNvSpPr>
          <p:nvPr>
            <p:ph type="pic" sz="quarter" idx="25" hasCustomPrompt="1"/>
          </p:nvPr>
        </p:nvSpPr>
        <p:spPr>
          <a:xfrm>
            <a:off x="4801132" y="2815830"/>
            <a:ext cx="3996794" cy="1533922"/>
          </a:xfrm>
        </p:spPr>
        <p:txBody>
          <a:bodyPr lIns="0" tIns="0"/>
          <a:lstStyle>
            <a:lvl1pPr marL="0" indent="0">
              <a:buNone/>
              <a:defRPr sz="825">
                <a:solidFill>
                  <a:schemeClr val="tx1"/>
                </a:solidFill>
              </a:defRPr>
            </a:lvl1pPr>
          </a:lstStyle>
          <a:p>
            <a:r>
              <a:rPr lang="en-GB"/>
              <a:t>Click on the picture icon to insert your picture</a:t>
            </a:r>
          </a:p>
        </p:txBody>
      </p:sp>
      <p:sp>
        <p:nvSpPr>
          <p:cNvPr id="16" name="Text Placeholder 7"/>
          <p:cNvSpPr>
            <a:spLocks noGrp="1"/>
          </p:cNvSpPr>
          <p:nvPr>
            <p:ph type="body" sz="quarter" idx="26" hasCustomPrompt="1"/>
          </p:nvPr>
        </p:nvSpPr>
        <p:spPr>
          <a:xfrm>
            <a:off x="4801132" y="4413319"/>
            <a:ext cx="3996266" cy="226219"/>
          </a:xfrm>
        </p:spPr>
        <p:txBody>
          <a:bodyPr lIns="0" tIns="0" rIns="0" bIns="0"/>
          <a:lstStyle>
            <a:lvl1pPr marL="0" indent="0">
              <a:buNone/>
              <a:defRPr sz="600">
                <a:solidFill>
                  <a:schemeClr val="bg2"/>
                </a:solidFill>
              </a:defRPr>
            </a:lvl1pPr>
            <a:lvl2pPr marL="201122" indent="0">
              <a:buNone/>
              <a:defRPr sz="600">
                <a:solidFill>
                  <a:schemeClr val="bg2"/>
                </a:solidFill>
              </a:defRPr>
            </a:lvl2pPr>
            <a:lvl3pPr marL="405000" indent="0">
              <a:buNone/>
              <a:defRPr sz="600">
                <a:solidFill>
                  <a:schemeClr val="bg2"/>
                </a:solidFill>
              </a:defRPr>
            </a:lvl3pPr>
            <a:lvl4pPr marL="608316" indent="0">
              <a:buNone/>
              <a:defRPr sz="600">
                <a:solidFill>
                  <a:schemeClr val="bg2"/>
                </a:solidFill>
              </a:defRPr>
            </a:lvl4pPr>
            <a:lvl5pPr marL="810000" indent="0">
              <a:buNone/>
              <a:defRPr sz="600">
                <a:solidFill>
                  <a:schemeClr val="bg2"/>
                </a:solidFill>
              </a:defRPr>
            </a:lvl5pPr>
          </a:lstStyle>
          <a:p>
            <a:pPr lvl="0"/>
            <a:r>
              <a:rPr lang="en-US"/>
              <a:t>Enter your image caption text here</a:t>
            </a:r>
          </a:p>
        </p:txBody>
      </p:sp>
    </p:spTree>
    <p:extLst>
      <p:ext uri="{BB962C8B-B14F-4D97-AF65-F5344CB8AC3E}">
        <p14:creationId xmlns:p14="http://schemas.microsoft.com/office/powerpoint/2010/main" val="45107090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itle 4"/>
          <p:cNvSpPr>
            <a:spLocks noGrp="1"/>
          </p:cNvSpPr>
          <p:nvPr>
            <p:ph type="title"/>
          </p:nvPr>
        </p:nvSpPr>
        <p:spPr>
          <a:xfrm>
            <a:off x="365133" y="221107"/>
            <a:ext cx="7577139" cy="253916"/>
          </a:xfrm>
        </p:spPr>
        <p:txBody>
          <a:bodyPr/>
          <a:lstStyle/>
          <a:p>
            <a:r>
              <a:rPr lang="en-US"/>
              <a:t>Click to edit Master title style</a:t>
            </a:r>
            <a:endParaRPr lang="en-GB"/>
          </a:p>
        </p:txBody>
      </p:sp>
      <p:sp>
        <p:nvSpPr>
          <p:cNvPr id="9" name="Slide Number Placeholder 8"/>
          <p:cNvSpPr>
            <a:spLocks noGrp="1"/>
          </p:cNvSpPr>
          <p:nvPr>
            <p:ph type="sldNum" sz="quarter" idx="17"/>
          </p:nvPr>
        </p:nvSpPr>
        <p:spPr/>
        <p:txBody>
          <a:bodyPr/>
          <a:lstStyle/>
          <a:p>
            <a:fld id="{9F9F533D-B52E-4A2F-BF72-0ADD2D94BD75}" type="slidenum">
              <a:rPr lang="en-GB" smtClean="0">
                <a:solidFill>
                  <a:srgbClr val="9A8B7D"/>
                </a:solidFill>
              </a:rPr>
              <a:pPr/>
              <a:t>‹Nº›</a:t>
            </a:fld>
            <a:endParaRPr lang="en-GB">
              <a:solidFill>
                <a:srgbClr val="9A8B7D"/>
              </a:solidFill>
            </a:endParaRPr>
          </a:p>
        </p:txBody>
      </p:sp>
      <p:sp>
        <p:nvSpPr>
          <p:cNvPr id="10" name="Text Placeholder 2"/>
          <p:cNvSpPr>
            <a:spLocks noGrp="1"/>
          </p:cNvSpPr>
          <p:nvPr>
            <p:ph type="body" sz="quarter" idx="14" hasCustomPrompt="1"/>
          </p:nvPr>
        </p:nvSpPr>
        <p:spPr>
          <a:xfrm>
            <a:off x="365124" y="519477"/>
            <a:ext cx="7597776" cy="176213"/>
          </a:xfrm>
        </p:spPr>
        <p:txBody>
          <a:bodyPr anchor="t" anchorCtr="0"/>
          <a:lstStyle>
            <a:lvl1pPr marL="0" indent="0">
              <a:spcAft>
                <a:spcPts val="0"/>
              </a:spcAft>
              <a:buNone/>
              <a:defRPr sz="1350"/>
            </a:lvl1pPr>
            <a:lvl2pPr marL="203597" indent="0">
              <a:buNone/>
              <a:defRPr/>
            </a:lvl2pPr>
            <a:lvl3pPr marL="400050" indent="0">
              <a:buNone/>
              <a:defRPr/>
            </a:lvl3pPr>
            <a:lvl4pPr marL="611981" indent="0">
              <a:buNone/>
              <a:defRPr/>
            </a:lvl4pPr>
            <a:lvl5pPr marL="828675" indent="0">
              <a:buNone/>
              <a:defRPr/>
            </a:lvl5pPr>
          </a:lstStyle>
          <a:p>
            <a:pPr lvl="0"/>
            <a:r>
              <a:rPr lang="en-US"/>
              <a:t>Subtitle here if required</a:t>
            </a:r>
          </a:p>
        </p:txBody>
      </p:sp>
      <p:sp>
        <p:nvSpPr>
          <p:cNvPr id="11" name="Text Placeholder 6"/>
          <p:cNvSpPr>
            <a:spLocks noGrp="1"/>
          </p:cNvSpPr>
          <p:nvPr>
            <p:ph type="body" sz="quarter" idx="19" hasCustomPrompt="1"/>
          </p:nvPr>
        </p:nvSpPr>
        <p:spPr>
          <a:xfrm>
            <a:off x="358900" y="4827991"/>
            <a:ext cx="8043863" cy="297000"/>
          </a:xfrm>
        </p:spPr>
        <p:txBody>
          <a:bodyPr/>
          <a:lstStyle>
            <a:lvl1pPr marL="0" indent="0">
              <a:buNone/>
              <a:defRPr sz="600" baseline="0"/>
            </a:lvl1pPr>
          </a:lstStyle>
          <a:p>
            <a:pPr lvl="0"/>
            <a:r>
              <a:rPr lang="en-US"/>
              <a:t>Click to add references here</a:t>
            </a:r>
          </a:p>
        </p:txBody>
      </p:sp>
      <p:sp>
        <p:nvSpPr>
          <p:cNvPr id="12" name="Text Placeholder 5"/>
          <p:cNvSpPr>
            <a:spLocks noGrp="1"/>
          </p:cNvSpPr>
          <p:nvPr>
            <p:ph type="body" sz="quarter" idx="18" hasCustomPrompt="1"/>
          </p:nvPr>
        </p:nvSpPr>
        <p:spPr>
          <a:xfrm>
            <a:off x="360944" y="4451293"/>
            <a:ext cx="8445820" cy="239383"/>
          </a:xfrm>
        </p:spPr>
        <p:txBody>
          <a:bodyPr wrap="square" anchor="b" anchorCtr="0">
            <a:noAutofit/>
          </a:bodyPr>
          <a:lstStyle>
            <a:lvl1pPr marL="0" indent="0">
              <a:buNone/>
              <a:defRPr sz="750" baseline="0"/>
            </a:lvl1pPr>
            <a:lvl2pPr marL="201122" indent="0">
              <a:buNone/>
              <a:defRPr sz="600"/>
            </a:lvl2pPr>
            <a:lvl3pPr marL="405000" indent="0">
              <a:buNone/>
              <a:defRPr sz="600"/>
            </a:lvl3pPr>
            <a:lvl4pPr marL="608316" indent="0">
              <a:buNone/>
              <a:defRPr sz="600"/>
            </a:lvl4pPr>
            <a:lvl5pPr marL="810000" indent="0">
              <a:buNone/>
              <a:defRPr sz="600"/>
            </a:lvl5pPr>
          </a:lstStyle>
          <a:p>
            <a:pPr lvl="0"/>
            <a:r>
              <a:rPr lang="en-US"/>
              <a:t>Insert Source text here</a:t>
            </a:r>
          </a:p>
        </p:txBody>
      </p:sp>
    </p:spTree>
    <p:extLst>
      <p:ext uri="{BB962C8B-B14F-4D97-AF65-F5344CB8AC3E}">
        <p14:creationId xmlns:p14="http://schemas.microsoft.com/office/powerpoint/2010/main" val="22406227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63575686"/>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5217"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 xmlns:a16="http://schemas.microsoft.com/office/drawing/2014/main" id="{2DE356D8-00C3-4313-B0D2-2E2014EDD1BA}"/>
              </a:ext>
            </a:extLst>
          </p:cNvPr>
          <p:cNvSpPr/>
          <p:nvPr userDrawn="1">
            <p:custDataLst>
              <p:tags r:id="rId3"/>
            </p:custDataLst>
          </p:nvPr>
        </p:nvSpPr>
        <p:spPr>
          <a:xfrm>
            <a:off x="2" y="77"/>
            <a:ext cx="119063" cy="119063"/>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85800"/>
            <a:endParaRPr lang="en-GB" sz="2700" b="1">
              <a:solidFill>
                <a:srgbClr val="000000"/>
              </a:solidFill>
              <a:latin typeface="Arial" panose="020B0604020202020204" pitchFamily="34" charset="0"/>
              <a:sym typeface="Arial" panose="020B0604020202020204" pitchFamily="34" charset="0"/>
            </a:endParaRPr>
          </a:p>
        </p:txBody>
      </p:sp>
      <p:sp>
        <p:nvSpPr>
          <p:cNvPr id="8" name="Rectangle 7">
            <a:extLst>
              <a:ext uri="{FF2B5EF4-FFF2-40B4-BE49-F238E27FC236}">
                <a16:creationId xmlns="" xmlns:a16="http://schemas.microsoft.com/office/drawing/2014/main" id="{8C8DB113-FF3A-44D2-A8D8-8F2BF46A2029}"/>
              </a:ext>
            </a:extLst>
          </p:cNvPr>
          <p:cNvSpPr/>
          <p:nvPr userDrawn="1"/>
        </p:nvSpPr>
        <p:spPr>
          <a:xfrm>
            <a:off x="0" y="77"/>
            <a:ext cx="9144000" cy="4397189"/>
          </a:xfrm>
          <a:prstGeom prst="rect">
            <a:avLst/>
          </a:prstGeom>
          <a:solidFill>
            <a:srgbClr val="BBC5D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defRPr/>
            </a:pPr>
            <a:endParaRPr lang="en-GB" sz="1400">
              <a:solidFill>
                <a:prstClr val="white"/>
              </a:solidFill>
            </a:endParaRPr>
          </a:p>
        </p:txBody>
      </p:sp>
      <p:sp>
        <p:nvSpPr>
          <p:cNvPr id="2" name="2. Slide Title"/>
          <p:cNvSpPr>
            <a:spLocks noGrp="1"/>
          </p:cNvSpPr>
          <p:nvPr>
            <p:ph type="title"/>
          </p:nvPr>
        </p:nvSpPr>
        <p:spPr bwMode="gray">
          <a:xfrm>
            <a:off x="174956" y="1990846"/>
            <a:ext cx="8794113" cy="415498"/>
          </a:xfrm>
        </p:spPr>
        <p:txBody>
          <a:bodyPr anchor="ctr"/>
          <a:lstStyle>
            <a:lvl1pPr>
              <a:defRPr sz="2700"/>
            </a:lvl1pPr>
          </a:lstStyle>
          <a:p>
            <a:r>
              <a:rPr lang="en-GB"/>
              <a:t>Click to edit Master title style</a:t>
            </a:r>
          </a:p>
        </p:txBody>
      </p:sp>
      <p:sp>
        <p:nvSpPr>
          <p:cNvPr id="5" name="doc id" hidden="1"/>
          <p:cNvSpPr>
            <a:spLocks noChangeArrowheads="1"/>
          </p:cNvSpPr>
          <p:nvPr userDrawn="1"/>
        </p:nvSpPr>
        <p:spPr bwMode="gray">
          <a:xfrm flipH="1">
            <a:off x="7993503" y="38877"/>
            <a:ext cx="923672" cy="769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913520"/>
            <a:endParaRPr lang="en-GB" sz="500">
              <a:solidFill>
                <a:srgbClr val="808080"/>
              </a:solidFill>
            </a:endParaRPr>
          </a:p>
        </p:txBody>
      </p:sp>
    </p:spTree>
    <p:extLst>
      <p:ext uri="{BB962C8B-B14F-4D97-AF65-F5344CB8AC3E}">
        <p14:creationId xmlns:p14="http://schemas.microsoft.com/office/powerpoint/2010/main" val="323684776"/>
      </p:ext>
    </p:extLst>
  </p:cSld>
  <p:clrMapOvr>
    <a:masterClrMapping/>
  </p:clrMapOvr>
  <p:extLst mod="1">
    <p:ext uri="{DCECCB84-F9BA-43D5-87BE-67443E8EF086}">
      <p15:sldGuideLst xmlns:p15="http://schemas.microsoft.com/office/powerpoint/2012/main">
        <p15:guide id="1" pos="7489">
          <p15:clr>
            <a:srgbClr val="F26B43"/>
          </p15:clr>
        </p15:guide>
        <p15:guide id="2" pos="101">
          <p15:clr>
            <a:srgbClr val="F26B43"/>
          </p15:clr>
        </p15:guide>
        <p15:guide id="3" orient="horz" pos="701">
          <p15:clr>
            <a:srgbClr val="F26B43"/>
          </p15:clr>
        </p15:guide>
        <p15:guide id="4" orient="horz" pos="3991">
          <p15:clr>
            <a:srgbClr val="F26B43"/>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cxnSp>
        <p:nvCxnSpPr>
          <p:cNvPr id="20" name="Straight Connector 19"/>
          <p:cNvCxnSpPr/>
          <p:nvPr userDrawn="1"/>
        </p:nvCxnSpPr>
        <p:spPr>
          <a:xfrm>
            <a:off x="374651" y="4742467"/>
            <a:ext cx="8416225"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7" name="Slide Number Placeholder 6"/>
          <p:cNvSpPr>
            <a:spLocks noGrp="1"/>
          </p:cNvSpPr>
          <p:nvPr>
            <p:ph type="sldNum" sz="quarter" idx="12"/>
          </p:nvPr>
        </p:nvSpPr>
        <p:spPr/>
        <p:txBody>
          <a:bodyPr/>
          <a:lstStyle/>
          <a:p>
            <a:fld id="{9F9F533D-B52E-4A2F-BF72-0ADD2D94BD75}" type="slidenum">
              <a:rPr lang="en-GB" smtClean="0">
                <a:solidFill>
                  <a:srgbClr val="9A8B7D"/>
                </a:solidFill>
              </a:rPr>
              <a:pPr/>
              <a:t>‹Nº›</a:t>
            </a:fld>
            <a:endParaRPr lang="en-GB">
              <a:solidFill>
                <a:srgbClr val="9A8B7D"/>
              </a:solidFill>
            </a:endParaRPr>
          </a:p>
        </p:txBody>
      </p:sp>
      <p:sp>
        <p:nvSpPr>
          <p:cNvPr id="9" name="Text Placeholder 6"/>
          <p:cNvSpPr>
            <a:spLocks noGrp="1"/>
          </p:cNvSpPr>
          <p:nvPr>
            <p:ph type="body" sz="quarter" idx="19" hasCustomPrompt="1"/>
          </p:nvPr>
        </p:nvSpPr>
        <p:spPr>
          <a:xfrm>
            <a:off x="358900" y="4827991"/>
            <a:ext cx="8043863" cy="297000"/>
          </a:xfrm>
        </p:spPr>
        <p:txBody>
          <a:bodyPr/>
          <a:lstStyle>
            <a:lvl1pPr marL="0" indent="0">
              <a:buNone/>
              <a:defRPr sz="600" baseline="0"/>
            </a:lvl1pPr>
          </a:lstStyle>
          <a:p>
            <a:pPr lvl="0"/>
            <a:r>
              <a:rPr lang="en-US"/>
              <a:t>Click to add references here</a:t>
            </a:r>
          </a:p>
        </p:txBody>
      </p:sp>
      <p:sp>
        <p:nvSpPr>
          <p:cNvPr id="10" name="Text Placeholder 5"/>
          <p:cNvSpPr>
            <a:spLocks noGrp="1"/>
          </p:cNvSpPr>
          <p:nvPr>
            <p:ph type="body" sz="quarter" idx="18" hasCustomPrompt="1"/>
          </p:nvPr>
        </p:nvSpPr>
        <p:spPr>
          <a:xfrm>
            <a:off x="360944" y="4451293"/>
            <a:ext cx="8445820" cy="239383"/>
          </a:xfrm>
        </p:spPr>
        <p:txBody>
          <a:bodyPr wrap="square" anchor="b" anchorCtr="0">
            <a:noAutofit/>
          </a:bodyPr>
          <a:lstStyle>
            <a:lvl1pPr marL="0" indent="0">
              <a:buNone/>
              <a:defRPr sz="750" baseline="0"/>
            </a:lvl1pPr>
            <a:lvl2pPr marL="201122" indent="0">
              <a:buNone/>
              <a:defRPr sz="600"/>
            </a:lvl2pPr>
            <a:lvl3pPr marL="405000" indent="0">
              <a:buNone/>
              <a:defRPr sz="600"/>
            </a:lvl3pPr>
            <a:lvl4pPr marL="608316" indent="0">
              <a:buNone/>
              <a:defRPr sz="600"/>
            </a:lvl4pPr>
            <a:lvl5pPr marL="810000" indent="0">
              <a:buNone/>
              <a:defRPr sz="600"/>
            </a:lvl5pPr>
          </a:lstStyle>
          <a:p>
            <a:pPr lvl="0"/>
            <a:r>
              <a:rPr lang="en-US"/>
              <a:t>Insert Source text here</a:t>
            </a:r>
          </a:p>
        </p:txBody>
      </p:sp>
    </p:spTree>
    <p:extLst>
      <p:ext uri="{BB962C8B-B14F-4D97-AF65-F5344CB8AC3E}">
        <p14:creationId xmlns:p14="http://schemas.microsoft.com/office/powerpoint/2010/main" val="261912520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UY"/>
          </a:p>
        </p:txBody>
      </p:sp>
      <p:sp>
        <p:nvSpPr>
          <p:cNvPr id="3" name="Marcador de contenido 2"/>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UY"/>
          </a:p>
        </p:txBody>
      </p:sp>
      <p:sp>
        <p:nvSpPr>
          <p:cNvPr id="4" name="Marcador de fecha 3"/>
          <p:cNvSpPr>
            <a:spLocks noGrp="1"/>
          </p:cNvSpPr>
          <p:nvPr>
            <p:ph type="dt" sz="half" idx="10"/>
          </p:nvPr>
        </p:nvSpPr>
        <p:spPr/>
        <p:txBody>
          <a:bodyPr/>
          <a:lstStyle/>
          <a:p>
            <a:fld id="{280817BF-810D-4660-8A9D-E71F47541D1F}" type="datetimeFigureOut">
              <a:rPr lang="es-UY" smtClean="0"/>
              <a:t>7/8/2024</a:t>
            </a:fld>
            <a:endParaRPr lang="es-UY"/>
          </a:p>
        </p:txBody>
      </p:sp>
      <p:sp>
        <p:nvSpPr>
          <p:cNvPr id="5" name="Marcador de pie de página 4"/>
          <p:cNvSpPr>
            <a:spLocks noGrp="1"/>
          </p:cNvSpPr>
          <p:nvPr>
            <p:ph type="ftr" sz="quarter" idx="11"/>
          </p:nvPr>
        </p:nvSpPr>
        <p:spPr/>
        <p:txBody>
          <a:bodyPr/>
          <a:lstStyle/>
          <a:p>
            <a:endParaRPr lang="es-UY"/>
          </a:p>
        </p:txBody>
      </p:sp>
      <p:sp>
        <p:nvSpPr>
          <p:cNvPr id="6" name="Marcador de número de diapositiva 5"/>
          <p:cNvSpPr>
            <a:spLocks noGrp="1"/>
          </p:cNvSpPr>
          <p:nvPr>
            <p:ph type="sldNum" sz="quarter" idx="12"/>
          </p:nvPr>
        </p:nvSpPr>
        <p:spPr/>
        <p:txBody>
          <a:bodyPr/>
          <a:lstStyle/>
          <a:p>
            <a:fld id="{5588D9C8-74CB-41D8-A399-C433BFBCC24A}" type="slidenum">
              <a:rPr lang="es-UY" smtClean="0"/>
              <a:t>‹Nº›</a:t>
            </a:fld>
            <a:endParaRPr lang="es-UY"/>
          </a:p>
        </p:txBody>
      </p:sp>
    </p:spTree>
    <p:extLst>
      <p:ext uri="{BB962C8B-B14F-4D97-AF65-F5344CB8AC3E}">
        <p14:creationId xmlns:p14="http://schemas.microsoft.com/office/powerpoint/2010/main" val="393923344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374073" y="221107"/>
            <a:ext cx="7568190" cy="253916"/>
          </a:xfrm>
        </p:spPr>
        <p:txBody>
          <a:bodyPr/>
          <a:lstStyle/>
          <a:p>
            <a:r>
              <a:rPr lang="en-US"/>
              <a:t>Click to edit Master heading style</a:t>
            </a:r>
            <a:endParaRPr lang="en-GB"/>
          </a:p>
        </p:txBody>
      </p:sp>
      <p:sp>
        <p:nvSpPr>
          <p:cNvPr id="16" name="Content Placeholder 15"/>
          <p:cNvSpPr>
            <a:spLocks noGrp="1"/>
          </p:cNvSpPr>
          <p:nvPr>
            <p:ph sz="quarter" idx="12"/>
          </p:nvPr>
        </p:nvSpPr>
        <p:spPr>
          <a:xfrm>
            <a:off x="375090" y="883117"/>
            <a:ext cx="8413327" cy="3493912"/>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2"/>
          <p:cNvSpPr>
            <a:spLocks noGrp="1"/>
          </p:cNvSpPr>
          <p:nvPr>
            <p:ph type="body" sz="quarter" idx="14" hasCustomPrompt="1"/>
          </p:nvPr>
        </p:nvSpPr>
        <p:spPr>
          <a:xfrm>
            <a:off x="374106" y="519477"/>
            <a:ext cx="7588803" cy="176213"/>
          </a:xfrm>
        </p:spPr>
        <p:txBody>
          <a:bodyPr anchor="t" anchorCtr="0"/>
          <a:lstStyle>
            <a:lvl1pPr marL="0" marR="0" indent="0" algn="l" defTabSz="685800" rtl="0" eaLnBrk="1" fontAlgn="auto" latinLnBrk="0" hangingPunct="1">
              <a:lnSpc>
                <a:spcPct val="100000"/>
              </a:lnSpc>
              <a:spcBef>
                <a:spcPts val="0"/>
              </a:spcBef>
              <a:spcAft>
                <a:spcPts val="0"/>
              </a:spcAft>
              <a:buClr>
                <a:schemeClr val="tx1"/>
              </a:buClr>
              <a:buSzTx/>
              <a:buFont typeface="Arial" pitchFamily="34" charset="0"/>
              <a:buNone/>
              <a:tabLst/>
              <a:defRPr sz="1200" i="0">
                <a:latin typeface="+mn-lt"/>
              </a:defRPr>
            </a:lvl1pPr>
            <a:lvl2pPr marL="203597" indent="0">
              <a:buNone/>
              <a:defRPr/>
            </a:lvl2pPr>
            <a:lvl3pPr marL="400050" indent="0">
              <a:buNone/>
              <a:defRPr/>
            </a:lvl3pPr>
            <a:lvl4pPr marL="611981" indent="0">
              <a:buNone/>
              <a:defRPr/>
            </a:lvl4pPr>
            <a:lvl5pPr marL="828675" indent="0">
              <a:buNone/>
              <a:defRPr/>
            </a:lvl5pPr>
          </a:lstStyle>
          <a:p>
            <a:pPr marL="0" marR="0" lvl="0" indent="0" algn="l" defTabSz="685800" rtl="0" eaLnBrk="1" fontAlgn="auto" latinLnBrk="0" hangingPunct="1">
              <a:lnSpc>
                <a:spcPct val="100000"/>
              </a:lnSpc>
              <a:spcBef>
                <a:spcPts val="0"/>
              </a:spcBef>
              <a:spcAft>
                <a:spcPts val="0"/>
              </a:spcAft>
              <a:buClr>
                <a:schemeClr val="tx1"/>
              </a:buClr>
              <a:buSzTx/>
              <a:buFont typeface="Arial" pitchFamily="34" charset="0"/>
              <a:buNone/>
              <a:tabLst/>
              <a:defRPr/>
            </a:pPr>
            <a:r>
              <a:rPr lang="en-GB"/>
              <a:t>Supporting heading</a:t>
            </a:r>
            <a:r>
              <a:rPr lang="en-US"/>
              <a:t> here if required</a:t>
            </a:r>
          </a:p>
        </p:txBody>
      </p:sp>
      <p:sp>
        <p:nvSpPr>
          <p:cNvPr id="6" name="Text Placeholder 5"/>
          <p:cNvSpPr>
            <a:spLocks noGrp="1"/>
          </p:cNvSpPr>
          <p:nvPr>
            <p:ph type="body" sz="quarter" idx="18" hasCustomPrompt="1"/>
          </p:nvPr>
        </p:nvSpPr>
        <p:spPr>
          <a:xfrm>
            <a:off x="374920" y="4614233"/>
            <a:ext cx="8410321" cy="92333"/>
          </a:xfrm>
        </p:spPr>
        <p:txBody>
          <a:bodyPr wrap="square" anchor="b" anchorCtr="0">
            <a:spAutoFit/>
          </a:bodyPr>
          <a:lstStyle>
            <a:lvl1pPr marL="0" indent="0">
              <a:buNone/>
              <a:defRPr sz="600" baseline="0"/>
            </a:lvl1pPr>
            <a:lvl2pPr marL="201122" indent="0">
              <a:buNone/>
              <a:defRPr sz="600"/>
            </a:lvl2pPr>
            <a:lvl3pPr marL="405000" indent="0">
              <a:buNone/>
              <a:defRPr sz="600"/>
            </a:lvl3pPr>
            <a:lvl4pPr marL="608316" indent="0">
              <a:buNone/>
              <a:defRPr sz="600"/>
            </a:lvl4pPr>
            <a:lvl5pPr marL="810000" indent="0">
              <a:buNone/>
              <a:defRPr sz="600"/>
            </a:lvl5pPr>
          </a:lstStyle>
          <a:p>
            <a:pPr lvl="0"/>
            <a:r>
              <a:rPr lang="en-US"/>
              <a:t>Insert footnote text here</a:t>
            </a:r>
          </a:p>
        </p:txBody>
      </p:sp>
      <p:sp>
        <p:nvSpPr>
          <p:cNvPr id="10" name="Slide Number Placeholder 9"/>
          <p:cNvSpPr>
            <a:spLocks noGrp="1"/>
          </p:cNvSpPr>
          <p:nvPr>
            <p:ph type="sldNum" sz="quarter" idx="21"/>
          </p:nvPr>
        </p:nvSpPr>
        <p:spPr>
          <a:xfrm>
            <a:off x="8570259" y="4827987"/>
            <a:ext cx="214966" cy="273844"/>
          </a:xfrm>
        </p:spPr>
        <p:txBody>
          <a:bodyPr/>
          <a:lstStyle/>
          <a:p>
            <a:fld id="{9F9F533D-B52E-4A2F-BF72-0ADD2D94BD75}" type="slidenum">
              <a:rPr lang="en-GB" smtClean="0"/>
              <a:pPr/>
              <a:t>‹Nº›</a:t>
            </a:fld>
            <a:endParaRPr lang="en-GB"/>
          </a:p>
        </p:txBody>
      </p:sp>
      <p:sp>
        <p:nvSpPr>
          <p:cNvPr id="9" name="Text Placeholder 5"/>
          <p:cNvSpPr>
            <a:spLocks noGrp="1"/>
          </p:cNvSpPr>
          <p:nvPr>
            <p:ph type="body" sz="quarter" idx="22" hasCustomPrompt="1"/>
          </p:nvPr>
        </p:nvSpPr>
        <p:spPr>
          <a:xfrm>
            <a:off x="375029" y="4775563"/>
            <a:ext cx="8195355" cy="92333"/>
          </a:xfrm>
        </p:spPr>
        <p:txBody>
          <a:bodyPr wrap="square" anchor="t" anchorCtr="0">
            <a:spAutoFit/>
          </a:bodyPr>
          <a:lstStyle>
            <a:lvl1pPr marL="0" indent="0">
              <a:buNone/>
              <a:defRPr sz="600" baseline="0"/>
            </a:lvl1pPr>
            <a:lvl2pPr marL="201122" indent="0">
              <a:buNone/>
              <a:defRPr sz="600"/>
            </a:lvl2pPr>
            <a:lvl3pPr marL="405000" indent="0">
              <a:buNone/>
              <a:defRPr sz="600"/>
            </a:lvl3pPr>
            <a:lvl4pPr marL="608316" indent="0">
              <a:buNone/>
              <a:defRPr sz="600"/>
            </a:lvl4pPr>
            <a:lvl5pPr marL="810000" indent="0">
              <a:buNone/>
              <a:defRPr sz="600"/>
            </a:lvl5pPr>
          </a:lstStyle>
          <a:p>
            <a:pPr lvl="0"/>
            <a:r>
              <a:rPr lang="en-US"/>
              <a:t>Insert reference text here</a:t>
            </a:r>
          </a:p>
        </p:txBody>
      </p:sp>
    </p:spTree>
    <p:extLst>
      <p:ext uri="{BB962C8B-B14F-4D97-AF65-F5344CB8AC3E}">
        <p14:creationId xmlns:p14="http://schemas.microsoft.com/office/powerpoint/2010/main" val="411904711"/>
      </p:ext>
    </p:extLst>
  </p:cSld>
  <p:clrMapOvr>
    <a:masterClrMapping/>
  </p:clrMapOvr>
  <p:extLst mod="1">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heading style</a:t>
            </a:r>
            <a:endParaRPr lang="en-GB"/>
          </a:p>
        </p:txBody>
      </p:sp>
      <p:sp>
        <p:nvSpPr>
          <p:cNvPr id="11" name="Text Placeholder 2"/>
          <p:cNvSpPr>
            <a:spLocks noGrp="1"/>
          </p:cNvSpPr>
          <p:nvPr>
            <p:ph type="body" sz="quarter" idx="29" hasCustomPrompt="1"/>
          </p:nvPr>
        </p:nvSpPr>
        <p:spPr>
          <a:xfrm>
            <a:off x="359152" y="693554"/>
            <a:ext cx="7578000" cy="276999"/>
          </a:xfrm>
          <a:prstGeom prst="rect">
            <a:avLst/>
          </a:prstGeom>
        </p:spPr>
        <p:txBody>
          <a:bodyPr lIns="0" anchor="t" anchorCtr="0">
            <a:noAutofit/>
          </a:bodyPr>
          <a:lstStyle>
            <a:lvl1pPr marL="0" marR="0" indent="0" algn="l" defTabSz="685784" rtl="0" eaLnBrk="1" fontAlgn="auto" latinLnBrk="0" hangingPunct="1">
              <a:lnSpc>
                <a:spcPct val="100000"/>
              </a:lnSpc>
              <a:spcBef>
                <a:spcPts val="0"/>
              </a:spcBef>
              <a:spcAft>
                <a:spcPts val="0"/>
              </a:spcAft>
              <a:buClr>
                <a:schemeClr val="tx1"/>
              </a:buClr>
              <a:buSzTx/>
              <a:buFont typeface="Arial" pitchFamily="34" charset="0"/>
              <a:buNone/>
              <a:tabLst/>
              <a:defRPr sz="1200" i="0">
                <a:latin typeface="+mn-lt"/>
              </a:defRPr>
            </a:lvl1pPr>
            <a:lvl2pPr marL="203593" indent="0">
              <a:buNone/>
              <a:defRPr/>
            </a:lvl2pPr>
            <a:lvl3pPr marL="400040" indent="0">
              <a:buNone/>
              <a:defRPr/>
            </a:lvl3pPr>
            <a:lvl4pPr marL="611966" indent="0">
              <a:buNone/>
              <a:defRPr/>
            </a:lvl4pPr>
            <a:lvl5pPr marL="828654" indent="0">
              <a:buNone/>
              <a:defRPr/>
            </a:lvl5pPr>
          </a:lstStyle>
          <a:p>
            <a:pPr marL="0" marR="0" lvl="0" indent="0" algn="l" defTabSz="685784" rtl="0" eaLnBrk="1" fontAlgn="auto" latinLnBrk="0" hangingPunct="1">
              <a:lnSpc>
                <a:spcPct val="100000"/>
              </a:lnSpc>
              <a:spcBef>
                <a:spcPts val="0"/>
              </a:spcBef>
              <a:spcAft>
                <a:spcPts val="0"/>
              </a:spcAft>
              <a:buClr>
                <a:schemeClr val="tx1"/>
              </a:buClr>
              <a:buSzTx/>
              <a:buFont typeface="Arial" pitchFamily="34" charset="0"/>
              <a:buNone/>
              <a:tabLst/>
              <a:defRPr/>
            </a:pPr>
            <a:r>
              <a:rPr lang="en-GB"/>
              <a:t>Supporting heading</a:t>
            </a:r>
            <a:r>
              <a:rPr lang="en-US"/>
              <a:t> here if required</a:t>
            </a:r>
          </a:p>
        </p:txBody>
      </p:sp>
      <p:sp>
        <p:nvSpPr>
          <p:cNvPr id="9" name="Text Placeholder 5"/>
          <p:cNvSpPr>
            <a:spLocks noGrp="1"/>
          </p:cNvSpPr>
          <p:nvPr>
            <p:ph type="body" sz="quarter" idx="18" hasCustomPrompt="1"/>
          </p:nvPr>
        </p:nvSpPr>
        <p:spPr>
          <a:xfrm>
            <a:off x="359152" y="4470651"/>
            <a:ext cx="8424000" cy="92333"/>
          </a:xfrm>
          <a:prstGeom prst="rect">
            <a:avLst/>
          </a:prstGeom>
        </p:spPr>
        <p:txBody>
          <a:bodyPr wrap="square" tIns="0" bIns="0" anchor="b" anchorCtr="0">
            <a:spAutoFit/>
          </a:bodyPr>
          <a:lstStyle>
            <a:lvl1pPr marL="0" indent="0">
              <a:spcAft>
                <a:spcPts val="0"/>
              </a:spcAft>
              <a:buNone/>
              <a:defRPr sz="600" baseline="0"/>
            </a:lvl1pPr>
            <a:lvl2pPr marL="201118" indent="0">
              <a:buNone/>
              <a:defRPr sz="600"/>
            </a:lvl2pPr>
            <a:lvl3pPr marL="404990" indent="0">
              <a:buNone/>
              <a:defRPr sz="600"/>
            </a:lvl3pPr>
            <a:lvl4pPr marL="608301" indent="0">
              <a:buNone/>
              <a:defRPr sz="600"/>
            </a:lvl4pPr>
            <a:lvl5pPr marL="809980" indent="0">
              <a:buNone/>
              <a:defRPr sz="600"/>
            </a:lvl5pPr>
          </a:lstStyle>
          <a:p>
            <a:pPr lvl="0"/>
            <a:r>
              <a:rPr lang="en-US"/>
              <a:t>Insert footnote text here</a:t>
            </a:r>
          </a:p>
        </p:txBody>
      </p:sp>
      <p:sp>
        <p:nvSpPr>
          <p:cNvPr id="10" name="Slide Number Placeholder 9"/>
          <p:cNvSpPr>
            <a:spLocks noGrp="1"/>
          </p:cNvSpPr>
          <p:nvPr>
            <p:ph type="sldNum" sz="quarter" idx="21"/>
          </p:nvPr>
        </p:nvSpPr>
        <p:spPr>
          <a:xfrm>
            <a:off x="8492836" y="4704003"/>
            <a:ext cx="290316" cy="273844"/>
          </a:xfrm>
        </p:spPr>
        <p:txBody>
          <a:bodyPr/>
          <a:lstStyle/>
          <a:p>
            <a:fld id="{9F9F533D-B52E-4A2F-BF72-0ADD2D94BD75}" type="slidenum">
              <a:rPr lang="en-GB" smtClean="0"/>
              <a:pPr/>
              <a:t>‹Nº›</a:t>
            </a:fld>
            <a:endParaRPr lang="en-GB"/>
          </a:p>
        </p:txBody>
      </p:sp>
      <p:sp>
        <p:nvSpPr>
          <p:cNvPr id="12" name="Text Placeholder 5"/>
          <p:cNvSpPr>
            <a:spLocks noGrp="1"/>
          </p:cNvSpPr>
          <p:nvPr>
            <p:ph type="body" sz="quarter" idx="22" hasCustomPrompt="1"/>
          </p:nvPr>
        </p:nvSpPr>
        <p:spPr>
          <a:xfrm>
            <a:off x="359152" y="4638266"/>
            <a:ext cx="8133684" cy="92333"/>
          </a:xfrm>
          <a:prstGeom prst="rect">
            <a:avLst/>
          </a:prstGeom>
        </p:spPr>
        <p:txBody>
          <a:bodyPr wrap="square" tIns="0" bIns="0" anchor="t" anchorCtr="0">
            <a:spAutoFit/>
          </a:bodyPr>
          <a:lstStyle>
            <a:lvl1pPr marL="0" indent="0">
              <a:buNone/>
              <a:defRPr sz="600" baseline="0"/>
            </a:lvl1pPr>
            <a:lvl2pPr marL="201118" indent="0">
              <a:buNone/>
              <a:defRPr sz="600"/>
            </a:lvl2pPr>
            <a:lvl3pPr marL="404990" indent="0">
              <a:buNone/>
              <a:defRPr sz="600"/>
            </a:lvl3pPr>
            <a:lvl4pPr marL="608301" indent="0">
              <a:buNone/>
              <a:defRPr sz="600"/>
            </a:lvl4pPr>
            <a:lvl5pPr marL="809980" indent="0">
              <a:buNone/>
              <a:defRPr sz="600"/>
            </a:lvl5pPr>
          </a:lstStyle>
          <a:p>
            <a:pPr lvl="0"/>
            <a:r>
              <a:rPr lang="en-US"/>
              <a:t>Insert reference text here</a:t>
            </a:r>
          </a:p>
        </p:txBody>
      </p:sp>
    </p:spTree>
    <p:extLst>
      <p:ext uri="{BB962C8B-B14F-4D97-AF65-F5344CB8AC3E}">
        <p14:creationId xmlns:p14="http://schemas.microsoft.com/office/powerpoint/2010/main" val="639906748"/>
      </p:ext>
    </p:extLst>
  </p:cSld>
  <p:clrMapOvr>
    <a:masterClrMapping/>
  </p:clrMapOvr>
  <p:extLst mod="1">
    <p:ext uri="{DCECCB84-F9BA-43D5-87BE-67443E8EF086}">
      <p15:sldGuideLst xmlns:p15="http://schemas.microsoft.com/office/powerpoint/2012/main">
        <p15:guide id="1" orient="horz" pos="593">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34_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Slide Number Placeholder 5"/>
          <p:cNvSpPr>
            <a:spLocks noGrp="1"/>
          </p:cNvSpPr>
          <p:nvPr>
            <p:ph type="sldNum" sz="quarter" idx="10"/>
          </p:nvPr>
        </p:nvSpPr>
        <p:spPr>
          <a:xfrm>
            <a:off x="8782050" y="4951873"/>
            <a:ext cx="357188" cy="182165"/>
          </a:xfrm>
          <a:prstGeom prst="rect">
            <a:avLst/>
          </a:prstGeom>
        </p:spPr>
        <p:txBody>
          <a:bodyPr/>
          <a:lstStyle>
            <a:lvl1pPr>
              <a:defRPr>
                <a:latin typeface="Arial" charset="0"/>
              </a:defRPr>
            </a:lvl1pPr>
          </a:lstStyle>
          <a:p>
            <a:pPr>
              <a:defRPr/>
            </a:pPr>
            <a:fld id="{ED976635-16FA-4860-8941-5BA94B5984AC}" type="slidenum">
              <a:rPr lang="en-US" sz="675">
                <a:solidFill>
                  <a:srgbClr val="A5BF02"/>
                </a:solidFill>
              </a:rPr>
              <a:pPr>
                <a:defRPr/>
              </a:pPr>
              <a:t>‹Nº›</a:t>
            </a:fld>
            <a:endParaRPr lang="en-US" sz="675">
              <a:solidFill>
                <a:srgbClr val="A5BF02"/>
              </a:solidFill>
            </a:endParaRPr>
          </a:p>
        </p:txBody>
      </p:sp>
    </p:spTree>
    <p:extLst>
      <p:ext uri="{BB962C8B-B14F-4D97-AF65-F5344CB8AC3E}">
        <p14:creationId xmlns:p14="http://schemas.microsoft.com/office/powerpoint/2010/main" val="137401216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userDrawn="1">
  <p:cSld name="Title Slide Text Only">
    <p:spTree>
      <p:nvGrpSpPr>
        <p:cNvPr id="1" name=""/>
        <p:cNvGrpSpPr/>
        <p:nvPr/>
      </p:nvGrpSpPr>
      <p:grpSpPr>
        <a:xfrm>
          <a:off x="0" y="0"/>
          <a:ext cx="0" cy="0"/>
          <a:chOff x="0" y="0"/>
          <a:chExt cx="0" cy="0"/>
        </a:xfrm>
      </p:grpSpPr>
      <p:sp>
        <p:nvSpPr>
          <p:cNvPr id="7" name="Text Placeholder 13"/>
          <p:cNvSpPr>
            <a:spLocks noGrp="1"/>
          </p:cNvSpPr>
          <p:nvPr>
            <p:ph type="body" sz="quarter" idx="10" hasCustomPrompt="1"/>
          </p:nvPr>
        </p:nvSpPr>
        <p:spPr>
          <a:xfrm>
            <a:off x="348548" y="3029607"/>
            <a:ext cx="5004288" cy="500137"/>
          </a:xfrm>
        </p:spPr>
        <p:txBody>
          <a:bodyPr anchor="b" anchorCtr="0">
            <a:noAutofit/>
          </a:bodyPr>
          <a:lstStyle>
            <a:lvl1pPr marL="0" indent="0">
              <a:lnSpc>
                <a:spcPts val="1950"/>
              </a:lnSpc>
              <a:spcAft>
                <a:spcPts val="0"/>
              </a:spcAft>
              <a:buNone/>
              <a:defRPr sz="1950" b="1">
                <a:solidFill>
                  <a:schemeClr val="bg2"/>
                </a:solidFill>
              </a:defRPr>
            </a:lvl1pPr>
            <a:lvl2pPr marL="203597" indent="0">
              <a:lnSpc>
                <a:spcPts val="1950"/>
              </a:lnSpc>
              <a:spcAft>
                <a:spcPts val="0"/>
              </a:spcAft>
              <a:buNone/>
              <a:defRPr sz="1950" b="1">
                <a:solidFill>
                  <a:schemeClr val="bg1"/>
                </a:solidFill>
              </a:defRPr>
            </a:lvl2pPr>
            <a:lvl3pPr marL="400050" indent="0">
              <a:lnSpc>
                <a:spcPts val="1950"/>
              </a:lnSpc>
              <a:spcAft>
                <a:spcPts val="0"/>
              </a:spcAft>
              <a:buNone/>
              <a:defRPr sz="1950" b="1">
                <a:solidFill>
                  <a:schemeClr val="bg1"/>
                </a:solidFill>
              </a:defRPr>
            </a:lvl3pPr>
            <a:lvl4pPr marL="611981" indent="0">
              <a:lnSpc>
                <a:spcPts val="1950"/>
              </a:lnSpc>
              <a:spcAft>
                <a:spcPts val="0"/>
              </a:spcAft>
              <a:buNone/>
              <a:defRPr sz="1950" b="1">
                <a:solidFill>
                  <a:schemeClr val="bg1"/>
                </a:solidFill>
              </a:defRPr>
            </a:lvl4pPr>
            <a:lvl5pPr marL="828675" indent="0">
              <a:lnSpc>
                <a:spcPts val="1950"/>
              </a:lnSpc>
              <a:spcAft>
                <a:spcPts val="0"/>
              </a:spcAft>
              <a:buNone/>
              <a:defRPr sz="1950" b="1">
                <a:solidFill>
                  <a:schemeClr val="bg1"/>
                </a:solidFill>
              </a:defRPr>
            </a:lvl5pPr>
          </a:lstStyle>
          <a:p>
            <a:pPr lvl="0"/>
            <a:r>
              <a:rPr lang="en-US"/>
              <a:t>Click to edit Master </a:t>
            </a:r>
            <a:br>
              <a:rPr lang="en-US"/>
            </a:br>
            <a:r>
              <a:rPr lang="en-US"/>
              <a:t>heading style</a:t>
            </a:r>
          </a:p>
        </p:txBody>
      </p:sp>
      <p:sp>
        <p:nvSpPr>
          <p:cNvPr id="8" name="Text Placeholder 23"/>
          <p:cNvSpPr>
            <a:spLocks noGrp="1"/>
          </p:cNvSpPr>
          <p:nvPr>
            <p:ph type="body" sz="quarter" idx="11" hasCustomPrompt="1"/>
          </p:nvPr>
        </p:nvSpPr>
        <p:spPr>
          <a:xfrm>
            <a:off x="349217" y="3791583"/>
            <a:ext cx="5003439" cy="184666"/>
          </a:xfrm>
        </p:spPr>
        <p:txBody>
          <a:bodyPr vert="horz" lIns="0" tIns="0" rIns="0" bIns="0" rtlCol="0" anchor="t" anchorCtr="0">
            <a:noAutofit/>
          </a:bodyPr>
          <a:lstStyle>
            <a:lvl1pPr marL="0" marR="0" indent="0" algn="l" defTabSz="685800" rtl="0" eaLnBrk="1" fontAlgn="auto" latinLnBrk="0" hangingPunct="1">
              <a:lnSpc>
                <a:spcPct val="100000"/>
              </a:lnSpc>
              <a:spcBef>
                <a:spcPts val="0"/>
              </a:spcBef>
              <a:spcAft>
                <a:spcPts val="0"/>
              </a:spcAft>
              <a:buClr>
                <a:schemeClr val="accent2"/>
              </a:buClr>
              <a:buSzTx/>
              <a:buFont typeface="Arial" pitchFamily="34" charset="0"/>
              <a:buNone/>
              <a:tabLst/>
              <a:defRPr lang="en-US" i="0" dirty="0" smtClean="0">
                <a:solidFill>
                  <a:schemeClr val="tx1"/>
                </a:solidFill>
                <a:latin typeface="+mn-lt"/>
              </a:defRPr>
            </a:lvl1pPr>
          </a:lstStyle>
          <a:p>
            <a:r>
              <a:rPr lang="en-US"/>
              <a:t>Click to edit Master subheading</a:t>
            </a:r>
            <a:endParaRPr lang="en-GB"/>
          </a:p>
        </p:txBody>
      </p:sp>
      <p:pic>
        <p:nvPicPr>
          <p:cNvPr id="6" name="Picture 5">
            <a:extLst>
              <a:ext uri="{FF2B5EF4-FFF2-40B4-BE49-F238E27FC236}">
                <a16:creationId xmlns="" xmlns:a16="http://schemas.microsoft.com/office/drawing/2014/main" id="{83F1B86C-85A3-43FB-BFB2-B484E275ED2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36824" y="182430"/>
            <a:ext cx="743164" cy="534923"/>
          </a:xfrm>
          <a:prstGeom prst="rect">
            <a:avLst/>
          </a:prstGeom>
        </p:spPr>
      </p:pic>
    </p:spTree>
    <p:extLst>
      <p:ext uri="{BB962C8B-B14F-4D97-AF65-F5344CB8AC3E}">
        <p14:creationId xmlns:p14="http://schemas.microsoft.com/office/powerpoint/2010/main" val="292114737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sp>
        <p:nvSpPr>
          <p:cNvPr id="16" name="Content Placeholder 15"/>
          <p:cNvSpPr>
            <a:spLocks noGrp="1" noChangeAspect="1"/>
          </p:cNvSpPr>
          <p:nvPr>
            <p:ph sz="quarter" idx="12"/>
          </p:nvPr>
        </p:nvSpPr>
        <p:spPr>
          <a:xfrm>
            <a:off x="359280" y="1192388"/>
            <a:ext cx="8423275" cy="3070050"/>
          </a:xfrm>
          <a:prstGeom prst="rect">
            <a:avLst/>
          </a:prstGeom>
        </p:spPr>
        <p:txBody>
          <a:bodyPr l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2"/>
          <p:cNvSpPr>
            <a:spLocks noGrp="1"/>
          </p:cNvSpPr>
          <p:nvPr>
            <p:ph type="body" sz="quarter" idx="14" hasCustomPrompt="1"/>
          </p:nvPr>
        </p:nvSpPr>
        <p:spPr>
          <a:xfrm>
            <a:off x="359152" y="693554"/>
            <a:ext cx="7578000" cy="276999"/>
          </a:xfrm>
          <a:prstGeom prst="rect">
            <a:avLst/>
          </a:prstGeom>
        </p:spPr>
        <p:txBody>
          <a:bodyPr lIns="0" anchor="t" anchorCtr="0">
            <a:noAutofit/>
          </a:bodyPr>
          <a:lstStyle>
            <a:lvl1pPr marL="0" marR="0" indent="0" algn="l" defTabSz="514350" rtl="0" eaLnBrk="1" fontAlgn="auto" latinLnBrk="0" hangingPunct="1">
              <a:lnSpc>
                <a:spcPct val="100000"/>
              </a:lnSpc>
              <a:spcBef>
                <a:spcPts val="0"/>
              </a:spcBef>
              <a:spcAft>
                <a:spcPts val="0"/>
              </a:spcAft>
              <a:buClr>
                <a:schemeClr val="tx1"/>
              </a:buClr>
              <a:buSzTx/>
              <a:buFont typeface="Arial" pitchFamily="34" charset="0"/>
              <a:buNone/>
              <a:tabLst/>
              <a:defRPr sz="900" i="0">
                <a:latin typeface="+mn-lt"/>
              </a:defRPr>
            </a:lvl1pPr>
            <a:lvl2pPr marL="152698" indent="0">
              <a:buNone/>
              <a:defRPr/>
            </a:lvl2pPr>
            <a:lvl3pPr marL="300038" indent="0">
              <a:buNone/>
              <a:defRPr/>
            </a:lvl3pPr>
            <a:lvl4pPr marL="458986" indent="0">
              <a:buNone/>
              <a:defRPr/>
            </a:lvl4pPr>
            <a:lvl5pPr marL="621506" indent="0">
              <a:buNone/>
              <a:defRPr/>
            </a:lvl5pPr>
          </a:lstStyle>
          <a:p>
            <a:pPr marL="0" marR="0" lvl="0" indent="0" algn="l" defTabSz="514350" rtl="0" eaLnBrk="1" fontAlgn="auto" latinLnBrk="0" hangingPunct="1">
              <a:lnSpc>
                <a:spcPct val="100000"/>
              </a:lnSpc>
              <a:spcBef>
                <a:spcPts val="0"/>
              </a:spcBef>
              <a:spcAft>
                <a:spcPts val="0"/>
              </a:spcAft>
              <a:buClr>
                <a:schemeClr val="tx1"/>
              </a:buClr>
              <a:buSzTx/>
              <a:buFont typeface="Arial" pitchFamily="34" charset="0"/>
              <a:buNone/>
              <a:tabLst/>
              <a:defRPr/>
            </a:pPr>
            <a:r>
              <a:rPr lang="en-GB"/>
              <a:t>Supporting heading</a:t>
            </a:r>
            <a:r>
              <a:rPr lang="en-US"/>
              <a:t> here if required</a:t>
            </a:r>
          </a:p>
        </p:txBody>
      </p:sp>
      <p:sp>
        <p:nvSpPr>
          <p:cNvPr id="6" name="Text Placeholder 5"/>
          <p:cNvSpPr>
            <a:spLocks noGrp="1"/>
          </p:cNvSpPr>
          <p:nvPr>
            <p:ph type="body" sz="quarter" idx="18" hasCustomPrompt="1"/>
          </p:nvPr>
        </p:nvSpPr>
        <p:spPr>
          <a:xfrm>
            <a:off x="359152" y="4375883"/>
            <a:ext cx="8424000" cy="69250"/>
          </a:xfrm>
          <a:prstGeom prst="rect">
            <a:avLst/>
          </a:prstGeom>
        </p:spPr>
        <p:txBody>
          <a:bodyPr wrap="square" anchor="b" anchorCtr="0">
            <a:spAutoFit/>
          </a:bodyPr>
          <a:lstStyle>
            <a:lvl1pPr marL="0" indent="0">
              <a:buNone/>
              <a:defRPr sz="450" baseline="0"/>
            </a:lvl1pPr>
            <a:lvl2pPr marL="150842" indent="0">
              <a:buNone/>
              <a:defRPr sz="450"/>
            </a:lvl2pPr>
            <a:lvl3pPr marL="303750" indent="0">
              <a:buNone/>
              <a:defRPr sz="450"/>
            </a:lvl3pPr>
            <a:lvl4pPr marL="456237" indent="0">
              <a:buNone/>
              <a:defRPr sz="450"/>
            </a:lvl4pPr>
            <a:lvl5pPr marL="607500" indent="0">
              <a:buNone/>
              <a:defRPr sz="450"/>
            </a:lvl5pPr>
          </a:lstStyle>
          <a:p>
            <a:pPr lvl="0"/>
            <a:r>
              <a:rPr lang="en-US"/>
              <a:t>Insert Source text here</a:t>
            </a:r>
          </a:p>
        </p:txBody>
      </p:sp>
      <p:sp>
        <p:nvSpPr>
          <p:cNvPr id="4" name="Title 3"/>
          <p:cNvSpPr>
            <a:spLocks noGrp="1"/>
          </p:cNvSpPr>
          <p:nvPr>
            <p:ph type="title" hasCustomPrompt="1"/>
          </p:nvPr>
        </p:nvSpPr>
        <p:spPr>
          <a:xfrm>
            <a:off x="359190" y="288639"/>
            <a:ext cx="7577139" cy="253916"/>
          </a:xfrm>
        </p:spPr>
        <p:txBody>
          <a:bodyPr/>
          <a:lstStyle/>
          <a:p>
            <a:r>
              <a:rPr lang="en-US"/>
              <a:t>Click to edit Master heading style</a:t>
            </a:r>
            <a:endParaRPr lang="en-GB"/>
          </a:p>
        </p:txBody>
      </p:sp>
      <p:sp>
        <p:nvSpPr>
          <p:cNvPr id="7" name="Date Placeholder 6"/>
          <p:cNvSpPr>
            <a:spLocks noGrp="1"/>
          </p:cNvSpPr>
          <p:nvPr>
            <p:ph type="dt" sz="half" idx="19"/>
          </p:nvPr>
        </p:nvSpPr>
        <p:spPr/>
        <p:txBody>
          <a:bodyPr/>
          <a:lstStyle/>
          <a:p>
            <a:pPr algn="ctr"/>
            <a:r>
              <a:rPr lang="en-US"/>
              <a:t>Insert your date / confidentiality text here</a:t>
            </a:r>
            <a:endParaRPr lang="en-GB"/>
          </a:p>
        </p:txBody>
      </p:sp>
      <p:sp>
        <p:nvSpPr>
          <p:cNvPr id="9" name="Footer Placeholder 8"/>
          <p:cNvSpPr>
            <a:spLocks noGrp="1"/>
          </p:cNvSpPr>
          <p:nvPr>
            <p:ph type="ftr" sz="quarter" idx="20"/>
          </p:nvPr>
        </p:nvSpPr>
        <p:spPr/>
        <p:txBody>
          <a:bodyPr/>
          <a:lstStyle>
            <a:lvl1pPr>
              <a:defRPr/>
            </a:lvl1pPr>
          </a:lstStyle>
          <a:p>
            <a:r>
              <a:rPr lang="en-GB"/>
              <a:t>16x9 core template</a:t>
            </a:r>
          </a:p>
        </p:txBody>
      </p:sp>
      <p:sp>
        <p:nvSpPr>
          <p:cNvPr id="10" name="Slide Number Placeholder 9"/>
          <p:cNvSpPr>
            <a:spLocks noGrp="1"/>
          </p:cNvSpPr>
          <p:nvPr>
            <p:ph type="sldNum" sz="quarter" idx="21"/>
          </p:nvPr>
        </p:nvSpPr>
        <p:spPr/>
        <p:txBody>
          <a:bodyPr/>
          <a:lstStyle/>
          <a:p>
            <a:fld id="{9F9F533D-B52E-4A2F-BF72-0ADD2D94BD75}" type="slidenum">
              <a:rPr lang="en-GB" smtClean="0"/>
              <a:pPr/>
              <a:t>‹Nº›</a:t>
            </a:fld>
            <a:endParaRPr lang="en-GB"/>
          </a:p>
        </p:txBody>
      </p:sp>
    </p:spTree>
    <p:extLst>
      <p:ext uri="{BB962C8B-B14F-4D97-AF65-F5344CB8AC3E}">
        <p14:creationId xmlns:p14="http://schemas.microsoft.com/office/powerpoint/2010/main" val="225077548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7" name="Title 4"/>
          <p:cNvSpPr>
            <a:spLocks noGrp="1"/>
          </p:cNvSpPr>
          <p:nvPr>
            <p:ph type="title" hasCustomPrompt="1"/>
          </p:nvPr>
        </p:nvSpPr>
        <p:spPr>
          <a:xfrm>
            <a:off x="374073" y="221107"/>
            <a:ext cx="7568190" cy="253916"/>
          </a:xfrm>
        </p:spPr>
        <p:txBody>
          <a:bodyPr/>
          <a:lstStyle/>
          <a:p>
            <a:r>
              <a:rPr lang="en-US"/>
              <a:t>Click to edit Master heading style</a:t>
            </a:r>
            <a:endParaRPr lang="en-GB"/>
          </a:p>
        </p:txBody>
      </p:sp>
      <p:sp>
        <p:nvSpPr>
          <p:cNvPr id="8" name="Text Placeholder 2"/>
          <p:cNvSpPr>
            <a:spLocks noGrp="1"/>
          </p:cNvSpPr>
          <p:nvPr>
            <p:ph type="body" sz="quarter" idx="14" hasCustomPrompt="1"/>
          </p:nvPr>
        </p:nvSpPr>
        <p:spPr>
          <a:xfrm>
            <a:off x="374106" y="519477"/>
            <a:ext cx="7588803" cy="176213"/>
          </a:xfrm>
        </p:spPr>
        <p:txBody>
          <a:bodyPr anchor="t" anchorCtr="0"/>
          <a:lstStyle>
            <a:lvl1pPr marL="0" marR="0" indent="0" algn="l" defTabSz="685800" rtl="0" eaLnBrk="1" fontAlgn="auto" latinLnBrk="0" hangingPunct="1">
              <a:lnSpc>
                <a:spcPct val="100000"/>
              </a:lnSpc>
              <a:spcBef>
                <a:spcPts val="0"/>
              </a:spcBef>
              <a:spcAft>
                <a:spcPts val="0"/>
              </a:spcAft>
              <a:buClr>
                <a:schemeClr val="tx1"/>
              </a:buClr>
              <a:buSzTx/>
              <a:buFont typeface="Arial" pitchFamily="34" charset="0"/>
              <a:buNone/>
              <a:tabLst/>
              <a:defRPr sz="1200" i="0">
                <a:latin typeface="+mn-lt"/>
              </a:defRPr>
            </a:lvl1pPr>
            <a:lvl2pPr marL="203597" indent="0">
              <a:buNone/>
              <a:defRPr/>
            </a:lvl2pPr>
            <a:lvl3pPr marL="400050" indent="0">
              <a:buNone/>
              <a:defRPr/>
            </a:lvl3pPr>
            <a:lvl4pPr marL="611981" indent="0">
              <a:buNone/>
              <a:defRPr/>
            </a:lvl4pPr>
            <a:lvl5pPr marL="828675" indent="0">
              <a:buNone/>
              <a:defRPr/>
            </a:lvl5pPr>
          </a:lstStyle>
          <a:p>
            <a:pPr marL="0" marR="0" lvl="0" indent="0" algn="l" defTabSz="685800" rtl="0" eaLnBrk="1" fontAlgn="auto" latinLnBrk="0" hangingPunct="1">
              <a:lnSpc>
                <a:spcPct val="100000"/>
              </a:lnSpc>
              <a:spcBef>
                <a:spcPts val="0"/>
              </a:spcBef>
              <a:spcAft>
                <a:spcPts val="0"/>
              </a:spcAft>
              <a:buClr>
                <a:schemeClr val="tx1"/>
              </a:buClr>
              <a:buSzTx/>
              <a:buFont typeface="Arial" pitchFamily="34" charset="0"/>
              <a:buNone/>
              <a:tabLst/>
              <a:defRPr/>
            </a:pPr>
            <a:r>
              <a:rPr lang="en-GB"/>
              <a:t>Supporting heading</a:t>
            </a:r>
            <a:r>
              <a:rPr lang="en-US"/>
              <a:t> here if required</a:t>
            </a:r>
          </a:p>
        </p:txBody>
      </p:sp>
      <p:sp>
        <p:nvSpPr>
          <p:cNvPr id="10" name="Slide Number Placeholder 9"/>
          <p:cNvSpPr>
            <a:spLocks noGrp="1"/>
          </p:cNvSpPr>
          <p:nvPr>
            <p:ph type="sldNum" sz="quarter" idx="21"/>
          </p:nvPr>
        </p:nvSpPr>
        <p:spPr>
          <a:xfrm>
            <a:off x="8570259" y="4827987"/>
            <a:ext cx="214966" cy="273844"/>
          </a:xfrm>
        </p:spPr>
        <p:txBody>
          <a:bodyPr/>
          <a:lstStyle/>
          <a:p>
            <a:fld id="{9F9F533D-B52E-4A2F-BF72-0ADD2D94BD75}" type="slidenum">
              <a:rPr lang="en-GB" smtClean="0"/>
              <a:pPr/>
              <a:t>‹Nº›</a:t>
            </a:fld>
            <a:endParaRPr lang="en-GB"/>
          </a:p>
        </p:txBody>
      </p:sp>
      <p:sp>
        <p:nvSpPr>
          <p:cNvPr id="12" name="Text Placeholder 5"/>
          <p:cNvSpPr>
            <a:spLocks noGrp="1"/>
          </p:cNvSpPr>
          <p:nvPr>
            <p:ph type="body" sz="quarter" idx="18" hasCustomPrompt="1"/>
          </p:nvPr>
        </p:nvSpPr>
        <p:spPr>
          <a:xfrm>
            <a:off x="374920" y="4614233"/>
            <a:ext cx="8410321" cy="92333"/>
          </a:xfrm>
        </p:spPr>
        <p:txBody>
          <a:bodyPr wrap="square" anchor="b" anchorCtr="0">
            <a:spAutoFit/>
          </a:bodyPr>
          <a:lstStyle>
            <a:lvl1pPr marL="0" indent="0">
              <a:buNone/>
              <a:defRPr sz="600" baseline="0"/>
            </a:lvl1pPr>
            <a:lvl2pPr marL="201122" indent="0">
              <a:buNone/>
              <a:defRPr sz="600"/>
            </a:lvl2pPr>
            <a:lvl3pPr marL="405000" indent="0">
              <a:buNone/>
              <a:defRPr sz="600"/>
            </a:lvl3pPr>
            <a:lvl4pPr marL="608316" indent="0">
              <a:buNone/>
              <a:defRPr sz="600"/>
            </a:lvl4pPr>
            <a:lvl5pPr marL="810000" indent="0">
              <a:buNone/>
              <a:defRPr sz="600"/>
            </a:lvl5pPr>
          </a:lstStyle>
          <a:p>
            <a:pPr lvl="0"/>
            <a:r>
              <a:rPr lang="en-US"/>
              <a:t>Insert footnote text here</a:t>
            </a:r>
          </a:p>
        </p:txBody>
      </p:sp>
      <p:sp>
        <p:nvSpPr>
          <p:cNvPr id="13" name="Text Placeholder 5"/>
          <p:cNvSpPr>
            <a:spLocks noGrp="1"/>
          </p:cNvSpPr>
          <p:nvPr>
            <p:ph type="body" sz="quarter" idx="22" hasCustomPrompt="1"/>
          </p:nvPr>
        </p:nvSpPr>
        <p:spPr>
          <a:xfrm>
            <a:off x="375029" y="4775563"/>
            <a:ext cx="8195355" cy="92333"/>
          </a:xfrm>
        </p:spPr>
        <p:txBody>
          <a:bodyPr wrap="square" anchor="t" anchorCtr="0">
            <a:spAutoFit/>
          </a:bodyPr>
          <a:lstStyle>
            <a:lvl1pPr marL="0" indent="0">
              <a:buNone/>
              <a:defRPr sz="600" baseline="0"/>
            </a:lvl1pPr>
            <a:lvl2pPr marL="201122" indent="0">
              <a:buNone/>
              <a:defRPr sz="600"/>
            </a:lvl2pPr>
            <a:lvl3pPr marL="405000" indent="0">
              <a:buNone/>
              <a:defRPr sz="600"/>
            </a:lvl3pPr>
            <a:lvl4pPr marL="608316" indent="0">
              <a:buNone/>
              <a:defRPr sz="600"/>
            </a:lvl4pPr>
            <a:lvl5pPr marL="810000" indent="0">
              <a:buNone/>
              <a:defRPr sz="600"/>
            </a:lvl5pPr>
          </a:lstStyle>
          <a:p>
            <a:pPr lvl="0"/>
            <a:r>
              <a:rPr lang="en-US"/>
              <a:t>Insert reference text here</a:t>
            </a:r>
          </a:p>
        </p:txBody>
      </p:sp>
    </p:spTree>
    <p:extLst>
      <p:ext uri="{BB962C8B-B14F-4D97-AF65-F5344CB8AC3E}">
        <p14:creationId xmlns:p14="http://schemas.microsoft.com/office/powerpoint/2010/main" val="4034286505"/>
      </p:ext>
    </p:extLst>
  </p:cSld>
  <p:clrMapOvr>
    <a:masterClrMapping/>
  </p:clrMapOvr>
  <p:extLst mod="1">
    <p:ext uri="{DCECCB84-F9BA-43D5-87BE-67443E8EF086}">
      <p15:sldGuideLst xmlns:p15="http://schemas.microsoft.com/office/powerpoint/2012/main">
        <p15:guide id="1" orient="horz" pos="553">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itle and Content with Subheading">
    <p:spTree>
      <p:nvGrpSpPr>
        <p:cNvPr id="1" name=""/>
        <p:cNvGrpSpPr/>
        <p:nvPr/>
      </p:nvGrpSpPr>
      <p:grpSpPr>
        <a:xfrm>
          <a:off x="0" y="0"/>
          <a:ext cx="0" cy="0"/>
          <a:chOff x="0" y="0"/>
          <a:chExt cx="0" cy="0"/>
        </a:xfrm>
      </p:grpSpPr>
      <p:sp>
        <p:nvSpPr>
          <p:cNvPr id="10" name="Content Placeholder 9"/>
          <p:cNvSpPr>
            <a:spLocks noGrp="1"/>
          </p:cNvSpPr>
          <p:nvPr>
            <p:ph sz="quarter" idx="19"/>
          </p:nvPr>
        </p:nvSpPr>
        <p:spPr>
          <a:xfrm>
            <a:off x="374904" y="1150152"/>
            <a:ext cx="8418513" cy="32432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
          <p:cNvSpPr>
            <a:spLocks noGrp="1"/>
          </p:cNvSpPr>
          <p:nvPr>
            <p:ph type="body" sz="quarter" idx="13" hasCustomPrompt="1"/>
          </p:nvPr>
        </p:nvSpPr>
        <p:spPr>
          <a:xfrm>
            <a:off x="374904" y="884682"/>
            <a:ext cx="8418513" cy="184666"/>
          </a:xfrm>
        </p:spPr>
        <p:txBody>
          <a:bodyPr anchor="t" anchorCtr="0">
            <a:spAutoFit/>
          </a:bodyPr>
          <a:lstStyle>
            <a:lvl1pPr marL="0" indent="0">
              <a:spcAft>
                <a:spcPts val="0"/>
              </a:spcAft>
              <a:buNone/>
              <a:defRPr sz="1200" b="1">
                <a:solidFill>
                  <a:schemeClr val="accent1"/>
                </a:solidFill>
              </a:defRPr>
            </a:lvl1pPr>
            <a:lvl2pPr marL="203597" indent="0">
              <a:buNone/>
              <a:defRPr/>
            </a:lvl2pPr>
            <a:lvl3pPr marL="400050" indent="0">
              <a:buNone/>
              <a:defRPr/>
            </a:lvl3pPr>
            <a:lvl4pPr marL="611981" indent="0">
              <a:buNone/>
              <a:defRPr/>
            </a:lvl4pPr>
            <a:lvl5pPr marL="828675" indent="0">
              <a:buNone/>
              <a:defRPr/>
            </a:lvl5pPr>
          </a:lstStyle>
          <a:p>
            <a:pPr lvl="0"/>
            <a:r>
              <a:rPr lang="en-US"/>
              <a:t>Subheading here if required</a:t>
            </a:r>
          </a:p>
        </p:txBody>
      </p:sp>
      <p:sp>
        <p:nvSpPr>
          <p:cNvPr id="13" name="Title 4"/>
          <p:cNvSpPr>
            <a:spLocks noGrp="1"/>
          </p:cNvSpPr>
          <p:nvPr>
            <p:ph type="title" hasCustomPrompt="1"/>
          </p:nvPr>
        </p:nvSpPr>
        <p:spPr>
          <a:xfrm>
            <a:off x="374073" y="221107"/>
            <a:ext cx="7568190" cy="253916"/>
          </a:xfrm>
        </p:spPr>
        <p:txBody>
          <a:bodyPr/>
          <a:lstStyle/>
          <a:p>
            <a:r>
              <a:rPr lang="en-US"/>
              <a:t>Click to edit Master heading style</a:t>
            </a:r>
            <a:endParaRPr lang="en-GB"/>
          </a:p>
        </p:txBody>
      </p:sp>
      <p:sp>
        <p:nvSpPr>
          <p:cNvPr id="14" name="Text Placeholder 2"/>
          <p:cNvSpPr>
            <a:spLocks noGrp="1"/>
          </p:cNvSpPr>
          <p:nvPr>
            <p:ph type="body" sz="quarter" idx="14" hasCustomPrompt="1"/>
          </p:nvPr>
        </p:nvSpPr>
        <p:spPr>
          <a:xfrm>
            <a:off x="374106" y="519477"/>
            <a:ext cx="7588803" cy="176213"/>
          </a:xfrm>
        </p:spPr>
        <p:txBody>
          <a:bodyPr anchor="t" anchorCtr="0"/>
          <a:lstStyle>
            <a:lvl1pPr marL="0" marR="0" indent="0" algn="l" defTabSz="685800" rtl="0" eaLnBrk="1" fontAlgn="auto" latinLnBrk="0" hangingPunct="1">
              <a:lnSpc>
                <a:spcPct val="100000"/>
              </a:lnSpc>
              <a:spcBef>
                <a:spcPts val="0"/>
              </a:spcBef>
              <a:spcAft>
                <a:spcPts val="0"/>
              </a:spcAft>
              <a:buClr>
                <a:schemeClr val="tx1"/>
              </a:buClr>
              <a:buSzTx/>
              <a:buFont typeface="Arial" pitchFamily="34" charset="0"/>
              <a:buNone/>
              <a:tabLst/>
              <a:defRPr sz="1200" i="0">
                <a:latin typeface="+mn-lt"/>
              </a:defRPr>
            </a:lvl1pPr>
            <a:lvl2pPr marL="203597" indent="0">
              <a:buNone/>
              <a:defRPr/>
            </a:lvl2pPr>
            <a:lvl3pPr marL="400050" indent="0">
              <a:buNone/>
              <a:defRPr/>
            </a:lvl3pPr>
            <a:lvl4pPr marL="611981" indent="0">
              <a:buNone/>
              <a:defRPr/>
            </a:lvl4pPr>
            <a:lvl5pPr marL="828675" indent="0">
              <a:buNone/>
              <a:defRPr/>
            </a:lvl5pPr>
          </a:lstStyle>
          <a:p>
            <a:pPr marL="0" marR="0" lvl="0" indent="0" algn="l" defTabSz="685800" rtl="0" eaLnBrk="1" fontAlgn="auto" latinLnBrk="0" hangingPunct="1">
              <a:lnSpc>
                <a:spcPct val="100000"/>
              </a:lnSpc>
              <a:spcBef>
                <a:spcPts val="0"/>
              </a:spcBef>
              <a:spcAft>
                <a:spcPts val="0"/>
              </a:spcAft>
              <a:buClr>
                <a:schemeClr val="tx1"/>
              </a:buClr>
              <a:buSzTx/>
              <a:buFont typeface="Arial" pitchFamily="34" charset="0"/>
              <a:buNone/>
              <a:tabLst/>
              <a:defRPr/>
            </a:pPr>
            <a:r>
              <a:rPr lang="en-GB"/>
              <a:t>Supporting heading</a:t>
            </a:r>
            <a:r>
              <a:rPr lang="en-US"/>
              <a:t> here if required</a:t>
            </a:r>
          </a:p>
        </p:txBody>
      </p:sp>
      <p:sp>
        <p:nvSpPr>
          <p:cNvPr id="15" name="Slide Number Placeholder 9"/>
          <p:cNvSpPr>
            <a:spLocks noGrp="1"/>
          </p:cNvSpPr>
          <p:nvPr>
            <p:ph type="sldNum" sz="quarter" idx="21"/>
          </p:nvPr>
        </p:nvSpPr>
        <p:spPr>
          <a:xfrm>
            <a:off x="8570259" y="4827987"/>
            <a:ext cx="214966" cy="273844"/>
          </a:xfrm>
        </p:spPr>
        <p:txBody>
          <a:bodyPr/>
          <a:lstStyle/>
          <a:p>
            <a:fld id="{9F9F533D-B52E-4A2F-BF72-0ADD2D94BD75}" type="slidenum">
              <a:rPr lang="en-GB" smtClean="0"/>
              <a:pPr/>
              <a:t>‹Nº›</a:t>
            </a:fld>
            <a:endParaRPr lang="en-GB"/>
          </a:p>
        </p:txBody>
      </p:sp>
      <p:sp>
        <p:nvSpPr>
          <p:cNvPr id="9" name="Text Placeholder 5"/>
          <p:cNvSpPr>
            <a:spLocks noGrp="1"/>
          </p:cNvSpPr>
          <p:nvPr>
            <p:ph type="body" sz="quarter" idx="18" hasCustomPrompt="1"/>
          </p:nvPr>
        </p:nvSpPr>
        <p:spPr>
          <a:xfrm>
            <a:off x="374920" y="4614233"/>
            <a:ext cx="8410321" cy="92333"/>
          </a:xfrm>
        </p:spPr>
        <p:txBody>
          <a:bodyPr wrap="square" anchor="b" anchorCtr="0">
            <a:spAutoFit/>
          </a:bodyPr>
          <a:lstStyle>
            <a:lvl1pPr marL="0" indent="0">
              <a:buNone/>
              <a:defRPr sz="600" baseline="0"/>
            </a:lvl1pPr>
            <a:lvl2pPr marL="201122" indent="0">
              <a:buNone/>
              <a:defRPr sz="600"/>
            </a:lvl2pPr>
            <a:lvl3pPr marL="405000" indent="0">
              <a:buNone/>
              <a:defRPr sz="600"/>
            </a:lvl3pPr>
            <a:lvl4pPr marL="608316" indent="0">
              <a:buNone/>
              <a:defRPr sz="600"/>
            </a:lvl4pPr>
            <a:lvl5pPr marL="810000" indent="0">
              <a:buNone/>
              <a:defRPr sz="600"/>
            </a:lvl5pPr>
          </a:lstStyle>
          <a:p>
            <a:pPr lvl="0"/>
            <a:r>
              <a:rPr lang="en-US"/>
              <a:t>Insert footnote text here</a:t>
            </a:r>
          </a:p>
        </p:txBody>
      </p:sp>
      <p:sp>
        <p:nvSpPr>
          <p:cNvPr id="17" name="Text Placeholder 5"/>
          <p:cNvSpPr>
            <a:spLocks noGrp="1"/>
          </p:cNvSpPr>
          <p:nvPr>
            <p:ph type="body" sz="quarter" idx="22" hasCustomPrompt="1"/>
          </p:nvPr>
        </p:nvSpPr>
        <p:spPr>
          <a:xfrm>
            <a:off x="375029" y="4775563"/>
            <a:ext cx="8195355" cy="92333"/>
          </a:xfrm>
        </p:spPr>
        <p:txBody>
          <a:bodyPr wrap="square" anchor="t" anchorCtr="0">
            <a:spAutoFit/>
          </a:bodyPr>
          <a:lstStyle>
            <a:lvl1pPr marL="0" indent="0">
              <a:buNone/>
              <a:defRPr sz="600" baseline="0"/>
            </a:lvl1pPr>
            <a:lvl2pPr marL="201122" indent="0">
              <a:buNone/>
              <a:defRPr sz="600"/>
            </a:lvl2pPr>
            <a:lvl3pPr marL="405000" indent="0">
              <a:buNone/>
              <a:defRPr sz="600"/>
            </a:lvl3pPr>
            <a:lvl4pPr marL="608316" indent="0">
              <a:buNone/>
              <a:defRPr sz="600"/>
            </a:lvl4pPr>
            <a:lvl5pPr marL="810000" indent="0">
              <a:buNone/>
              <a:defRPr sz="600"/>
            </a:lvl5pPr>
          </a:lstStyle>
          <a:p>
            <a:pPr lvl="0"/>
            <a:r>
              <a:rPr lang="en-US"/>
              <a:t>Insert reference text here</a:t>
            </a:r>
          </a:p>
        </p:txBody>
      </p:sp>
    </p:spTree>
    <p:extLst>
      <p:ext uri="{BB962C8B-B14F-4D97-AF65-F5344CB8AC3E}">
        <p14:creationId xmlns:p14="http://schemas.microsoft.com/office/powerpoint/2010/main" val="1956651751"/>
      </p:ext>
    </p:extLst>
  </p:cSld>
  <p:clrMapOvr>
    <a:masterClrMapping/>
  </p:clrMapOvr>
  <p:extLst mod="1">
    <p:ext uri="{DCECCB84-F9BA-43D5-87BE-67443E8EF086}">
      <p15:sldGuideLst xmlns:p15="http://schemas.microsoft.com/office/powerpoint/2012/main">
        <p15:guide id="1" orient="horz" pos="553">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2_Title Slide Text Only">
    <p:spTree>
      <p:nvGrpSpPr>
        <p:cNvPr id="1" name=""/>
        <p:cNvGrpSpPr/>
        <p:nvPr/>
      </p:nvGrpSpPr>
      <p:grpSpPr>
        <a:xfrm>
          <a:off x="0" y="0"/>
          <a:ext cx="0" cy="0"/>
          <a:chOff x="0" y="0"/>
          <a:chExt cx="0" cy="0"/>
        </a:xfrm>
      </p:grpSpPr>
      <p:sp>
        <p:nvSpPr>
          <p:cNvPr id="7" name="Text Placeholder 13"/>
          <p:cNvSpPr>
            <a:spLocks noGrp="1"/>
          </p:cNvSpPr>
          <p:nvPr>
            <p:ph type="body" sz="quarter" idx="10" hasCustomPrompt="1"/>
          </p:nvPr>
        </p:nvSpPr>
        <p:spPr>
          <a:xfrm>
            <a:off x="348548" y="3029608"/>
            <a:ext cx="5004288" cy="500137"/>
          </a:xfrm>
        </p:spPr>
        <p:txBody>
          <a:bodyPr anchor="b" anchorCtr="0">
            <a:noAutofit/>
          </a:bodyPr>
          <a:lstStyle>
            <a:lvl1pPr marL="0" indent="0">
              <a:lnSpc>
                <a:spcPts val="1463"/>
              </a:lnSpc>
              <a:spcAft>
                <a:spcPts val="0"/>
              </a:spcAft>
              <a:buNone/>
              <a:defRPr sz="1463" b="1">
                <a:solidFill>
                  <a:schemeClr val="bg2"/>
                </a:solidFill>
              </a:defRPr>
            </a:lvl1pPr>
            <a:lvl2pPr marL="152698" indent="0">
              <a:lnSpc>
                <a:spcPts val="1463"/>
              </a:lnSpc>
              <a:spcAft>
                <a:spcPts val="0"/>
              </a:spcAft>
              <a:buNone/>
              <a:defRPr sz="1463" b="1">
                <a:solidFill>
                  <a:schemeClr val="bg1"/>
                </a:solidFill>
              </a:defRPr>
            </a:lvl2pPr>
            <a:lvl3pPr marL="300038" indent="0">
              <a:lnSpc>
                <a:spcPts val="1463"/>
              </a:lnSpc>
              <a:spcAft>
                <a:spcPts val="0"/>
              </a:spcAft>
              <a:buNone/>
              <a:defRPr sz="1463" b="1">
                <a:solidFill>
                  <a:schemeClr val="bg1"/>
                </a:solidFill>
              </a:defRPr>
            </a:lvl3pPr>
            <a:lvl4pPr marL="458986" indent="0">
              <a:lnSpc>
                <a:spcPts val="1463"/>
              </a:lnSpc>
              <a:spcAft>
                <a:spcPts val="0"/>
              </a:spcAft>
              <a:buNone/>
              <a:defRPr sz="1463" b="1">
                <a:solidFill>
                  <a:schemeClr val="bg1"/>
                </a:solidFill>
              </a:defRPr>
            </a:lvl4pPr>
            <a:lvl5pPr marL="621506" indent="0">
              <a:lnSpc>
                <a:spcPts val="1463"/>
              </a:lnSpc>
              <a:spcAft>
                <a:spcPts val="0"/>
              </a:spcAft>
              <a:buNone/>
              <a:defRPr sz="1463" b="1">
                <a:solidFill>
                  <a:schemeClr val="bg1"/>
                </a:solidFill>
              </a:defRPr>
            </a:lvl5pPr>
          </a:lstStyle>
          <a:p>
            <a:pPr lvl="0"/>
            <a:r>
              <a:rPr lang="en-US"/>
              <a:t>Click to edit Master </a:t>
            </a:r>
            <a:br>
              <a:rPr lang="en-US"/>
            </a:br>
            <a:r>
              <a:rPr lang="en-US"/>
              <a:t>heading style</a:t>
            </a:r>
          </a:p>
        </p:txBody>
      </p:sp>
      <p:sp>
        <p:nvSpPr>
          <p:cNvPr id="8" name="Text Placeholder 23"/>
          <p:cNvSpPr>
            <a:spLocks noGrp="1"/>
          </p:cNvSpPr>
          <p:nvPr>
            <p:ph type="body" sz="quarter" idx="11" hasCustomPrompt="1"/>
          </p:nvPr>
        </p:nvSpPr>
        <p:spPr>
          <a:xfrm>
            <a:off x="349217" y="3791583"/>
            <a:ext cx="5003439" cy="184666"/>
          </a:xfrm>
        </p:spPr>
        <p:txBody>
          <a:bodyPr vert="horz" lIns="0" tIns="0" rIns="0" bIns="0" rtlCol="0" anchor="t" anchorCtr="0">
            <a:noAutofit/>
          </a:bodyPr>
          <a:lstStyle>
            <a:lvl1pPr marL="0" marR="0" indent="0" algn="l" defTabSz="514350" rtl="0" eaLnBrk="1" fontAlgn="auto" latinLnBrk="0" hangingPunct="1">
              <a:lnSpc>
                <a:spcPct val="100000"/>
              </a:lnSpc>
              <a:spcBef>
                <a:spcPts val="0"/>
              </a:spcBef>
              <a:spcAft>
                <a:spcPts val="0"/>
              </a:spcAft>
              <a:buClr>
                <a:schemeClr val="accent2"/>
              </a:buClr>
              <a:buSzTx/>
              <a:buFont typeface="Arial" pitchFamily="34" charset="0"/>
              <a:buNone/>
              <a:tabLst/>
              <a:defRPr lang="en-US" i="0" dirty="0" smtClean="0">
                <a:solidFill>
                  <a:schemeClr val="tx1"/>
                </a:solidFill>
                <a:latin typeface="+mn-lt"/>
              </a:defRPr>
            </a:lvl1pPr>
          </a:lstStyle>
          <a:p>
            <a:r>
              <a:rPr lang="en-US"/>
              <a:t>Click to edit Master subheading</a:t>
            </a:r>
            <a:endParaRPr lang="en-GB"/>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94744" y="182813"/>
            <a:ext cx="1441710" cy="533297"/>
          </a:xfrm>
          <a:prstGeom prst="rect">
            <a:avLst/>
          </a:prstGeom>
        </p:spPr>
      </p:pic>
    </p:spTree>
    <p:extLst>
      <p:ext uri="{BB962C8B-B14F-4D97-AF65-F5344CB8AC3E}">
        <p14:creationId xmlns:p14="http://schemas.microsoft.com/office/powerpoint/2010/main" val="9425100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Section divid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46220808"/>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241"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 xmlns:a16="http://schemas.microsoft.com/office/drawing/2014/main" id="{56037F00-C627-4569-8282-400AFB336D64}"/>
              </a:ext>
            </a:extLst>
          </p:cNvPr>
          <p:cNvSpPr/>
          <p:nvPr userDrawn="1">
            <p:custDataLst>
              <p:tags r:id="rId3"/>
            </p:custDataLst>
          </p:nvPr>
        </p:nvSpPr>
        <p:spPr>
          <a:xfrm>
            <a:off x="2" y="77"/>
            <a:ext cx="119063" cy="119063"/>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85800"/>
            <a:endParaRPr lang="en-GB" sz="2700" b="1">
              <a:solidFill>
                <a:srgbClr val="000000"/>
              </a:solidFill>
              <a:latin typeface="Arial" panose="020B0604020202020204" pitchFamily="34" charset="0"/>
              <a:sym typeface="Arial" panose="020B0604020202020204" pitchFamily="34" charset="0"/>
            </a:endParaRPr>
          </a:p>
        </p:txBody>
      </p:sp>
      <p:sp>
        <p:nvSpPr>
          <p:cNvPr id="8" name="Rectangle 7">
            <a:extLst>
              <a:ext uri="{FF2B5EF4-FFF2-40B4-BE49-F238E27FC236}">
                <a16:creationId xmlns="" xmlns:a16="http://schemas.microsoft.com/office/drawing/2014/main" id="{8C8DB113-FF3A-44D2-A8D8-8F2BF46A2029}"/>
              </a:ext>
            </a:extLst>
          </p:cNvPr>
          <p:cNvSpPr/>
          <p:nvPr userDrawn="1"/>
        </p:nvSpPr>
        <p:spPr>
          <a:xfrm>
            <a:off x="0" y="0"/>
            <a:ext cx="9144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defRPr/>
            </a:pPr>
            <a:endParaRPr lang="en-GB" sz="1400">
              <a:solidFill>
                <a:prstClr val="white"/>
              </a:solidFill>
            </a:endParaRPr>
          </a:p>
        </p:txBody>
      </p:sp>
      <p:sp>
        <p:nvSpPr>
          <p:cNvPr id="2" name="2. Slide Title"/>
          <p:cNvSpPr>
            <a:spLocks noGrp="1"/>
          </p:cNvSpPr>
          <p:nvPr>
            <p:ph type="title"/>
          </p:nvPr>
        </p:nvSpPr>
        <p:spPr bwMode="gray">
          <a:xfrm>
            <a:off x="174956" y="1990846"/>
            <a:ext cx="8794113" cy="415498"/>
          </a:xfrm>
        </p:spPr>
        <p:txBody>
          <a:bodyPr anchor="ctr"/>
          <a:lstStyle>
            <a:lvl1pPr algn="ctr">
              <a:defRPr sz="2700">
                <a:solidFill>
                  <a:schemeClr val="bg1"/>
                </a:solidFill>
              </a:defRPr>
            </a:lvl1pPr>
          </a:lstStyle>
          <a:p>
            <a:r>
              <a:rPr lang="en-GB"/>
              <a:t>Click to edit Master title style</a:t>
            </a:r>
          </a:p>
        </p:txBody>
      </p:sp>
      <p:sp>
        <p:nvSpPr>
          <p:cNvPr id="5" name="doc id" hidden="1"/>
          <p:cNvSpPr>
            <a:spLocks noChangeArrowheads="1"/>
          </p:cNvSpPr>
          <p:nvPr userDrawn="1"/>
        </p:nvSpPr>
        <p:spPr bwMode="gray">
          <a:xfrm flipH="1">
            <a:off x="7993503" y="38877"/>
            <a:ext cx="923672" cy="769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913520"/>
            <a:endParaRPr lang="en-GB" sz="500">
              <a:solidFill>
                <a:srgbClr val="808080"/>
              </a:solidFill>
            </a:endParaRPr>
          </a:p>
        </p:txBody>
      </p:sp>
      <p:sp>
        <p:nvSpPr>
          <p:cNvPr id="9" name="Oval 8">
            <a:extLst>
              <a:ext uri="{FF2B5EF4-FFF2-40B4-BE49-F238E27FC236}">
                <a16:creationId xmlns="" xmlns:a16="http://schemas.microsoft.com/office/drawing/2014/main" id="{4C8745C3-1C8F-4D4E-85F5-120C869B9CE1}"/>
              </a:ext>
            </a:extLst>
          </p:cNvPr>
          <p:cNvSpPr/>
          <p:nvPr userDrawn="1"/>
        </p:nvSpPr>
        <p:spPr>
          <a:xfrm>
            <a:off x="8656077" y="4761562"/>
            <a:ext cx="312980" cy="312980"/>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en-GB" sz="1400">
              <a:solidFill>
                <a:srgbClr val="000000"/>
              </a:solidFill>
            </a:endParaRPr>
          </a:p>
        </p:txBody>
      </p:sp>
      <p:sp>
        <p:nvSpPr>
          <p:cNvPr id="10" name="Slide Number">
            <a:extLst>
              <a:ext uri="{FF2B5EF4-FFF2-40B4-BE49-F238E27FC236}">
                <a16:creationId xmlns="" xmlns:a16="http://schemas.microsoft.com/office/drawing/2014/main" id="{7A209EA6-4289-456C-A877-9477E0E2F43A}"/>
              </a:ext>
            </a:extLst>
          </p:cNvPr>
          <p:cNvSpPr txBox="1">
            <a:spLocks/>
          </p:cNvSpPr>
          <p:nvPr userDrawn="1"/>
        </p:nvSpPr>
        <p:spPr bwMode="gray">
          <a:xfrm>
            <a:off x="8731615" y="4872002"/>
            <a:ext cx="161904" cy="92333"/>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ctr" defTabSz="685800"/>
            <a:fld id="{42C328C1-A84F-4A39-A664-DBA00541A8C6}" type="slidenum">
              <a:rPr lang="en-GB" sz="600" smtClean="0">
                <a:solidFill>
                  <a:srgbClr val="000000"/>
                </a:solidFill>
              </a:rPr>
              <a:pPr algn="ctr" defTabSz="685800"/>
              <a:t>‹Nº›</a:t>
            </a:fld>
            <a:endParaRPr lang="en-GB" sz="600">
              <a:solidFill>
                <a:srgbClr val="000000"/>
              </a:solidFill>
            </a:endParaRPr>
          </a:p>
        </p:txBody>
      </p:sp>
    </p:spTree>
    <p:extLst>
      <p:ext uri="{BB962C8B-B14F-4D97-AF65-F5344CB8AC3E}">
        <p14:creationId xmlns:p14="http://schemas.microsoft.com/office/powerpoint/2010/main" val="3623777212"/>
      </p:ext>
    </p:extLst>
  </p:cSld>
  <p:clrMapOvr>
    <a:masterClrMapping/>
  </p:clrMapOvr>
  <p:extLst mod="1">
    <p:ext uri="{DCECCB84-F9BA-43D5-87BE-67443E8EF086}">
      <p15:sldGuideLst xmlns:p15="http://schemas.microsoft.com/office/powerpoint/2012/main">
        <p15:guide id="1" pos="7489">
          <p15:clr>
            <a:srgbClr val="F26B43"/>
          </p15:clr>
        </p15:guide>
        <p15:guide id="2" pos="101">
          <p15:clr>
            <a:srgbClr val="F26B43"/>
          </p15:clr>
        </p15:guide>
        <p15:guide id="3" orient="horz" pos="701">
          <p15:clr>
            <a:srgbClr val="F26B43"/>
          </p15:clr>
        </p15:guide>
        <p15:guide id="4" orient="horz" pos="3991">
          <p15:clr>
            <a:srgbClr val="F26B43"/>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8" name="Text Placeholder 2"/>
          <p:cNvSpPr>
            <a:spLocks noGrp="1"/>
          </p:cNvSpPr>
          <p:nvPr>
            <p:ph type="body" sz="quarter" idx="14" hasCustomPrompt="1"/>
          </p:nvPr>
        </p:nvSpPr>
        <p:spPr>
          <a:xfrm>
            <a:off x="374095" y="519480"/>
            <a:ext cx="8424000" cy="176213"/>
          </a:xfrm>
        </p:spPr>
        <p:txBody>
          <a:bodyPr anchor="t" anchorCtr="0"/>
          <a:lstStyle>
            <a:lvl1pPr marL="0" marR="0" indent="0" algn="l" defTabSz="362578" rtl="0" eaLnBrk="1" fontAlgn="auto" latinLnBrk="0" hangingPunct="1">
              <a:lnSpc>
                <a:spcPct val="100000"/>
              </a:lnSpc>
              <a:spcBef>
                <a:spcPts val="0"/>
              </a:spcBef>
              <a:spcAft>
                <a:spcPts val="0"/>
              </a:spcAft>
              <a:buClr>
                <a:schemeClr val="tx1"/>
              </a:buClr>
              <a:buSzTx/>
              <a:buFont typeface="Arial" pitchFamily="34" charset="0"/>
              <a:buNone/>
              <a:tabLst/>
              <a:defRPr sz="635" i="0">
                <a:latin typeface="+mn-lt"/>
              </a:defRPr>
            </a:lvl1pPr>
            <a:lvl2pPr marL="107641" indent="0">
              <a:buNone/>
              <a:defRPr/>
            </a:lvl2pPr>
            <a:lvl3pPr marL="211504" indent="0">
              <a:buNone/>
              <a:defRPr/>
            </a:lvl3pPr>
            <a:lvl4pPr marL="323551" indent="0">
              <a:buNone/>
              <a:defRPr/>
            </a:lvl4pPr>
            <a:lvl5pPr marL="438116" indent="0">
              <a:buNone/>
              <a:defRPr/>
            </a:lvl5pPr>
          </a:lstStyle>
          <a:p>
            <a:pPr marL="0" marR="0" lvl="0" indent="0" algn="l" defTabSz="362578" rtl="0" eaLnBrk="1" fontAlgn="auto" latinLnBrk="0" hangingPunct="1">
              <a:lnSpc>
                <a:spcPct val="100000"/>
              </a:lnSpc>
              <a:spcBef>
                <a:spcPts val="0"/>
              </a:spcBef>
              <a:spcAft>
                <a:spcPts val="0"/>
              </a:spcAft>
              <a:buClr>
                <a:schemeClr val="tx1"/>
              </a:buClr>
              <a:buSzTx/>
              <a:buFont typeface="Arial" pitchFamily="34" charset="0"/>
              <a:buNone/>
              <a:tabLst/>
              <a:defRPr/>
            </a:pPr>
            <a:r>
              <a:rPr lang="en-GB"/>
              <a:t>Supporting heading</a:t>
            </a:r>
            <a:r>
              <a:rPr lang="en-US"/>
              <a:t> here if required</a:t>
            </a:r>
          </a:p>
        </p:txBody>
      </p:sp>
      <p:sp>
        <p:nvSpPr>
          <p:cNvPr id="10" name="Slide Number Placeholder 9"/>
          <p:cNvSpPr>
            <a:spLocks noGrp="1"/>
          </p:cNvSpPr>
          <p:nvPr>
            <p:ph type="sldNum" sz="quarter" idx="21"/>
          </p:nvPr>
        </p:nvSpPr>
        <p:spPr>
          <a:xfrm>
            <a:off x="8570259" y="4827989"/>
            <a:ext cx="214966" cy="273843"/>
          </a:xfrm>
        </p:spPr>
        <p:txBody>
          <a:bodyPr/>
          <a:lstStyle/>
          <a:p>
            <a:fld id="{9F9F533D-B52E-4A2F-BF72-0ADD2D94BD75}" type="slidenum">
              <a:rPr lang="en-GB" smtClean="0"/>
              <a:pPr/>
              <a:t>‹Nº›</a:t>
            </a:fld>
            <a:endParaRPr lang="en-GB"/>
          </a:p>
        </p:txBody>
      </p:sp>
      <p:sp>
        <p:nvSpPr>
          <p:cNvPr id="12" name="Text Placeholder 5"/>
          <p:cNvSpPr>
            <a:spLocks noGrp="1"/>
          </p:cNvSpPr>
          <p:nvPr>
            <p:ph type="body" sz="quarter" idx="18" hasCustomPrompt="1"/>
          </p:nvPr>
        </p:nvSpPr>
        <p:spPr>
          <a:xfrm>
            <a:off x="374920" y="4637228"/>
            <a:ext cx="8410321" cy="69250"/>
          </a:xfrm>
        </p:spPr>
        <p:txBody>
          <a:bodyPr wrap="square" anchor="b" anchorCtr="0">
            <a:spAutoFit/>
          </a:bodyPr>
          <a:lstStyle>
            <a:lvl1pPr marL="0" indent="0">
              <a:buNone/>
              <a:defRPr sz="450" baseline="0"/>
            </a:lvl1pPr>
            <a:lvl2pPr marL="106332" indent="0">
              <a:buNone/>
              <a:defRPr sz="317"/>
            </a:lvl2pPr>
            <a:lvl3pPr marL="214121" indent="0">
              <a:buNone/>
              <a:defRPr sz="317"/>
            </a:lvl3pPr>
            <a:lvl4pPr marL="321613" indent="0">
              <a:buNone/>
              <a:defRPr sz="317"/>
            </a:lvl4pPr>
            <a:lvl5pPr marL="428242" indent="0">
              <a:buNone/>
              <a:defRPr sz="317"/>
            </a:lvl5pPr>
          </a:lstStyle>
          <a:p>
            <a:pPr lvl="0"/>
            <a:r>
              <a:rPr lang="en-US"/>
              <a:t>Insert footnote text here</a:t>
            </a:r>
          </a:p>
        </p:txBody>
      </p:sp>
      <p:sp>
        <p:nvSpPr>
          <p:cNvPr id="13" name="Text Placeholder 5"/>
          <p:cNvSpPr>
            <a:spLocks noGrp="1"/>
          </p:cNvSpPr>
          <p:nvPr>
            <p:ph type="body" sz="quarter" idx="22" hasCustomPrompt="1"/>
          </p:nvPr>
        </p:nvSpPr>
        <p:spPr>
          <a:xfrm>
            <a:off x="375034" y="4775505"/>
            <a:ext cx="8195355" cy="69250"/>
          </a:xfrm>
        </p:spPr>
        <p:txBody>
          <a:bodyPr wrap="square" anchor="t" anchorCtr="0">
            <a:spAutoFit/>
          </a:bodyPr>
          <a:lstStyle>
            <a:lvl1pPr marL="0" indent="0">
              <a:buNone/>
              <a:defRPr sz="450" baseline="0"/>
            </a:lvl1pPr>
            <a:lvl2pPr marL="106332" indent="0">
              <a:buNone/>
              <a:defRPr sz="317"/>
            </a:lvl2pPr>
            <a:lvl3pPr marL="214121" indent="0">
              <a:buNone/>
              <a:defRPr sz="317"/>
            </a:lvl3pPr>
            <a:lvl4pPr marL="321613" indent="0">
              <a:buNone/>
              <a:defRPr sz="317"/>
            </a:lvl4pPr>
            <a:lvl5pPr marL="428242" indent="0">
              <a:buNone/>
              <a:defRPr sz="317"/>
            </a:lvl5pPr>
          </a:lstStyle>
          <a:p>
            <a:pPr lvl="0"/>
            <a:r>
              <a:rPr lang="en-US"/>
              <a:t>Insert reference text here</a:t>
            </a:r>
          </a:p>
        </p:txBody>
      </p:sp>
      <p:sp>
        <p:nvSpPr>
          <p:cNvPr id="9" name="Title 4">
            <a:extLst>
              <a:ext uri="{FF2B5EF4-FFF2-40B4-BE49-F238E27FC236}">
                <a16:creationId xmlns="" xmlns:a16="http://schemas.microsoft.com/office/drawing/2014/main" id="{0D8DA6ED-9334-4322-80A7-17B6523A6426}"/>
              </a:ext>
            </a:extLst>
          </p:cNvPr>
          <p:cNvSpPr>
            <a:spLocks noGrp="1"/>
          </p:cNvSpPr>
          <p:nvPr>
            <p:ph type="title" hasCustomPrompt="1"/>
          </p:nvPr>
        </p:nvSpPr>
        <p:spPr>
          <a:xfrm>
            <a:off x="374073" y="166680"/>
            <a:ext cx="8424000" cy="173124"/>
          </a:xfrm>
        </p:spPr>
        <p:txBody>
          <a:bodyPr/>
          <a:lstStyle>
            <a:lvl1pPr>
              <a:defRPr sz="1125"/>
            </a:lvl1pPr>
          </a:lstStyle>
          <a:p>
            <a:r>
              <a:rPr lang="en-US"/>
              <a:t>Click to edit Master heading style</a:t>
            </a:r>
            <a:endParaRPr lang="en-GB"/>
          </a:p>
        </p:txBody>
      </p:sp>
    </p:spTree>
    <p:extLst>
      <p:ext uri="{BB962C8B-B14F-4D97-AF65-F5344CB8AC3E}">
        <p14:creationId xmlns:p14="http://schemas.microsoft.com/office/powerpoint/2010/main" val="1079702728"/>
      </p:ext>
    </p:extLst>
  </p:cSld>
  <p:clrMapOvr>
    <a:masterClrMapping/>
  </p:clrMapOvr>
  <p:extLst mod="1">
    <p:ext uri="{DCECCB84-F9BA-43D5-87BE-67443E8EF086}">
      <p15:sldGuideLst xmlns:p15="http://schemas.microsoft.com/office/powerpoint/2012/main">
        <p15:guide id="1" orient="horz" pos="415">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2_Title and Content with Subheading">
    <p:spTree>
      <p:nvGrpSpPr>
        <p:cNvPr id="1" name=""/>
        <p:cNvGrpSpPr/>
        <p:nvPr/>
      </p:nvGrpSpPr>
      <p:grpSpPr>
        <a:xfrm>
          <a:off x="0" y="0"/>
          <a:ext cx="0" cy="0"/>
          <a:chOff x="0" y="0"/>
          <a:chExt cx="0" cy="0"/>
        </a:xfrm>
      </p:grpSpPr>
      <p:sp>
        <p:nvSpPr>
          <p:cNvPr id="6" name="Title 5"/>
          <p:cNvSpPr>
            <a:spLocks noGrp="1"/>
          </p:cNvSpPr>
          <p:nvPr>
            <p:ph type="title"/>
          </p:nvPr>
        </p:nvSpPr>
        <p:spPr>
          <a:xfrm>
            <a:off x="365133" y="221107"/>
            <a:ext cx="7577139" cy="253916"/>
          </a:xfrm>
        </p:spPr>
        <p:txBody>
          <a:bodyPr/>
          <a:lstStyle/>
          <a:p>
            <a:r>
              <a:rPr lang="en-US"/>
              <a:t>Click to edit Master title style</a:t>
            </a:r>
            <a:endParaRPr lang="en-GB"/>
          </a:p>
        </p:txBody>
      </p:sp>
      <p:sp>
        <p:nvSpPr>
          <p:cNvPr id="10" name="Content Placeholder 9"/>
          <p:cNvSpPr>
            <a:spLocks noGrp="1"/>
          </p:cNvSpPr>
          <p:nvPr>
            <p:ph sz="quarter" idx="19"/>
          </p:nvPr>
        </p:nvSpPr>
        <p:spPr>
          <a:xfrm>
            <a:off x="365137" y="1150169"/>
            <a:ext cx="8418513" cy="334208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
          <p:cNvSpPr>
            <a:spLocks noGrp="1"/>
          </p:cNvSpPr>
          <p:nvPr>
            <p:ph type="body" sz="quarter" idx="13" hasCustomPrompt="1"/>
          </p:nvPr>
        </p:nvSpPr>
        <p:spPr>
          <a:xfrm>
            <a:off x="365137" y="888680"/>
            <a:ext cx="8418513" cy="138499"/>
          </a:xfrm>
        </p:spPr>
        <p:txBody>
          <a:bodyPr anchor="t" anchorCtr="0">
            <a:spAutoFit/>
          </a:bodyPr>
          <a:lstStyle>
            <a:lvl1pPr marL="0" indent="0">
              <a:spcAft>
                <a:spcPts val="0"/>
              </a:spcAft>
              <a:buNone/>
              <a:defRPr sz="900" b="1">
                <a:solidFill>
                  <a:schemeClr val="bg2"/>
                </a:solidFill>
              </a:defRPr>
            </a:lvl1pPr>
            <a:lvl2pPr marL="152698" indent="0">
              <a:buNone/>
              <a:defRPr/>
            </a:lvl2pPr>
            <a:lvl3pPr marL="300038" indent="0">
              <a:buNone/>
              <a:defRPr/>
            </a:lvl3pPr>
            <a:lvl4pPr marL="458986" indent="0">
              <a:buNone/>
              <a:defRPr/>
            </a:lvl4pPr>
            <a:lvl5pPr marL="621506" indent="0">
              <a:buNone/>
              <a:defRPr/>
            </a:lvl5pPr>
          </a:lstStyle>
          <a:p>
            <a:pPr lvl="0"/>
            <a:r>
              <a:rPr lang="en-US"/>
              <a:t>Subheading here if required</a:t>
            </a:r>
          </a:p>
        </p:txBody>
      </p:sp>
      <p:sp>
        <p:nvSpPr>
          <p:cNvPr id="5" name="Date Placeholder 4"/>
          <p:cNvSpPr>
            <a:spLocks noGrp="1"/>
          </p:cNvSpPr>
          <p:nvPr>
            <p:ph type="dt" sz="half" idx="20"/>
          </p:nvPr>
        </p:nvSpPr>
        <p:spPr/>
        <p:txBody>
          <a:bodyPr/>
          <a:lstStyle/>
          <a:p>
            <a:pPr algn="ctr"/>
            <a:r>
              <a:rPr lang="en-US">
                <a:solidFill>
                  <a:srgbClr val="9A8B7D"/>
                </a:solidFill>
              </a:rPr>
              <a:t>Insert your date / confidentiality text here</a:t>
            </a:r>
            <a:endParaRPr lang="en-GB">
              <a:solidFill>
                <a:srgbClr val="9A8B7D"/>
              </a:solidFill>
            </a:endParaRPr>
          </a:p>
        </p:txBody>
      </p:sp>
      <p:sp>
        <p:nvSpPr>
          <p:cNvPr id="7" name="Footer Placeholder 6"/>
          <p:cNvSpPr>
            <a:spLocks noGrp="1"/>
          </p:cNvSpPr>
          <p:nvPr>
            <p:ph type="ftr" sz="quarter" idx="21"/>
          </p:nvPr>
        </p:nvSpPr>
        <p:spPr/>
        <p:txBody>
          <a:bodyPr/>
          <a:lstStyle/>
          <a:p>
            <a:r>
              <a:rPr lang="en-GB">
                <a:solidFill>
                  <a:srgbClr val="9A8B7D"/>
                </a:solidFill>
              </a:rPr>
              <a:t>Presentation title</a:t>
            </a:r>
          </a:p>
        </p:txBody>
      </p:sp>
      <p:sp>
        <p:nvSpPr>
          <p:cNvPr id="8" name="Slide Number Placeholder 7"/>
          <p:cNvSpPr>
            <a:spLocks noGrp="1"/>
          </p:cNvSpPr>
          <p:nvPr>
            <p:ph type="sldNum" sz="quarter" idx="22"/>
          </p:nvPr>
        </p:nvSpPr>
        <p:spPr/>
        <p:txBody>
          <a:bodyPr/>
          <a:lstStyle/>
          <a:p>
            <a:fld id="{9F9F533D-B52E-4A2F-BF72-0ADD2D94BD75}" type="slidenum">
              <a:rPr lang="en-GB" smtClean="0">
                <a:solidFill>
                  <a:srgbClr val="9A8B7D"/>
                </a:solidFill>
              </a:rPr>
              <a:pPr/>
              <a:t>‹Nº›</a:t>
            </a:fld>
            <a:endParaRPr lang="en-GB">
              <a:solidFill>
                <a:srgbClr val="9A8B7D"/>
              </a:solidFill>
            </a:endParaRPr>
          </a:p>
        </p:txBody>
      </p:sp>
      <p:sp>
        <p:nvSpPr>
          <p:cNvPr id="12" name="Text Placeholder 2"/>
          <p:cNvSpPr>
            <a:spLocks noGrp="1"/>
          </p:cNvSpPr>
          <p:nvPr>
            <p:ph type="body" sz="quarter" idx="14" hasCustomPrompt="1"/>
          </p:nvPr>
        </p:nvSpPr>
        <p:spPr>
          <a:xfrm>
            <a:off x="365124" y="519481"/>
            <a:ext cx="7597776" cy="176213"/>
          </a:xfrm>
        </p:spPr>
        <p:txBody>
          <a:bodyPr anchor="t" anchorCtr="0"/>
          <a:lstStyle>
            <a:lvl1pPr marL="0" indent="0">
              <a:spcAft>
                <a:spcPts val="0"/>
              </a:spcAft>
              <a:buNone/>
              <a:defRPr sz="1013"/>
            </a:lvl1pPr>
            <a:lvl2pPr marL="152698" indent="0">
              <a:buNone/>
              <a:defRPr/>
            </a:lvl2pPr>
            <a:lvl3pPr marL="300038" indent="0">
              <a:buNone/>
              <a:defRPr/>
            </a:lvl3pPr>
            <a:lvl4pPr marL="458986" indent="0">
              <a:buNone/>
              <a:defRPr/>
            </a:lvl4pPr>
            <a:lvl5pPr marL="621506" indent="0">
              <a:buNone/>
              <a:defRPr/>
            </a:lvl5pPr>
          </a:lstStyle>
          <a:p>
            <a:pPr lvl="0"/>
            <a:r>
              <a:rPr lang="en-US"/>
              <a:t>Subtitle here if required</a:t>
            </a:r>
          </a:p>
        </p:txBody>
      </p:sp>
      <p:sp>
        <p:nvSpPr>
          <p:cNvPr id="9" name="Text Placeholder 5"/>
          <p:cNvSpPr>
            <a:spLocks noGrp="1"/>
          </p:cNvSpPr>
          <p:nvPr>
            <p:ph type="body" sz="quarter" idx="18" hasCustomPrompt="1"/>
          </p:nvPr>
        </p:nvSpPr>
        <p:spPr>
          <a:xfrm>
            <a:off x="369568" y="4566653"/>
            <a:ext cx="8445820" cy="69250"/>
          </a:xfrm>
        </p:spPr>
        <p:txBody>
          <a:bodyPr wrap="square" anchor="b" anchorCtr="0">
            <a:spAutoFit/>
          </a:bodyPr>
          <a:lstStyle>
            <a:lvl1pPr marL="0" indent="0">
              <a:buNone/>
              <a:defRPr sz="450" baseline="0"/>
            </a:lvl1pPr>
            <a:lvl2pPr marL="150842" indent="0">
              <a:buNone/>
              <a:defRPr sz="450"/>
            </a:lvl2pPr>
            <a:lvl3pPr marL="303750" indent="0">
              <a:buNone/>
              <a:defRPr sz="450"/>
            </a:lvl3pPr>
            <a:lvl4pPr marL="456237" indent="0">
              <a:buNone/>
              <a:defRPr sz="450"/>
            </a:lvl4pPr>
            <a:lvl5pPr marL="607500" indent="0">
              <a:buNone/>
              <a:defRPr sz="450"/>
            </a:lvl5pPr>
          </a:lstStyle>
          <a:p>
            <a:pPr lvl="0"/>
            <a:r>
              <a:rPr lang="en-US"/>
              <a:t>Insert Source text here</a:t>
            </a:r>
          </a:p>
        </p:txBody>
      </p:sp>
    </p:spTree>
    <p:extLst>
      <p:ext uri="{BB962C8B-B14F-4D97-AF65-F5344CB8AC3E}">
        <p14:creationId xmlns:p14="http://schemas.microsoft.com/office/powerpoint/2010/main" val="269253406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Blank">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print">
            <a:extLst>
              <a:ext uri="{28A0092B-C50C-407E-A947-70E740481C1C}">
                <a14:useLocalDpi xmlns:a14="http://schemas.microsoft.com/office/drawing/2010/main" val="0"/>
              </a:ext>
            </a:extLst>
          </a:blip>
          <a:srcRect l="12350"/>
          <a:stretch/>
        </p:blipFill>
        <p:spPr>
          <a:xfrm>
            <a:off x="-8586" y="2116181"/>
            <a:ext cx="4110884" cy="2870547"/>
          </a:xfrm>
          <a:prstGeom prst="rect">
            <a:avLst/>
          </a:prstGeom>
        </p:spPr>
      </p:pic>
      <p:sp>
        <p:nvSpPr>
          <p:cNvPr id="13" name="Text Placeholder 13"/>
          <p:cNvSpPr>
            <a:spLocks noGrp="1"/>
          </p:cNvSpPr>
          <p:nvPr>
            <p:ph type="body" sz="quarter" idx="10"/>
          </p:nvPr>
        </p:nvSpPr>
        <p:spPr>
          <a:xfrm>
            <a:off x="348548" y="3029607"/>
            <a:ext cx="2880360" cy="500137"/>
          </a:xfrm>
        </p:spPr>
        <p:txBody>
          <a:bodyPr anchor="b" anchorCtr="0">
            <a:noAutofit/>
          </a:bodyPr>
          <a:lstStyle>
            <a:lvl1pPr marL="0" indent="0">
              <a:lnSpc>
                <a:spcPts val="1950"/>
              </a:lnSpc>
              <a:spcAft>
                <a:spcPts val="0"/>
              </a:spcAft>
              <a:buNone/>
              <a:defRPr sz="1950" b="1">
                <a:solidFill>
                  <a:schemeClr val="bg1"/>
                </a:solidFill>
              </a:defRPr>
            </a:lvl1pPr>
            <a:lvl2pPr marL="203597" indent="0">
              <a:lnSpc>
                <a:spcPts val="1950"/>
              </a:lnSpc>
              <a:spcAft>
                <a:spcPts val="0"/>
              </a:spcAft>
              <a:buNone/>
              <a:defRPr sz="1950" b="1">
                <a:solidFill>
                  <a:schemeClr val="bg1"/>
                </a:solidFill>
              </a:defRPr>
            </a:lvl2pPr>
            <a:lvl3pPr marL="400050" indent="0">
              <a:lnSpc>
                <a:spcPts val="1950"/>
              </a:lnSpc>
              <a:spcAft>
                <a:spcPts val="0"/>
              </a:spcAft>
              <a:buNone/>
              <a:defRPr sz="1950" b="1">
                <a:solidFill>
                  <a:schemeClr val="bg1"/>
                </a:solidFill>
              </a:defRPr>
            </a:lvl3pPr>
            <a:lvl4pPr marL="611981" indent="0">
              <a:lnSpc>
                <a:spcPts val="1950"/>
              </a:lnSpc>
              <a:spcAft>
                <a:spcPts val="0"/>
              </a:spcAft>
              <a:buNone/>
              <a:defRPr sz="1950" b="1">
                <a:solidFill>
                  <a:schemeClr val="bg1"/>
                </a:solidFill>
              </a:defRPr>
            </a:lvl4pPr>
            <a:lvl5pPr marL="828675" indent="0">
              <a:lnSpc>
                <a:spcPts val="1950"/>
              </a:lnSpc>
              <a:spcAft>
                <a:spcPts val="0"/>
              </a:spcAft>
              <a:buNone/>
              <a:defRPr sz="1950" b="1">
                <a:solidFill>
                  <a:schemeClr val="bg1"/>
                </a:solidFill>
              </a:defRPr>
            </a:lvl5pPr>
          </a:lstStyle>
          <a:p>
            <a:pPr lvl="0"/>
            <a:r>
              <a:rPr lang="en-US"/>
              <a:t>Click to edit Master text styles</a:t>
            </a:r>
          </a:p>
        </p:txBody>
      </p:sp>
      <p:sp>
        <p:nvSpPr>
          <p:cNvPr id="7" name="Text Placeholder 23"/>
          <p:cNvSpPr>
            <a:spLocks noGrp="1"/>
          </p:cNvSpPr>
          <p:nvPr>
            <p:ph type="body" sz="quarter" idx="11" hasCustomPrompt="1"/>
          </p:nvPr>
        </p:nvSpPr>
        <p:spPr>
          <a:xfrm>
            <a:off x="349214" y="3791584"/>
            <a:ext cx="2437543" cy="184666"/>
          </a:xfrm>
        </p:spPr>
        <p:txBody>
          <a:bodyPr vert="horz" lIns="0" tIns="0" rIns="0" bIns="0" rtlCol="0" anchor="t" anchorCtr="0">
            <a:spAutoFit/>
          </a:bodyPr>
          <a:lstStyle>
            <a:lvl1pPr marL="0" marR="0" indent="0" algn="l" defTabSz="685800" rtl="0" eaLnBrk="1" fontAlgn="auto" latinLnBrk="0" hangingPunct="1">
              <a:lnSpc>
                <a:spcPct val="100000"/>
              </a:lnSpc>
              <a:spcBef>
                <a:spcPts val="0"/>
              </a:spcBef>
              <a:spcAft>
                <a:spcPts val="0"/>
              </a:spcAft>
              <a:buClr>
                <a:schemeClr val="accent2"/>
              </a:buClr>
              <a:buSzTx/>
              <a:buFont typeface="Arial" pitchFamily="34" charset="0"/>
              <a:buNone/>
              <a:tabLst/>
              <a:defRPr lang="en-US" i="0" dirty="0" smtClean="0">
                <a:solidFill>
                  <a:schemeClr val="bg1"/>
                </a:solidFill>
                <a:latin typeface="+mn-lt"/>
              </a:defRPr>
            </a:lvl1pPr>
          </a:lstStyle>
          <a:p>
            <a:r>
              <a:rPr lang="en-US"/>
              <a:t>Click to edit Master subheading</a:t>
            </a:r>
            <a:endParaRPr lang="en-GB"/>
          </a:p>
        </p:txBody>
      </p:sp>
      <p:pic>
        <p:nvPicPr>
          <p:cNvPr id="6" name="Picture 5">
            <a:extLst>
              <a:ext uri="{FF2B5EF4-FFF2-40B4-BE49-F238E27FC236}">
                <a16:creationId xmlns="" xmlns:a16="http://schemas.microsoft.com/office/drawing/2014/main" id="{95F7CD1F-5986-4A4F-8ABD-8D49EFA74B0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36824" y="182430"/>
            <a:ext cx="743164" cy="534923"/>
          </a:xfrm>
          <a:prstGeom prst="rect">
            <a:avLst/>
          </a:prstGeom>
        </p:spPr>
      </p:pic>
    </p:spTree>
    <p:extLst>
      <p:ext uri="{BB962C8B-B14F-4D97-AF65-F5344CB8AC3E}">
        <p14:creationId xmlns:p14="http://schemas.microsoft.com/office/powerpoint/2010/main" val="195515113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Slide Text Only">
    <p:spTree>
      <p:nvGrpSpPr>
        <p:cNvPr id="1" name=""/>
        <p:cNvGrpSpPr/>
        <p:nvPr/>
      </p:nvGrpSpPr>
      <p:grpSpPr>
        <a:xfrm>
          <a:off x="0" y="0"/>
          <a:ext cx="0" cy="0"/>
          <a:chOff x="0" y="0"/>
          <a:chExt cx="0" cy="0"/>
        </a:xfrm>
      </p:grpSpPr>
      <p:sp>
        <p:nvSpPr>
          <p:cNvPr id="7" name="Text Placeholder 13"/>
          <p:cNvSpPr>
            <a:spLocks noGrp="1"/>
          </p:cNvSpPr>
          <p:nvPr>
            <p:ph type="body" sz="quarter" idx="10" hasCustomPrompt="1"/>
          </p:nvPr>
        </p:nvSpPr>
        <p:spPr>
          <a:xfrm>
            <a:off x="348548" y="3029607"/>
            <a:ext cx="5004288" cy="500137"/>
          </a:xfrm>
        </p:spPr>
        <p:txBody>
          <a:bodyPr anchor="b" anchorCtr="0">
            <a:noAutofit/>
          </a:bodyPr>
          <a:lstStyle>
            <a:lvl1pPr marL="0" indent="0">
              <a:lnSpc>
                <a:spcPts val="1950"/>
              </a:lnSpc>
              <a:spcAft>
                <a:spcPts val="0"/>
              </a:spcAft>
              <a:buNone/>
              <a:defRPr sz="1950" b="1">
                <a:solidFill>
                  <a:schemeClr val="bg2"/>
                </a:solidFill>
              </a:defRPr>
            </a:lvl1pPr>
            <a:lvl2pPr marL="203597" indent="0">
              <a:lnSpc>
                <a:spcPts val="1950"/>
              </a:lnSpc>
              <a:spcAft>
                <a:spcPts val="0"/>
              </a:spcAft>
              <a:buNone/>
              <a:defRPr sz="1950" b="1">
                <a:solidFill>
                  <a:schemeClr val="bg1"/>
                </a:solidFill>
              </a:defRPr>
            </a:lvl2pPr>
            <a:lvl3pPr marL="400050" indent="0">
              <a:lnSpc>
                <a:spcPts val="1950"/>
              </a:lnSpc>
              <a:spcAft>
                <a:spcPts val="0"/>
              </a:spcAft>
              <a:buNone/>
              <a:defRPr sz="1950" b="1">
                <a:solidFill>
                  <a:schemeClr val="bg1"/>
                </a:solidFill>
              </a:defRPr>
            </a:lvl3pPr>
            <a:lvl4pPr marL="611981" indent="0">
              <a:lnSpc>
                <a:spcPts val="1950"/>
              </a:lnSpc>
              <a:spcAft>
                <a:spcPts val="0"/>
              </a:spcAft>
              <a:buNone/>
              <a:defRPr sz="1950" b="1">
                <a:solidFill>
                  <a:schemeClr val="bg1"/>
                </a:solidFill>
              </a:defRPr>
            </a:lvl4pPr>
            <a:lvl5pPr marL="828675" indent="0">
              <a:lnSpc>
                <a:spcPts val="1950"/>
              </a:lnSpc>
              <a:spcAft>
                <a:spcPts val="0"/>
              </a:spcAft>
              <a:buNone/>
              <a:defRPr sz="1950" b="1">
                <a:solidFill>
                  <a:schemeClr val="bg1"/>
                </a:solidFill>
              </a:defRPr>
            </a:lvl5pPr>
          </a:lstStyle>
          <a:p>
            <a:pPr lvl="0"/>
            <a:r>
              <a:rPr lang="en-US"/>
              <a:t>Click to edit Master </a:t>
            </a:r>
            <a:br>
              <a:rPr lang="en-US"/>
            </a:br>
            <a:r>
              <a:rPr lang="en-US"/>
              <a:t>heading style</a:t>
            </a:r>
          </a:p>
        </p:txBody>
      </p:sp>
      <p:sp>
        <p:nvSpPr>
          <p:cNvPr id="8" name="Text Placeholder 23"/>
          <p:cNvSpPr>
            <a:spLocks noGrp="1"/>
          </p:cNvSpPr>
          <p:nvPr>
            <p:ph type="body" sz="quarter" idx="11" hasCustomPrompt="1"/>
          </p:nvPr>
        </p:nvSpPr>
        <p:spPr>
          <a:xfrm>
            <a:off x="349217" y="3791583"/>
            <a:ext cx="5003439" cy="184666"/>
          </a:xfrm>
        </p:spPr>
        <p:txBody>
          <a:bodyPr vert="horz" lIns="0" tIns="0" rIns="0" bIns="0" rtlCol="0" anchor="t" anchorCtr="0">
            <a:noAutofit/>
          </a:bodyPr>
          <a:lstStyle>
            <a:lvl1pPr marL="0" marR="0" indent="0" algn="l" defTabSz="685800" rtl="0" eaLnBrk="1" fontAlgn="auto" latinLnBrk="0" hangingPunct="1">
              <a:lnSpc>
                <a:spcPct val="100000"/>
              </a:lnSpc>
              <a:spcBef>
                <a:spcPts val="0"/>
              </a:spcBef>
              <a:spcAft>
                <a:spcPts val="0"/>
              </a:spcAft>
              <a:buClr>
                <a:schemeClr val="accent2"/>
              </a:buClr>
              <a:buSzTx/>
              <a:buFont typeface="Arial" pitchFamily="34" charset="0"/>
              <a:buNone/>
              <a:tabLst/>
              <a:defRPr lang="en-US" i="0" dirty="0" smtClean="0">
                <a:solidFill>
                  <a:schemeClr val="tx1"/>
                </a:solidFill>
                <a:latin typeface="+mn-lt"/>
              </a:defRPr>
            </a:lvl1pPr>
          </a:lstStyle>
          <a:p>
            <a:r>
              <a:rPr lang="en-US"/>
              <a:t>Click to edit Master subheading</a:t>
            </a:r>
            <a:endParaRPr lang="en-GB"/>
          </a:p>
        </p:txBody>
      </p:sp>
      <p:pic>
        <p:nvPicPr>
          <p:cNvPr id="6" name="Picture 5">
            <a:extLst>
              <a:ext uri="{FF2B5EF4-FFF2-40B4-BE49-F238E27FC236}">
                <a16:creationId xmlns="" xmlns:a16="http://schemas.microsoft.com/office/drawing/2014/main" id="{83F1B86C-85A3-43FB-BFB2-B484E275ED2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36824" y="182430"/>
            <a:ext cx="743164" cy="534923"/>
          </a:xfrm>
          <a:prstGeom prst="rect">
            <a:avLst/>
          </a:prstGeom>
        </p:spPr>
      </p:pic>
    </p:spTree>
    <p:extLst>
      <p:ext uri="{BB962C8B-B14F-4D97-AF65-F5344CB8AC3E}">
        <p14:creationId xmlns:p14="http://schemas.microsoft.com/office/powerpoint/2010/main" val="187762657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374073" y="221107"/>
            <a:ext cx="7568190" cy="253916"/>
          </a:xfrm>
        </p:spPr>
        <p:txBody>
          <a:bodyPr/>
          <a:lstStyle/>
          <a:p>
            <a:r>
              <a:rPr lang="en-US"/>
              <a:t>Click to edit Master heading style</a:t>
            </a:r>
            <a:endParaRPr lang="en-GB"/>
          </a:p>
        </p:txBody>
      </p:sp>
      <p:sp>
        <p:nvSpPr>
          <p:cNvPr id="16" name="Content Placeholder 15"/>
          <p:cNvSpPr>
            <a:spLocks noGrp="1"/>
          </p:cNvSpPr>
          <p:nvPr>
            <p:ph sz="quarter" idx="12"/>
          </p:nvPr>
        </p:nvSpPr>
        <p:spPr>
          <a:xfrm>
            <a:off x="375090" y="883117"/>
            <a:ext cx="8413327" cy="3493912"/>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2"/>
          <p:cNvSpPr>
            <a:spLocks noGrp="1"/>
          </p:cNvSpPr>
          <p:nvPr>
            <p:ph type="body" sz="quarter" idx="14" hasCustomPrompt="1"/>
          </p:nvPr>
        </p:nvSpPr>
        <p:spPr>
          <a:xfrm>
            <a:off x="374106" y="519477"/>
            <a:ext cx="7588803" cy="176213"/>
          </a:xfrm>
        </p:spPr>
        <p:txBody>
          <a:bodyPr anchor="t" anchorCtr="0"/>
          <a:lstStyle>
            <a:lvl1pPr marL="0" marR="0" indent="0" algn="l" defTabSz="685800" rtl="0" eaLnBrk="1" fontAlgn="auto" latinLnBrk="0" hangingPunct="1">
              <a:lnSpc>
                <a:spcPct val="100000"/>
              </a:lnSpc>
              <a:spcBef>
                <a:spcPts val="0"/>
              </a:spcBef>
              <a:spcAft>
                <a:spcPts val="0"/>
              </a:spcAft>
              <a:buClr>
                <a:schemeClr val="tx1"/>
              </a:buClr>
              <a:buSzTx/>
              <a:buFont typeface="Arial" pitchFamily="34" charset="0"/>
              <a:buNone/>
              <a:tabLst/>
              <a:defRPr sz="1200" i="0">
                <a:latin typeface="+mn-lt"/>
              </a:defRPr>
            </a:lvl1pPr>
            <a:lvl2pPr marL="203597" indent="0">
              <a:buNone/>
              <a:defRPr/>
            </a:lvl2pPr>
            <a:lvl3pPr marL="400050" indent="0">
              <a:buNone/>
              <a:defRPr/>
            </a:lvl3pPr>
            <a:lvl4pPr marL="611981" indent="0">
              <a:buNone/>
              <a:defRPr/>
            </a:lvl4pPr>
            <a:lvl5pPr marL="828675" indent="0">
              <a:buNone/>
              <a:defRPr/>
            </a:lvl5pPr>
          </a:lstStyle>
          <a:p>
            <a:pPr marL="0" marR="0" lvl="0" indent="0" algn="l" defTabSz="685800" rtl="0" eaLnBrk="1" fontAlgn="auto" latinLnBrk="0" hangingPunct="1">
              <a:lnSpc>
                <a:spcPct val="100000"/>
              </a:lnSpc>
              <a:spcBef>
                <a:spcPts val="0"/>
              </a:spcBef>
              <a:spcAft>
                <a:spcPts val="0"/>
              </a:spcAft>
              <a:buClr>
                <a:schemeClr val="tx1"/>
              </a:buClr>
              <a:buSzTx/>
              <a:buFont typeface="Arial" pitchFamily="34" charset="0"/>
              <a:buNone/>
              <a:tabLst/>
              <a:defRPr/>
            </a:pPr>
            <a:r>
              <a:rPr lang="en-GB"/>
              <a:t>Supporting heading</a:t>
            </a:r>
            <a:r>
              <a:rPr lang="en-US"/>
              <a:t> here if required</a:t>
            </a:r>
          </a:p>
        </p:txBody>
      </p:sp>
      <p:sp>
        <p:nvSpPr>
          <p:cNvPr id="6" name="Text Placeholder 5"/>
          <p:cNvSpPr>
            <a:spLocks noGrp="1"/>
          </p:cNvSpPr>
          <p:nvPr>
            <p:ph type="body" sz="quarter" idx="18" hasCustomPrompt="1"/>
          </p:nvPr>
        </p:nvSpPr>
        <p:spPr>
          <a:xfrm>
            <a:off x="374920" y="4614233"/>
            <a:ext cx="8410321" cy="92333"/>
          </a:xfrm>
        </p:spPr>
        <p:txBody>
          <a:bodyPr wrap="square" anchor="b" anchorCtr="0">
            <a:spAutoFit/>
          </a:bodyPr>
          <a:lstStyle>
            <a:lvl1pPr marL="0" indent="0">
              <a:buNone/>
              <a:defRPr sz="600" baseline="0"/>
            </a:lvl1pPr>
            <a:lvl2pPr marL="201122" indent="0">
              <a:buNone/>
              <a:defRPr sz="600"/>
            </a:lvl2pPr>
            <a:lvl3pPr marL="405000" indent="0">
              <a:buNone/>
              <a:defRPr sz="600"/>
            </a:lvl3pPr>
            <a:lvl4pPr marL="608316" indent="0">
              <a:buNone/>
              <a:defRPr sz="600"/>
            </a:lvl4pPr>
            <a:lvl5pPr marL="810000" indent="0">
              <a:buNone/>
              <a:defRPr sz="600"/>
            </a:lvl5pPr>
          </a:lstStyle>
          <a:p>
            <a:pPr lvl="0"/>
            <a:r>
              <a:rPr lang="en-US"/>
              <a:t>Insert footnote text here</a:t>
            </a:r>
          </a:p>
        </p:txBody>
      </p:sp>
      <p:sp>
        <p:nvSpPr>
          <p:cNvPr id="10" name="Slide Number Placeholder 9"/>
          <p:cNvSpPr>
            <a:spLocks noGrp="1"/>
          </p:cNvSpPr>
          <p:nvPr>
            <p:ph type="sldNum" sz="quarter" idx="21"/>
          </p:nvPr>
        </p:nvSpPr>
        <p:spPr>
          <a:xfrm>
            <a:off x="8570259" y="4827987"/>
            <a:ext cx="214966" cy="273844"/>
          </a:xfrm>
        </p:spPr>
        <p:txBody>
          <a:bodyPr/>
          <a:lstStyle/>
          <a:p>
            <a:fld id="{9F9F533D-B52E-4A2F-BF72-0ADD2D94BD75}" type="slidenum">
              <a:rPr lang="en-GB" smtClean="0"/>
              <a:pPr/>
              <a:t>‹Nº›</a:t>
            </a:fld>
            <a:endParaRPr lang="en-GB"/>
          </a:p>
        </p:txBody>
      </p:sp>
      <p:sp>
        <p:nvSpPr>
          <p:cNvPr id="9" name="Text Placeholder 5"/>
          <p:cNvSpPr>
            <a:spLocks noGrp="1"/>
          </p:cNvSpPr>
          <p:nvPr>
            <p:ph type="body" sz="quarter" idx="22" hasCustomPrompt="1"/>
          </p:nvPr>
        </p:nvSpPr>
        <p:spPr>
          <a:xfrm>
            <a:off x="375029" y="4775563"/>
            <a:ext cx="8195355" cy="92333"/>
          </a:xfrm>
        </p:spPr>
        <p:txBody>
          <a:bodyPr wrap="square" anchor="t" anchorCtr="0">
            <a:spAutoFit/>
          </a:bodyPr>
          <a:lstStyle>
            <a:lvl1pPr marL="0" indent="0">
              <a:buNone/>
              <a:defRPr sz="600" baseline="0"/>
            </a:lvl1pPr>
            <a:lvl2pPr marL="201122" indent="0">
              <a:buNone/>
              <a:defRPr sz="600"/>
            </a:lvl2pPr>
            <a:lvl3pPr marL="405000" indent="0">
              <a:buNone/>
              <a:defRPr sz="600"/>
            </a:lvl3pPr>
            <a:lvl4pPr marL="608316" indent="0">
              <a:buNone/>
              <a:defRPr sz="600"/>
            </a:lvl4pPr>
            <a:lvl5pPr marL="810000" indent="0">
              <a:buNone/>
              <a:defRPr sz="600"/>
            </a:lvl5pPr>
          </a:lstStyle>
          <a:p>
            <a:pPr lvl="0"/>
            <a:r>
              <a:rPr lang="en-US"/>
              <a:t>Insert reference text here</a:t>
            </a:r>
          </a:p>
        </p:txBody>
      </p:sp>
    </p:spTree>
    <p:extLst>
      <p:ext uri="{BB962C8B-B14F-4D97-AF65-F5344CB8AC3E}">
        <p14:creationId xmlns:p14="http://schemas.microsoft.com/office/powerpoint/2010/main" val="1190843808"/>
      </p:ext>
    </p:extLst>
  </p:cSld>
  <p:clrMapOvr>
    <a:masterClrMapping/>
  </p:clrMapOvr>
  <p:extLst mod="1">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with Subheading">
    <p:spTree>
      <p:nvGrpSpPr>
        <p:cNvPr id="1" name=""/>
        <p:cNvGrpSpPr/>
        <p:nvPr/>
      </p:nvGrpSpPr>
      <p:grpSpPr>
        <a:xfrm>
          <a:off x="0" y="0"/>
          <a:ext cx="0" cy="0"/>
          <a:chOff x="0" y="0"/>
          <a:chExt cx="0" cy="0"/>
        </a:xfrm>
      </p:grpSpPr>
      <p:sp>
        <p:nvSpPr>
          <p:cNvPr id="10" name="Content Placeholder 9"/>
          <p:cNvSpPr>
            <a:spLocks noGrp="1"/>
          </p:cNvSpPr>
          <p:nvPr>
            <p:ph sz="quarter" idx="19"/>
          </p:nvPr>
        </p:nvSpPr>
        <p:spPr>
          <a:xfrm>
            <a:off x="374904" y="1150152"/>
            <a:ext cx="8418513" cy="32432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
          <p:cNvSpPr>
            <a:spLocks noGrp="1"/>
          </p:cNvSpPr>
          <p:nvPr>
            <p:ph type="body" sz="quarter" idx="13" hasCustomPrompt="1"/>
          </p:nvPr>
        </p:nvSpPr>
        <p:spPr>
          <a:xfrm>
            <a:off x="374904" y="884682"/>
            <a:ext cx="8418513" cy="184666"/>
          </a:xfrm>
        </p:spPr>
        <p:txBody>
          <a:bodyPr anchor="t" anchorCtr="0">
            <a:spAutoFit/>
          </a:bodyPr>
          <a:lstStyle>
            <a:lvl1pPr marL="0" indent="0">
              <a:spcAft>
                <a:spcPts val="0"/>
              </a:spcAft>
              <a:buNone/>
              <a:defRPr sz="1200" b="1">
                <a:solidFill>
                  <a:schemeClr val="accent1"/>
                </a:solidFill>
              </a:defRPr>
            </a:lvl1pPr>
            <a:lvl2pPr marL="203597" indent="0">
              <a:buNone/>
              <a:defRPr/>
            </a:lvl2pPr>
            <a:lvl3pPr marL="400050" indent="0">
              <a:buNone/>
              <a:defRPr/>
            </a:lvl3pPr>
            <a:lvl4pPr marL="611981" indent="0">
              <a:buNone/>
              <a:defRPr/>
            </a:lvl4pPr>
            <a:lvl5pPr marL="828675" indent="0">
              <a:buNone/>
              <a:defRPr/>
            </a:lvl5pPr>
          </a:lstStyle>
          <a:p>
            <a:pPr lvl="0"/>
            <a:r>
              <a:rPr lang="en-US"/>
              <a:t>Subheading here if required</a:t>
            </a:r>
          </a:p>
        </p:txBody>
      </p:sp>
      <p:sp>
        <p:nvSpPr>
          <p:cNvPr id="13" name="Title 4"/>
          <p:cNvSpPr>
            <a:spLocks noGrp="1"/>
          </p:cNvSpPr>
          <p:nvPr>
            <p:ph type="title" hasCustomPrompt="1"/>
          </p:nvPr>
        </p:nvSpPr>
        <p:spPr>
          <a:xfrm>
            <a:off x="374073" y="221107"/>
            <a:ext cx="7568190" cy="253916"/>
          </a:xfrm>
        </p:spPr>
        <p:txBody>
          <a:bodyPr/>
          <a:lstStyle/>
          <a:p>
            <a:r>
              <a:rPr lang="en-US"/>
              <a:t>Click to edit Master heading style</a:t>
            </a:r>
            <a:endParaRPr lang="en-GB"/>
          </a:p>
        </p:txBody>
      </p:sp>
      <p:sp>
        <p:nvSpPr>
          <p:cNvPr id="14" name="Text Placeholder 2"/>
          <p:cNvSpPr>
            <a:spLocks noGrp="1"/>
          </p:cNvSpPr>
          <p:nvPr>
            <p:ph type="body" sz="quarter" idx="14" hasCustomPrompt="1"/>
          </p:nvPr>
        </p:nvSpPr>
        <p:spPr>
          <a:xfrm>
            <a:off x="374106" y="519477"/>
            <a:ext cx="7588803" cy="176213"/>
          </a:xfrm>
        </p:spPr>
        <p:txBody>
          <a:bodyPr anchor="t" anchorCtr="0"/>
          <a:lstStyle>
            <a:lvl1pPr marL="0" marR="0" indent="0" algn="l" defTabSz="685800" rtl="0" eaLnBrk="1" fontAlgn="auto" latinLnBrk="0" hangingPunct="1">
              <a:lnSpc>
                <a:spcPct val="100000"/>
              </a:lnSpc>
              <a:spcBef>
                <a:spcPts val="0"/>
              </a:spcBef>
              <a:spcAft>
                <a:spcPts val="0"/>
              </a:spcAft>
              <a:buClr>
                <a:schemeClr val="tx1"/>
              </a:buClr>
              <a:buSzTx/>
              <a:buFont typeface="Arial" pitchFamily="34" charset="0"/>
              <a:buNone/>
              <a:tabLst/>
              <a:defRPr sz="1200" i="0">
                <a:latin typeface="+mn-lt"/>
              </a:defRPr>
            </a:lvl1pPr>
            <a:lvl2pPr marL="203597" indent="0">
              <a:buNone/>
              <a:defRPr/>
            </a:lvl2pPr>
            <a:lvl3pPr marL="400050" indent="0">
              <a:buNone/>
              <a:defRPr/>
            </a:lvl3pPr>
            <a:lvl4pPr marL="611981" indent="0">
              <a:buNone/>
              <a:defRPr/>
            </a:lvl4pPr>
            <a:lvl5pPr marL="828675" indent="0">
              <a:buNone/>
              <a:defRPr/>
            </a:lvl5pPr>
          </a:lstStyle>
          <a:p>
            <a:pPr marL="0" marR="0" lvl="0" indent="0" algn="l" defTabSz="685800" rtl="0" eaLnBrk="1" fontAlgn="auto" latinLnBrk="0" hangingPunct="1">
              <a:lnSpc>
                <a:spcPct val="100000"/>
              </a:lnSpc>
              <a:spcBef>
                <a:spcPts val="0"/>
              </a:spcBef>
              <a:spcAft>
                <a:spcPts val="0"/>
              </a:spcAft>
              <a:buClr>
                <a:schemeClr val="tx1"/>
              </a:buClr>
              <a:buSzTx/>
              <a:buFont typeface="Arial" pitchFamily="34" charset="0"/>
              <a:buNone/>
              <a:tabLst/>
              <a:defRPr/>
            </a:pPr>
            <a:r>
              <a:rPr lang="en-GB"/>
              <a:t>Supporting heading</a:t>
            </a:r>
            <a:r>
              <a:rPr lang="en-US"/>
              <a:t> here if required</a:t>
            </a:r>
          </a:p>
        </p:txBody>
      </p:sp>
      <p:sp>
        <p:nvSpPr>
          <p:cNvPr id="15" name="Slide Number Placeholder 9"/>
          <p:cNvSpPr>
            <a:spLocks noGrp="1"/>
          </p:cNvSpPr>
          <p:nvPr>
            <p:ph type="sldNum" sz="quarter" idx="21"/>
          </p:nvPr>
        </p:nvSpPr>
        <p:spPr>
          <a:xfrm>
            <a:off x="8570259" y="4827987"/>
            <a:ext cx="214966" cy="273844"/>
          </a:xfrm>
        </p:spPr>
        <p:txBody>
          <a:bodyPr/>
          <a:lstStyle/>
          <a:p>
            <a:fld id="{9F9F533D-B52E-4A2F-BF72-0ADD2D94BD75}" type="slidenum">
              <a:rPr lang="en-GB" smtClean="0"/>
              <a:pPr/>
              <a:t>‹Nº›</a:t>
            </a:fld>
            <a:endParaRPr lang="en-GB"/>
          </a:p>
        </p:txBody>
      </p:sp>
      <p:sp>
        <p:nvSpPr>
          <p:cNvPr id="9" name="Text Placeholder 5"/>
          <p:cNvSpPr>
            <a:spLocks noGrp="1"/>
          </p:cNvSpPr>
          <p:nvPr>
            <p:ph type="body" sz="quarter" idx="18" hasCustomPrompt="1"/>
          </p:nvPr>
        </p:nvSpPr>
        <p:spPr>
          <a:xfrm>
            <a:off x="374920" y="4614233"/>
            <a:ext cx="8410321" cy="92333"/>
          </a:xfrm>
        </p:spPr>
        <p:txBody>
          <a:bodyPr wrap="square" anchor="b" anchorCtr="0">
            <a:spAutoFit/>
          </a:bodyPr>
          <a:lstStyle>
            <a:lvl1pPr marL="0" indent="0">
              <a:buNone/>
              <a:defRPr sz="600" baseline="0"/>
            </a:lvl1pPr>
            <a:lvl2pPr marL="201122" indent="0">
              <a:buNone/>
              <a:defRPr sz="600"/>
            </a:lvl2pPr>
            <a:lvl3pPr marL="405000" indent="0">
              <a:buNone/>
              <a:defRPr sz="600"/>
            </a:lvl3pPr>
            <a:lvl4pPr marL="608316" indent="0">
              <a:buNone/>
              <a:defRPr sz="600"/>
            </a:lvl4pPr>
            <a:lvl5pPr marL="810000" indent="0">
              <a:buNone/>
              <a:defRPr sz="600"/>
            </a:lvl5pPr>
          </a:lstStyle>
          <a:p>
            <a:pPr lvl="0"/>
            <a:r>
              <a:rPr lang="en-US"/>
              <a:t>Insert footnote text here</a:t>
            </a:r>
          </a:p>
        </p:txBody>
      </p:sp>
      <p:sp>
        <p:nvSpPr>
          <p:cNvPr id="17" name="Text Placeholder 5"/>
          <p:cNvSpPr>
            <a:spLocks noGrp="1"/>
          </p:cNvSpPr>
          <p:nvPr>
            <p:ph type="body" sz="quarter" idx="22" hasCustomPrompt="1"/>
          </p:nvPr>
        </p:nvSpPr>
        <p:spPr>
          <a:xfrm>
            <a:off x="375029" y="4775563"/>
            <a:ext cx="8195355" cy="92333"/>
          </a:xfrm>
        </p:spPr>
        <p:txBody>
          <a:bodyPr wrap="square" anchor="t" anchorCtr="0">
            <a:spAutoFit/>
          </a:bodyPr>
          <a:lstStyle>
            <a:lvl1pPr marL="0" indent="0">
              <a:buNone/>
              <a:defRPr sz="600" baseline="0"/>
            </a:lvl1pPr>
            <a:lvl2pPr marL="201122" indent="0">
              <a:buNone/>
              <a:defRPr sz="600"/>
            </a:lvl2pPr>
            <a:lvl3pPr marL="405000" indent="0">
              <a:buNone/>
              <a:defRPr sz="600"/>
            </a:lvl3pPr>
            <a:lvl4pPr marL="608316" indent="0">
              <a:buNone/>
              <a:defRPr sz="600"/>
            </a:lvl4pPr>
            <a:lvl5pPr marL="810000" indent="0">
              <a:buNone/>
              <a:defRPr sz="600"/>
            </a:lvl5pPr>
          </a:lstStyle>
          <a:p>
            <a:pPr lvl="0"/>
            <a:r>
              <a:rPr lang="en-US"/>
              <a:t>Insert reference text here</a:t>
            </a:r>
          </a:p>
        </p:txBody>
      </p:sp>
    </p:spTree>
    <p:extLst>
      <p:ext uri="{BB962C8B-B14F-4D97-AF65-F5344CB8AC3E}">
        <p14:creationId xmlns:p14="http://schemas.microsoft.com/office/powerpoint/2010/main" val="2317369770"/>
      </p:ext>
    </p:extLst>
  </p:cSld>
  <p:clrMapOvr>
    <a:masterClrMapping/>
  </p:clrMapOvr>
  <p:extLst mod="1">
    <p:ext uri="{DCECCB84-F9BA-43D5-87BE-67443E8EF086}">
      <p15:sldGuideLst xmlns:p15="http://schemas.microsoft.com/office/powerpoint/2012/main">
        <p15:guide id="1" orient="horz" pos="553">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le 4"/>
          <p:cNvSpPr>
            <a:spLocks noGrp="1"/>
          </p:cNvSpPr>
          <p:nvPr>
            <p:ph type="title" hasCustomPrompt="1"/>
          </p:nvPr>
        </p:nvSpPr>
        <p:spPr>
          <a:xfrm>
            <a:off x="374073" y="221107"/>
            <a:ext cx="7568190" cy="253916"/>
          </a:xfrm>
        </p:spPr>
        <p:txBody>
          <a:bodyPr/>
          <a:lstStyle/>
          <a:p>
            <a:r>
              <a:rPr lang="en-US"/>
              <a:t>Click to edit Master heading style</a:t>
            </a:r>
            <a:endParaRPr lang="en-GB"/>
          </a:p>
        </p:txBody>
      </p:sp>
      <p:sp>
        <p:nvSpPr>
          <p:cNvPr id="8" name="Text Placeholder 2"/>
          <p:cNvSpPr>
            <a:spLocks noGrp="1"/>
          </p:cNvSpPr>
          <p:nvPr>
            <p:ph type="body" sz="quarter" idx="14" hasCustomPrompt="1"/>
          </p:nvPr>
        </p:nvSpPr>
        <p:spPr>
          <a:xfrm>
            <a:off x="374106" y="519477"/>
            <a:ext cx="7588803" cy="176213"/>
          </a:xfrm>
        </p:spPr>
        <p:txBody>
          <a:bodyPr anchor="t" anchorCtr="0"/>
          <a:lstStyle>
            <a:lvl1pPr marL="0" marR="0" indent="0" algn="l" defTabSz="685800" rtl="0" eaLnBrk="1" fontAlgn="auto" latinLnBrk="0" hangingPunct="1">
              <a:lnSpc>
                <a:spcPct val="100000"/>
              </a:lnSpc>
              <a:spcBef>
                <a:spcPts val="0"/>
              </a:spcBef>
              <a:spcAft>
                <a:spcPts val="0"/>
              </a:spcAft>
              <a:buClr>
                <a:schemeClr val="tx1"/>
              </a:buClr>
              <a:buSzTx/>
              <a:buFont typeface="Arial" pitchFamily="34" charset="0"/>
              <a:buNone/>
              <a:tabLst/>
              <a:defRPr sz="1200" i="0">
                <a:latin typeface="+mn-lt"/>
              </a:defRPr>
            </a:lvl1pPr>
            <a:lvl2pPr marL="203597" indent="0">
              <a:buNone/>
              <a:defRPr/>
            </a:lvl2pPr>
            <a:lvl3pPr marL="400050" indent="0">
              <a:buNone/>
              <a:defRPr/>
            </a:lvl3pPr>
            <a:lvl4pPr marL="611981" indent="0">
              <a:buNone/>
              <a:defRPr/>
            </a:lvl4pPr>
            <a:lvl5pPr marL="828675" indent="0">
              <a:buNone/>
              <a:defRPr/>
            </a:lvl5pPr>
          </a:lstStyle>
          <a:p>
            <a:pPr marL="0" marR="0" lvl="0" indent="0" algn="l" defTabSz="685800" rtl="0" eaLnBrk="1" fontAlgn="auto" latinLnBrk="0" hangingPunct="1">
              <a:lnSpc>
                <a:spcPct val="100000"/>
              </a:lnSpc>
              <a:spcBef>
                <a:spcPts val="0"/>
              </a:spcBef>
              <a:spcAft>
                <a:spcPts val="0"/>
              </a:spcAft>
              <a:buClr>
                <a:schemeClr val="tx1"/>
              </a:buClr>
              <a:buSzTx/>
              <a:buFont typeface="Arial" pitchFamily="34" charset="0"/>
              <a:buNone/>
              <a:tabLst/>
              <a:defRPr/>
            </a:pPr>
            <a:r>
              <a:rPr lang="en-GB"/>
              <a:t>Supporting heading</a:t>
            </a:r>
            <a:r>
              <a:rPr lang="en-US"/>
              <a:t> here if required</a:t>
            </a:r>
          </a:p>
        </p:txBody>
      </p:sp>
      <p:sp>
        <p:nvSpPr>
          <p:cNvPr id="10" name="Slide Number Placeholder 9"/>
          <p:cNvSpPr>
            <a:spLocks noGrp="1"/>
          </p:cNvSpPr>
          <p:nvPr>
            <p:ph type="sldNum" sz="quarter" idx="21"/>
          </p:nvPr>
        </p:nvSpPr>
        <p:spPr>
          <a:xfrm>
            <a:off x="8570259" y="4827987"/>
            <a:ext cx="214966" cy="273844"/>
          </a:xfrm>
        </p:spPr>
        <p:txBody>
          <a:bodyPr/>
          <a:lstStyle/>
          <a:p>
            <a:fld id="{9F9F533D-B52E-4A2F-BF72-0ADD2D94BD75}" type="slidenum">
              <a:rPr lang="en-GB" smtClean="0"/>
              <a:pPr/>
              <a:t>‹Nº›</a:t>
            </a:fld>
            <a:endParaRPr lang="en-GB"/>
          </a:p>
        </p:txBody>
      </p:sp>
      <p:sp>
        <p:nvSpPr>
          <p:cNvPr id="12" name="Text Placeholder 5"/>
          <p:cNvSpPr>
            <a:spLocks noGrp="1"/>
          </p:cNvSpPr>
          <p:nvPr>
            <p:ph type="body" sz="quarter" idx="18" hasCustomPrompt="1"/>
          </p:nvPr>
        </p:nvSpPr>
        <p:spPr>
          <a:xfrm>
            <a:off x="374920" y="4614233"/>
            <a:ext cx="8410321" cy="92333"/>
          </a:xfrm>
        </p:spPr>
        <p:txBody>
          <a:bodyPr wrap="square" anchor="b" anchorCtr="0">
            <a:spAutoFit/>
          </a:bodyPr>
          <a:lstStyle>
            <a:lvl1pPr marL="0" indent="0">
              <a:buNone/>
              <a:defRPr sz="600" baseline="0"/>
            </a:lvl1pPr>
            <a:lvl2pPr marL="201122" indent="0">
              <a:buNone/>
              <a:defRPr sz="600"/>
            </a:lvl2pPr>
            <a:lvl3pPr marL="405000" indent="0">
              <a:buNone/>
              <a:defRPr sz="600"/>
            </a:lvl3pPr>
            <a:lvl4pPr marL="608316" indent="0">
              <a:buNone/>
              <a:defRPr sz="600"/>
            </a:lvl4pPr>
            <a:lvl5pPr marL="810000" indent="0">
              <a:buNone/>
              <a:defRPr sz="600"/>
            </a:lvl5pPr>
          </a:lstStyle>
          <a:p>
            <a:pPr lvl="0"/>
            <a:r>
              <a:rPr lang="en-US"/>
              <a:t>Insert footnote text here</a:t>
            </a:r>
          </a:p>
        </p:txBody>
      </p:sp>
      <p:sp>
        <p:nvSpPr>
          <p:cNvPr id="13" name="Text Placeholder 5"/>
          <p:cNvSpPr>
            <a:spLocks noGrp="1"/>
          </p:cNvSpPr>
          <p:nvPr>
            <p:ph type="body" sz="quarter" idx="22" hasCustomPrompt="1"/>
          </p:nvPr>
        </p:nvSpPr>
        <p:spPr>
          <a:xfrm>
            <a:off x="375029" y="4775563"/>
            <a:ext cx="8195355" cy="92333"/>
          </a:xfrm>
        </p:spPr>
        <p:txBody>
          <a:bodyPr wrap="square" anchor="t" anchorCtr="0">
            <a:spAutoFit/>
          </a:bodyPr>
          <a:lstStyle>
            <a:lvl1pPr marL="0" indent="0">
              <a:buNone/>
              <a:defRPr sz="600" baseline="0"/>
            </a:lvl1pPr>
            <a:lvl2pPr marL="201122" indent="0">
              <a:buNone/>
              <a:defRPr sz="600"/>
            </a:lvl2pPr>
            <a:lvl3pPr marL="405000" indent="0">
              <a:buNone/>
              <a:defRPr sz="600"/>
            </a:lvl3pPr>
            <a:lvl4pPr marL="608316" indent="0">
              <a:buNone/>
              <a:defRPr sz="600"/>
            </a:lvl4pPr>
            <a:lvl5pPr marL="810000" indent="0">
              <a:buNone/>
              <a:defRPr sz="600"/>
            </a:lvl5pPr>
          </a:lstStyle>
          <a:p>
            <a:pPr lvl="0"/>
            <a:r>
              <a:rPr lang="en-US"/>
              <a:t>Insert reference text here</a:t>
            </a:r>
          </a:p>
        </p:txBody>
      </p:sp>
    </p:spTree>
    <p:extLst>
      <p:ext uri="{BB962C8B-B14F-4D97-AF65-F5344CB8AC3E}">
        <p14:creationId xmlns:p14="http://schemas.microsoft.com/office/powerpoint/2010/main" val="3116387665"/>
      </p:ext>
    </p:extLst>
  </p:cSld>
  <p:clrMapOvr>
    <a:masterClrMapping/>
  </p:clrMapOvr>
  <p:extLst mod="1">
    <p:ext uri="{DCECCB84-F9BA-43D5-87BE-67443E8EF086}">
      <p15:sldGuideLst xmlns:p15="http://schemas.microsoft.com/office/powerpoint/2012/main">
        <p15:guide id="1" orient="horz" pos="553">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Content No baseline">
    <p:spTree>
      <p:nvGrpSpPr>
        <p:cNvPr id="1" name=""/>
        <p:cNvGrpSpPr/>
        <p:nvPr/>
      </p:nvGrpSpPr>
      <p:grpSpPr>
        <a:xfrm>
          <a:off x="0" y="0"/>
          <a:ext cx="0" cy="0"/>
          <a:chOff x="0" y="0"/>
          <a:chExt cx="0" cy="0"/>
        </a:xfrm>
      </p:grpSpPr>
      <p:sp>
        <p:nvSpPr>
          <p:cNvPr id="2" name="Rectangle 1"/>
          <p:cNvSpPr/>
          <p:nvPr userDrawn="1"/>
        </p:nvSpPr>
        <p:spPr bwMode="auto">
          <a:xfrm>
            <a:off x="197224" y="4706475"/>
            <a:ext cx="8713694" cy="69028"/>
          </a:xfrm>
          <a:prstGeom prst="rect">
            <a:avLst/>
          </a:prstGeom>
          <a:solidFill>
            <a:schemeClr val="bg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35731" indent="-135731" algn="ctr" eaLnBrk="0" fontAlgn="auto" hangingPunct="0">
              <a:spcBef>
                <a:spcPts val="0"/>
              </a:spcBef>
              <a:spcAft>
                <a:spcPts val="0"/>
              </a:spcAft>
              <a:buClr>
                <a:schemeClr val="bg1"/>
              </a:buClr>
              <a:buFont typeface="Arial" pitchFamily="34" charset="0"/>
              <a:buChar char="–"/>
            </a:pPr>
            <a:endParaRPr lang="en-GB" sz="900" b="1" kern="0">
              <a:solidFill>
                <a:srgbClr val="FFFFFF"/>
              </a:solidFill>
              <a:latin typeface="Arial"/>
            </a:endParaRPr>
          </a:p>
        </p:txBody>
      </p:sp>
      <p:sp>
        <p:nvSpPr>
          <p:cNvPr id="5" name="Title 4"/>
          <p:cNvSpPr>
            <a:spLocks noGrp="1"/>
          </p:cNvSpPr>
          <p:nvPr>
            <p:ph type="title" hasCustomPrompt="1"/>
          </p:nvPr>
        </p:nvSpPr>
        <p:spPr>
          <a:xfrm>
            <a:off x="374073" y="221107"/>
            <a:ext cx="7568190" cy="253916"/>
          </a:xfrm>
        </p:spPr>
        <p:txBody>
          <a:bodyPr/>
          <a:lstStyle/>
          <a:p>
            <a:r>
              <a:rPr lang="en-US"/>
              <a:t>Click to edit Master heading style</a:t>
            </a:r>
            <a:endParaRPr lang="en-GB"/>
          </a:p>
        </p:txBody>
      </p:sp>
      <p:sp>
        <p:nvSpPr>
          <p:cNvPr id="16" name="Content Placeholder 15"/>
          <p:cNvSpPr>
            <a:spLocks noGrp="1"/>
          </p:cNvSpPr>
          <p:nvPr>
            <p:ph sz="quarter" idx="12"/>
          </p:nvPr>
        </p:nvSpPr>
        <p:spPr>
          <a:xfrm>
            <a:off x="375090" y="883117"/>
            <a:ext cx="8413327" cy="3493912"/>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2"/>
          <p:cNvSpPr>
            <a:spLocks noGrp="1"/>
          </p:cNvSpPr>
          <p:nvPr>
            <p:ph type="body" sz="quarter" idx="14" hasCustomPrompt="1"/>
          </p:nvPr>
        </p:nvSpPr>
        <p:spPr>
          <a:xfrm>
            <a:off x="374106" y="519477"/>
            <a:ext cx="7588803" cy="176213"/>
          </a:xfrm>
        </p:spPr>
        <p:txBody>
          <a:bodyPr anchor="t" anchorCtr="0"/>
          <a:lstStyle>
            <a:lvl1pPr marL="0" marR="0" indent="0" algn="l" defTabSz="685800" rtl="0" eaLnBrk="1" fontAlgn="auto" latinLnBrk="0" hangingPunct="1">
              <a:lnSpc>
                <a:spcPct val="100000"/>
              </a:lnSpc>
              <a:spcBef>
                <a:spcPts val="0"/>
              </a:spcBef>
              <a:spcAft>
                <a:spcPts val="0"/>
              </a:spcAft>
              <a:buClr>
                <a:schemeClr val="tx1"/>
              </a:buClr>
              <a:buSzTx/>
              <a:buFont typeface="Arial" pitchFamily="34" charset="0"/>
              <a:buNone/>
              <a:tabLst/>
              <a:defRPr sz="1200" i="0">
                <a:latin typeface="+mn-lt"/>
              </a:defRPr>
            </a:lvl1pPr>
            <a:lvl2pPr marL="203597" indent="0">
              <a:buNone/>
              <a:defRPr/>
            </a:lvl2pPr>
            <a:lvl3pPr marL="400050" indent="0">
              <a:buNone/>
              <a:defRPr/>
            </a:lvl3pPr>
            <a:lvl4pPr marL="611981" indent="0">
              <a:buNone/>
              <a:defRPr/>
            </a:lvl4pPr>
            <a:lvl5pPr marL="828675" indent="0">
              <a:buNone/>
              <a:defRPr/>
            </a:lvl5pPr>
          </a:lstStyle>
          <a:p>
            <a:pPr marL="0" marR="0" lvl="0" indent="0" algn="l" defTabSz="685800" rtl="0" eaLnBrk="1" fontAlgn="auto" latinLnBrk="0" hangingPunct="1">
              <a:lnSpc>
                <a:spcPct val="100000"/>
              </a:lnSpc>
              <a:spcBef>
                <a:spcPts val="0"/>
              </a:spcBef>
              <a:spcAft>
                <a:spcPts val="0"/>
              </a:spcAft>
              <a:buClr>
                <a:schemeClr val="tx1"/>
              </a:buClr>
              <a:buSzTx/>
              <a:buFont typeface="Arial" pitchFamily="34" charset="0"/>
              <a:buNone/>
              <a:tabLst/>
              <a:defRPr/>
            </a:pPr>
            <a:r>
              <a:rPr lang="en-GB"/>
              <a:t>Supporting heading</a:t>
            </a:r>
            <a:r>
              <a:rPr lang="en-US"/>
              <a:t> here if required</a:t>
            </a:r>
          </a:p>
        </p:txBody>
      </p:sp>
      <p:sp>
        <p:nvSpPr>
          <p:cNvPr id="10" name="Slide Number Placeholder 9"/>
          <p:cNvSpPr>
            <a:spLocks noGrp="1"/>
          </p:cNvSpPr>
          <p:nvPr>
            <p:ph type="sldNum" sz="quarter" idx="21"/>
          </p:nvPr>
        </p:nvSpPr>
        <p:spPr>
          <a:xfrm>
            <a:off x="8570259" y="4827987"/>
            <a:ext cx="214966" cy="273844"/>
          </a:xfrm>
        </p:spPr>
        <p:txBody>
          <a:bodyPr/>
          <a:lstStyle/>
          <a:p>
            <a:fld id="{9F9F533D-B52E-4A2F-BF72-0ADD2D94BD75}" type="slidenum">
              <a:rPr lang="en-GB" smtClean="0"/>
              <a:pPr/>
              <a:t>‹Nº›</a:t>
            </a:fld>
            <a:endParaRPr lang="en-GB"/>
          </a:p>
        </p:txBody>
      </p:sp>
      <p:sp>
        <p:nvSpPr>
          <p:cNvPr id="11" name="Text Placeholder 5"/>
          <p:cNvSpPr>
            <a:spLocks noGrp="1"/>
          </p:cNvSpPr>
          <p:nvPr>
            <p:ph type="body" sz="quarter" idx="18" hasCustomPrompt="1"/>
          </p:nvPr>
        </p:nvSpPr>
        <p:spPr>
          <a:xfrm>
            <a:off x="374920" y="4614233"/>
            <a:ext cx="8410321" cy="92333"/>
          </a:xfrm>
        </p:spPr>
        <p:txBody>
          <a:bodyPr wrap="square" anchor="b" anchorCtr="0">
            <a:spAutoFit/>
          </a:bodyPr>
          <a:lstStyle>
            <a:lvl1pPr marL="0" indent="0">
              <a:buNone/>
              <a:defRPr sz="600" baseline="0"/>
            </a:lvl1pPr>
            <a:lvl2pPr marL="201122" indent="0">
              <a:buNone/>
              <a:defRPr sz="600"/>
            </a:lvl2pPr>
            <a:lvl3pPr marL="405000" indent="0">
              <a:buNone/>
              <a:defRPr sz="600"/>
            </a:lvl3pPr>
            <a:lvl4pPr marL="608316" indent="0">
              <a:buNone/>
              <a:defRPr sz="600"/>
            </a:lvl4pPr>
            <a:lvl5pPr marL="810000" indent="0">
              <a:buNone/>
              <a:defRPr sz="600"/>
            </a:lvl5pPr>
          </a:lstStyle>
          <a:p>
            <a:pPr lvl="0"/>
            <a:r>
              <a:rPr lang="en-US"/>
              <a:t>Insert footnote text here</a:t>
            </a:r>
          </a:p>
        </p:txBody>
      </p:sp>
      <p:sp>
        <p:nvSpPr>
          <p:cNvPr id="12" name="Text Placeholder 5"/>
          <p:cNvSpPr>
            <a:spLocks noGrp="1"/>
          </p:cNvSpPr>
          <p:nvPr>
            <p:ph type="body" sz="quarter" idx="22" hasCustomPrompt="1"/>
          </p:nvPr>
        </p:nvSpPr>
        <p:spPr>
          <a:xfrm>
            <a:off x="375029" y="4775563"/>
            <a:ext cx="8195355" cy="92333"/>
          </a:xfrm>
        </p:spPr>
        <p:txBody>
          <a:bodyPr wrap="square" anchor="t" anchorCtr="0">
            <a:spAutoFit/>
          </a:bodyPr>
          <a:lstStyle>
            <a:lvl1pPr marL="0" indent="0">
              <a:buNone/>
              <a:defRPr sz="600" baseline="0"/>
            </a:lvl1pPr>
            <a:lvl2pPr marL="201122" indent="0">
              <a:buNone/>
              <a:defRPr sz="600"/>
            </a:lvl2pPr>
            <a:lvl3pPr marL="405000" indent="0">
              <a:buNone/>
              <a:defRPr sz="600"/>
            </a:lvl3pPr>
            <a:lvl4pPr marL="608316" indent="0">
              <a:buNone/>
              <a:defRPr sz="600"/>
            </a:lvl4pPr>
            <a:lvl5pPr marL="810000" indent="0">
              <a:buNone/>
              <a:defRPr sz="600"/>
            </a:lvl5pPr>
          </a:lstStyle>
          <a:p>
            <a:pPr lvl="0"/>
            <a:r>
              <a:rPr lang="en-US"/>
              <a:t>Insert reference text here</a:t>
            </a:r>
          </a:p>
        </p:txBody>
      </p:sp>
    </p:spTree>
    <p:extLst>
      <p:ext uri="{BB962C8B-B14F-4D97-AF65-F5344CB8AC3E}">
        <p14:creationId xmlns:p14="http://schemas.microsoft.com/office/powerpoint/2010/main" val="3663577394"/>
      </p:ext>
    </p:extLst>
  </p:cSld>
  <p:clrMapOvr>
    <a:masterClrMapping/>
  </p:clrMapOvr>
  <p:extLst mod="1">
    <p:ext uri="{DCECCB84-F9BA-43D5-87BE-67443E8EF086}">
      <p15:sldGuideLst xmlns:p15="http://schemas.microsoft.com/office/powerpoint/2012/main">
        <p15:guide id="3" orient="horz" pos="55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userDrawn="1">
  <p:cSld name="Section Header WHITE with ORANGE Text">
    <p:spTree>
      <p:nvGrpSpPr>
        <p:cNvPr id="1" name=""/>
        <p:cNvGrpSpPr/>
        <p:nvPr/>
      </p:nvGrpSpPr>
      <p:grpSpPr>
        <a:xfrm>
          <a:off x="0" y="0"/>
          <a:ext cx="0" cy="0"/>
          <a:chOff x="0" y="0"/>
          <a:chExt cx="0" cy="0"/>
        </a:xfrm>
      </p:grpSpPr>
      <p:sp>
        <p:nvSpPr>
          <p:cNvPr id="12" name="Text Placeholder 5"/>
          <p:cNvSpPr>
            <a:spLocks noGrp="1"/>
          </p:cNvSpPr>
          <p:nvPr>
            <p:ph type="body" sz="quarter" idx="11" hasCustomPrompt="1"/>
          </p:nvPr>
        </p:nvSpPr>
        <p:spPr>
          <a:xfrm>
            <a:off x="360000" y="3743012"/>
            <a:ext cx="8193024" cy="230832"/>
          </a:xfrm>
          <a:prstGeom prst="rect">
            <a:avLst/>
          </a:prstGeom>
        </p:spPr>
        <p:txBody>
          <a:bodyPr lIns="0" anchor="t" anchorCtr="0">
            <a:spAutoFit/>
          </a:bodyPr>
          <a:lstStyle>
            <a:lvl1pPr marL="0" marR="0" indent="0" algn="l" defTabSz="685800" rtl="0" eaLnBrk="1" fontAlgn="auto" latinLnBrk="0" hangingPunct="1">
              <a:lnSpc>
                <a:spcPts val="1800"/>
              </a:lnSpc>
              <a:spcBef>
                <a:spcPts val="0"/>
              </a:spcBef>
              <a:spcAft>
                <a:spcPts val="0"/>
              </a:spcAft>
              <a:buClr>
                <a:schemeClr val="tx1"/>
              </a:buClr>
              <a:buSzTx/>
              <a:buFont typeface="Arial" pitchFamily="34" charset="0"/>
              <a:buNone/>
              <a:tabLst/>
              <a:defRPr sz="1650" i="0">
                <a:solidFill>
                  <a:schemeClr val="bg2"/>
                </a:solidFill>
                <a:latin typeface="+mn-lt"/>
              </a:defRPr>
            </a:lvl1pPr>
            <a:lvl2pPr marL="203597" indent="0">
              <a:spcAft>
                <a:spcPts val="0"/>
              </a:spcAft>
              <a:buNone/>
              <a:defRPr>
                <a:solidFill>
                  <a:schemeClr val="bg1"/>
                </a:solidFill>
              </a:defRPr>
            </a:lvl2pPr>
            <a:lvl3pPr marL="400050" indent="0">
              <a:spcAft>
                <a:spcPts val="0"/>
              </a:spcAft>
              <a:buNone/>
              <a:defRPr>
                <a:solidFill>
                  <a:schemeClr val="bg1"/>
                </a:solidFill>
              </a:defRPr>
            </a:lvl3pPr>
            <a:lvl4pPr marL="611981" indent="0">
              <a:spcAft>
                <a:spcPts val="0"/>
              </a:spcAft>
              <a:buNone/>
              <a:defRPr>
                <a:solidFill>
                  <a:schemeClr val="bg1"/>
                </a:solidFill>
              </a:defRPr>
            </a:lvl4pPr>
            <a:lvl5pPr marL="828675" indent="0">
              <a:spcAft>
                <a:spcPts val="0"/>
              </a:spcAft>
              <a:buNone/>
              <a:defRPr>
                <a:solidFill>
                  <a:schemeClr val="bg1"/>
                </a:solidFill>
              </a:defRPr>
            </a:lvl5pPr>
          </a:lstStyle>
          <a:p>
            <a:pPr marL="0" marR="0" lvl="0" indent="0" algn="l" defTabSz="685800" rtl="0" eaLnBrk="1" fontAlgn="auto" latinLnBrk="0" hangingPunct="1">
              <a:lnSpc>
                <a:spcPts val="1800"/>
              </a:lnSpc>
              <a:spcBef>
                <a:spcPts val="0"/>
              </a:spcBef>
              <a:spcAft>
                <a:spcPts val="0"/>
              </a:spcAft>
              <a:buClr>
                <a:schemeClr val="tx1"/>
              </a:buClr>
              <a:buSzTx/>
              <a:buFont typeface="Arial" pitchFamily="34" charset="0"/>
              <a:buNone/>
              <a:tabLst/>
              <a:defRPr/>
            </a:pPr>
            <a:r>
              <a:rPr lang="en-GB"/>
              <a:t>Supporting heading</a:t>
            </a:r>
            <a:r>
              <a:rPr lang="en-US"/>
              <a:t> here if required</a:t>
            </a:r>
          </a:p>
        </p:txBody>
      </p:sp>
      <p:sp>
        <p:nvSpPr>
          <p:cNvPr id="13" name="Text Placeholder 3"/>
          <p:cNvSpPr>
            <a:spLocks noGrp="1"/>
          </p:cNvSpPr>
          <p:nvPr>
            <p:ph type="body" sz="quarter" idx="10" hasCustomPrompt="1"/>
          </p:nvPr>
        </p:nvSpPr>
        <p:spPr>
          <a:xfrm>
            <a:off x="360000" y="3112317"/>
            <a:ext cx="8196702" cy="551433"/>
          </a:xfrm>
          <a:prstGeom prst="rect">
            <a:avLst/>
          </a:prstGeom>
        </p:spPr>
        <p:txBody>
          <a:bodyPr wrap="square" lIns="0" anchor="b" anchorCtr="0">
            <a:spAutoFit/>
          </a:bodyPr>
          <a:lstStyle>
            <a:lvl1pPr marL="0" indent="0">
              <a:lnSpc>
                <a:spcPts val="4275"/>
              </a:lnSpc>
              <a:spcAft>
                <a:spcPts val="0"/>
              </a:spcAft>
              <a:buNone/>
              <a:defRPr sz="4125" b="1">
                <a:solidFill>
                  <a:schemeClr val="bg2"/>
                </a:solidFill>
              </a:defRPr>
            </a:lvl1pPr>
            <a:lvl2pPr marL="203597" indent="0">
              <a:buNone/>
              <a:defRPr sz="1950" b="1">
                <a:solidFill>
                  <a:schemeClr val="bg1"/>
                </a:solidFill>
              </a:defRPr>
            </a:lvl2pPr>
            <a:lvl3pPr marL="400050" indent="0">
              <a:buNone/>
              <a:defRPr sz="1950" b="1">
                <a:solidFill>
                  <a:schemeClr val="bg1"/>
                </a:solidFill>
              </a:defRPr>
            </a:lvl3pPr>
            <a:lvl4pPr marL="611981" indent="0">
              <a:buNone/>
              <a:defRPr sz="1950" b="1">
                <a:solidFill>
                  <a:schemeClr val="bg1"/>
                </a:solidFill>
              </a:defRPr>
            </a:lvl4pPr>
            <a:lvl5pPr marL="828675" indent="0">
              <a:buNone/>
              <a:defRPr sz="1950" b="1">
                <a:solidFill>
                  <a:schemeClr val="bg1"/>
                </a:solidFill>
              </a:defRPr>
            </a:lvl5pPr>
          </a:lstStyle>
          <a:p>
            <a:pPr lvl="0"/>
            <a:r>
              <a:rPr lang="en-US"/>
              <a:t>Section Heading title</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31909" y="237172"/>
            <a:ext cx="749683" cy="719489"/>
          </a:xfrm>
          <a:prstGeom prst="rect">
            <a:avLst/>
          </a:prstGeom>
        </p:spPr>
      </p:pic>
    </p:spTree>
    <p:extLst>
      <p:ext uri="{BB962C8B-B14F-4D97-AF65-F5344CB8AC3E}">
        <p14:creationId xmlns:p14="http://schemas.microsoft.com/office/powerpoint/2010/main" val="170619370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s-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AR"/>
          </a:p>
        </p:txBody>
      </p:sp>
      <p:sp>
        <p:nvSpPr>
          <p:cNvPr id="4" name="Date Placeholder 3"/>
          <p:cNvSpPr>
            <a:spLocks noGrp="1"/>
          </p:cNvSpPr>
          <p:nvPr>
            <p:ph type="dt" sz="half" idx="10"/>
          </p:nvPr>
        </p:nvSpPr>
        <p:spPr/>
        <p:txBody>
          <a:bodyPr/>
          <a:lstStyle/>
          <a:p>
            <a:fld id="{1FB07EC7-F026-42A6-9AF7-613052B75D7E}" type="datetimeFigureOut">
              <a:rPr lang="es-AR" smtClean="0"/>
              <a:t>7/8/2024</a:t>
            </a:fld>
            <a:endParaRPr lang="es-AR"/>
          </a:p>
        </p:txBody>
      </p:sp>
      <p:sp>
        <p:nvSpPr>
          <p:cNvPr id="5" name="Footer Placeholder 4"/>
          <p:cNvSpPr>
            <a:spLocks noGrp="1"/>
          </p:cNvSpPr>
          <p:nvPr>
            <p:ph type="ftr" sz="quarter" idx="11"/>
          </p:nvPr>
        </p:nvSpPr>
        <p:spPr/>
        <p:txBody>
          <a:bodyPr/>
          <a:lstStyle/>
          <a:p>
            <a:endParaRPr lang="es-AR"/>
          </a:p>
        </p:txBody>
      </p:sp>
      <p:sp>
        <p:nvSpPr>
          <p:cNvPr id="6" name="Slide Number Placeholder 5"/>
          <p:cNvSpPr>
            <a:spLocks noGrp="1"/>
          </p:cNvSpPr>
          <p:nvPr>
            <p:ph type="sldNum" sz="quarter" idx="12"/>
          </p:nvPr>
        </p:nvSpPr>
        <p:spPr/>
        <p:txBody>
          <a:bodyPr/>
          <a:lstStyle/>
          <a:p>
            <a:fld id="{DAF4A237-A61B-4289-BB7F-1592CF6C892A}" type="slidenum">
              <a:rPr lang="es-AR" smtClean="0"/>
              <a:t>‹Nº›</a:t>
            </a:fld>
            <a:endParaRPr lang="es-AR"/>
          </a:p>
        </p:txBody>
      </p:sp>
    </p:spTree>
    <p:extLst>
      <p:ext uri="{BB962C8B-B14F-4D97-AF65-F5344CB8AC3E}">
        <p14:creationId xmlns:p14="http://schemas.microsoft.com/office/powerpoint/2010/main" val="21640258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divid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15319240"/>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7265" name="think-cell Slide" r:id="rId5" imgW="360" imgH="360" progId="">
                  <p:embed/>
                </p:oleObj>
              </mc:Choice>
              <mc:Fallback>
                <p:oleObj name="think-cell Slide" r:id="rId5" imgW="360" imgH="360" progId="">
                  <p:embed/>
                  <p:pic>
                    <p:nvPicPr>
                      <p:cNvPr id="3"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a:extLst>
              <a:ext uri="{FF2B5EF4-FFF2-40B4-BE49-F238E27FC236}">
                <a16:creationId xmlns="" xmlns:a16="http://schemas.microsoft.com/office/drawing/2014/main" id="{187277C8-6D36-4AB4-AA14-7575307AC9A8}"/>
              </a:ext>
            </a:extLst>
          </p:cNvPr>
          <p:cNvSpPr/>
          <p:nvPr userDrawn="1">
            <p:custDataLst>
              <p:tags r:id="rId3"/>
            </p:custDataLst>
          </p:nvPr>
        </p:nvSpPr>
        <p:spPr>
          <a:xfrm>
            <a:off x="2" y="77"/>
            <a:ext cx="119063" cy="119063"/>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85800"/>
            <a:endParaRPr lang="en-GB" sz="2700" b="1">
              <a:solidFill>
                <a:srgbClr val="000000"/>
              </a:solidFill>
              <a:latin typeface="Arial" panose="020B0604020202020204" pitchFamily="34" charset="0"/>
              <a:sym typeface="Arial" panose="020B0604020202020204" pitchFamily="34" charset="0"/>
            </a:endParaRPr>
          </a:p>
        </p:txBody>
      </p:sp>
      <p:sp>
        <p:nvSpPr>
          <p:cNvPr id="8" name="Rectangle 7">
            <a:extLst>
              <a:ext uri="{FF2B5EF4-FFF2-40B4-BE49-F238E27FC236}">
                <a16:creationId xmlns="" xmlns:a16="http://schemas.microsoft.com/office/drawing/2014/main" id="{8C8DB113-FF3A-44D2-A8D8-8F2BF46A2029}"/>
              </a:ext>
            </a:extLst>
          </p:cNvPr>
          <p:cNvSpPr/>
          <p:nvPr userDrawn="1"/>
        </p:nvSpPr>
        <p:spPr>
          <a:xfrm>
            <a:off x="0" y="0"/>
            <a:ext cx="9144000" cy="51435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defRPr/>
            </a:pPr>
            <a:endParaRPr lang="en-GB" sz="1400">
              <a:solidFill>
                <a:prstClr val="white"/>
              </a:solidFill>
            </a:endParaRPr>
          </a:p>
        </p:txBody>
      </p:sp>
      <p:sp>
        <p:nvSpPr>
          <p:cNvPr id="2" name="2. Slide Title"/>
          <p:cNvSpPr>
            <a:spLocks noGrp="1"/>
          </p:cNvSpPr>
          <p:nvPr>
            <p:ph type="title"/>
          </p:nvPr>
        </p:nvSpPr>
        <p:spPr bwMode="gray">
          <a:xfrm>
            <a:off x="174956" y="1990846"/>
            <a:ext cx="8794113" cy="415498"/>
          </a:xfrm>
        </p:spPr>
        <p:txBody>
          <a:bodyPr anchor="ctr"/>
          <a:lstStyle>
            <a:lvl1pPr algn="ctr">
              <a:defRPr sz="2700">
                <a:solidFill>
                  <a:schemeClr val="bg1"/>
                </a:solidFill>
              </a:defRPr>
            </a:lvl1pPr>
          </a:lstStyle>
          <a:p>
            <a:r>
              <a:rPr lang="en-GB"/>
              <a:t>Click to edit Master title style</a:t>
            </a:r>
          </a:p>
        </p:txBody>
      </p:sp>
      <p:sp>
        <p:nvSpPr>
          <p:cNvPr id="5" name="doc id" hidden="1"/>
          <p:cNvSpPr>
            <a:spLocks noChangeArrowheads="1"/>
          </p:cNvSpPr>
          <p:nvPr userDrawn="1"/>
        </p:nvSpPr>
        <p:spPr bwMode="gray">
          <a:xfrm flipH="1">
            <a:off x="7993503" y="38877"/>
            <a:ext cx="923672" cy="769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913520"/>
            <a:endParaRPr lang="en-GB" sz="500">
              <a:solidFill>
                <a:srgbClr val="808080"/>
              </a:solidFill>
            </a:endParaRPr>
          </a:p>
        </p:txBody>
      </p:sp>
      <p:sp>
        <p:nvSpPr>
          <p:cNvPr id="9" name="Oval 8">
            <a:extLst>
              <a:ext uri="{FF2B5EF4-FFF2-40B4-BE49-F238E27FC236}">
                <a16:creationId xmlns="" xmlns:a16="http://schemas.microsoft.com/office/drawing/2014/main" id="{4C8745C3-1C8F-4D4E-85F5-120C869B9CE1}"/>
              </a:ext>
            </a:extLst>
          </p:cNvPr>
          <p:cNvSpPr/>
          <p:nvPr userDrawn="1"/>
        </p:nvSpPr>
        <p:spPr>
          <a:xfrm>
            <a:off x="8656077" y="4761562"/>
            <a:ext cx="312980" cy="312980"/>
          </a:xfrm>
          <a:prstGeom prst="ellipse">
            <a:avLst/>
          </a:prstGeom>
          <a:solidFill>
            <a:srgbClr val="E8585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en-GB" sz="1400">
              <a:solidFill>
                <a:srgbClr val="FFFFFF"/>
              </a:solidFill>
            </a:endParaRPr>
          </a:p>
        </p:txBody>
      </p:sp>
      <p:sp>
        <p:nvSpPr>
          <p:cNvPr id="10" name="Slide Number">
            <a:extLst>
              <a:ext uri="{FF2B5EF4-FFF2-40B4-BE49-F238E27FC236}">
                <a16:creationId xmlns="" xmlns:a16="http://schemas.microsoft.com/office/drawing/2014/main" id="{7A209EA6-4289-456C-A877-9477E0E2F43A}"/>
              </a:ext>
            </a:extLst>
          </p:cNvPr>
          <p:cNvSpPr txBox="1">
            <a:spLocks/>
          </p:cNvSpPr>
          <p:nvPr userDrawn="1"/>
        </p:nvSpPr>
        <p:spPr bwMode="gray">
          <a:xfrm>
            <a:off x="8731615" y="4872002"/>
            <a:ext cx="161904" cy="92333"/>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ctr" defTabSz="685800"/>
            <a:fld id="{42C328C1-A84F-4A39-A664-DBA00541A8C6}" type="slidenum">
              <a:rPr lang="en-GB" sz="600" smtClean="0">
                <a:solidFill>
                  <a:srgbClr val="FFFFFF"/>
                </a:solidFill>
              </a:rPr>
              <a:pPr algn="ctr" defTabSz="685800"/>
              <a:t>‹Nº›</a:t>
            </a:fld>
            <a:endParaRPr lang="en-GB" sz="600">
              <a:solidFill>
                <a:srgbClr val="FFFFFF"/>
              </a:solidFill>
            </a:endParaRPr>
          </a:p>
        </p:txBody>
      </p:sp>
    </p:spTree>
    <p:extLst>
      <p:ext uri="{BB962C8B-B14F-4D97-AF65-F5344CB8AC3E}">
        <p14:creationId xmlns:p14="http://schemas.microsoft.com/office/powerpoint/2010/main" val="307964199"/>
      </p:ext>
    </p:extLst>
  </p:cSld>
  <p:clrMapOvr>
    <a:masterClrMapping/>
  </p:clrMapOvr>
  <p:extLst mod="1">
    <p:ext uri="{DCECCB84-F9BA-43D5-87BE-67443E8EF086}">
      <p15:sldGuideLst xmlns:p15="http://schemas.microsoft.com/office/powerpoint/2012/main">
        <p15:guide id="1" pos="7489">
          <p15:clr>
            <a:srgbClr val="F26B43"/>
          </p15:clr>
        </p15:guide>
        <p15:guide id="2" pos="101">
          <p15:clr>
            <a:srgbClr val="F26B43"/>
          </p15:clr>
        </p15:guide>
        <p15:guide id="3" orient="horz" pos="701">
          <p15:clr>
            <a:srgbClr val="F26B43"/>
          </p15:clr>
        </p15:guide>
        <p15:guide id="4" orient="horz" pos="3991">
          <p15:clr>
            <a:srgbClr val="F26B43"/>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34_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Slide Number Placeholder 5"/>
          <p:cNvSpPr>
            <a:spLocks noGrp="1"/>
          </p:cNvSpPr>
          <p:nvPr>
            <p:ph type="sldNum" sz="quarter" idx="10"/>
          </p:nvPr>
        </p:nvSpPr>
        <p:spPr>
          <a:xfrm>
            <a:off x="8782050" y="4951873"/>
            <a:ext cx="357188" cy="182165"/>
          </a:xfrm>
          <a:prstGeom prst="rect">
            <a:avLst/>
          </a:prstGeom>
        </p:spPr>
        <p:txBody>
          <a:bodyPr/>
          <a:lstStyle>
            <a:lvl1pPr>
              <a:defRPr>
                <a:latin typeface="Arial" charset="0"/>
              </a:defRPr>
            </a:lvl1pPr>
          </a:lstStyle>
          <a:p>
            <a:pPr>
              <a:defRPr/>
            </a:pPr>
            <a:fld id="{ED976635-16FA-4860-8941-5BA94B5984AC}" type="slidenum">
              <a:rPr lang="en-US" sz="675">
                <a:solidFill>
                  <a:srgbClr val="A5BF02"/>
                </a:solidFill>
              </a:rPr>
              <a:pPr>
                <a:defRPr/>
              </a:pPr>
              <a:t>‹Nº›</a:t>
            </a:fld>
            <a:endParaRPr lang="en-US" sz="675">
              <a:solidFill>
                <a:srgbClr val="A5BF02"/>
              </a:solidFill>
            </a:endParaRPr>
          </a:p>
        </p:txBody>
      </p:sp>
    </p:spTree>
    <p:extLst>
      <p:ext uri="{BB962C8B-B14F-4D97-AF65-F5344CB8AC3E}">
        <p14:creationId xmlns:p14="http://schemas.microsoft.com/office/powerpoint/2010/main" val="348986849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8" name="Text Placeholder 2"/>
          <p:cNvSpPr>
            <a:spLocks noGrp="1"/>
          </p:cNvSpPr>
          <p:nvPr>
            <p:ph type="body" sz="quarter" idx="14" hasCustomPrompt="1"/>
          </p:nvPr>
        </p:nvSpPr>
        <p:spPr>
          <a:xfrm>
            <a:off x="359152" y="693554"/>
            <a:ext cx="7578000" cy="276999"/>
          </a:xfrm>
          <a:prstGeom prst="rect">
            <a:avLst/>
          </a:prstGeom>
        </p:spPr>
        <p:txBody>
          <a:bodyPr lIns="0" anchor="t" anchorCtr="0">
            <a:noAutofit/>
          </a:bodyPr>
          <a:lstStyle>
            <a:lvl1pPr marL="0" marR="0" indent="0" algn="l" defTabSz="685784" rtl="0" eaLnBrk="1" fontAlgn="auto" latinLnBrk="0" hangingPunct="1">
              <a:lnSpc>
                <a:spcPct val="100000"/>
              </a:lnSpc>
              <a:spcBef>
                <a:spcPts val="0"/>
              </a:spcBef>
              <a:spcAft>
                <a:spcPts val="0"/>
              </a:spcAft>
              <a:buClr>
                <a:schemeClr val="tx1"/>
              </a:buClr>
              <a:buSzTx/>
              <a:buFont typeface="Arial" pitchFamily="34" charset="0"/>
              <a:buNone/>
              <a:tabLst/>
              <a:defRPr sz="1200" i="0">
                <a:latin typeface="+mn-lt"/>
              </a:defRPr>
            </a:lvl1pPr>
            <a:lvl2pPr marL="203593" indent="0">
              <a:buNone/>
              <a:defRPr/>
            </a:lvl2pPr>
            <a:lvl3pPr marL="400040" indent="0">
              <a:buNone/>
              <a:defRPr/>
            </a:lvl3pPr>
            <a:lvl4pPr marL="611966" indent="0">
              <a:buNone/>
              <a:defRPr/>
            </a:lvl4pPr>
            <a:lvl5pPr marL="828654" indent="0">
              <a:buNone/>
              <a:defRPr/>
            </a:lvl5pPr>
          </a:lstStyle>
          <a:p>
            <a:pPr marL="0" marR="0" lvl="0" indent="0" algn="l" defTabSz="685784" rtl="0" eaLnBrk="1" fontAlgn="auto" latinLnBrk="0" hangingPunct="1">
              <a:lnSpc>
                <a:spcPct val="100000"/>
              </a:lnSpc>
              <a:spcBef>
                <a:spcPts val="0"/>
              </a:spcBef>
              <a:spcAft>
                <a:spcPts val="0"/>
              </a:spcAft>
              <a:buClr>
                <a:schemeClr val="tx1"/>
              </a:buClr>
              <a:buSzTx/>
              <a:buFont typeface="Arial" pitchFamily="34" charset="0"/>
              <a:buNone/>
              <a:tabLst/>
              <a:defRPr/>
            </a:pPr>
            <a:r>
              <a:rPr lang="en-GB"/>
              <a:t>Supporting heading</a:t>
            </a:r>
            <a:r>
              <a:rPr lang="en-US"/>
              <a:t> here if required</a:t>
            </a:r>
          </a:p>
        </p:txBody>
      </p:sp>
      <p:sp>
        <p:nvSpPr>
          <p:cNvPr id="6" name="Text Placeholder 5"/>
          <p:cNvSpPr>
            <a:spLocks noGrp="1"/>
          </p:cNvSpPr>
          <p:nvPr>
            <p:ph type="body" sz="quarter" idx="18" hasCustomPrompt="1"/>
          </p:nvPr>
        </p:nvSpPr>
        <p:spPr>
          <a:xfrm>
            <a:off x="359152" y="4470651"/>
            <a:ext cx="8424000" cy="92333"/>
          </a:xfrm>
          <a:prstGeom prst="rect">
            <a:avLst/>
          </a:prstGeom>
        </p:spPr>
        <p:txBody>
          <a:bodyPr wrap="square" tIns="0" bIns="0" anchor="b" anchorCtr="0">
            <a:spAutoFit/>
          </a:bodyPr>
          <a:lstStyle>
            <a:lvl1pPr marL="0" indent="0">
              <a:spcAft>
                <a:spcPts val="0"/>
              </a:spcAft>
              <a:buNone/>
              <a:defRPr sz="600" baseline="0"/>
            </a:lvl1pPr>
            <a:lvl2pPr marL="201118" indent="0">
              <a:buNone/>
              <a:defRPr sz="600"/>
            </a:lvl2pPr>
            <a:lvl3pPr marL="404990" indent="0">
              <a:buNone/>
              <a:defRPr sz="600"/>
            </a:lvl3pPr>
            <a:lvl4pPr marL="608301" indent="0">
              <a:buNone/>
              <a:defRPr sz="600"/>
            </a:lvl4pPr>
            <a:lvl5pPr marL="809980" indent="0">
              <a:buNone/>
              <a:defRPr sz="600"/>
            </a:lvl5pPr>
          </a:lstStyle>
          <a:p>
            <a:pPr lvl="0"/>
            <a:r>
              <a:rPr lang="en-US"/>
              <a:t>Insert footnote text here</a:t>
            </a:r>
          </a:p>
        </p:txBody>
      </p:sp>
      <p:sp>
        <p:nvSpPr>
          <p:cNvPr id="4" name="Title 3"/>
          <p:cNvSpPr>
            <a:spLocks noGrp="1"/>
          </p:cNvSpPr>
          <p:nvPr>
            <p:ph type="title" hasCustomPrompt="1"/>
          </p:nvPr>
        </p:nvSpPr>
        <p:spPr>
          <a:xfrm>
            <a:off x="359190" y="288640"/>
            <a:ext cx="7577139" cy="253916"/>
          </a:xfrm>
        </p:spPr>
        <p:txBody>
          <a:bodyPr/>
          <a:lstStyle/>
          <a:p>
            <a:r>
              <a:rPr lang="en-US"/>
              <a:t>Click to edit Master heading style</a:t>
            </a:r>
            <a:endParaRPr lang="en-GB"/>
          </a:p>
        </p:txBody>
      </p:sp>
      <p:sp>
        <p:nvSpPr>
          <p:cNvPr id="10" name="Slide Number Placeholder 9"/>
          <p:cNvSpPr>
            <a:spLocks noGrp="1"/>
          </p:cNvSpPr>
          <p:nvPr>
            <p:ph type="sldNum" sz="quarter" idx="21"/>
          </p:nvPr>
        </p:nvSpPr>
        <p:spPr>
          <a:xfrm>
            <a:off x="8492836" y="4704003"/>
            <a:ext cx="290316" cy="273844"/>
          </a:xfrm>
        </p:spPr>
        <p:txBody>
          <a:bodyPr/>
          <a:lstStyle/>
          <a:p>
            <a:fld id="{9F9F533D-B52E-4A2F-BF72-0ADD2D94BD75}" type="slidenum">
              <a:rPr lang="en-GB" smtClean="0"/>
              <a:pPr/>
              <a:t>‹Nº›</a:t>
            </a:fld>
            <a:endParaRPr lang="en-GB"/>
          </a:p>
        </p:txBody>
      </p:sp>
      <p:sp>
        <p:nvSpPr>
          <p:cNvPr id="11" name="Text Placeholder 5"/>
          <p:cNvSpPr>
            <a:spLocks noGrp="1"/>
          </p:cNvSpPr>
          <p:nvPr>
            <p:ph type="body" sz="quarter" idx="22" hasCustomPrompt="1"/>
          </p:nvPr>
        </p:nvSpPr>
        <p:spPr>
          <a:xfrm>
            <a:off x="359152" y="4638267"/>
            <a:ext cx="8133684" cy="92333"/>
          </a:xfrm>
          <a:prstGeom prst="rect">
            <a:avLst/>
          </a:prstGeom>
        </p:spPr>
        <p:txBody>
          <a:bodyPr wrap="square" tIns="0" bIns="0" anchor="t" anchorCtr="0">
            <a:spAutoFit/>
          </a:bodyPr>
          <a:lstStyle>
            <a:lvl1pPr marL="0" indent="0">
              <a:buNone/>
              <a:defRPr sz="600" baseline="0"/>
            </a:lvl1pPr>
            <a:lvl2pPr marL="201118" indent="0">
              <a:buNone/>
              <a:defRPr sz="600"/>
            </a:lvl2pPr>
            <a:lvl3pPr marL="404990" indent="0">
              <a:buNone/>
              <a:defRPr sz="600"/>
            </a:lvl3pPr>
            <a:lvl4pPr marL="608301" indent="0">
              <a:buNone/>
              <a:defRPr sz="600"/>
            </a:lvl4pPr>
            <a:lvl5pPr marL="809980" indent="0">
              <a:buNone/>
              <a:defRPr sz="600"/>
            </a:lvl5pPr>
          </a:lstStyle>
          <a:p>
            <a:pPr lvl="0"/>
            <a:r>
              <a:rPr lang="en-US"/>
              <a:t>Insert reference text here</a:t>
            </a:r>
          </a:p>
        </p:txBody>
      </p:sp>
      <p:sp>
        <p:nvSpPr>
          <p:cNvPr id="3" name="Content Placeholder 2"/>
          <p:cNvSpPr>
            <a:spLocks noGrp="1"/>
          </p:cNvSpPr>
          <p:nvPr>
            <p:ph sz="quarter" idx="23"/>
          </p:nvPr>
        </p:nvSpPr>
        <p:spPr>
          <a:xfrm>
            <a:off x="354139" y="1192217"/>
            <a:ext cx="8429625" cy="30813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217254064"/>
      </p:ext>
    </p:extLst>
  </p:cSld>
  <p:clrMapOvr>
    <a:masterClrMapping/>
  </p:clrMapOvr>
  <p:extLst mod="1">
    <p:ext uri="{DCECCB84-F9BA-43D5-87BE-67443E8EF086}">
      <p15:sldGuideLst xmlns:p15="http://schemas.microsoft.com/office/powerpoint/2012/main">
        <p15:guide id="1" orient="horz" pos="589">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800" y="1597882"/>
            <a:ext cx="7772400" cy="1102519"/>
          </a:xfrm>
        </p:spPr>
        <p:txBody>
          <a:bodyPr/>
          <a:lstStyle/>
          <a:p>
            <a:r>
              <a:rPr lang="es-ES"/>
              <a:t>Haga clic para modificar el estilo de título del patrón</a:t>
            </a:r>
          </a:p>
        </p:txBody>
      </p:sp>
      <p:sp>
        <p:nvSpPr>
          <p:cNvPr id="3" name="2 Subtítulo"/>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a:t>Haga clic para modificar el estilo de subtítulo del patrón</a:t>
            </a:r>
          </a:p>
        </p:txBody>
      </p:sp>
      <p:sp>
        <p:nvSpPr>
          <p:cNvPr id="4" name="3 Marcador de fecha"/>
          <p:cNvSpPr>
            <a:spLocks noGrp="1"/>
          </p:cNvSpPr>
          <p:nvPr>
            <p:ph type="dt" sz="half" idx="10"/>
          </p:nvPr>
        </p:nvSpPr>
        <p:spPr/>
        <p:txBody>
          <a:bodyPr/>
          <a:lstStyle>
            <a:lvl1pPr>
              <a:defRPr/>
            </a:lvl1pPr>
          </a:lstStyle>
          <a:p>
            <a:pPr>
              <a:defRPr/>
            </a:pPr>
            <a:fld id="{93A2CFBF-458D-4EF0-8E1C-40D413FE3954}" type="datetimeFigureOut">
              <a:rPr lang="es-ES">
                <a:solidFill>
                  <a:prstClr val="black">
                    <a:tint val="75000"/>
                  </a:prstClr>
                </a:solidFill>
              </a:rPr>
              <a:pPr>
                <a:defRPr/>
              </a:pPr>
              <a:t>07/08/2024</a:t>
            </a:fld>
            <a:endParaRPr lang="es-ES">
              <a:solidFill>
                <a:prstClr val="black">
                  <a:tint val="75000"/>
                </a:prstClr>
              </a:solidFill>
            </a:endParaRPr>
          </a:p>
        </p:txBody>
      </p:sp>
      <p:sp>
        <p:nvSpPr>
          <p:cNvPr id="5" name="4 Marcador de pie de página"/>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6" name="5 Marcador de número de diapositiva"/>
          <p:cNvSpPr>
            <a:spLocks noGrp="1"/>
          </p:cNvSpPr>
          <p:nvPr>
            <p:ph type="sldNum" sz="quarter" idx="12"/>
          </p:nvPr>
        </p:nvSpPr>
        <p:spPr/>
        <p:txBody>
          <a:bodyPr/>
          <a:lstStyle>
            <a:lvl1pPr>
              <a:defRPr/>
            </a:lvl1pPr>
          </a:lstStyle>
          <a:p>
            <a:pPr>
              <a:defRPr/>
            </a:pPr>
            <a:fld id="{0CB0C587-0F05-4CFA-9E38-2F91768250ED}" type="slidenum">
              <a:rPr lang="es-ES">
                <a:solidFill>
                  <a:prstClr val="black">
                    <a:tint val="75000"/>
                  </a:prstClr>
                </a:solidFill>
              </a:rPr>
              <a:pPr>
                <a:defRPr/>
              </a:pPr>
              <a:t>‹Nº›</a:t>
            </a:fld>
            <a:endParaRPr lang="es-ES">
              <a:solidFill>
                <a:prstClr val="black">
                  <a:tint val="75000"/>
                </a:prstClr>
              </a:solidFill>
            </a:endParaRPr>
          </a:p>
        </p:txBody>
      </p:sp>
    </p:spTree>
    <p:extLst>
      <p:ext uri="{BB962C8B-B14F-4D97-AF65-F5344CB8AC3E}">
        <p14:creationId xmlns:p14="http://schemas.microsoft.com/office/powerpoint/2010/main" val="1310627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fecha"/>
          <p:cNvSpPr>
            <a:spLocks noGrp="1"/>
          </p:cNvSpPr>
          <p:nvPr>
            <p:ph type="dt" sz="half" idx="10"/>
          </p:nvPr>
        </p:nvSpPr>
        <p:spPr/>
        <p:txBody>
          <a:bodyPr/>
          <a:lstStyle>
            <a:lvl1pPr>
              <a:defRPr/>
            </a:lvl1pPr>
          </a:lstStyle>
          <a:p>
            <a:pPr>
              <a:defRPr/>
            </a:pPr>
            <a:fld id="{917C2CA9-7A6A-4AF4-B0AF-66C4BE9DB8E7}" type="datetimeFigureOut">
              <a:rPr lang="es-ES">
                <a:solidFill>
                  <a:prstClr val="black">
                    <a:tint val="75000"/>
                  </a:prstClr>
                </a:solidFill>
              </a:rPr>
              <a:pPr>
                <a:defRPr/>
              </a:pPr>
              <a:t>07/08/2024</a:t>
            </a:fld>
            <a:endParaRPr lang="es-ES">
              <a:solidFill>
                <a:prstClr val="black">
                  <a:tint val="75000"/>
                </a:prstClr>
              </a:solidFill>
            </a:endParaRPr>
          </a:p>
        </p:txBody>
      </p:sp>
      <p:sp>
        <p:nvSpPr>
          <p:cNvPr id="5" name="4 Marcador de pie de página"/>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6" name="5 Marcador de número de diapositiva"/>
          <p:cNvSpPr>
            <a:spLocks noGrp="1"/>
          </p:cNvSpPr>
          <p:nvPr>
            <p:ph type="sldNum" sz="quarter" idx="12"/>
          </p:nvPr>
        </p:nvSpPr>
        <p:spPr/>
        <p:txBody>
          <a:bodyPr/>
          <a:lstStyle>
            <a:lvl1pPr>
              <a:defRPr/>
            </a:lvl1pPr>
          </a:lstStyle>
          <a:p>
            <a:pPr>
              <a:defRPr/>
            </a:pPr>
            <a:fld id="{DFF52709-0123-4C97-9F57-BC6A44D46997}" type="slidenum">
              <a:rPr lang="es-ES">
                <a:solidFill>
                  <a:prstClr val="black">
                    <a:tint val="75000"/>
                  </a:prstClr>
                </a:solidFill>
              </a:rPr>
              <a:pPr>
                <a:defRPr/>
              </a:pPr>
              <a:t>‹Nº›</a:t>
            </a:fld>
            <a:endParaRPr lang="es-ES">
              <a:solidFill>
                <a:prstClr val="black">
                  <a:tint val="75000"/>
                </a:prstClr>
              </a:solidFill>
            </a:endParaRPr>
          </a:p>
        </p:txBody>
      </p:sp>
    </p:spTree>
    <p:extLst>
      <p:ext uri="{BB962C8B-B14F-4D97-AF65-F5344CB8AC3E}">
        <p14:creationId xmlns:p14="http://schemas.microsoft.com/office/powerpoint/2010/main" val="122710594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313" y="3305176"/>
            <a:ext cx="7772400" cy="1021556"/>
          </a:xfrm>
        </p:spPr>
        <p:txBody>
          <a:bodyPr anchor="t"/>
          <a:lstStyle>
            <a:lvl1pPr algn="l">
              <a:defRPr sz="4000" b="1" cap="all"/>
            </a:lvl1pPr>
          </a:lstStyle>
          <a:p>
            <a:r>
              <a:rPr lang="es-ES"/>
              <a:t>Haga clic para modificar el estilo de título del patrón</a:t>
            </a:r>
          </a:p>
        </p:txBody>
      </p:sp>
      <p:sp>
        <p:nvSpPr>
          <p:cNvPr id="3" name="2 Marcador de texto"/>
          <p:cNvSpPr>
            <a:spLocks noGrp="1"/>
          </p:cNvSpPr>
          <p:nvPr>
            <p:ph type="body" idx="1"/>
          </p:nvPr>
        </p:nvSpPr>
        <p:spPr>
          <a:xfrm>
            <a:off x="722313" y="2180038"/>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a:t>Haga clic para modificar el estilo de texto del patrón</a:t>
            </a:r>
          </a:p>
        </p:txBody>
      </p:sp>
      <p:sp>
        <p:nvSpPr>
          <p:cNvPr id="4" name="3 Marcador de fecha"/>
          <p:cNvSpPr>
            <a:spLocks noGrp="1"/>
          </p:cNvSpPr>
          <p:nvPr>
            <p:ph type="dt" sz="half" idx="10"/>
          </p:nvPr>
        </p:nvSpPr>
        <p:spPr/>
        <p:txBody>
          <a:bodyPr/>
          <a:lstStyle>
            <a:lvl1pPr>
              <a:defRPr/>
            </a:lvl1pPr>
          </a:lstStyle>
          <a:p>
            <a:pPr>
              <a:defRPr/>
            </a:pPr>
            <a:fld id="{21D21C3F-30C4-4164-926E-79EB7184884E}" type="datetimeFigureOut">
              <a:rPr lang="es-ES">
                <a:solidFill>
                  <a:prstClr val="black">
                    <a:tint val="75000"/>
                  </a:prstClr>
                </a:solidFill>
              </a:rPr>
              <a:pPr>
                <a:defRPr/>
              </a:pPr>
              <a:t>07/08/2024</a:t>
            </a:fld>
            <a:endParaRPr lang="es-ES">
              <a:solidFill>
                <a:prstClr val="black">
                  <a:tint val="75000"/>
                </a:prstClr>
              </a:solidFill>
            </a:endParaRPr>
          </a:p>
        </p:txBody>
      </p:sp>
      <p:sp>
        <p:nvSpPr>
          <p:cNvPr id="5" name="4 Marcador de pie de página"/>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6" name="5 Marcador de número de diapositiva"/>
          <p:cNvSpPr>
            <a:spLocks noGrp="1"/>
          </p:cNvSpPr>
          <p:nvPr>
            <p:ph type="sldNum" sz="quarter" idx="12"/>
          </p:nvPr>
        </p:nvSpPr>
        <p:spPr/>
        <p:txBody>
          <a:bodyPr/>
          <a:lstStyle>
            <a:lvl1pPr>
              <a:defRPr/>
            </a:lvl1pPr>
          </a:lstStyle>
          <a:p>
            <a:pPr>
              <a:defRPr/>
            </a:pPr>
            <a:fld id="{89CB50F0-229E-4026-A738-E494911A8675}" type="slidenum">
              <a:rPr lang="es-ES">
                <a:solidFill>
                  <a:prstClr val="black">
                    <a:tint val="75000"/>
                  </a:prstClr>
                </a:solidFill>
              </a:rPr>
              <a:pPr>
                <a:defRPr/>
              </a:pPr>
              <a:t>‹Nº›</a:t>
            </a:fld>
            <a:endParaRPr lang="es-ES">
              <a:solidFill>
                <a:prstClr val="black">
                  <a:tint val="75000"/>
                </a:prstClr>
              </a:solidFill>
            </a:endParaRPr>
          </a:p>
        </p:txBody>
      </p:sp>
    </p:spTree>
    <p:extLst>
      <p:ext uri="{BB962C8B-B14F-4D97-AF65-F5344CB8AC3E}">
        <p14:creationId xmlns:p14="http://schemas.microsoft.com/office/powerpoint/2010/main" val="88431092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contenido"/>
          <p:cNvSpPr>
            <a:spLocks noGrp="1"/>
          </p:cNvSpPr>
          <p:nvPr>
            <p:ph sz="half" idx="1"/>
          </p:nvPr>
        </p:nvSpPr>
        <p:spPr>
          <a:xfrm>
            <a:off x="457200" y="1200154"/>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contenido"/>
          <p:cNvSpPr>
            <a:spLocks noGrp="1"/>
          </p:cNvSpPr>
          <p:nvPr>
            <p:ph sz="half" idx="2"/>
          </p:nvPr>
        </p:nvSpPr>
        <p:spPr>
          <a:xfrm>
            <a:off x="4648200" y="1200154"/>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3 Marcador de fecha"/>
          <p:cNvSpPr>
            <a:spLocks noGrp="1"/>
          </p:cNvSpPr>
          <p:nvPr>
            <p:ph type="dt" sz="half" idx="10"/>
          </p:nvPr>
        </p:nvSpPr>
        <p:spPr/>
        <p:txBody>
          <a:bodyPr/>
          <a:lstStyle>
            <a:lvl1pPr>
              <a:defRPr/>
            </a:lvl1pPr>
          </a:lstStyle>
          <a:p>
            <a:pPr>
              <a:defRPr/>
            </a:pPr>
            <a:fld id="{25B23B9E-96DF-40DB-84F2-B114F72DD71F}" type="datetimeFigureOut">
              <a:rPr lang="es-ES">
                <a:solidFill>
                  <a:prstClr val="black">
                    <a:tint val="75000"/>
                  </a:prstClr>
                </a:solidFill>
              </a:rPr>
              <a:pPr>
                <a:defRPr/>
              </a:pPr>
              <a:t>07/08/2024</a:t>
            </a:fld>
            <a:endParaRPr lang="es-ES">
              <a:solidFill>
                <a:prstClr val="black">
                  <a:tint val="75000"/>
                </a:prstClr>
              </a:solidFill>
            </a:endParaRPr>
          </a:p>
        </p:txBody>
      </p:sp>
      <p:sp>
        <p:nvSpPr>
          <p:cNvPr id="6" name="4 Marcador de pie de página"/>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7" name="5 Marcador de número de diapositiva"/>
          <p:cNvSpPr>
            <a:spLocks noGrp="1"/>
          </p:cNvSpPr>
          <p:nvPr>
            <p:ph type="sldNum" sz="quarter" idx="12"/>
          </p:nvPr>
        </p:nvSpPr>
        <p:spPr/>
        <p:txBody>
          <a:bodyPr/>
          <a:lstStyle>
            <a:lvl1pPr>
              <a:defRPr/>
            </a:lvl1pPr>
          </a:lstStyle>
          <a:p>
            <a:pPr>
              <a:defRPr/>
            </a:pPr>
            <a:fld id="{4202EB89-BFC4-4081-A7E7-80B89CED363F}" type="slidenum">
              <a:rPr lang="es-ES">
                <a:solidFill>
                  <a:prstClr val="black">
                    <a:tint val="75000"/>
                  </a:prstClr>
                </a:solidFill>
              </a:rPr>
              <a:pPr>
                <a:defRPr/>
              </a:pPr>
              <a:t>‹Nº›</a:t>
            </a:fld>
            <a:endParaRPr lang="es-ES">
              <a:solidFill>
                <a:prstClr val="black">
                  <a:tint val="75000"/>
                </a:prstClr>
              </a:solidFill>
            </a:endParaRPr>
          </a:p>
        </p:txBody>
      </p:sp>
    </p:spTree>
    <p:extLst>
      <p:ext uri="{BB962C8B-B14F-4D97-AF65-F5344CB8AC3E}">
        <p14:creationId xmlns:p14="http://schemas.microsoft.com/office/powerpoint/2010/main" val="241016958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lvl1pPr>
              <a:defRPr/>
            </a:lvl1pPr>
          </a:lstStyle>
          <a:p>
            <a:r>
              <a:rPr lang="es-ES"/>
              <a:t>Haga clic para modificar el estilo de título del patrón</a:t>
            </a:r>
          </a:p>
        </p:txBody>
      </p:sp>
      <p:sp>
        <p:nvSpPr>
          <p:cNvPr id="3" name="2 Marcador de texto"/>
          <p:cNvSpPr>
            <a:spLocks noGrp="1"/>
          </p:cNvSpPr>
          <p:nvPr>
            <p:ph type="body" idx="1"/>
          </p:nvPr>
        </p:nvSpPr>
        <p:spPr>
          <a:xfrm>
            <a:off x="457201"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el estilo de texto del patrón</a:t>
            </a:r>
          </a:p>
        </p:txBody>
      </p:sp>
      <p:sp>
        <p:nvSpPr>
          <p:cNvPr id="4" name="3 Marcador de contenido"/>
          <p:cNvSpPr>
            <a:spLocks noGrp="1"/>
          </p:cNvSpPr>
          <p:nvPr>
            <p:ph sz="half" idx="2"/>
          </p:nvPr>
        </p:nvSpPr>
        <p:spPr>
          <a:xfrm>
            <a:off x="457201"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4 Marcador de texto"/>
          <p:cNvSpPr>
            <a:spLocks noGrp="1"/>
          </p:cNvSpPr>
          <p:nvPr>
            <p:ph type="body" sz="quarter" idx="3"/>
          </p:nvPr>
        </p:nvSpPr>
        <p:spPr>
          <a:xfrm>
            <a:off x="4645033"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el estilo de texto del patrón</a:t>
            </a:r>
          </a:p>
        </p:txBody>
      </p:sp>
      <p:sp>
        <p:nvSpPr>
          <p:cNvPr id="6" name="5 Marcador de contenido"/>
          <p:cNvSpPr>
            <a:spLocks noGrp="1"/>
          </p:cNvSpPr>
          <p:nvPr>
            <p:ph sz="quarter" idx="4"/>
          </p:nvPr>
        </p:nvSpPr>
        <p:spPr>
          <a:xfrm>
            <a:off x="4645033"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7" name="3 Marcador de fecha"/>
          <p:cNvSpPr>
            <a:spLocks noGrp="1"/>
          </p:cNvSpPr>
          <p:nvPr>
            <p:ph type="dt" sz="half" idx="10"/>
          </p:nvPr>
        </p:nvSpPr>
        <p:spPr/>
        <p:txBody>
          <a:bodyPr/>
          <a:lstStyle>
            <a:lvl1pPr>
              <a:defRPr/>
            </a:lvl1pPr>
          </a:lstStyle>
          <a:p>
            <a:pPr>
              <a:defRPr/>
            </a:pPr>
            <a:fld id="{1CC72E1F-3CC6-46D1-8965-33437B62DB08}" type="datetimeFigureOut">
              <a:rPr lang="es-ES">
                <a:solidFill>
                  <a:prstClr val="black">
                    <a:tint val="75000"/>
                  </a:prstClr>
                </a:solidFill>
              </a:rPr>
              <a:pPr>
                <a:defRPr/>
              </a:pPr>
              <a:t>07/08/2024</a:t>
            </a:fld>
            <a:endParaRPr lang="es-ES">
              <a:solidFill>
                <a:prstClr val="black">
                  <a:tint val="75000"/>
                </a:prstClr>
              </a:solidFill>
            </a:endParaRPr>
          </a:p>
        </p:txBody>
      </p:sp>
      <p:sp>
        <p:nvSpPr>
          <p:cNvPr id="8" name="4 Marcador de pie de página"/>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9" name="5 Marcador de número de diapositiva"/>
          <p:cNvSpPr>
            <a:spLocks noGrp="1"/>
          </p:cNvSpPr>
          <p:nvPr>
            <p:ph type="sldNum" sz="quarter" idx="12"/>
          </p:nvPr>
        </p:nvSpPr>
        <p:spPr/>
        <p:txBody>
          <a:bodyPr/>
          <a:lstStyle>
            <a:lvl1pPr>
              <a:defRPr/>
            </a:lvl1pPr>
          </a:lstStyle>
          <a:p>
            <a:pPr>
              <a:defRPr/>
            </a:pPr>
            <a:fld id="{EEEEB9AF-8CFD-4E8A-BA23-CFF7A11D3972}" type="slidenum">
              <a:rPr lang="es-ES">
                <a:solidFill>
                  <a:prstClr val="black">
                    <a:tint val="75000"/>
                  </a:prstClr>
                </a:solidFill>
              </a:rPr>
              <a:pPr>
                <a:defRPr/>
              </a:pPr>
              <a:t>‹Nº›</a:t>
            </a:fld>
            <a:endParaRPr lang="es-ES">
              <a:solidFill>
                <a:prstClr val="black">
                  <a:tint val="75000"/>
                </a:prstClr>
              </a:solidFill>
            </a:endParaRPr>
          </a:p>
        </p:txBody>
      </p:sp>
    </p:spTree>
    <p:extLst>
      <p:ext uri="{BB962C8B-B14F-4D97-AF65-F5344CB8AC3E}">
        <p14:creationId xmlns:p14="http://schemas.microsoft.com/office/powerpoint/2010/main" val="331200432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3 Marcador de fecha"/>
          <p:cNvSpPr>
            <a:spLocks noGrp="1"/>
          </p:cNvSpPr>
          <p:nvPr>
            <p:ph type="dt" sz="half" idx="10"/>
          </p:nvPr>
        </p:nvSpPr>
        <p:spPr/>
        <p:txBody>
          <a:bodyPr/>
          <a:lstStyle>
            <a:lvl1pPr>
              <a:defRPr/>
            </a:lvl1pPr>
          </a:lstStyle>
          <a:p>
            <a:pPr>
              <a:defRPr/>
            </a:pPr>
            <a:fld id="{BEB8B8F4-D436-4F64-96BE-190CBCB50147}" type="datetimeFigureOut">
              <a:rPr lang="es-ES">
                <a:solidFill>
                  <a:prstClr val="black">
                    <a:tint val="75000"/>
                  </a:prstClr>
                </a:solidFill>
              </a:rPr>
              <a:pPr>
                <a:defRPr/>
              </a:pPr>
              <a:t>07/08/2024</a:t>
            </a:fld>
            <a:endParaRPr lang="es-ES">
              <a:solidFill>
                <a:prstClr val="black">
                  <a:tint val="75000"/>
                </a:prstClr>
              </a:solidFill>
            </a:endParaRPr>
          </a:p>
        </p:txBody>
      </p:sp>
      <p:sp>
        <p:nvSpPr>
          <p:cNvPr id="4" name="4 Marcador de pie de página"/>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5" name="5 Marcador de número de diapositiva"/>
          <p:cNvSpPr>
            <a:spLocks noGrp="1"/>
          </p:cNvSpPr>
          <p:nvPr>
            <p:ph type="sldNum" sz="quarter" idx="12"/>
          </p:nvPr>
        </p:nvSpPr>
        <p:spPr/>
        <p:txBody>
          <a:bodyPr/>
          <a:lstStyle>
            <a:lvl1pPr>
              <a:defRPr/>
            </a:lvl1pPr>
          </a:lstStyle>
          <a:p>
            <a:pPr>
              <a:defRPr/>
            </a:pPr>
            <a:fld id="{0F642851-DA53-4C06-9949-78EF03EBDF2B}" type="slidenum">
              <a:rPr lang="es-ES">
                <a:solidFill>
                  <a:prstClr val="black">
                    <a:tint val="75000"/>
                  </a:prstClr>
                </a:solidFill>
              </a:rPr>
              <a:pPr>
                <a:defRPr/>
              </a:pPr>
              <a:t>‹Nº›</a:t>
            </a:fld>
            <a:endParaRPr lang="es-ES">
              <a:solidFill>
                <a:prstClr val="black">
                  <a:tint val="75000"/>
                </a:prstClr>
              </a:solidFill>
            </a:endParaRPr>
          </a:p>
        </p:txBody>
      </p:sp>
    </p:spTree>
    <p:extLst>
      <p:ext uri="{BB962C8B-B14F-4D97-AF65-F5344CB8AC3E}">
        <p14:creationId xmlns:p14="http://schemas.microsoft.com/office/powerpoint/2010/main" val="188791604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3 Marcador de fecha"/>
          <p:cNvSpPr>
            <a:spLocks noGrp="1"/>
          </p:cNvSpPr>
          <p:nvPr>
            <p:ph type="dt" sz="half" idx="10"/>
          </p:nvPr>
        </p:nvSpPr>
        <p:spPr/>
        <p:txBody>
          <a:bodyPr/>
          <a:lstStyle>
            <a:lvl1pPr>
              <a:defRPr/>
            </a:lvl1pPr>
          </a:lstStyle>
          <a:p>
            <a:pPr>
              <a:defRPr/>
            </a:pPr>
            <a:fld id="{C2D9FDDB-2912-4E4E-9730-E8E9F6AFD638}" type="datetimeFigureOut">
              <a:rPr lang="es-ES">
                <a:solidFill>
                  <a:prstClr val="black">
                    <a:tint val="75000"/>
                  </a:prstClr>
                </a:solidFill>
              </a:rPr>
              <a:pPr>
                <a:defRPr/>
              </a:pPr>
              <a:t>07/08/2024</a:t>
            </a:fld>
            <a:endParaRPr lang="es-ES">
              <a:solidFill>
                <a:prstClr val="black">
                  <a:tint val="75000"/>
                </a:prstClr>
              </a:solidFill>
            </a:endParaRPr>
          </a:p>
        </p:txBody>
      </p:sp>
      <p:sp>
        <p:nvSpPr>
          <p:cNvPr id="3" name="4 Marcador de pie de página"/>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4" name="5 Marcador de número de diapositiva"/>
          <p:cNvSpPr>
            <a:spLocks noGrp="1"/>
          </p:cNvSpPr>
          <p:nvPr>
            <p:ph type="sldNum" sz="quarter" idx="12"/>
          </p:nvPr>
        </p:nvSpPr>
        <p:spPr/>
        <p:txBody>
          <a:bodyPr/>
          <a:lstStyle>
            <a:lvl1pPr>
              <a:defRPr/>
            </a:lvl1pPr>
          </a:lstStyle>
          <a:p>
            <a:pPr>
              <a:defRPr/>
            </a:pPr>
            <a:fld id="{0F8218F1-7994-42A0-8302-A43F39D5F544}" type="slidenum">
              <a:rPr lang="es-ES">
                <a:solidFill>
                  <a:prstClr val="black">
                    <a:tint val="75000"/>
                  </a:prstClr>
                </a:solidFill>
              </a:rPr>
              <a:pPr>
                <a:defRPr/>
              </a:pPr>
              <a:t>‹Nº›</a:t>
            </a:fld>
            <a:endParaRPr lang="es-ES">
              <a:solidFill>
                <a:prstClr val="black">
                  <a:tint val="75000"/>
                </a:prstClr>
              </a:solidFill>
            </a:endParaRPr>
          </a:p>
        </p:txBody>
      </p:sp>
    </p:spTree>
    <p:extLst>
      <p:ext uri="{BB962C8B-B14F-4D97-AF65-F5344CB8AC3E}">
        <p14:creationId xmlns:p14="http://schemas.microsoft.com/office/powerpoint/2010/main" val="274375452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219" y="204790"/>
            <a:ext cx="3008313" cy="871538"/>
          </a:xfrm>
        </p:spPr>
        <p:txBody>
          <a:bodyPr anchor="b"/>
          <a:lstStyle>
            <a:lvl1pPr algn="l">
              <a:defRPr sz="2000" b="1"/>
            </a:lvl1pPr>
          </a:lstStyle>
          <a:p>
            <a:r>
              <a:rPr lang="es-ES"/>
              <a:t>Haga clic para modificar el estilo de título del patrón</a:t>
            </a:r>
          </a:p>
        </p:txBody>
      </p:sp>
      <p:sp>
        <p:nvSpPr>
          <p:cNvPr id="3" name="2 Marcador de contenido"/>
          <p:cNvSpPr>
            <a:spLocks noGrp="1"/>
          </p:cNvSpPr>
          <p:nvPr>
            <p:ph idx="1"/>
          </p:nvPr>
        </p:nvSpPr>
        <p:spPr>
          <a:xfrm>
            <a:off x="3575050" y="204849"/>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texto"/>
          <p:cNvSpPr>
            <a:spLocks noGrp="1"/>
          </p:cNvSpPr>
          <p:nvPr>
            <p:ph type="body" sz="half" idx="2"/>
          </p:nvPr>
        </p:nvSpPr>
        <p:spPr>
          <a:xfrm>
            <a:off x="457219" y="1076328"/>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a:t>Haga clic para modificar el estilo de texto del patrón</a:t>
            </a:r>
          </a:p>
        </p:txBody>
      </p:sp>
      <p:sp>
        <p:nvSpPr>
          <p:cNvPr id="5" name="3 Marcador de fecha"/>
          <p:cNvSpPr>
            <a:spLocks noGrp="1"/>
          </p:cNvSpPr>
          <p:nvPr>
            <p:ph type="dt" sz="half" idx="10"/>
          </p:nvPr>
        </p:nvSpPr>
        <p:spPr/>
        <p:txBody>
          <a:bodyPr/>
          <a:lstStyle>
            <a:lvl1pPr>
              <a:defRPr/>
            </a:lvl1pPr>
          </a:lstStyle>
          <a:p>
            <a:pPr>
              <a:defRPr/>
            </a:pPr>
            <a:fld id="{9E1F1618-71CD-4BB7-810C-93788E3EAA68}" type="datetimeFigureOut">
              <a:rPr lang="es-ES">
                <a:solidFill>
                  <a:prstClr val="black">
                    <a:tint val="75000"/>
                  </a:prstClr>
                </a:solidFill>
              </a:rPr>
              <a:pPr>
                <a:defRPr/>
              </a:pPr>
              <a:t>07/08/2024</a:t>
            </a:fld>
            <a:endParaRPr lang="es-ES">
              <a:solidFill>
                <a:prstClr val="black">
                  <a:tint val="75000"/>
                </a:prstClr>
              </a:solidFill>
            </a:endParaRPr>
          </a:p>
        </p:txBody>
      </p:sp>
      <p:sp>
        <p:nvSpPr>
          <p:cNvPr id="6" name="4 Marcador de pie de página"/>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7" name="5 Marcador de número de diapositiva"/>
          <p:cNvSpPr>
            <a:spLocks noGrp="1"/>
          </p:cNvSpPr>
          <p:nvPr>
            <p:ph type="sldNum" sz="quarter" idx="12"/>
          </p:nvPr>
        </p:nvSpPr>
        <p:spPr/>
        <p:txBody>
          <a:bodyPr/>
          <a:lstStyle>
            <a:lvl1pPr>
              <a:defRPr/>
            </a:lvl1pPr>
          </a:lstStyle>
          <a:p>
            <a:pPr>
              <a:defRPr/>
            </a:pPr>
            <a:fld id="{C3338476-9E18-452C-89B9-915DDEF96BCB}" type="slidenum">
              <a:rPr lang="es-ES">
                <a:solidFill>
                  <a:prstClr val="black">
                    <a:tint val="75000"/>
                  </a:prstClr>
                </a:solidFill>
              </a:rPr>
              <a:pPr>
                <a:defRPr/>
              </a:pPr>
              <a:t>‹Nº›</a:t>
            </a:fld>
            <a:endParaRPr lang="es-ES">
              <a:solidFill>
                <a:prstClr val="black">
                  <a:tint val="75000"/>
                </a:prstClr>
              </a:solidFill>
            </a:endParaRPr>
          </a:p>
        </p:txBody>
      </p:sp>
    </p:spTree>
    <p:extLst>
      <p:ext uri="{BB962C8B-B14F-4D97-AF65-F5344CB8AC3E}">
        <p14:creationId xmlns:p14="http://schemas.microsoft.com/office/powerpoint/2010/main" val="15359417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76774222"/>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8289" name="think-cell Slide" r:id="rId4" imgW="360" imgH="360" progId="">
                  <p:embed/>
                </p:oleObj>
              </mc:Choice>
              <mc:Fallback>
                <p:oleObj name="think-cell Slide" r:id="rId4" imgW="360" imgH="36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a:extLst>
              <a:ext uri="{FF2B5EF4-FFF2-40B4-BE49-F238E27FC236}">
                <a16:creationId xmlns="" xmlns:a16="http://schemas.microsoft.com/office/drawing/2014/main" id="{8C8DB113-FF3A-44D2-A8D8-8F2BF46A2029}"/>
              </a:ext>
            </a:extLst>
          </p:cNvPr>
          <p:cNvSpPr/>
          <p:nvPr userDrawn="1"/>
        </p:nvSpPr>
        <p:spPr>
          <a:xfrm>
            <a:off x="0" y="0"/>
            <a:ext cx="9144000" cy="514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defRPr/>
            </a:pPr>
            <a:endParaRPr lang="en-GB" sz="1400">
              <a:solidFill>
                <a:prstClr val="white"/>
              </a:solidFill>
            </a:endParaRPr>
          </a:p>
        </p:txBody>
      </p:sp>
      <p:sp>
        <p:nvSpPr>
          <p:cNvPr id="5" name="doc id" hidden="1"/>
          <p:cNvSpPr>
            <a:spLocks noChangeArrowheads="1"/>
          </p:cNvSpPr>
          <p:nvPr userDrawn="1"/>
        </p:nvSpPr>
        <p:spPr bwMode="gray">
          <a:xfrm flipH="1">
            <a:off x="7993503" y="38877"/>
            <a:ext cx="923672" cy="769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913520"/>
            <a:endParaRPr lang="en-GB" sz="500">
              <a:solidFill>
                <a:srgbClr val="808080"/>
              </a:solidFill>
            </a:endParaRPr>
          </a:p>
        </p:txBody>
      </p:sp>
    </p:spTree>
    <p:extLst>
      <p:ext uri="{BB962C8B-B14F-4D97-AF65-F5344CB8AC3E}">
        <p14:creationId xmlns:p14="http://schemas.microsoft.com/office/powerpoint/2010/main" val="1839538496"/>
      </p:ext>
    </p:extLst>
  </p:cSld>
  <p:clrMapOvr>
    <a:masterClrMapping/>
  </p:clrMapOvr>
  <p:extLst mod="1">
    <p:ext uri="{DCECCB84-F9BA-43D5-87BE-67443E8EF086}">
      <p15:sldGuideLst xmlns:p15="http://schemas.microsoft.com/office/powerpoint/2012/main">
        <p15:guide id="1" pos="7489">
          <p15:clr>
            <a:srgbClr val="F26B43"/>
          </p15:clr>
        </p15:guide>
        <p15:guide id="2" pos="101">
          <p15:clr>
            <a:srgbClr val="F26B43"/>
          </p15:clr>
        </p15:guide>
        <p15:guide id="3" orient="horz" pos="701">
          <p15:clr>
            <a:srgbClr val="F26B43"/>
          </p15:clr>
        </p15:guide>
        <p15:guide id="4" orient="horz" pos="3991">
          <p15:clr>
            <a:srgbClr val="F26B43"/>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792288" y="3600451"/>
            <a:ext cx="5486400" cy="425054"/>
          </a:xfrm>
        </p:spPr>
        <p:txBody>
          <a:bodyPr anchor="b"/>
          <a:lstStyle>
            <a:lvl1pPr algn="l">
              <a:defRPr sz="2000" b="1"/>
            </a:lvl1pPr>
          </a:lstStyle>
          <a:p>
            <a:r>
              <a:rPr lang="es-ES"/>
              <a:t>Haga clic para modificar el estilo de título del patrón</a:t>
            </a:r>
          </a:p>
        </p:txBody>
      </p:sp>
      <p:sp>
        <p:nvSpPr>
          <p:cNvPr id="3" name="2 Marcador de posición de imagen"/>
          <p:cNvSpPr>
            <a:spLocks noGrp="1"/>
          </p:cNvSpPr>
          <p:nvPr>
            <p:ph type="pic" idx="1"/>
          </p:nvPr>
        </p:nvSpPr>
        <p:spPr>
          <a:xfrm>
            <a:off x="1792288" y="459581"/>
            <a:ext cx="5486400" cy="30861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s-ES" noProof="0"/>
          </a:p>
        </p:txBody>
      </p:sp>
      <p:sp>
        <p:nvSpPr>
          <p:cNvPr id="4" name="3 Marcador de texto"/>
          <p:cNvSpPr>
            <a:spLocks noGrp="1"/>
          </p:cNvSpPr>
          <p:nvPr>
            <p:ph type="body" sz="half" idx="2"/>
          </p:nvPr>
        </p:nvSpPr>
        <p:spPr>
          <a:xfrm>
            <a:off x="1792288" y="4025564"/>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a:t>Haga clic para modificar el estilo de texto del patrón</a:t>
            </a:r>
          </a:p>
        </p:txBody>
      </p:sp>
      <p:sp>
        <p:nvSpPr>
          <p:cNvPr id="5" name="3 Marcador de fecha"/>
          <p:cNvSpPr>
            <a:spLocks noGrp="1"/>
          </p:cNvSpPr>
          <p:nvPr>
            <p:ph type="dt" sz="half" idx="10"/>
          </p:nvPr>
        </p:nvSpPr>
        <p:spPr/>
        <p:txBody>
          <a:bodyPr/>
          <a:lstStyle>
            <a:lvl1pPr>
              <a:defRPr/>
            </a:lvl1pPr>
          </a:lstStyle>
          <a:p>
            <a:pPr>
              <a:defRPr/>
            </a:pPr>
            <a:fld id="{F9AFBC0E-CEAA-498A-BBBE-0E6573C152E9}" type="datetimeFigureOut">
              <a:rPr lang="es-ES">
                <a:solidFill>
                  <a:prstClr val="black">
                    <a:tint val="75000"/>
                  </a:prstClr>
                </a:solidFill>
              </a:rPr>
              <a:pPr>
                <a:defRPr/>
              </a:pPr>
              <a:t>07/08/2024</a:t>
            </a:fld>
            <a:endParaRPr lang="es-ES">
              <a:solidFill>
                <a:prstClr val="black">
                  <a:tint val="75000"/>
                </a:prstClr>
              </a:solidFill>
            </a:endParaRPr>
          </a:p>
        </p:txBody>
      </p:sp>
      <p:sp>
        <p:nvSpPr>
          <p:cNvPr id="6" name="4 Marcador de pie de página"/>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7" name="5 Marcador de número de diapositiva"/>
          <p:cNvSpPr>
            <a:spLocks noGrp="1"/>
          </p:cNvSpPr>
          <p:nvPr>
            <p:ph type="sldNum" sz="quarter" idx="12"/>
          </p:nvPr>
        </p:nvSpPr>
        <p:spPr/>
        <p:txBody>
          <a:bodyPr/>
          <a:lstStyle>
            <a:lvl1pPr>
              <a:defRPr/>
            </a:lvl1pPr>
          </a:lstStyle>
          <a:p>
            <a:pPr>
              <a:defRPr/>
            </a:pPr>
            <a:fld id="{65B882B0-2505-40C4-8B74-79F71BFEC6CF}" type="slidenum">
              <a:rPr lang="es-ES">
                <a:solidFill>
                  <a:prstClr val="black">
                    <a:tint val="75000"/>
                  </a:prstClr>
                </a:solidFill>
              </a:rPr>
              <a:pPr>
                <a:defRPr/>
              </a:pPr>
              <a:t>‹Nº›</a:t>
            </a:fld>
            <a:endParaRPr lang="es-ES">
              <a:solidFill>
                <a:prstClr val="black">
                  <a:tint val="75000"/>
                </a:prstClr>
              </a:solidFill>
            </a:endParaRPr>
          </a:p>
        </p:txBody>
      </p:sp>
    </p:spTree>
    <p:extLst>
      <p:ext uri="{BB962C8B-B14F-4D97-AF65-F5344CB8AC3E}">
        <p14:creationId xmlns:p14="http://schemas.microsoft.com/office/powerpoint/2010/main" val="218065665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p>
        </p:txBody>
      </p:sp>
      <p:sp>
        <p:nvSpPr>
          <p:cNvPr id="3" name="2 Marcador de texto vertical"/>
          <p:cNvSpPr>
            <a:spLocks noGrp="1"/>
          </p:cNvSpPr>
          <p:nvPr>
            <p:ph type="body" orient="vert" idx="1"/>
          </p:nvPr>
        </p:nvSpPr>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fecha"/>
          <p:cNvSpPr>
            <a:spLocks noGrp="1"/>
          </p:cNvSpPr>
          <p:nvPr>
            <p:ph type="dt" sz="half" idx="10"/>
          </p:nvPr>
        </p:nvSpPr>
        <p:spPr/>
        <p:txBody>
          <a:bodyPr/>
          <a:lstStyle>
            <a:lvl1pPr>
              <a:defRPr/>
            </a:lvl1pPr>
          </a:lstStyle>
          <a:p>
            <a:pPr>
              <a:defRPr/>
            </a:pPr>
            <a:fld id="{EA0902DB-CF6B-4443-AAC4-48DBF40F720E}" type="datetimeFigureOut">
              <a:rPr lang="es-ES">
                <a:solidFill>
                  <a:prstClr val="black">
                    <a:tint val="75000"/>
                  </a:prstClr>
                </a:solidFill>
              </a:rPr>
              <a:pPr>
                <a:defRPr/>
              </a:pPr>
              <a:t>07/08/2024</a:t>
            </a:fld>
            <a:endParaRPr lang="es-ES">
              <a:solidFill>
                <a:prstClr val="black">
                  <a:tint val="75000"/>
                </a:prstClr>
              </a:solidFill>
            </a:endParaRPr>
          </a:p>
        </p:txBody>
      </p:sp>
      <p:sp>
        <p:nvSpPr>
          <p:cNvPr id="5" name="4 Marcador de pie de página"/>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6" name="5 Marcador de número de diapositiva"/>
          <p:cNvSpPr>
            <a:spLocks noGrp="1"/>
          </p:cNvSpPr>
          <p:nvPr>
            <p:ph type="sldNum" sz="quarter" idx="12"/>
          </p:nvPr>
        </p:nvSpPr>
        <p:spPr/>
        <p:txBody>
          <a:bodyPr/>
          <a:lstStyle>
            <a:lvl1pPr>
              <a:defRPr/>
            </a:lvl1pPr>
          </a:lstStyle>
          <a:p>
            <a:pPr>
              <a:defRPr/>
            </a:pPr>
            <a:fld id="{86FB5071-77C6-4F41-984E-D0B3A154274E}" type="slidenum">
              <a:rPr lang="es-ES">
                <a:solidFill>
                  <a:prstClr val="black">
                    <a:tint val="75000"/>
                  </a:prstClr>
                </a:solidFill>
              </a:rPr>
              <a:pPr>
                <a:defRPr/>
              </a:pPr>
              <a:t>‹Nº›</a:t>
            </a:fld>
            <a:endParaRPr lang="es-ES">
              <a:solidFill>
                <a:prstClr val="black">
                  <a:tint val="75000"/>
                </a:prstClr>
              </a:solidFill>
            </a:endParaRPr>
          </a:p>
        </p:txBody>
      </p:sp>
    </p:spTree>
    <p:extLst>
      <p:ext uri="{BB962C8B-B14F-4D97-AF65-F5344CB8AC3E}">
        <p14:creationId xmlns:p14="http://schemas.microsoft.com/office/powerpoint/2010/main" val="244059950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629400" y="205980"/>
            <a:ext cx="2057400" cy="4388644"/>
          </a:xfrm>
        </p:spPr>
        <p:txBody>
          <a:bodyPr vert="eaVert"/>
          <a:lstStyle/>
          <a:p>
            <a:r>
              <a:rPr lang="es-ES"/>
              <a:t>Haga clic para modificar el estilo de título del patrón</a:t>
            </a:r>
          </a:p>
        </p:txBody>
      </p:sp>
      <p:sp>
        <p:nvSpPr>
          <p:cNvPr id="3" name="2 Marcador de texto vertical"/>
          <p:cNvSpPr>
            <a:spLocks noGrp="1"/>
          </p:cNvSpPr>
          <p:nvPr>
            <p:ph type="body" orient="vert" idx="1"/>
          </p:nvPr>
        </p:nvSpPr>
        <p:spPr>
          <a:xfrm>
            <a:off x="457200" y="205980"/>
            <a:ext cx="6019800" cy="4388644"/>
          </a:xfrm>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fecha"/>
          <p:cNvSpPr>
            <a:spLocks noGrp="1"/>
          </p:cNvSpPr>
          <p:nvPr>
            <p:ph type="dt" sz="half" idx="10"/>
          </p:nvPr>
        </p:nvSpPr>
        <p:spPr/>
        <p:txBody>
          <a:bodyPr/>
          <a:lstStyle>
            <a:lvl1pPr>
              <a:defRPr/>
            </a:lvl1pPr>
          </a:lstStyle>
          <a:p>
            <a:pPr>
              <a:defRPr/>
            </a:pPr>
            <a:fld id="{FCE6C63B-DCF7-4526-AACC-DE06A6E2946E}" type="datetimeFigureOut">
              <a:rPr lang="es-ES">
                <a:solidFill>
                  <a:prstClr val="black">
                    <a:tint val="75000"/>
                  </a:prstClr>
                </a:solidFill>
              </a:rPr>
              <a:pPr>
                <a:defRPr/>
              </a:pPr>
              <a:t>07/08/2024</a:t>
            </a:fld>
            <a:endParaRPr lang="es-ES">
              <a:solidFill>
                <a:prstClr val="black">
                  <a:tint val="75000"/>
                </a:prstClr>
              </a:solidFill>
            </a:endParaRPr>
          </a:p>
        </p:txBody>
      </p:sp>
      <p:sp>
        <p:nvSpPr>
          <p:cNvPr id="5" name="4 Marcador de pie de página"/>
          <p:cNvSpPr>
            <a:spLocks noGrp="1"/>
          </p:cNvSpPr>
          <p:nvPr>
            <p:ph type="ftr" sz="quarter" idx="11"/>
          </p:nvPr>
        </p:nvSpPr>
        <p:spPr/>
        <p:txBody>
          <a:bodyPr/>
          <a:lstStyle>
            <a:lvl1pPr>
              <a:defRPr/>
            </a:lvl1pPr>
          </a:lstStyle>
          <a:p>
            <a:pPr>
              <a:defRPr/>
            </a:pPr>
            <a:endParaRPr lang="es-ES">
              <a:solidFill>
                <a:prstClr val="black">
                  <a:tint val="75000"/>
                </a:prstClr>
              </a:solidFill>
            </a:endParaRPr>
          </a:p>
        </p:txBody>
      </p:sp>
      <p:sp>
        <p:nvSpPr>
          <p:cNvPr id="6" name="5 Marcador de número de diapositiva"/>
          <p:cNvSpPr>
            <a:spLocks noGrp="1"/>
          </p:cNvSpPr>
          <p:nvPr>
            <p:ph type="sldNum" sz="quarter" idx="12"/>
          </p:nvPr>
        </p:nvSpPr>
        <p:spPr/>
        <p:txBody>
          <a:bodyPr/>
          <a:lstStyle>
            <a:lvl1pPr>
              <a:defRPr/>
            </a:lvl1pPr>
          </a:lstStyle>
          <a:p>
            <a:pPr>
              <a:defRPr/>
            </a:pPr>
            <a:fld id="{F26B1BD7-24EA-496E-B1ED-0AC1745A3C49}" type="slidenum">
              <a:rPr lang="es-ES">
                <a:solidFill>
                  <a:prstClr val="black">
                    <a:tint val="75000"/>
                  </a:prstClr>
                </a:solidFill>
              </a:rPr>
              <a:pPr>
                <a:defRPr/>
              </a:pPr>
              <a:t>‹Nº›</a:t>
            </a:fld>
            <a:endParaRPr lang="es-ES">
              <a:solidFill>
                <a:prstClr val="black">
                  <a:tint val="75000"/>
                </a:prstClr>
              </a:solidFill>
            </a:endParaRPr>
          </a:p>
        </p:txBody>
      </p:sp>
    </p:spTree>
    <p:extLst>
      <p:ext uri="{BB962C8B-B14F-4D97-AF65-F5344CB8AC3E}">
        <p14:creationId xmlns:p14="http://schemas.microsoft.com/office/powerpoint/2010/main" val="319928040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bl">
  <p:cSld name="Título y tabla">
    <p:spTree>
      <p:nvGrpSpPr>
        <p:cNvPr id="1" name=""/>
        <p:cNvGrpSpPr/>
        <p:nvPr/>
      </p:nvGrpSpPr>
      <p:grpSpPr>
        <a:xfrm>
          <a:off x="0" y="0"/>
          <a:ext cx="0" cy="0"/>
          <a:chOff x="0" y="0"/>
          <a:chExt cx="0" cy="0"/>
        </a:xfrm>
      </p:grpSpPr>
      <p:sp>
        <p:nvSpPr>
          <p:cNvPr id="2" name="1 Título"/>
          <p:cNvSpPr>
            <a:spLocks noGrp="1"/>
          </p:cNvSpPr>
          <p:nvPr>
            <p:ph type="title"/>
          </p:nvPr>
        </p:nvSpPr>
        <p:spPr>
          <a:xfrm>
            <a:off x="762000" y="250031"/>
            <a:ext cx="7696200" cy="800100"/>
          </a:xfrm>
          <a:prstGeom prst="rect">
            <a:avLst/>
          </a:prstGeom>
        </p:spPr>
        <p:txBody>
          <a:bodyPr/>
          <a:lstStyle/>
          <a:p>
            <a:r>
              <a:rPr lang="es-ES"/>
              <a:t>Haga clic para modificar el estilo de título del patrón</a:t>
            </a:r>
            <a:endParaRPr lang="es-SV"/>
          </a:p>
        </p:txBody>
      </p:sp>
      <p:sp>
        <p:nvSpPr>
          <p:cNvPr id="3" name="2 Marcador de tabla"/>
          <p:cNvSpPr>
            <a:spLocks noGrp="1"/>
          </p:cNvSpPr>
          <p:nvPr>
            <p:ph type="tbl" idx="1"/>
          </p:nvPr>
        </p:nvSpPr>
        <p:spPr>
          <a:xfrm>
            <a:off x="762000" y="1329931"/>
            <a:ext cx="7696200" cy="3563540"/>
          </a:xfrm>
          <a:prstGeom prst="rect">
            <a:avLst/>
          </a:prstGeom>
        </p:spPr>
        <p:txBody>
          <a:bodyPr/>
          <a:lstStyle/>
          <a:p>
            <a:pPr lvl="0"/>
            <a:r>
              <a:rPr lang="es-ES" noProof="0"/>
              <a:t>Haga clic en el icono para agregar una tabla</a:t>
            </a:r>
            <a:endParaRPr lang="es-SV" noProof="0"/>
          </a:p>
        </p:txBody>
      </p:sp>
      <p:sp>
        <p:nvSpPr>
          <p:cNvPr id="4" name="Rectangle 7"/>
          <p:cNvSpPr>
            <a:spLocks noGrp="1" noChangeArrowheads="1"/>
          </p:cNvSpPr>
          <p:nvPr>
            <p:ph type="dt" sz="half" idx="10"/>
          </p:nvPr>
        </p:nvSpPr>
        <p:spPr>
          <a:xfrm>
            <a:off x="6400807" y="4767264"/>
            <a:ext cx="2289175" cy="273844"/>
          </a:xfrm>
          <a:prstGeom prst="rect">
            <a:avLst/>
          </a:prstGeom>
        </p:spPr>
        <p:txBody>
          <a:bodyPr/>
          <a:lstStyle>
            <a:lvl1pPr>
              <a:defRPr sz="2400">
                <a:latin typeface="Arial" charset="0"/>
              </a:defRPr>
            </a:lvl1pPr>
          </a:lstStyle>
          <a:p>
            <a:pPr>
              <a:defRPr/>
            </a:pPr>
            <a:endParaRPr lang="es-ES" altLang="en-US">
              <a:solidFill>
                <a:prstClr val="black">
                  <a:tint val="75000"/>
                </a:prstClr>
              </a:solidFill>
            </a:endParaRPr>
          </a:p>
        </p:txBody>
      </p:sp>
      <p:sp>
        <p:nvSpPr>
          <p:cNvPr id="5" name="Rectangle 8"/>
          <p:cNvSpPr>
            <a:spLocks noGrp="1" noChangeArrowheads="1"/>
          </p:cNvSpPr>
          <p:nvPr>
            <p:ph type="ftr" sz="quarter" idx="11"/>
          </p:nvPr>
        </p:nvSpPr>
        <p:spPr>
          <a:xfrm>
            <a:off x="2898775" y="4767264"/>
            <a:ext cx="3505200" cy="273844"/>
          </a:xfrm>
          <a:prstGeom prst="rect">
            <a:avLst/>
          </a:prstGeom>
        </p:spPr>
        <p:txBody>
          <a:bodyPr/>
          <a:lstStyle>
            <a:lvl1pPr>
              <a:defRPr sz="2400">
                <a:latin typeface="Arial" charset="0"/>
              </a:defRPr>
            </a:lvl1pPr>
          </a:lstStyle>
          <a:p>
            <a:pPr>
              <a:defRPr/>
            </a:pPr>
            <a:endParaRPr lang="es-ES" altLang="en-US">
              <a:solidFill>
                <a:prstClr val="black">
                  <a:tint val="75000"/>
                </a:prstClr>
              </a:solidFill>
            </a:endParaRPr>
          </a:p>
        </p:txBody>
      </p:sp>
      <p:sp>
        <p:nvSpPr>
          <p:cNvPr id="6" name="Rectangle 9"/>
          <p:cNvSpPr>
            <a:spLocks noGrp="1" noChangeArrowheads="1"/>
          </p:cNvSpPr>
          <p:nvPr>
            <p:ph type="sldNum" sz="quarter" idx="12"/>
          </p:nvPr>
        </p:nvSpPr>
        <p:spPr>
          <a:xfrm>
            <a:off x="612775" y="4767264"/>
            <a:ext cx="1981200" cy="273844"/>
          </a:xfrm>
          <a:prstGeom prst="rect">
            <a:avLst/>
          </a:prstGeom>
        </p:spPr>
        <p:txBody>
          <a:bodyPr/>
          <a:lstStyle>
            <a:lvl1pPr>
              <a:defRPr sz="2400">
                <a:latin typeface="Arial" charset="0"/>
              </a:defRPr>
            </a:lvl1pPr>
          </a:lstStyle>
          <a:p>
            <a:pPr>
              <a:defRPr/>
            </a:pPr>
            <a:fld id="{62BD4716-D8C9-4BD7-816A-75BF487BACCF}" type="slidenum">
              <a:rPr lang="es-ES" altLang="en-US">
                <a:solidFill>
                  <a:prstClr val="black">
                    <a:tint val="75000"/>
                  </a:prstClr>
                </a:solidFill>
              </a:rPr>
              <a:pPr>
                <a:defRPr/>
              </a:pPr>
              <a:t>‹Nº›</a:t>
            </a:fld>
            <a:endParaRPr lang="es-ES" altLang="en-US">
              <a:solidFill>
                <a:prstClr val="black">
                  <a:tint val="75000"/>
                </a:prstClr>
              </a:solidFill>
            </a:endParaRPr>
          </a:p>
        </p:txBody>
      </p:sp>
    </p:spTree>
    <p:extLst>
      <p:ext uri="{BB962C8B-B14F-4D97-AF65-F5344CB8AC3E}">
        <p14:creationId xmlns:p14="http://schemas.microsoft.com/office/powerpoint/2010/main" val="254455145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xAndObj">
  <p:cSld name="Título, texto y objetos">
    <p:spTree>
      <p:nvGrpSpPr>
        <p:cNvPr id="1" name=""/>
        <p:cNvGrpSpPr/>
        <p:nvPr/>
      </p:nvGrpSpPr>
      <p:grpSpPr>
        <a:xfrm>
          <a:off x="0" y="0"/>
          <a:ext cx="0" cy="0"/>
          <a:chOff x="0" y="0"/>
          <a:chExt cx="0" cy="0"/>
        </a:xfrm>
      </p:grpSpPr>
      <p:sp>
        <p:nvSpPr>
          <p:cNvPr id="2" name="1 Título"/>
          <p:cNvSpPr>
            <a:spLocks noGrp="1"/>
          </p:cNvSpPr>
          <p:nvPr>
            <p:ph type="title"/>
          </p:nvPr>
        </p:nvSpPr>
        <p:spPr>
          <a:xfrm>
            <a:off x="685800" y="457200"/>
            <a:ext cx="7772400" cy="685800"/>
          </a:xfrm>
        </p:spPr>
        <p:txBody>
          <a:bodyPr/>
          <a:lstStyle/>
          <a:p>
            <a:r>
              <a:rPr lang="es-ES"/>
              <a:t>Haga clic para modificar el estilo de título del patrón</a:t>
            </a:r>
            <a:endParaRPr lang="es-AR"/>
          </a:p>
        </p:txBody>
      </p:sp>
      <p:sp>
        <p:nvSpPr>
          <p:cNvPr id="3" name="2 Marcador de texto"/>
          <p:cNvSpPr>
            <a:spLocks noGrp="1"/>
          </p:cNvSpPr>
          <p:nvPr>
            <p:ph type="body" sz="half" idx="1"/>
          </p:nvPr>
        </p:nvSpPr>
        <p:spPr>
          <a:xfrm>
            <a:off x="685800" y="1485900"/>
            <a:ext cx="3810000" cy="3086100"/>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AR"/>
          </a:p>
        </p:txBody>
      </p:sp>
      <p:sp>
        <p:nvSpPr>
          <p:cNvPr id="4" name="3 Marcador de contenido"/>
          <p:cNvSpPr>
            <a:spLocks noGrp="1"/>
          </p:cNvSpPr>
          <p:nvPr>
            <p:ph sz="half" idx="2"/>
          </p:nvPr>
        </p:nvSpPr>
        <p:spPr>
          <a:xfrm>
            <a:off x="4648201" y="1485900"/>
            <a:ext cx="3810000" cy="3086100"/>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AR"/>
          </a:p>
        </p:txBody>
      </p:sp>
      <p:sp>
        <p:nvSpPr>
          <p:cNvPr id="5" name="4 Marcador de pie de página"/>
          <p:cNvSpPr>
            <a:spLocks noGrp="1"/>
          </p:cNvSpPr>
          <p:nvPr>
            <p:ph type="ftr" sz="quarter" idx="10"/>
          </p:nvPr>
        </p:nvSpPr>
        <p:spPr>
          <a:xfrm>
            <a:off x="2195623" y="4814888"/>
            <a:ext cx="4764087" cy="342900"/>
          </a:xfrm>
        </p:spPr>
        <p:txBody>
          <a:bodyPr/>
          <a:lstStyle>
            <a:lvl1pPr>
              <a:defRPr/>
            </a:lvl1pPr>
          </a:lstStyle>
          <a:p>
            <a:r>
              <a:rPr lang="en-US">
                <a:solidFill>
                  <a:srgbClr val="438086"/>
                </a:solidFill>
              </a:rPr>
              <a:t>44. Consejo Directivo, septiembre 2003</a:t>
            </a:r>
          </a:p>
        </p:txBody>
      </p:sp>
      <p:sp>
        <p:nvSpPr>
          <p:cNvPr id="6" name="5 Marcador de número de diapositiva"/>
          <p:cNvSpPr>
            <a:spLocks noGrp="1"/>
          </p:cNvSpPr>
          <p:nvPr>
            <p:ph type="sldNum" sz="quarter" idx="11"/>
          </p:nvPr>
        </p:nvSpPr>
        <p:spPr>
          <a:xfrm>
            <a:off x="7253288" y="4804172"/>
            <a:ext cx="1905000" cy="342900"/>
          </a:xfrm>
        </p:spPr>
        <p:txBody>
          <a:bodyPr/>
          <a:lstStyle>
            <a:lvl1pPr>
              <a:defRPr/>
            </a:lvl1pPr>
          </a:lstStyle>
          <a:p>
            <a:fld id="{2072D06B-150C-4DB8-884B-2C600CB49BCF}" type="slidenum">
              <a:rPr lang="en-US"/>
              <a:pPr/>
              <a:t>‹Nº›</a:t>
            </a:fld>
            <a:endParaRPr lang="en-US"/>
          </a:p>
        </p:txBody>
      </p:sp>
    </p:spTree>
    <p:extLst>
      <p:ext uri="{BB962C8B-B14F-4D97-AF65-F5344CB8AC3E}">
        <p14:creationId xmlns:p14="http://schemas.microsoft.com/office/powerpoint/2010/main" val="60906664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title" preserve="1">
  <p:cSld name="Diapositiva de título">
    <p:spTree>
      <p:nvGrpSpPr>
        <p:cNvPr id="1" name=""/>
        <p:cNvGrpSpPr/>
        <p:nvPr/>
      </p:nvGrpSpPr>
      <p:grpSpPr>
        <a:xfrm>
          <a:off x="0" y="0"/>
          <a:ext cx="0" cy="0"/>
          <a:chOff x="0" y="0"/>
          <a:chExt cx="0" cy="0"/>
        </a:xfrm>
      </p:grpSpPr>
      <p:sp>
        <p:nvSpPr>
          <p:cNvPr id="7" name="Rectangle 6"/>
          <p:cNvSpPr/>
          <p:nvPr/>
        </p:nvSpPr>
        <p:spPr>
          <a:xfrm>
            <a:off x="2390" y="4800600"/>
            <a:ext cx="9141619" cy="342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35" y="4750737"/>
            <a:ext cx="9141619" cy="480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822960" y="569214"/>
            <a:ext cx="7543800" cy="2674620"/>
          </a:xfrm>
        </p:spPr>
        <p:txBody>
          <a:bodyPr anchor="b">
            <a:normAutofit/>
          </a:bodyPr>
          <a:lstStyle>
            <a:lvl1pPr algn="l">
              <a:lnSpc>
                <a:spcPct val="85000"/>
              </a:lnSpc>
              <a:defRPr sz="8000" spc="-50" baseline="0">
                <a:solidFill>
                  <a:schemeClr val="tx1">
                    <a:lumMod val="85000"/>
                    <a:lumOff val="15000"/>
                  </a:schemeClr>
                </a:solidFill>
              </a:defRPr>
            </a:lvl1pPr>
          </a:lstStyle>
          <a:p>
            <a:r>
              <a:rPr lang="es-ES"/>
              <a:t>Haga clic para modificar el estilo de título del patrón</a:t>
            </a:r>
            <a:endParaRPr lang="en-US" dirty="0"/>
          </a:p>
        </p:txBody>
      </p:sp>
      <p:sp>
        <p:nvSpPr>
          <p:cNvPr id="3" name="Subtitle 2"/>
          <p:cNvSpPr>
            <a:spLocks noGrp="1"/>
          </p:cNvSpPr>
          <p:nvPr>
            <p:ph type="subTitle" idx="1"/>
          </p:nvPr>
        </p:nvSpPr>
        <p:spPr>
          <a:xfrm>
            <a:off x="825038" y="3341716"/>
            <a:ext cx="7543800" cy="85725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s-ES"/>
              <a:t>Haga clic para modificar el estilo de subtítulo del patrón</a:t>
            </a:r>
            <a:endParaRPr lang="en-US" dirty="0"/>
          </a:p>
        </p:txBody>
      </p:sp>
      <p:sp>
        <p:nvSpPr>
          <p:cNvPr id="4" name="Date Placeholder 3"/>
          <p:cNvSpPr>
            <a:spLocks noGrp="1"/>
          </p:cNvSpPr>
          <p:nvPr>
            <p:ph type="dt" sz="half" idx="10"/>
          </p:nvPr>
        </p:nvSpPr>
        <p:spPr/>
        <p:txBody>
          <a:bodyPr/>
          <a:lstStyle/>
          <a:p>
            <a:fld id="{5175F1F8-E2BE-4965-AAA2-B0EB3E3617B3}" type="datetime1">
              <a:rPr lang="es-AR" smtClean="0"/>
              <a:pPr/>
              <a:t>7/8/2024</a:t>
            </a:fld>
            <a:endParaRPr lang="es-AR"/>
          </a:p>
        </p:txBody>
      </p:sp>
      <p:sp>
        <p:nvSpPr>
          <p:cNvPr id="5" name="Footer Placeholder 4"/>
          <p:cNvSpPr>
            <a:spLocks noGrp="1"/>
          </p:cNvSpPr>
          <p:nvPr>
            <p:ph type="ftr" sz="quarter" idx="11"/>
          </p:nvPr>
        </p:nvSpPr>
        <p:spPr/>
        <p:txBody>
          <a:bodyPr/>
          <a:lstStyle/>
          <a:p>
            <a:endParaRPr lang="es-AR"/>
          </a:p>
        </p:txBody>
      </p:sp>
      <p:sp>
        <p:nvSpPr>
          <p:cNvPr id="6" name="Slide Number Placeholder 5"/>
          <p:cNvSpPr>
            <a:spLocks noGrp="1"/>
          </p:cNvSpPr>
          <p:nvPr>
            <p:ph type="sldNum" sz="quarter" idx="12"/>
          </p:nvPr>
        </p:nvSpPr>
        <p:spPr/>
        <p:txBody>
          <a:bodyPr/>
          <a:lstStyle/>
          <a:p>
            <a:fld id="{1BFC3D50-7FDF-4D36-BDF7-EB78C1A28823}" type="slidenum">
              <a:rPr lang="es-AR" smtClean="0"/>
              <a:pPr/>
              <a:t>‹Nº›</a:t>
            </a:fld>
            <a:endParaRPr lang="es-AR"/>
          </a:p>
        </p:txBody>
      </p:sp>
      <p:cxnSp>
        <p:nvCxnSpPr>
          <p:cNvPr id="9" name="Straight Connector 8"/>
          <p:cNvCxnSpPr/>
          <p:nvPr/>
        </p:nvCxnSpPr>
        <p:spPr>
          <a:xfrm>
            <a:off x="905744" y="3257550"/>
            <a:ext cx="740664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235884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dirty="0"/>
          </a:p>
        </p:txBody>
      </p:sp>
      <p:sp>
        <p:nvSpPr>
          <p:cNvPr id="3" name="Content Placeholder 2"/>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4" name="Date Placeholder 3"/>
          <p:cNvSpPr>
            <a:spLocks noGrp="1"/>
          </p:cNvSpPr>
          <p:nvPr>
            <p:ph type="dt" sz="half" idx="10"/>
          </p:nvPr>
        </p:nvSpPr>
        <p:spPr/>
        <p:txBody>
          <a:bodyPr/>
          <a:lstStyle/>
          <a:p>
            <a:fld id="{F3A7A430-6671-4FF9-858E-29DDF360459B}" type="datetime1">
              <a:rPr lang="es-AR" smtClean="0"/>
              <a:pPr/>
              <a:t>7/8/2024</a:t>
            </a:fld>
            <a:endParaRPr lang="es-AR"/>
          </a:p>
        </p:txBody>
      </p:sp>
      <p:sp>
        <p:nvSpPr>
          <p:cNvPr id="5" name="Footer Placeholder 4"/>
          <p:cNvSpPr>
            <a:spLocks noGrp="1"/>
          </p:cNvSpPr>
          <p:nvPr>
            <p:ph type="ftr" sz="quarter" idx="11"/>
          </p:nvPr>
        </p:nvSpPr>
        <p:spPr/>
        <p:txBody>
          <a:bodyPr/>
          <a:lstStyle/>
          <a:p>
            <a:endParaRPr lang="es-AR"/>
          </a:p>
        </p:txBody>
      </p:sp>
      <p:sp>
        <p:nvSpPr>
          <p:cNvPr id="6" name="Slide Number Placeholder 5"/>
          <p:cNvSpPr>
            <a:spLocks noGrp="1"/>
          </p:cNvSpPr>
          <p:nvPr>
            <p:ph type="sldNum" sz="quarter" idx="12"/>
          </p:nvPr>
        </p:nvSpPr>
        <p:spPr/>
        <p:txBody>
          <a:bodyPr/>
          <a:lstStyle/>
          <a:p>
            <a:fld id="{1BFC3D50-7FDF-4D36-BDF7-EB78C1A28823}" type="slidenum">
              <a:rPr lang="es-AR" smtClean="0"/>
              <a:pPr/>
              <a:t>‹Nº›</a:t>
            </a:fld>
            <a:endParaRPr lang="es-AR"/>
          </a:p>
        </p:txBody>
      </p:sp>
    </p:spTree>
    <p:extLst>
      <p:ext uri="{BB962C8B-B14F-4D97-AF65-F5344CB8AC3E}">
        <p14:creationId xmlns:p14="http://schemas.microsoft.com/office/powerpoint/2010/main" val="126726514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secHead" preserve="1">
  <p:cSld name="Encabezado de sección">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2390" y="4800600"/>
            <a:ext cx="9141619" cy="342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35" y="4750737"/>
            <a:ext cx="9141619" cy="480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822960" y="569214"/>
            <a:ext cx="7543800" cy="2674620"/>
          </a:xfrm>
        </p:spPr>
        <p:txBody>
          <a:bodyPr anchor="b" anchorCtr="0">
            <a:normAutofit/>
          </a:bodyPr>
          <a:lstStyle>
            <a:lvl1pPr>
              <a:lnSpc>
                <a:spcPct val="85000"/>
              </a:lnSpc>
              <a:defRPr sz="8000" b="0">
                <a:solidFill>
                  <a:schemeClr val="tx1">
                    <a:lumMod val="85000"/>
                    <a:lumOff val="15000"/>
                  </a:schemeClr>
                </a:solidFill>
              </a:defRPr>
            </a:lvl1pPr>
          </a:lstStyle>
          <a:p>
            <a:r>
              <a:rPr lang="es-ES"/>
              <a:t>Haga clic para modificar el estilo de título del patrón</a:t>
            </a:r>
            <a:endParaRPr lang="en-US" dirty="0"/>
          </a:p>
        </p:txBody>
      </p:sp>
      <p:sp>
        <p:nvSpPr>
          <p:cNvPr id="3" name="Text Placeholder 2"/>
          <p:cNvSpPr>
            <a:spLocks noGrp="1"/>
          </p:cNvSpPr>
          <p:nvPr>
            <p:ph type="body" idx="1"/>
          </p:nvPr>
        </p:nvSpPr>
        <p:spPr>
          <a:xfrm>
            <a:off x="822960" y="3339846"/>
            <a:ext cx="7543800" cy="85725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a:t>Haga clic para modificar el estilo de texto del patrón</a:t>
            </a:r>
          </a:p>
        </p:txBody>
      </p:sp>
      <p:sp>
        <p:nvSpPr>
          <p:cNvPr id="4" name="Date Placeholder 3"/>
          <p:cNvSpPr>
            <a:spLocks noGrp="1"/>
          </p:cNvSpPr>
          <p:nvPr>
            <p:ph type="dt" sz="half" idx="10"/>
          </p:nvPr>
        </p:nvSpPr>
        <p:spPr/>
        <p:txBody>
          <a:bodyPr/>
          <a:lstStyle/>
          <a:p>
            <a:fld id="{9D292E33-14C9-41B3-80A0-A037D42ED9D5}" type="datetime1">
              <a:rPr lang="es-AR" smtClean="0"/>
              <a:pPr/>
              <a:t>7/8/2024</a:t>
            </a:fld>
            <a:endParaRPr lang="es-AR"/>
          </a:p>
        </p:txBody>
      </p:sp>
      <p:sp>
        <p:nvSpPr>
          <p:cNvPr id="5" name="Footer Placeholder 4"/>
          <p:cNvSpPr>
            <a:spLocks noGrp="1"/>
          </p:cNvSpPr>
          <p:nvPr>
            <p:ph type="ftr" sz="quarter" idx="11"/>
          </p:nvPr>
        </p:nvSpPr>
        <p:spPr/>
        <p:txBody>
          <a:bodyPr/>
          <a:lstStyle/>
          <a:p>
            <a:endParaRPr lang="es-AR"/>
          </a:p>
        </p:txBody>
      </p:sp>
      <p:sp>
        <p:nvSpPr>
          <p:cNvPr id="6" name="Slide Number Placeholder 5"/>
          <p:cNvSpPr>
            <a:spLocks noGrp="1"/>
          </p:cNvSpPr>
          <p:nvPr>
            <p:ph type="sldNum" sz="quarter" idx="12"/>
          </p:nvPr>
        </p:nvSpPr>
        <p:spPr/>
        <p:txBody>
          <a:bodyPr/>
          <a:lstStyle/>
          <a:p>
            <a:fld id="{1BFC3D50-7FDF-4D36-BDF7-EB78C1A28823}" type="slidenum">
              <a:rPr lang="es-AR" smtClean="0"/>
              <a:pPr/>
              <a:t>‹Nº›</a:t>
            </a:fld>
            <a:endParaRPr lang="es-AR"/>
          </a:p>
        </p:txBody>
      </p:sp>
      <p:cxnSp>
        <p:nvCxnSpPr>
          <p:cNvPr id="9" name="Straight Connector 8"/>
          <p:cNvCxnSpPr/>
          <p:nvPr/>
        </p:nvCxnSpPr>
        <p:spPr>
          <a:xfrm>
            <a:off x="905744" y="3257550"/>
            <a:ext cx="740664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866679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8" name="Title 7"/>
          <p:cNvSpPr>
            <a:spLocks noGrp="1"/>
          </p:cNvSpPr>
          <p:nvPr>
            <p:ph type="title"/>
          </p:nvPr>
        </p:nvSpPr>
        <p:spPr>
          <a:xfrm>
            <a:off x="822960" y="214953"/>
            <a:ext cx="7543800" cy="1088068"/>
          </a:xfrm>
        </p:spPr>
        <p:txBody>
          <a:bodyPr/>
          <a:lstStyle/>
          <a:p>
            <a:r>
              <a:rPr lang="es-ES"/>
              <a:t>Haga clic para modificar el estilo de título del patrón</a:t>
            </a:r>
            <a:endParaRPr lang="en-US" dirty="0"/>
          </a:p>
        </p:txBody>
      </p:sp>
      <p:sp>
        <p:nvSpPr>
          <p:cNvPr id="3" name="Content Placeholder 2"/>
          <p:cNvSpPr>
            <a:spLocks noGrp="1"/>
          </p:cNvSpPr>
          <p:nvPr>
            <p:ph sz="half" idx="1"/>
          </p:nvPr>
        </p:nvSpPr>
        <p:spPr>
          <a:xfrm>
            <a:off x="822960" y="1384301"/>
            <a:ext cx="3703320" cy="3017520"/>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4" name="Content Placeholder 3"/>
          <p:cNvSpPr>
            <a:spLocks noGrp="1"/>
          </p:cNvSpPr>
          <p:nvPr>
            <p:ph sz="half" idx="2"/>
          </p:nvPr>
        </p:nvSpPr>
        <p:spPr>
          <a:xfrm>
            <a:off x="4663440" y="1384301"/>
            <a:ext cx="3703320" cy="3017520"/>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5" name="Date Placeholder 4"/>
          <p:cNvSpPr>
            <a:spLocks noGrp="1"/>
          </p:cNvSpPr>
          <p:nvPr>
            <p:ph type="dt" sz="half" idx="10"/>
          </p:nvPr>
        </p:nvSpPr>
        <p:spPr/>
        <p:txBody>
          <a:bodyPr/>
          <a:lstStyle/>
          <a:p>
            <a:fld id="{94AE5FE7-78FE-4EEA-B7FC-AB5E15E5AB34}" type="datetime1">
              <a:rPr lang="es-AR" smtClean="0"/>
              <a:pPr/>
              <a:t>7/8/2024</a:t>
            </a:fld>
            <a:endParaRPr lang="es-AR"/>
          </a:p>
        </p:txBody>
      </p:sp>
      <p:sp>
        <p:nvSpPr>
          <p:cNvPr id="6" name="Footer Placeholder 5"/>
          <p:cNvSpPr>
            <a:spLocks noGrp="1"/>
          </p:cNvSpPr>
          <p:nvPr>
            <p:ph type="ftr" sz="quarter" idx="11"/>
          </p:nvPr>
        </p:nvSpPr>
        <p:spPr/>
        <p:txBody>
          <a:bodyPr/>
          <a:lstStyle/>
          <a:p>
            <a:endParaRPr lang="es-AR"/>
          </a:p>
        </p:txBody>
      </p:sp>
      <p:sp>
        <p:nvSpPr>
          <p:cNvPr id="7" name="Slide Number Placeholder 6"/>
          <p:cNvSpPr>
            <a:spLocks noGrp="1"/>
          </p:cNvSpPr>
          <p:nvPr>
            <p:ph type="sldNum" sz="quarter" idx="12"/>
          </p:nvPr>
        </p:nvSpPr>
        <p:spPr/>
        <p:txBody>
          <a:bodyPr/>
          <a:lstStyle/>
          <a:p>
            <a:fld id="{1BFC3D50-7FDF-4D36-BDF7-EB78C1A28823}" type="slidenum">
              <a:rPr lang="es-AR" smtClean="0"/>
              <a:pPr/>
              <a:t>‹Nº›</a:t>
            </a:fld>
            <a:endParaRPr lang="es-AR"/>
          </a:p>
        </p:txBody>
      </p:sp>
    </p:spTree>
    <p:extLst>
      <p:ext uri="{BB962C8B-B14F-4D97-AF65-F5344CB8AC3E}">
        <p14:creationId xmlns:p14="http://schemas.microsoft.com/office/powerpoint/2010/main" val="287898199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10" name="Title 9"/>
          <p:cNvSpPr>
            <a:spLocks noGrp="1"/>
          </p:cNvSpPr>
          <p:nvPr>
            <p:ph type="title"/>
          </p:nvPr>
        </p:nvSpPr>
        <p:spPr>
          <a:xfrm>
            <a:off x="822960" y="214953"/>
            <a:ext cx="7543800" cy="1088068"/>
          </a:xfrm>
        </p:spPr>
        <p:txBody>
          <a:bodyPr/>
          <a:lstStyle/>
          <a:p>
            <a:r>
              <a:rPr lang="es-ES"/>
              <a:t>Haga clic para modificar el estilo de título del patrón</a:t>
            </a:r>
            <a:endParaRPr lang="en-US" dirty="0"/>
          </a:p>
        </p:txBody>
      </p:sp>
      <p:sp>
        <p:nvSpPr>
          <p:cNvPr id="3" name="Text Placeholder 2"/>
          <p:cNvSpPr>
            <a:spLocks noGrp="1"/>
          </p:cNvSpPr>
          <p:nvPr>
            <p:ph type="body" idx="1"/>
          </p:nvPr>
        </p:nvSpPr>
        <p:spPr>
          <a:xfrm>
            <a:off x="822960" y="1384540"/>
            <a:ext cx="3703320" cy="55221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el estilo de texto del patrón</a:t>
            </a:r>
          </a:p>
        </p:txBody>
      </p:sp>
      <p:sp>
        <p:nvSpPr>
          <p:cNvPr id="4" name="Content Placeholder 3"/>
          <p:cNvSpPr>
            <a:spLocks noGrp="1"/>
          </p:cNvSpPr>
          <p:nvPr>
            <p:ph sz="half" idx="2"/>
          </p:nvPr>
        </p:nvSpPr>
        <p:spPr>
          <a:xfrm>
            <a:off x="822960" y="1936751"/>
            <a:ext cx="3703320" cy="2533650"/>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5" name="Text Placeholder 4"/>
          <p:cNvSpPr>
            <a:spLocks noGrp="1"/>
          </p:cNvSpPr>
          <p:nvPr>
            <p:ph type="body" sz="quarter" idx="3"/>
          </p:nvPr>
        </p:nvSpPr>
        <p:spPr>
          <a:xfrm>
            <a:off x="4663440" y="1384540"/>
            <a:ext cx="3703320" cy="55221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el estilo de texto del patrón</a:t>
            </a:r>
          </a:p>
        </p:txBody>
      </p:sp>
      <p:sp>
        <p:nvSpPr>
          <p:cNvPr id="6" name="Content Placeholder 5"/>
          <p:cNvSpPr>
            <a:spLocks noGrp="1"/>
          </p:cNvSpPr>
          <p:nvPr>
            <p:ph sz="quarter" idx="4"/>
          </p:nvPr>
        </p:nvSpPr>
        <p:spPr>
          <a:xfrm>
            <a:off x="4663440" y="1936751"/>
            <a:ext cx="3703320" cy="2533650"/>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7" name="Date Placeholder 6"/>
          <p:cNvSpPr>
            <a:spLocks noGrp="1"/>
          </p:cNvSpPr>
          <p:nvPr>
            <p:ph type="dt" sz="half" idx="10"/>
          </p:nvPr>
        </p:nvSpPr>
        <p:spPr/>
        <p:txBody>
          <a:bodyPr/>
          <a:lstStyle/>
          <a:p>
            <a:fld id="{A16D6A9D-C360-428A-9552-DDDECEADC1DC}" type="datetime1">
              <a:rPr lang="es-AR" smtClean="0"/>
              <a:pPr/>
              <a:t>7/8/2024</a:t>
            </a:fld>
            <a:endParaRPr lang="es-AR"/>
          </a:p>
        </p:txBody>
      </p:sp>
      <p:sp>
        <p:nvSpPr>
          <p:cNvPr id="8" name="Footer Placeholder 7"/>
          <p:cNvSpPr>
            <a:spLocks noGrp="1"/>
          </p:cNvSpPr>
          <p:nvPr>
            <p:ph type="ftr" sz="quarter" idx="11"/>
          </p:nvPr>
        </p:nvSpPr>
        <p:spPr/>
        <p:txBody>
          <a:bodyPr/>
          <a:lstStyle/>
          <a:p>
            <a:endParaRPr lang="es-AR"/>
          </a:p>
        </p:txBody>
      </p:sp>
      <p:sp>
        <p:nvSpPr>
          <p:cNvPr id="9" name="Slide Number Placeholder 8"/>
          <p:cNvSpPr>
            <a:spLocks noGrp="1"/>
          </p:cNvSpPr>
          <p:nvPr>
            <p:ph type="sldNum" sz="quarter" idx="12"/>
          </p:nvPr>
        </p:nvSpPr>
        <p:spPr/>
        <p:txBody>
          <a:bodyPr/>
          <a:lstStyle/>
          <a:p>
            <a:fld id="{1BFC3D50-7FDF-4D36-BDF7-EB78C1A28823}" type="slidenum">
              <a:rPr lang="es-AR" smtClean="0"/>
              <a:pPr/>
              <a:t>‹Nº›</a:t>
            </a:fld>
            <a:endParaRPr lang="es-AR"/>
          </a:p>
        </p:txBody>
      </p:sp>
    </p:spTree>
    <p:extLst>
      <p:ext uri="{BB962C8B-B14F-4D97-AF65-F5344CB8AC3E}">
        <p14:creationId xmlns:p14="http://schemas.microsoft.com/office/powerpoint/2010/main" val="11689600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op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33115D54-AA33-40DF-AA8F-D633CBA55A09}"/>
              </a:ext>
            </a:extLst>
          </p:cNvPr>
          <p:cNvGraphicFramePr>
            <a:graphicFrameLocks noChangeAspect="1"/>
          </p:cNvGraphicFramePr>
          <p:nvPr userDrawn="1">
            <p:custDataLst>
              <p:tags r:id="rId2"/>
            </p:custDataLst>
            <p:extLst>
              <p:ext uri="{D42A27DB-BD31-4B8C-83A1-F6EECF244321}">
                <p14:modId xmlns:p14="http://schemas.microsoft.com/office/powerpoint/2010/main" val="2928012988"/>
              </p:ext>
            </p:extLst>
          </p:nvPr>
        </p:nvGraphicFramePr>
        <p:xfrm>
          <a:off x="1201" y="1193"/>
          <a:ext cx="1191" cy="1191"/>
        </p:xfrm>
        <a:graphic>
          <a:graphicData uri="http://schemas.openxmlformats.org/presentationml/2006/ole">
            <mc:AlternateContent xmlns:mc="http://schemas.openxmlformats.org/markup-compatibility/2006">
              <mc:Choice xmlns:v="urn:schemas-microsoft-com:vml" Requires="v">
                <p:oleObj spid="_x0000_s9313" name="think-cell Slide" r:id="rId8" imgW="360" imgH="360" progId="">
                  <p:embed/>
                </p:oleObj>
              </mc:Choice>
              <mc:Fallback>
                <p:oleObj name="think-cell Slide" r:id="rId8" imgW="360" imgH="360" progId="">
                  <p:embed/>
                  <p:pic>
                    <p:nvPicPr>
                      <p:cNvPr id="4" name="Object 3" hidden="1">
                        <a:extLst>
                          <a:ext uri="{FF2B5EF4-FFF2-40B4-BE49-F238E27FC236}">
                            <a16:creationId xmlns="" xmlns:a16="http://schemas.microsoft.com/office/drawing/2014/main" id="{33115D54-AA33-40DF-AA8F-D633CBA55A0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201" y="1193"/>
                        <a:ext cx="1191" cy="119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 xmlns:a16="http://schemas.microsoft.com/office/drawing/2014/main" id="{2222A698-E6F1-42EF-BAB2-18CD120912F9}"/>
              </a:ext>
            </a:extLst>
          </p:cNvPr>
          <p:cNvSpPr/>
          <p:nvPr userDrawn="1">
            <p:custDataLst>
              <p:tags r:id="rId3"/>
            </p:custDataLst>
          </p:nvPr>
        </p:nvSpPr>
        <p:spPr>
          <a:xfrm>
            <a:off x="2" y="77"/>
            <a:ext cx="119063" cy="119063"/>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85800"/>
            <a:endParaRPr lang="en-GB" b="1">
              <a:solidFill>
                <a:srgbClr val="000000"/>
              </a:solidFill>
              <a:latin typeface="Arial" panose="020B0604020202020204" pitchFamily="34" charset="0"/>
              <a:sym typeface="Arial" panose="020B0604020202020204" pitchFamily="34" charset="0"/>
            </a:endParaRPr>
          </a:p>
        </p:txBody>
      </p:sp>
      <p:sp>
        <p:nvSpPr>
          <p:cNvPr id="3" name="2. Slide Title">
            <a:extLst>
              <a:ext uri="{FF2B5EF4-FFF2-40B4-BE49-F238E27FC236}">
                <a16:creationId xmlns="" xmlns:a16="http://schemas.microsoft.com/office/drawing/2014/main" id="{064E079D-5BD2-4787-A7F2-0859A1CB5E94}"/>
              </a:ext>
            </a:extLst>
          </p:cNvPr>
          <p:cNvSpPr>
            <a:spLocks noGrp="1"/>
          </p:cNvSpPr>
          <p:nvPr>
            <p:ph type="title"/>
            <p:custDataLst>
              <p:tags r:id="rId4"/>
            </p:custDataLst>
          </p:nvPr>
        </p:nvSpPr>
        <p:spPr>
          <a:xfrm>
            <a:off x="416052" y="1279922"/>
            <a:ext cx="2859786" cy="521208"/>
          </a:xfrm>
          <a:prstGeom prst="rect">
            <a:avLst/>
          </a:prstGeom>
        </p:spPr>
        <p:txBody>
          <a:bodyPr anchor="t">
            <a:noAutofit/>
          </a:bodyPr>
          <a:lstStyle>
            <a:lvl1pPr>
              <a:lnSpc>
                <a:spcPct val="90000"/>
              </a:lnSpc>
              <a:defRPr>
                <a:ln w="6350" cap="flat">
                  <a:noFill/>
                  <a:miter lim="800000"/>
                </a:ln>
              </a:defRPr>
            </a:lvl1pPr>
          </a:lstStyle>
          <a:p>
            <a:r>
              <a:rPr lang="en-GB"/>
              <a:t>Click to edit Master title style</a:t>
            </a:r>
          </a:p>
        </p:txBody>
      </p:sp>
      <p:sp>
        <p:nvSpPr>
          <p:cNvPr id="6" name="5. Source" hidden="1">
            <a:extLst>
              <a:ext uri="{FF2B5EF4-FFF2-40B4-BE49-F238E27FC236}">
                <a16:creationId xmlns="" xmlns:a16="http://schemas.microsoft.com/office/drawing/2014/main" id="{0E2D5DBB-C1B8-4A27-836D-C2E6D553234D}"/>
              </a:ext>
            </a:extLst>
          </p:cNvPr>
          <p:cNvSpPr txBox="1"/>
          <p:nvPr userDrawn="1">
            <p:custDataLst>
              <p:tags r:id="rId5"/>
            </p:custDataLst>
          </p:nvPr>
        </p:nvSpPr>
        <p:spPr>
          <a:xfrm>
            <a:off x="416052" y="4876329"/>
            <a:ext cx="5458396" cy="92333"/>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685800"/>
            <a:r>
              <a:rPr lang="en-GB" sz="600">
                <a:solidFill>
                  <a:srgbClr val="000000"/>
                </a:solidFill>
              </a:rPr>
              <a:t>Source: …</a:t>
            </a:r>
          </a:p>
        </p:txBody>
      </p:sp>
      <p:sp>
        <p:nvSpPr>
          <p:cNvPr id="7" name="1. On-page tracker">
            <a:extLst>
              <a:ext uri="{FF2B5EF4-FFF2-40B4-BE49-F238E27FC236}">
                <a16:creationId xmlns="" xmlns:a16="http://schemas.microsoft.com/office/drawing/2014/main" id="{7ACB1E33-E5FF-447C-86C8-D2AD164B7EF2}"/>
              </a:ext>
            </a:extLst>
          </p:cNvPr>
          <p:cNvSpPr>
            <a:spLocks noGrp="1"/>
          </p:cNvSpPr>
          <p:nvPr>
            <p:ph type="body" sz="quarter" idx="17" hasCustomPrompt="1"/>
            <p:custDataLst>
              <p:tags r:id="rId6"/>
            </p:custDataLst>
          </p:nvPr>
        </p:nvSpPr>
        <p:spPr>
          <a:xfrm>
            <a:off x="5367528" y="67106"/>
            <a:ext cx="3360420" cy="92333"/>
          </a:xfrm>
        </p:spPr>
        <p:txBody>
          <a:bodyPr anchor="ctr" anchorCtr="0">
            <a:spAutoFit/>
          </a:bodyPr>
          <a:lstStyle>
            <a:lvl1pPr algn="r">
              <a:defRPr sz="600">
                <a:latin typeface="+mn-lt"/>
              </a:defRPr>
            </a:lvl1pPr>
          </a:lstStyle>
          <a:p>
            <a:pPr lvl="0"/>
            <a:r>
              <a:rPr lang="en-GB"/>
              <a:t>Chapter › Topic</a:t>
            </a:r>
          </a:p>
        </p:txBody>
      </p:sp>
    </p:spTree>
    <p:extLst>
      <p:ext uri="{BB962C8B-B14F-4D97-AF65-F5344CB8AC3E}">
        <p14:creationId xmlns:p14="http://schemas.microsoft.com/office/powerpoint/2010/main" val="279445233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dirty="0"/>
          </a:p>
        </p:txBody>
      </p:sp>
      <p:sp>
        <p:nvSpPr>
          <p:cNvPr id="3" name="Date Placeholder 2"/>
          <p:cNvSpPr>
            <a:spLocks noGrp="1"/>
          </p:cNvSpPr>
          <p:nvPr>
            <p:ph type="dt" sz="half" idx="10"/>
          </p:nvPr>
        </p:nvSpPr>
        <p:spPr/>
        <p:txBody>
          <a:bodyPr/>
          <a:lstStyle/>
          <a:p>
            <a:fld id="{21D7186D-3466-4F04-A6B4-9E5805661A51}" type="datetime1">
              <a:rPr lang="es-AR" smtClean="0"/>
              <a:pPr/>
              <a:t>7/8/2024</a:t>
            </a:fld>
            <a:endParaRPr lang="es-AR"/>
          </a:p>
        </p:txBody>
      </p:sp>
      <p:sp>
        <p:nvSpPr>
          <p:cNvPr id="4" name="Footer Placeholder 3"/>
          <p:cNvSpPr>
            <a:spLocks noGrp="1"/>
          </p:cNvSpPr>
          <p:nvPr>
            <p:ph type="ftr" sz="quarter" idx="11"/>
          </p:nvPr>
        </p:nvSpPr>
        <p:spPr/>
        <p:txBody>
          <a:bodyPr/>
          <a:lstStyle/>
          <a:p>
            <a:endParaRPr lang="es-AR"/>
          </a:p>
        </p:txBody>
      </p:sp>
      <p:sp>
        <p:nvSpPr>
          <p:cNvPr id="5" name="Slide Number Placeholder 4"/>
          <p:cNvSpPr>
            <a:spLocks noGrp="1"/>
          </p:cNvSpPr>
          <p:nvPr>
            <p:ph type="sldNum" sz="quarter" idx="12"/>
          </p:nvPr>
        </p:nvSpPr>
        <p:spPr/>
        <p:txBody>
          <a:bodyPr/>
          <a:lstStyle/>
          <a:p>
            <a:fld id="{1BFC3D50-7FDF-4D36-BDF7-EB78C1A28823}" type="slidenum">
              <a:rPr lang="es-AR" smtClean="0"/>
              <a:pPr/>
              <a:t>‹Nº›</a:t>
            </a:fld>
            <a:endParaRPr lang="es-AR"/>
          </a:p>
        </p:txBody>
      </p:sp>
    </p:spTree>
    <p:extLst>
      <p:ext uri="{BB962C8B-B14F-4D97-AF65-F5344CB8AC3E}">
        <p14:creationId xmlns:p14="http://schemas.microsoft.com/office/powerpoint/2010/main" val="3727646603"/>
      </p:ext>
    </p:extLst>
  </p:cSld>
  <p:clrMapOvr>
    <a:masterClrMapping/>
  </p:clrMapOvr>
  <p:hf sldNum="0" hdr="0" dt="0"/>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blank" preserve="1">
  <p:cSld name="En blanco">
    <p:spTree>
      <p:nvGrpSpPr>
        <p:cNvPr id="1" name=""/>
        <p:cNvGrpSpPr/>
        <p:nvPr/>
      </p:nvGrpSpPr>
      <p:grpSpPr>
        <a:xfrm>
          <a:off x="0" y="0"/>
          <a:ext cx="0" cy="0"/>
          <a:chOff x="0" y="0"/>
          <a:chExt cx="0" cy="0"/>
        </a:xfrm>
      </p:grpSpPr>
      <p:sp>
        <p:nvSpPr>
          <p:cNvPr id="5" name="Rectangle 4"/>
          <p:cNvSpPr/>
          <p:nvPr/>
        </p:nvSpPr>
        <p:spPr>
          <a:xfrm>
            <a:off x="2390" y="4800600"/>
            <a:ext cx="9141619" cy="342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35" y="4750737"/>
            <a:ext cx="9141619" cy="480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6A2EEC90-EA28-43FE-A0A4-45557D9F1DAA}" type="datetime1">
              <a:rPr lang="es-AR" smtClean="0"/>
              <a:pPr/>
              <a:t>7/8/2024</a:t>
            </a:fld>
            <a:endParaRPr lang="es-AR"/>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s-AR"/>
          </a:p>
        </p:txBody>
      </p:sp>
      <p:sp>
        <p:nvSpPr>
          <p:cNvPr id="9" name="Slide Number Placeholder 8"/>
          <p:cNvSpPr>
            <a:spLocks noGrp="1"/>
          </p:cNvSpPr>
          <p:nvPr>
            <p:ph type="sldNum" sz="quarter" idx="12"/>
          </p:nvPr>
        </p:nvSpPr>
        <p:spPr/>
        <p:txBody>
          <a:bodyPr/>
          <a:lstStyle/>
          <a:p>
            <a:fld id="{1BFC3D50-7FDF-4D36-BDF7-EB78C1A28823}" type="slidenum">
              <a:rPr lang="es-AR" smtClean="0"/>
              <a:pPr/>
              <a:t>‹Nº›</a:t>
            </a:fld>
            <a:endParaRPr lang="es-AR"/>
          </a:p>
        </p:txBody>
      </p:sp>
    </p:spTree>
    <p:extLst>
      <p:ext uri="{BB962C8B-B14F-4D97-AF65-F5344CB8AC3E}">
        <p14:creationId xmlns:p14="http://schemas.microsoft.com/office/powerpoint/2010/main" val="3972780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objTx" preserve="1">
  <p:cSld name="Contenido con título">
    <p:spTree>
      <p:nvGrpSpPr>
        <p:cNvPr id="1" name=""/>
        <p:cNvGrpSpPr/>
        <p:nvPr/>
      </p:nvGrpSpPr>
      <p:grpSpPr>
        <a:xfrm>
          <a:off x="0" y="0"/>
          <a:ext cx="0" cy="0"/>
          <a:chOff x="0" y="0"/>
          <a:chExt cx="0" cy="0"/>
        </a:xfrm>
      </p:grpSpPr>
      <p:sp>
        <p:nvSpPr>
          <p:cNvPr id="8" name="Rectangle 7"/>
          <p:cNvSpPr/>
          <p:nvPr/>
        </p:nvSpPr>
        <p:spPr>
          <a:xfrm>
            <a:off x="37" y="0"/>
            <a:ext cx="3038093"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3030053" y="0"/>
            <a:ext cx="48006"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342900" y="445769"/>
            <a:ext cx="2400300" cy="1714500"/>
          </a:xfrm>
        </p:spPr>
        <p:txBody>
          <a:bodyPr anchor="b">
            <a:normAutofit/>
          </a:bodyPr>
          <a:lstStyle>
            <a:lvl1pPr>
              <a:defRPr sz="3600" b="0">
                <a:solidFill>
                  <a:srgbClr val="FFFFFF"/>
                </a:solidFill>
              </a:defRPr>
            </a:lvl1pPr>
          </a:lstStyle>
          <a:p>
            <a:r>
              <a:rPr lang="es-ES"/>
              <a:t>Haga clic para modificar el estilo de título del patrón</a:t>
            </a:r>
            <a:endParaRPr lang="en-US" dirty="0"/>
          </a:p>
        </p:txBody>
      </p:sp>
      <p:sp>
        <p:nvSpPr>
          <p:cNvPr id="3" name="Content Placeholder 2"/>
          <p:cNvSpPr>
            <a:spLocks noGrp="1"/>
          </p:cNvSpPr>
          <p:nvPr>
            <p:ph idx="1"/>
          </p:nvPr>
        </p:nvSpPr>
        <p:spPr>
          <a:xfrm>
            <a:off x="3600450" y="548640"/>
            <a:ext cx="4869180" cy="3943350"/>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4" name="Text Placeholder 3"/>
          <p:cNvSpPr>
            <a:spLocks noGrp="1"/>
          </p:cNvSpPr>
          <p:nvPr>
            <p:ph type="body" sz="half" idx="2"/>
          </p:nvPr>
        </p:nvSpPr>
        <p:spPr>
          <a:xfrm>
            <a:off x="342900" y="2194562"/>
            <a:ext cx="2400300" cy="2534343"/>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a:t>Haga clic para modificar el estilo de texto del patrón</a:t>
            </a:r>
          </a:p>
        </p:txBody>
      </p:sp>
      <p:sp>
        <p:nvSpPr>
          <p:cNvPr id="5" name="Date Placeholder 4"/>
          <p:cNvSpPr>
            <a:spLocks noGrp="1"/>
          </p:cNvSpPr>
          <p:nvPr>
            <p:ph type="dt" sz="half" idx="10"/>
          </p:nvPr>
        </p:nvSpPr>
        <p:spPr>
          <a:xfrm>
            <a:off x="349150" y="4844841"/>
            <a:ext cx="1963883" cy="273844"/>
          </a:xfrm>
        </p:spPr>
        <p:txBody>
          <a:bodyPr/>
          <a:lstStyle>
            <a:lvl1pPr algn="l">
              <a:defRPr/>
            </a:lvl1pPr>
          </a:lstStyle>
          <a:p>
            <a:fld id="{7BC1FB44-4385-400F-81A3-46D4BCB3F911}" type="datetime1">
              <a:rPr lang="es-AR" smtClean="0"/>
              <a:pPr/>
              <a:t>7/8/2024</a:t>
            </a:fld>
            <a:endParaRPr lang="es-AR"/>
          </a:p>
        </p:txBody>
      </p:sp>
      <p:sp>
        <p:nvSpPr>
          <p:cNvPr id="6" name="Footer Placeholder 5"/>
          <p:cNvSpPr>
            <a:spLocks noGrp="1"/>
          </p:cNvSpPr>
          <p:nvPr>
            <p:ph type="ftr" sz="quarter" idx="11"/>
          </p:nvPr>
        </p:nvSpPr>
        <p:spPr>
          <a:xfrm>
            <a:off x="3600450" y="4844841"/>
            <a:ext cx="3486150" cy="273844"/>
          </a:xfrm>
        </p:spPr>
        <p:txBody>
          <a:bodyPr/>
          <a:lstStyle>
            <a:lvl1pPr algn="l">
              <a:defRPr>
                <a:solidFill>
                  <a:schemeClr val="tx2"/>
                </a:solidFill>
              </a:defRPr>
            </a:lvl1pPr>
          </a:lstStyle>
          <a:p>
            <a:endParaRPr lang="es-AR">
              <a:solidFill>
                <a:srgbClr val="455F51"/>
              </a:solidFill>
            </a:endParaRPr>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1BFC3D50-7FDF-4D36-BDF7-EB78C1A28823}" type="slidenum">
              <a:rPr lang="es-AR" smtClean="0">
                <a:solidFill>
                  <a:srgbClr val="455F51"/>
                </a:solidFill>
              </a:rPr>
              <a:pPr/>
              <a:t>‹Nº›</a:t>
            </a:fld>
            <a:endParaRPr lang="es-AR">
              <a:solidFill>
                <a:srgbClr val="455F51"/>
              </a:solidFill>
            </a:endParaRPr>
          </a:p>
        </p:txBody>
      </p:sp>
    </p:spTree>
    <p:extLst>
      <p:ext uri="{BB962C8B-B14F-4D97-AF65-F5344CB8AC3E}">
        <p14:creationId xmlns:p14="http://schemas.microsoft.com/office/powerpoint/2010/main" val="14419220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picTx" preserve="1">
  <p:cSld name="Imagen con título">
    <p:spTree>
      <p:nvGrpSpPr>
        <p:cNvPr id="1" name=""/>
        <p:cNvGrpSpPr/>
        <p:nvPr/>
      </p:nvGrpSpPr>
      <p:grpSpPr>
        <a:xfrm>
          <a:off x="0" y="0"/>
          <a:ext cx="0" cy="0"/>
          <a:chOff x="0" y="0"/>
          <a:chExt cx="0" cy="0"/>
        </a:xfrm>
      </p:grpSpPr>
      <p:sp>
        <p:nvSpPr>
          <p:cNvPr id="8" name="Rectangle 7"/>
          <p:cNvSpPr/>
          <p:nvPr/>
        </p:nvSpPr>
        <p:spPr>
          <a:xfrm>
            <a:off x="123" y="3714750"/>
            <a:ext cx="9141619" cy="142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35" y="3686307"/>
            <a:ext cx="9141619" cy="480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822960" y="3806190"/>
            <a:ext cx="7585234" cy="617220"/>
          </a:xfrm>
        </p:spPr>
        <p:txBody>
          <a:bodyPr tIns="0" bIns="0" anchor="b">
            <a:noAutofit/>
          </a:bodyPr>
          <a:lstStyle>
            <a:lvl1pPr>
              <a:defRPr sz="3600" b="0">
                <a:solidFill>
                  <a:srgbClr val="FFFFFF"/>
                </a:solidFill>
              </a:defRPr>
            </a:lvl1pPr>
          </a:lstStyle>
          <a:p>
            <a:r>
              <a:rPr lang="es-ES"/>
              <a:t>Haga clic para modificar el estilo de título del patrón</a:t>
            </a:r>
            <a:endParaRPr lang="en-US" dirty="0"/>
          </a:p>
        </p:txBody>
      </p:sp>
      <p:sp>
        <p:nvSpPr>
          <p:cNvPr id="3" name="Picture Placeholder 2"/>
          <p:cNvSpPr>
            <a:spLocks noGrp="1" noChangeAspect="1"/>
          </p:cNvSpPr>
          <p:nvPr>
            <p:ph type="pic" idx="1"/>
          </p:nvPr>
        </p:nvSpPr>
        <p:spPr>
          <a:xfrm>
            <a:off x="18" y="2"/>
            <a:ext cx="9143989" cy="3686307"/>
          </a:xfrm>
          <a:solidFill>
            <a:schemeClr val="bg2">
              <a:lumMod val="90000"/>
            </a:schemeClr>
          </a:solidFill>
        </p:spPr>
        <p:txBody>
          <a:bodyPr lIns="457200" tIns="45720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s-ES"/>
              <a:t>Haga clic en el icono para agregar una imagen</a:t>
            </a:r>
            <a:endParaRPr lang="en-US" dirty="0"/>
          </a:p>
        </p:txBody>
      </p:sp>
      <p:sp>
        <p:nvSpPr>
          <p:cNvPr id="4" name="Text Placeholder 3"/>
          <p:cNvSpPr>
            <a:spLocks noGrp="1"/>
          </p:cNvSpPr>
          <p:nvPr>
            <p:ph type="body" sz="half" idx="2"/>
          </p:nvPr>
        </p:nvSpPr>
        <p:spPr>
          <a:xfrm>
            <a:off x="822960" y="4430268"/>
            <a:ext cx="7589520" cy="44577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a:t>Haga clic para modificar el estilo de texto del patrón</a:t>
            </a:r>
          </a:p>
        </p:txBody>
      </p:sp>
      <p:sp>
        <p:nvSpPr>
          <p:cNvPr id="5" name="Date Placeholder 4"/>
          <p:cNvSpPr>
            <a:spLocks noGrp="1"/>
          </p:cNvSpPr>
          <p:nvPr>
            <p:ph type="dt" sz="half" idx="10"/>
          </p:nvPr>
        </p:nvSpPr>
        <p:spPr/>
        <p:txBody>
          <a:bodyPr/>
          <a:lstStyle/>
          <a:p>
            <a:fld id="{F1659AFC-2BE3-4850-9BB8-E61537AEA2FE}" type="datetime1">
              <a:rPr lang="es-AR" smtClean="0"/>
              <a:pPr/>
              <a:t>7/8/2024</a:t>
            </a:fld>
            <a:endParaRPr lang="es-AR"/>
          </a:p>
        </p:txBody>
      </p:sp>
      <p:sp>
        <p:nvSpPr>
          <p:cNvPr id="6" name="Footer Placeholder 5"/>
          <p:cNvSpPr>
            <a:spLocks noGrp="1"/>
          </p:cNvSpPr>
          <p:nvPr>
            <p:ph type="ftr" sz="quarter" idx="11"/>
          </p:nvPr>
        </p:nvSpPr>
        <p:spPr/>
        <p:txBody>
          <a:bodyPr/>
          <a:lstStyle/>
          <a:p>
            <a:endParaRPr lang="es-AR"/>
          </a:p>
        </p:txBody>
      </p:sp>
      <p:sp>
        <p:nvSpPr>
          <p:cNvPr id="7" name="Slide Number Placeholder 6"/>
          <p:cNvSpPr>
            <a:spLocks noGrp="1"/>
          </p:cNvSpPr>
          <p:nvPr>
            <p:ph type="sldNum" sz="quarter" idx="12"/>
          </p:nvPr>
        </p:nvSpPr>
        <p:spPr/>
        <p:txBody>
          <a:bodyPr/>
          <a:lstStyle/>
          <a:p>
            <a:fld id="{1BFC3D50-7FDF-4D36-BDF7-EB78C1A28823}" type="slidenum">
              <a:rPr lang="es-AR" smtClean="0"/>
              <a:pPr/>
              <a:t>‹Nº›</a:t>
            </a:fld>
            <a:endParaRPr lang="es-AR"/>
          </a:p>
        </p:txBody>
      </p:sp>
    </p:spTree>
    <p:extLst>
      <p:ext uri="{BB962C8B-B14F-4D97-AF65-F5344CB8AC3E}">
        <p14:creationId xmlns:p14="http://schemas.microsoft.com/office/powerpoint/2010/main" val="20095544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4" name="Date Placeholder 3"/>
          <p:cNvSpPr>
            <a:spLocks noGrp="1"/>
          </p:cNvSpPr>
          <p:nvPr>
            <p:ph type="dt" sz="half" idx="10"/>
          </p:nvPr>
        </p:nvSpPr>
        <p:spPr/>
        <p:txBody>
          <a:bodyPr/>
          <a:lstStyle/>
          <a:p>
            <a:fld id="{BC45BFA0-9826-4967-BEC6-168828042FD5}" type="datetime1">
              <a:rPr lang="es-AR" smtClean="0"/>
              <a:pPr/>
              <a:t>7/8/2024</a:t>
            </a:fld>
            <a:endParaRPr lang="es-AR"/>
          </a:p>
        </p:txBody>
      </p:sp>
      <p:sp>
        <p:nvSpPr>
          <p:cNvPr id="5" name="Footer Placeholder 4"/>
          <p:cNvSpPr>
            <a:spLocks noGrp="1"/>
          </p:cNvSpPr>
          <p:nvPr>
            <p:ph type="ftr" sz="quarter" idx="11"/>
          </p:nvPr>
        </p:nvSpPr>
        <p:spPr/>
        <p:txBody>
          <a:bodyPr/>
          <a:lstStyle/>
          <a:p>
            <a:endParaRPr lang="es-AR"/>
          </a:p>
        </p:txBody>
      </p:sp>
      <p:sp>
        <p:nvSpPr>
          <p:cNvPr id="6" name="Slide Number Placeholder 5"/>
          <p:cNvSpPr>
            <a:spLocks noGrp="1"/>
          </p:cNvSpPr>
          <p:nvPr>
            <p:ph type="sldNum" sz="quarter" idx="12"/>
          </p:nvPr>
        </p:nvSpPr>
        <p:spPr/>
        <p:txBody>
          <a:bodyPr/>
          <a:lstStyle/>
          <a:p>
            <a:fld id="{1BFC3D50-7FDF-4D36-BDF7-EB78C1A28823}" type="slidenum">
              <a:rPr lang="es-AR" smtClean="0"/>
              <a:pPr/>
              <a:t>‹Nº›</a:t>
            </a:fld>
            <a:endParaRPr lang="es-AR"/>
          </a:p>
        </p:txBody>
      </p:sp>
    </p:spTree>
    <p:extLst>
      <p:ext uri="{BB962C8B-B14F-4D97-AF65-F5344CB8AC3E}">
        <p14:creationId xmlns:p14="http://schemas.microsoft.com/office/powerpoint/2010/main" val="358012552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vertTitleAndTx" preserve="1">
  <p:cSld name="Título vertical y texto">
    <p:spTree>
      <p:nvGrpSpPr>
        <p:cNvPr id="1" name=""/>
        <p:cNvGrpSpPr/>
        <p:nvPr/>
      </p:nvGrpSpPr>
      <p:grpSpPr>
        <a:xfrm>
          <a:off x="0" y="0"/>
          <a:ext cx="0" cy="0"/>
          <a:chOff x="0" y="0"/>
          <a:chExt cx="0" cy="0"/>
        </a:xfrm>
      </p:grpSpPr>
      <p:sp>
        <p:nvSpPr>
          <p:cNvPr id="7" name="Rectangle 6"/>
          <p:cNvSpPr/>
          <p:nvPr/>
        </p:nvSpPr>
        <p:spPr>
          <a:xfrm>
            <a:off x="2390" y="4800600"/>
            <a:ext cx="9141619" cy="342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35" y="4750737"/>
            <a:ext cx="9141619" cy="480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6543676" y="309226"/>
            <a:ext cx="1971675" cy="4319924"/>
          </a:xfrm>
        </p:spPr>
        <p:txBody>
          <a:bodyPr vert="eaVert"/>
          <a:lstStyle/>
          <a:p>
            <a:r>
              <a:rPr lang="es-ES"/>
              <a:t>Haga clic para modificar el estilo de título del patrón</a:t>
            </a:r>
            <a:endParaRPr lang="en-US" dirty="0"/>
          </a:p>
        </p:txBody>
      </p:sp>
      <p:sp>
        <p:nvSpPr>
          <p:cNvPr id="3" name="Vertical Text Placeholder 2"/>
          <p:cNvSpPr>
            <a:spLocks noGrp="1"/>
          </p:cNvSpPr>
          <p:nvPr>
            <p:ph type="body" orient="vert" idx="1"/>
          </p:nvPr>
        </p:nvSpPr>
        <p:spPr>
          <a:xfrm>
            <a:off x="628694" y="309226"/>
            <a:ext cx="5800725" cy="4319924"/>
          </a:xfrm>
        </p:spPr>
        <p:txBody>
          <a:bodyPr vert="eaVert" lIns="45720" tIns="0" rIns="45720" bIns="0"/>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4" name="Date Placeholder 3"/>
          <p:cNvSpPr>
            <a:spLocks noGrp="1"/>
          </p:cNvSpPr>
          <p:nvPr>
            <p:ph type="dt" sz="half" idx="10"/>
          </p:nvPr>
        </p:nvSpPr>
        <p:spPr/>
        <p:txBody>
          <a:bodyPr/>
          <a:lstStyle/>
          <a:p>
            <a:fld id="{98DC2A10-3C54-4EE0-BC93-8834C9C70193}" type="datetime1">
              <a:rPr lang="es-AR" smtClean="0"/>
              <a:pPr/>
              <a:t>7/8/2024</a:t>
            </a:fld>
            <a:endParaRPr lang="es-AR"/>
          </a:p>
        </p:txBody>
      </p:sp>
      <p:sp>
        <p:nvSpPr>
          <p:cNvPr id="5" name="Footer Placeholder 4"/>
          <p:cNvSpPr>
            <a:spLocks noGrp="1"/>
          </p:cNvSpPr>
          <p:nvPr>
            <p:ph type="ftr" sz="quarter" idx="11"/>
          </p:nvPr>
        </p:nvSpPr>
        <p:spPr/>
        <p:txBody>
          <a:bodyPr/>
          <a:lstStyle/>
          <a:p>
            <a:endParaRPr lang="es-AR"/>
          </a:p>
        </p:txBody>
      </p:sp>
      <p:sp>
        <p:nvSpPr>
          <p:cNvPr id="6" name="Slide Number Placeholder 5"/>
          <p:cNvSpPr>
            <a:spLocks noGrp="1"/>
          </p:cNvSpPr>
          <p:nvPr>
            <p:ph type="sldNum" sz="quarter" idx="12"/>
          </p:nvPr>
        </p:nvSpPr>
        <p:spPr/>
        <p:txBody>
          <a:bodyPr/>
          <a:lstStyle/>
          <a:p>
            <a:fld id="{1BFC3D50-7FDF-4D36-BDF7-EB78C1A28823}" type="slidenum">
              <a:rPr lang="es-AR" smtClean="0"/>
              <a:pPr/>
              <a:t>‹Nº›</a:t>
            </a:fld>
            <a:endParaRPr lang="es-AR"/>
          </a:p>
        </p:txBody>
      </p:sp>
    </p:spTree>
    <p:extLst>
      <p:ext uri="{BB962C8B-B14F-4D97-AF65-F5344CB8AC3E}">
        <p14:creationId xmlns:p14="http://schemas.microsoft.com/office/powerpoint/2010/main" val="192373711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800" y="1597819"/>
            <a:ext cx="7772400" cy="1102519"/>
          </a:xfrm>
        </p:spPr>
        <p:txBody>
          <a:bodyPr/>
          <a:lstStyle/>
          <a:p>
            <a:r>
              <a:rPr lang="es-ES" smtClean="0"/>
              <a:t>Haga clic para modificar el estilo de título del patrón</a:t>
            </a:r>
            <a:endParaRPr lang="es-AR"/>
          </a:p>
        </p:txBody>
      </p:sp>
      <p:sp>
        <p:nvSpPr>
          <p:cNvPr id="3" name="2 Subtítulo"/>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smtClean="0"/>
              <a:t>Haga clic para modificar el estilo de subtítulo del patrón</a:t>
            </a:r>
            <a:endParaRPr lang="es-AR"/>
          </a:p>
        </p:txBody>
      </p:sp>
      <p:sp>
        <p:nvSpPr>
          <p:cNvPr id="4" name="3 Marcador de fecha"/>
          <p:cNvSpPr>
            <a:spLocks noGrp="1"/>
          </p:cNvSpPr>
          <p:nvPr>
            <p:ph type="dt" sz="half" idx="10"/>
          </p:nvPr>
        </p:nvSpPr>
        <p:spPr/>
        <p:txBody>
          <a:bodyPr/>
          <a:lstStyle/>
          <a:p>
            <a:fld id="{0725BAA1-FBBD-4E70-A359-A09EE94F66E3}" type="datetimeFigureOut">
              <a:rPr lang="es-AR" smtClean="0">
                <a:solidFill>
                  <a:prstClr val="black">
                    <a:tint val="75000"/>
                  </a:prstClr>
                </a:solidFill>
              </a:rPr>
              <a:pPr/>
              <a:t>7/8/2024</a:t>
            </a:fld>
            <a:endParaRPr lang="es-AR">
              <a:solidFill>
                <a:prstClr val="black">
                  <a:tint val="75000"/>
                </a:prstClr>
              </a:solidFill>
            </a:endParaRPr>
          </a:p>
        </p:txBody>
      </p:sp>
      <p:sp>
        <p:nvSpPr>
          <p:cNvPr id="5" name="4 Marcador de pie de página"/>
          <p:cNvSpPr>
            <a:spLocks noGrp="1"/>
          </p:cNvSpPr>
          <p:nvPr>
            <p:ph type="ftr" sz="quarter" idx="11"/>
          </p:nvPr>
        </p:nvSpPr>
        <p:spPr/>
        <p:txBody>
          <a:bodyPr/>
          <a:lstStyle/>
          <a:p>
            <a:endParaRPr lang="es-AR">
              <a:solidFill>
                <a:prstClr val="black">
                  <a:tint val="75000"/>
                </a:prstClr>
              </a:solidFill>
            </a:endParaRPr>
          </a:p>
        </p:txBody>
      </p:sp>
      <p:sp>
        <p:nvSpPr>
          <p:cNvPr id="6" name="5 Marcador de número de diapositiva"/>
          <p:cNvSpPr>
            <a:spLocks noGrp="1"/>
          </p:cNvSpPr>
          <p:nvPr>
            <p:ph type="sldNum" sz="quarter" idx="12"/>
          </p:nvPr>
        </p:nvSpPr>
        <p:spPr/>
        <p:txBody>
          <a:bodyPr/>
          <a:lstStyle/>
          <a:p>
            <a:fld id="{59E1C38B-2DCA-4AC1-8602-45EA13F687CD}" type="slidenum">
              <a:rPr lang="es-AR" smtClean="0">
                <a:solidFill>
                  <a:prstClr val="black">
                    <a:tint val="75000"/>
                  </a:prstClr>
                </a:solidFill>
              </a:rPr>
              <a:pPr/>
              <a:t>‹Nº›</a:t>
            </a:fld>
            <a:endParaRPr lang="es-AR">
              <a:solidFill>
                <a:prstClr val="black">
                  <a:tint val="75000"/>
                </a:prstClr>
              </a:solidFill>
            </a:endParaRPr>
          </a:p>
        </p:txBody>
      </p:sp>
    </p:spTree>
    <p:extLst>
      <p:ext uri="{BB962C8B-B14F-4D97-AF65-F5344CB8AC3E}">
        <p14:creationId xmlns:p14="http://schemas.microsoft.com/office/powerpoint/2010/main" val="323709526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AR"/>
          </a:p>
        </p:txBody>
      </p:sp>
      <p:sp>
        <p:nvSpPr>
          <p:cNvPr id="3" name="2 Marcador de contenido"/>
          <p:cNvSpPr>
            <a:spLocks noGrp="1"/>
          </p:cNvSpPr>
          <p:nvPr>
            <p:ph idx="1"/>
          </p:nvPr>
        </p:nvSpPr>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AR"/>
          </a:p>
        </p:txBody>
      </p:sp>
      <p:sp>
        <p:nvSpPr>
          <p:cNvPr id="4" name="3 Marcador de fecha"/>
          <p:cNvSpPr>
            <a:spLocks noGrp="1"/>
          </p:cNvSpPr>
          <p:nvPr>
            <p:ph type="dt" sz="half" idx="10"/>
          </p:nvPr>
        </p:nvSpPr>
        <p:spPr/>
        <p:txBody>
          <a:bodyPr/>
          <a:lstStyle/>
          <a:p>
            <a:fld id="{0725BAA1-FBBD-4E70-A359-A09EE94F66E3}" type="datetimeFigureOut">
              <a:rPr lang="es-AR" smtClean="0">
                <a:solidFill>
                  <a:prstClr val="black">
                    <a:tint val="75000"/>
                  </a:prstClr>
                </a:solidFill>
              </a:rPr>
              <a:pPr/>
              <a:t>7/8/2024</a:t>
            </a:fld>
            <a:endParaRPr lang="es-AR">
              <a:solidFill>
                <a:prstClr val="black">
                  <a:tint val="75000"/>
                </a:prstClr>
              </a:solidFill>
            </a:endParaRPr>
          </a:p>
        </p:txBody>
      </p:sp>
      <p:sp>
        <p:nvSpPr>
          <p:cNvPr id="5" name="4 Marcador de pie de página"/>
          <p:cNvSpPr>
            <a:spLocks noGrp="1"/>
          </p:cNvSpPr>
          <p:nvPr>
            <p:ph type="ftr" sz="quarter" idx="11"/>
          </p:nvPr>
        </p:nvSpPr>
        <p:spPr/>
        <p:txBody>
          <a:bodyPr/>
          <a:lstStyle/>
          <a:p>
            <a:endParaRPr lang="es-AR">
              <a:solidFill>
                <a:prstClr val="black">
                  <a:tint val="75000"/>
                </a:prstClr>
              </a:solidFill>
            </a:endParaRPr>
          </a:p>
        </p:txBody>
      </p:sp>
      <p:sp>
        <p:nvSpPr>
          <p:cNvPr id="6" name="5 Marcador de número de diapositiva"/>
          <p:cNvSpPr>
            <a:spLocks noGrp="1"/>
          </p:cNvSpPr>
          <p:nvPr>
            <p:ph type="sldNum" sz="quarter" idx="12"/>
          </p:nvPr>
        </p:nvSpPr>
        <p:spPr/>
        <p:txBody>
          <a:bodyPr/>
          <a:lstStyle/>
          <a:p>
            <a:fld id="{59E1C38B-2DCA-4AC1-8602-45EA13F687CD}" type="slidenum">
              <a:rPr lang="es-AR" smtClean="0">
                <a:solidFill>
                  <a:prstClr val="black">
                    <a:tint val="75000"/>
                  </a:prstClr>
                </a:solidFill>
              </a:rPr>
              <a:pPr/>
              <a:t>‹Nº›</a:t>
            </a:fld>
            <a:endParaRPr lang="es-AR">
              <a:solidFill>
                <a:prstClr val="black">
                  <a:tint val="75000"/>
                </a:prstClr>
              </a:solidFill>
            </a:endParaRPr>
          </a:p>
        </p:txBody>
      </p:sp>
    </p:spTree>
    <p:extLst>
      <p:ext uri="{BB962C8B-B14F-4D97-AF65-F5344CB8AC3E}">
        <p14:creationId xmlns:p14="http://schemas.microsoft.com/office/powerpoint/2010/main" val="354238588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313" y="3305176"/>
            <a:ext cx="7772400" cy="1021556"/>
          </a:xfrm>
        </p:spPr>
        <p:txBody>
          <a:bodyPr anchor="t"/>
          <a:lstStyle>
            <a:lvl1pPr algn="l">
              <a:defRPr sz="4000" b="1" cap="all"/>
            </a:lvl1pPr>
          </a:lstStyle>
          <a:p>
            <a:r>
              <a:rPr lang="es-ES" smtClean="0"/>
              <a:t>Haga clic para modificar el estilo de título del patrón</a:t>
            </a:r>
            <a:endParaRPr lang="es-AR"/>
          </a:p>
        </p:txBody>
      </p:sp>
      <p:sp>
        <p:nvSpPr>
          <p:cNvPr id="3" name="2 Marcador de texto"/>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smtClean="0"/>
              <a:t>Haga clic para modificar el estilo de texto del patrón</a:t>
            </a:r>
          </a:p>
        </p:txBody>
      </p:sp>
      <p:sp>
        <p:nvSpPr>
          <p:cNvPr id="4" name="3 Marcador de fecha"/>
          <p:cNvSpPr>
            <a:spLocks noGrp="1"/>
          </p:cNvSpPr>
          <p:nvPr>
            <p:ph type="dt" sz="half" idx="10"/>
          </p:nvPr>
        </p:nvSpPr>
        <p:spPr/>
        <p:txBody>
          <a:bodyPr/>
          <a:lstStyle/>
          <a:p>
            <a:fld id="{0725BAA1-FBBD-4E70-A359-A09EE94F66E3}" type="datetimeFigureOut">
              <a:rPr lang="es-AR" smtClean="0">
                <a:solidFill>
                  <a:prstClr val="black">
                    <a:tint val="75000"/>
                  </a:prstClr>
                </a:solidFill>
              </a:rPr>
              <a:pPr/>
              <a:t>7/8/2024</a:t>
            </a:fld>
            <a:endParaRPr lang="es-AR">
              <a:solidFill>
                <a:prstClr val="black">
                  <a:tint val="75000"/>
                </a:prstClr>
              </a:solidFill>
            </a:endParaRPr>
          </a:p>
        </p:txBody>
      </p:sp>
      <p:sp>
        <p:nvSpPr>
          <p:cNvPr id="5" name="4 Marcador de pie de página"/>
          <p:cNvSpPr>
            <a:spLocks noGrp="1"/>
          </p:cNvSpPr>
          <p:nvPr>
            <p:ph type="ftr" sz="quarter" idx="11"/>
          </p:nvPr>
        </p:nvSpPr>
        <p:spPr/>
        <p:txBody>
          <a:bodyPr/>
          <a:lstStyle/>
          <a:p>
            <a:endParaRPr lang="es-AR">
              <a:solidFill>
                <a:prstClr val="black">
                  <a:tint val="75000"/>
                </a:prstClr>
              </a:solidFill>
            </a:endParaRPr>
          </a:p>
        </p:txBody>
      </p:sp>
      <p:sp>
        <p:nvSpPr>
          <p:cNvPr id="6" name="5 Marcador de número de diapositiva"/>
          <p:cNvSpPr>
            <a:spLocks noGrp="1"/>
          </p:cNvSpPr>
          <p:nvPr>
            <p:ph type="sldNum" sz="quarter" idx="12"/>
          </p:nvPr>
        </p:nvSpPr>
        <p:spPr/>
        <p:txBody>
          <a:bodyPr/>
          <a:lstStyle/>
          <a:p>
            <a:fld id="{59E1C38B-2DCA-4AC1-8602-45EA13F687CD}" type="slidenum">
              <a:rPr lang="es-AR" smtClean="0">
                <a:solidFill>
                  <a:prstClr val="black">
                    <a:tint val="75000"/>
                  </a:prstClr>
                </a:solidFill>
              </a:rPr>
              <a:pPr/>
              <a:t>‹Nº›</a:t>
            </a:fld>
            <a:endParaRPr lang="es-AR">
              <a:solidFill>
                <a:prstClr val="black">
                  <a:tint val="75000"/>
                </a:prstClr>
              </a:solidFill>
            </a:endParaRPr>
          </a:p>
        </p:txBody>
      </p:sp>
    </p:spTree>
    <p:extLst>
      <p:ext uri="{BB962C8B-B14F-4D97-AF65-F5344CB8AC3E}">
        <p14:creationId xmlns:p14="http://schemas.microsoft.com/office/powerpoint/2010/main" val="4333727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AR"/>
          </a:p>
        </p:txBody>
      </p:sp>
      <p:sp>
        <p:nvSpPr>
          <p:cNvPr id="3" name="2 Marcador de contenido"/>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AR"/>
          </a:p>
        </p:txBody>
      </p:sp>
      <p:sp>
        <p:nvSpPr>
          <p:cNvPr id="4" name="3 Marcador de contenido"/>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AR"/>
          </a:p>
        </p:txBody>
      </p:sp>
      <p:sp>
        <p:nvSpPr>
          <p:cNvPr id="5" name="4 Marcador de fecha"/>
          <p:cNvSpPr>
            <a:spLocks noGrp="1"/>
          </p:cNvSpPr>
          <p:nvPr>
            <p:ph type="dt" sz="half" idx="10"/>
          </p:nvPr>
        </p:nvSpPr>
        <p:spPr/>
        <p:txBody>
          <a:bodyPr/>
          <a:lstStyle/>
          <a:p>
            <a:fld id="{0725BAA1-FBBD-4E70-A359-A09EE94F66E3}" type="datetimeFigureOut">
              <a:rPr lang="es-AR" smtClean="0">
                <a:solidFill>
                  <a:prstClr val="black">
                    <a:tint val="75000"/>
                  </a:prstClr>
                </a:solidFill>
              </a:rPr>
              <a:pPr/>
              <a:t>7/8/2024</a:t>
            </a:fld>
            <a:endParaRPr lang="es-AR">
              <a:solidFill>
                <a:prstClr val="black">
                  <a:tint val="75000"/>
                </a:prstClr>
              </a:solidFill>
            </a:endParaRPr>
          </a:p>
        </p:txBody>
      </p:sp>
      <p:sp>
        <p:nvSpPr>
          <p:cNvPr id="6" name="5 Marcador de pie de página"/>
          <p:cNvSpPr>
            <a:spLocks noGrp="1"/>
          </p:cNvSpPr>
          <p:nvPr>
            <p:ph type="ftr" sz="quarter" idx="11"/>
          </p:nvPr>
        </p:nvSpPr>
        <p:spPr/>
        <p:txBody>
          <a:bodyPr/>
          <a:lstStyle/>
          <a:p>
            <a:endParaRPr lang="es-AR">
              <a:solidFill>
                <a:prstClr val="black">
                  <a:tint val="75000"/>
                </a:prstClr>
              </a:solidFill>
            </a:endParaRPr>
          </a:p>
        </p:txBody>
      </p:sp>
      <p:sp>
        <p:nvSpPr>
          <p:cNvPr id="7" name="6 Marcador de número de diapositiva"/>
          <p:cNvSpPr>
            <a:spLocks noGrp="1"/>
          </p:cNvSpPr>
          <p:nvPr>
            <p:ph type="sldNum" sz="quarter" idx="12"/>
          </p:nvPr>
        </p:nvSpPr>
        <p:spPr/>
        <p:txBody>
          <a:bodyPr/>
          <a:lstStyle/>
          <a:p>
            <a:fld id="{59E1C38B-2DCA-4AC1-8602-45EA13F687CD}" type="slidenum">
              <a:rPr lang="es-AR" smtClean="0">
                <a:solidFill>
                  <a:prstClr val="black">
                    <a:tint val="75000"/>
                  </a:prstClr>
                </a:solidFill>
              </a:rPr>
              <a:pPr/>
              <a:t>‹Nº›</a:t>
            </a:fld>
            <a:endParaRPr lang="es-AR">
              <a:solidFill>
                <a:prstClr val="black">
                  <a:tint val="75000"/>
                </a:prstClr>
              </a:solidFill>
            </a:endParaRPr>
          </a:p>
        </p:txBody>
      </p:sp>
    </p:spTree>
    <p:extLst>
      <p:ext uri="{BB962C8B-B14F-4D97-AF65-F5344CB8AC3E}">
        <p14:creationId xmlns:p14="http://schemas.microsoft.com/office/powerpoint/2010/main" val="5596248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517AB182-F46A-42E4-AF47-8D6CCF520EEB}"/>
              </a:ext>
            </a:extLst>
          </p:cNvPr>
          <p:cNvGraphicFramePr>
            <a:graphicFrameLocks noChangeAspect="1"/>
          </p:cNvGraphicFramePr>
          <p:nvPr userDrawn="1">
            <p:custDataLst>
              <p:tags r:id="rId2"/>
            </p:custDataLst>
            <p:extLst>
              <p:ext uri="{D42A27DB-BD31-4B8C-83A1-F6EECF244321}">
                <p14:modId xmlns:p14="http://schemas.microsoft.com/office/powerpoint/2010/main" val="996379651"/>
              </p:ext>
            </p:extLst>
          </p:nvPr>
        </p:nvGraphicFramePr>
        <p:xfrm>
          <a:off x="1201" y="1193"/>
          <a:ext cx="1191" cy="1191"/>
        </p:xfrm>
        <a:graphic>
          <a:graphicData uri="http://schemas.openxmlformats.org/presentationml/2006/ole">
            <mc:AlternateContent xmlns:mc="http://schemas.openxmlformats.org/markup-compatibility/2006">
              <mc:Choice xmlns:v="urn:schemas-microsoft-com:vml" Requires="v">
                <p:oleObj spid="_x0000_s10337" name="think-cell Slide" r:id="rId5" imgW="360" imgH="360" progId="">
                  <p:embed/>
                </p:oleObj>
              </mc:Choice>
              <mc:Fallback>
                <p:oleObj name="think-cell Slide" r:id="rId5" imgW="360" imgH="360" progId="">
                  <p:embed/>
                  <p:pic>
                    <p:nvPicPr>
                      <p:cNvPr id="5" name="Object 4" hidden="1">
                        <a:extLst>
                          <a:ext uri="{FF2B5EF4-FFF2-40B4-BE49-F238E27FC236}">
                            <a16:creationId xmlns="" xmlns:a16="http://schemas.microsoft.com/office/drawing/2014/main" id="{517AB182-F46A-42E4-AF47-8D6CCF520EE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01" y="1193"/>
                        <a:ext cx="1191" cy="119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 xmlns:a16="http://schemas.microsoft.com/office/drawing/2014/main" id="{D820FD40-BBAC-4FAC-B389-9E77189B12A3}"/>
              </a:ext>
            </a:extLst>
          </p:cNvPr>
          <p:cNvSpPr/>
          <p:nvPr userDrawn="1">
            <p:custDataLst>
              <p:tags r:id="rId3"/>
            </p:custDataLst>
          </p:nvPr>
        </p:nvSpPr>
        <p:spPr>
          <a:xfrm>
            <a:off x="2" y="77"/>
            <a:ext cx="119063" cy="119063"/>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85800"/>
            <a:endParaRPr lang="en-GB" sz="4500" b="1">
              <a:solidFill>
                <a:srgbClr val="FFFFFF"/>
              </a:solidFill>
              <a:latin typeface="Arial" panose="020B0604020202020204" pitchFamily="34" charset="0"/>
              <a:sym typeface="Arial" panose="020B0604020202020204" pitchFamily="34" charset="0"/>
            </a:endParaRPr>
          </a:p>
        </p:txBody>
      </p:sp>
      <p:sp>
        <p:nvSpPr>
          <p:cNvPr id="2" name="Title 1">
            <a:extLst>
              <a:ext uri="{FF2B5EF4-FFF2-40B4-BE49-F238E27FC236}">
                <a16:creationId xmlns="" xmlns:a16="http://schemas.microsoft.com/office/drawing/2014/main" id="{BD0F9006-603D-1947-9436-7F9179A4FF54}"/>
              </a:ext>
            </a:extLst>
          </p:cNvPr>
          <p:cNvSpPr>
            <a:spLocks noGrp="1"/>
          </p:cNvSpPr>
          <p:nvPr>
            <p:ph type="ctrTitle"/>
          </p:nvPr>
        </p:nvSpPr>
        <p:spPr>
          <a:xfrm>
            <a:off x="602070" y="360192"/>
            <a:ext cx="6140450" cy="1384995"/>
          </a:xfrm>
        </p:spPr>
        <p:txBody>
          <a:bodyPr anchor="t"/>
          <a:lstStyle>
            <a:lvl1pPr algn="l">
              <a:defRPr sz="4500">
                <a:solidFill>
                  <a:schemeClr val="tx1"/>
                </a:solidFill>
              </a:defRPr>
            </a:lvl1pPr>
          </a:lstStyle>
          <a:p>
            <a:r>
              <a:rPr lang="en-GB"/>
              <a:t>Click to edit Master title style</a:t>
            </a:r>
          </a:p>
        </p:txBody>
      </p:sp>
      <p:sp>
        <p:nvSpPr>
          <p:cNvPr id="3" name="Subtitle 2">
            <a:extLst>
              <a:ext uri="{FF2B5EF4-FFF2-40B4-BE49-F238E27FC236}">
                <a16:creationId xmlns="" xmlns:a16="http://schemas.microsoft.com/office/drawing/2014/main" id="{55725E59-3528-4942-9526-5D49710DD282}"/>
              </a:ext>
            </a:extLst>
          </p:cNvPr>
          <p:cNvSpPr>
            <a:spLocks noGrp="1"/>
          </p:cNvSpPr>
          <p:nvPr>
            <p:ph type="subTitle" idx="1"/>
          </p:nvPr>
        </p:nvSpPr>
        <p:spPr>
          <a:xfrm>
            <a:off x="628650" y="1790720"/>
            <a:ext cx="6140450" cy="246221"/>
          </a:xfrm>
        </p:spPr>
        <p:txBody>
          <a:bodyPr/>
          <a:lstStyle>
            <a:lvl1pPr marL="0" indent="0" algn="l">
              <a:buNone/>
              <a:defRPr sz="1600" b="1" i="0">
                <a:solidFill>
                  <a:schemeClr val="tx1"/>
                </a:solidFill>
                <a:latin typeface="Arial Bold" charset="0"/>
              </a:defRPr>
            </a:lvl1pPr>
            <a:lvl2pPr marL="342900" indent="0" algn="ctr">
              <a:buNone/>
              <a:defRPr sz="1500"/>
            </a:lvl2pPr>
            <a:lvl3pPr marL="685800" indent="0" algn="ctr">
              <a:buNone/>
              <a:defRPr sz="140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a:t>Click to edit Master subtitle style</a:t>
            </a:r>
          </a:p>
        </p:txBody>
      </p:sp>
      <p:sp>
        <p:nvSpPr>
          <p:cNvPr id="17" name="Text Placeholder 16">
            <a:extLst>
              <a:ext uri="{FF2B5EF4-FFF2-40B4-BE49-F238E27FC236}">
                <a16:creationId xmlns="" xmlns:a16="http://schemas.microsoft.com/office/drawing/2014/main" id="{6830FEBB-978A-D247-BB0E-61D92CD40D6A}"/>
              </a:ext>
            </a:extLst>
          </p:cNvPr>
          <p:cNvSpPr>
            <a:spLocks noGrp="1"/>
          </p:cNvSpPr>
          <p:nvPr>
            <p:ph type="body" sz="quarter" idx="10"/>
          </p:nvPr>
        </p:nvSpPr>
        <p:spPr>
          <a:xfrm>
            <a:off x="7137402" y="4338092"/>
            <a:ext cx="1433354" cy="367903"/>
          </a:xfrm>
        </p:spPr>
        <p:txBody>
          <a:bodyPr anchor="b">
            <a:noAutofit/>
          </a:bodyPr>
          <a:lstStyle>
            <a:lvl1pPr marL="0" indent="0" algn="r">
              <a:buNone/>
              <a:defRPr sz="600" b="0" i="0">
                <a:solidFill>
                  <a:schemeClr val="tx1"/>
                </a:solidFill>
                <a:latin typeface="Georgia Regular" charset="0"/>
                <a:ea typeface="Arial Bold" charset="0"/>
              </a:defRPr>
            </a:lvl1pPr>
            <a:lvl2pPr>
              <a:defRPr sz="800" b="1" i="0">
                <a:solidFill>
                  <a:srgbClr val="E85852"/>
                </a:solidFill>
                <a:latin typeface="Merriweather" pitchFamily="2" charset="77"/>
                <a:ea typeface="Euclid CEPI Medium" panose="020B0504000000000000" pitchFamily="34" charset="77"/>
              </a:defRPr>
            </a:lvl2pPr>
            <a:lvl3pPr>
              <a:defRPr sz="800" b="1" i="0">
                <a:solidFill>
                  <a:srgbClr val="E85852"/>
                </a:solidFill>
                <a:latin typeface="Merriweather" pitchFamily="2" charset="77"/>
                <a:ea typeface="Euclid CEPI Medium" panose="020B0504000000000000" pitchFamily="34" charset="77"/>
              </a:defRPr>
            </a:lvl3pPr>
            <a:lvl4pPr>
              <a:defRPr sz="800" b="1" i="0">
                <a:solidFill>
                  <a:srgbClr val="E85852"/>
                </a:solidFill>
                <a:latin typeface="Merriweather" pitchFamily="2" charset="77"/>
                <a:ea typeface="Euclid CEPI Medium" panose="020B0504000000000000" pitchFamily="34" charset="77"/>
              </a:defRPr>
            </a:lvl4pPr>
            <a:lvl5pPr>
              <a:defRPr sz="800" b="1" i="0">
                <a:solidFill>
                  <a:srgbClr val="E85852"/>
                </a:solidFill>
                <a:latin typeface="Merriweather" pitchFamily="2" charset="77"/>
                <a:ea typeface="Euclid CEPI Medium" panose="020B0504000000000000" pitchFamily="34" charset="77"/>
              </a:defRPr>
            </a:lvl5pPr>
          </a:lstStyle>
          <a:p>
            <a:pPr lvl="0"/>
            <a:r>
              <a:rPr lang="en-GB"/>
              <a:t>Click to edit Master text styles</a:t>
            </a:r>
          </a:p>
        </p:txBody>
      </p:sp>
    </p:spTree>
    <p:extLst>
      <p:ext uri="{BB962C8B-B14F-4D97-AF65-F5344CB8AC3E}">
        <p14:creationId xmlns:p14="http://schemas.microsoft.com/office/powerpoint/2010/main" val="35945370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lvl1pPr>
              <a:defRPr/>
            </a:lvl1pPr>
          </a:lstStyle>
          <a:p>
            <a:r>
              <a:rPr lang="es-ES" smtClean="0"/>
              <a:t>Haga clic para modificar el estilo de título del patrón</a:t>
            </a:r>
            <a:endParaRPr lang="es-AR"/>
          </a:p>
        </p:txBody>
      </p:sp>
      <p:sp>
        <p:nvSpPr>
          <p:cNvPr id="3" name="2 Marcador de texto"/>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4" name="3 Marcador de contenido"/>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AR"/>
          </a:p>
        </p:txBody>
      </p:sp>
      <p:sp>
        <p:nvSpPr>
          <p:cNvPr id="5" name="4 Marcador de texto"/>
          <p:cNvSpPr>
            <a:spLocks noGrp="1"/>
          </p:cNvSpPr>
          <p:nvPr>
            <p:ph type="body" sz="quarter" idx="3"/>
          </p:nvPr>
        </p:nvSpPr>
        <p:spPr>
          <a:xfrm>
            <a:off x="4645026"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6" name="5 Marcador de contenido"/>
          <p:cNvSpPr>
            <a:spLocks noGrp="1"/>
          </p:cNvSpPr>
          <p:nvPr>
            <p:ph sz="quarter" idx="4"/>
          </p:nvPr>
        </p:nvSpPr>
        <p:spPr>
          <a:xfrm>
            <a:off x="4645026"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AR"/>
          </a:p>
        </p:txBody>
      </p:sp>
      <p:sp>
        <p:nvSpPr>
          <p:cNvPr id="7" name="6 Marcador de fecha"/>
          <p:cNvSpPr>
            <a:spLocks noGrp="1"/>
          </p:cNvSpPr>
          <p:nvPr>
            <p:ph type="dt" sz="half" idx="10"/>
          </p:nvPr>
        </p:nvSpPr>
        <p:spPr/>
        <p:txBody>
          <a:bodyPr/>
          <a:lstStyle/>
          <a:p>
            <a:fld id="{0725BAA1-FBBD-4E70-A359-A09EE94F66E3}" type="datetimeFigureOut">
              <a:rPr lang="es-AR" smtClean="0">
                <a:solidFill>
                  <a:prstClr val="black">
                    <a:tint val="75000"/>
                  </a:prstClr>
                </a:solidFill>
              </a:rPr>
              <a:pPr/>
              <a:t>7/8/2024</a:t>
            </a:fld>
            <a:endParaRPr lang="es-AR">
              <a:solidFill>
                <a:prstClr val="black">
                  <a:tint val="75000"/>
                </a:prstClr>
              </a:solidFill>
            </a:endParaRPr>
          </a:p>
        </p:txBody>
      </p:sp>
      <p:sp>
        <p:nvSpPr>
          <p:cNvPr id="8" name="7 Marcador de pie de página"/>
          <p:cNvSpPr>
            <a:spLocks noGrp="1"/>
          </p:cNvSpPr>
          <p:nvPr>
            <p:ph type="ftr" sz="quarter" idx="11"/>
          </p:nvPr>
        </p:nvSpPr>
        <p:spPr/>
        <p:txBody>
          <a:bodyPr/>
          <a:lstStyle/>
          <a:p>
            <a:endParaRPr lang="es-AR">
              <a:solidFill>
                <a:prstClr val="black">
                  <a:tint val="75000"/>
                </a:prstClr>
              </a:solidFill>
            </a:endParaRPr>
          </a:p>
        </p:txBody>
      </p:sp>
      <p:sp>
        <p:nvSpPr>
          <p:cNvPr id="9" name="8 Marcador de número de diapositiva"/>
          <p:cNvSpPr>
            <a:spLocks noGrp="1"/>
          </p:cNvSpPr>
          <p:nvPr>
            <p:ph type="sldNum" sz="quarter" idx="12"/>
          </p:nvPr>
        </p:nvSpPr>
        <p:spPr/>
        <p:txBody>
          <a:bodyPr/>
          <a:lstStyle/>
          <a:p>
            <a:fld id="{59E1C38B-2DCA-4AC1-8602-45EA13F687CD}" type="slidenum">
              <a:rPr lang="es-AR" smtClean="0">
                <a:solidFill>
                  <a:prstClr val="black">
                    <a:tint val="75000"/>
                  </a:prstClr>
                </a:solidFill>
              </a:rPr>
              <a:pPr/>
              <a:t>‹Nº›</a:t>
            </a:fld>
            <a:endParaRPr lang="es-AR">
              <a:solidFill>
                <a:prstClr val="black">
                  <a:tint val="75000"/>
                </a:prstClr>
              </a:solidFill>
            </a:endParaRPr>
          </a:p>
        </p:txBody>
      </p:sp>
    </p:spTree>
    <p:extLst>
      <p:ext uri="{BB962C8B-B14F-4D97-AF65-F5344CB8AC3E}">
        <p14:creationId xmlns:p14="http://schemas.microsoft.com/office/powerpoint/2010/main" val="37974813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AR"/>
          </a:p>
        </p:txBody>
      </p:sp>
      <p:sp>
        <p:nvSpPr>
          <p:cNvPr id="3" name="2 Marcador de fecha"/>
          <p:cNvSpPr>
            <a:spLocks noGrp="1"/>
          </p:cNvSpPr>
          <p:nvPr>
            <p:ph type="dt" sz="half" idx="10"/>
          </p:nvPr>
        </p:nvSpPr>
        <p:spPr/>
        <p:txBody>
          <a:bodyPr/>
          <a:lstStyle/>
          <a:p>
            <a:fld id="{0725BAA1-FBBD-4E70-A359-A09EE94F66E3}" type="datetimeFigureOut">
              <a:rPr lang="es-AR" smtClean="0">
                <a:solidFill>
                  <a:prstClr val="black">
                    <a:tint val="75000"/>
                  </a:prstClr>
                </a:solidFill>
              </a:rPr>
              <a:pPr/>
              <a:t>7/8/2024</a:t>
            </a:fld>
            <a:endParaRPr lang="es-AR">
              <a:solidFill>
                <a:prstClr val="black">
                  <a:tint val="75000"/>
                </a:prstClr>
              </a:solidFill>
            </a:endParaRPr>
          </a:p>
        </p:txBody>
      </p:sp>
      <p:sp>
        <p:nvSpPr>
          <p:cNvPr id="4" name="3 Marcador de pie de página"/>
          <p:cNvSpPr>
            <a:spLocks noGrp="1"/>
          </p:cNvSpPr>
          <p:nvPr>
            <p:ph type="ftr" sz="quarter" idx="11"/>
          </p:nvPr>
        </p:nvSpPr>
        <p:spPr/>
        <p:txBody>
          <a:bodyPr/>
          <a:lstStyle/>
          <a:p>
            <a:endParaRPr lang="es-AR">
              <a:solidFill>
                <a:prstClr val="black">
                  <a:tint val="75000"/>
                </a:prstClr>
              </a:solidFill>
            </a:endParaRPr>
          </a:p>
        </p:txBody>
      </p:sp>
      <p:sp>
        <p:nvSpPr>
          <p:cNvPr id="5" name="4 Marcador de número de diapositiva"/>
          <p:cNvSpPr>
            <a:spLocks noGrp="1"/>
          </p:cNvSpPr>
          <p:nvPr>
            <p:ph type="sldNum" sz="quarter" idx="12"/>
          </p:nvPr>
        </p:nvSpPr>
        <p:spPr/>
        <p:txBody>
          <a:bodyPr/>
          <a:lstStyle/>
          <a:p>
            <a:fld id="{59E1C38B-2DCA-4AC1-8602-45EA13F687CD}" type="slidenum">
              <a:rPr lang="es-AR" smtClean="0">
                <a:solidFill>
                  <a:prstClr val="black">
                    <a:tint val="75000"/>
                  </a:prstClr>
                </a:solidFill>
              </a:rPr>
              <a:pPr/>
              <a:t>‹Nº›</a:t>
            </a:fld>
            <a:endParaRPr lang="es-AR">
              <a:solidFill>
                <a:prstClr val="black">
                  <a:tint val="75000"/>
                </a:prstClr>
              </a:solidFill>
            </a:endParaRPr>
          </a:p>
        </p:txBody>
      </p:sp>
    </p:spTree>
    <p:extLst>
      <p:ext uri="{BB962C8B-B14F-4D97-AF65-F5344CB8AC3E}">
        <p14:creationId xmlns:p14="http://schemas.microsoft.com/office/powerpoint/2010/main" val="230369426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1 Marcador de fecha"/>
          <p:cNvSpPr>
            <a:spLocks noGrp="1"/>
          </p:cNvSpPr>
          <p:nvPr>
            <p:ph type="dt" sz="half" idx="10"/>
          </p:nvPr>
        </p:nvSpPr>
        <p:spPr/>
        <p:txBody>
          <a:bodyPr/>
          <a:lstStyle/>
          <a:p>
            <a:fld id="{0725BAA1-FBBD-4E70-A359-A09EE94F66E3}" type="datetimeFigureOut">
              <a:rPr lang="es-AR" smtClean="0">
                <a:solidFill>
                  <a:prstClr val="black">
                    <a:tint val="75000"/>
                  </a:prstClr>
                </a:solidFill>
              </a:rPr>
              <a:pPr/>
              <a:t>7/8/2024</a:t>
            </a:fld>
            <a:endParaRPr lang="es-AR">
              <a:solidFill>
                <a:prstClr val="black">
                  <a:tint val="75000"/>
                </a:prstClr>
              </a:solidFill>
            </a:endParaRPr>
          </a:p>
        </p:txBody>
      </p:sp>
      <p:sp>
        <p:nvSpPr>
          <p:cNvPr id="3" name="2 Marcador de pie de página"/>
          <p:cNvSpPr>
            <a:spLocks noGrp="1"/>
          </p:cNvSpPr>
          <p:nvPr>
            <p:ph type="ftr" sz="quarter" idx="11"/>
          </p:nvPr>
        </p:nvSpPr>
        <p:spPr/>
        <p:txBody>
          <a:bodyPr/>
          <a:lstStyle/>
          <a:p>
            <a:endParaRPr lang="es-AR">
              <a:solidFill>
                <a:prstClr val="black">
                  <a:tint val="75000"/>
                </a:prstClr>
              </a:solidFill>
            </a:endParaRPr>
          </a:p>
        </p:txBody>
      </p:sp>
      <p:sp>
        <p:nvSpPr>
          <p:cNvPr id="4" name="3 Marcador de número de diapositiva"/>
          <p:cNvSpPr>
            <a:spLocks noGrp="1"/>
          </p:cNvSpPr>
          <p:nvPr>
            <p:ph type="sldNum" sz="quarter" idx="12"/>
          </p:nvPr>
        </p:nvSpPr>
        <p:spPr/>
        <p:txBody>
          <a:bodyPr/>
          <a:lstStyle/>
          <a:p>
            <a:fld id="{59E1C38B-2DCA-4AC1-8602-45EA13F687CD}" type="slidenum">
              <a:rPr lang="es-AR" smtClean="0">
                <a:solidFill>
                  <a:prstClr val="black">
                    <a:tint val="75000"/>
                  </a:prstClr>
                </a:solidFill>
              </a:rPr>
              <a:pPr/>
              <a:t>‹Nº›</a:t>
            </a:fld>
            <a:endParaRPr lang="es-AR">
              <a:solidFill>
                <a:prstClr val="black">
                  <a:tint val="75000"/>
                </a:prstClr>
              </a:solidFill>
            </a:endParaRPr>
          </a:p>
        </p:txBody>
      </p:sp>
    </p:spTree>
    <p:extLst>
      <p:ext uri="{BB962C8B-B14F-4D97-AF65-F5344CB8AC3E}">
        <p14:creationId xmlns:p14="http://schemas.microsoft.com/office/powerpoint/2010/main" val="180831535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201" y="204787"/>
            <a:ext cx="3008313" cy="871538"/>
          </a:xfrm>
        </p:spPr>
        <p:txBody>
          <a:bodyPr anchor="b"/>
          <a:lstStyle>
            <a:lvl1pPr algn="l">
              <a:defRPr sz="2000" b="1"/>
            </a:lvl1pPr>
          </a:lstStyle>
          <a:p>
            <a:r>
              <a:rPr lang="es-ES" smtClean="0"/>
              <a:t>Haga clic para modificar el estilo de título del patrón</a:t>
            </a:r>
            <a:endParaRPr lang="es-AR"/>
          </a:p>
        </p:txBody>
      </p:sp>
      <p:sp>
        <p:nvSpPr>
          <p:cNvPr id="3" name="2 Marcador de contenido"/>
          <p:cNvSpPr>
            <a:spLocks noGrp="1"/>
          </p:cNvSpPr>
          <p:nvPr>
            <p:ph idx="1"/>
          </p:nvPr>
        </p:nvSpPr>
        <p:spPr>
          <a:xfrm>
            <a:off x="3575050"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AR"/>
          </a:p>
        </p:txBody>
      </p:sp>
      <p:sp>
        <p:nvSpPr>
          <p:cNvPr id="4" name="3 Marcador de texto"/>
          <p:cNvSpPr>
            <a:spLocks noGrp="1"/>
          </p:cNvSpPr>
          <p:nvPr>
            <p:ph type="body" sz="half" idx="2"/>
          </p:nvPr>
        </p:nvSpPr>
        <p:spPr>
          <a:xfrm>
            <a:off x="457201"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
        <p:nvSpPr>
          <p:cNvPr id="5" name="4 Marcador de fecha"/>
          <p:cNvSpPr>
            <a:spLocks noGrp="1"/>
          </p:cNvSpPr>
          <p:nvPr>
            <p:ph type="dt" sz="half" idx="10"/>
          </p:nvPr>
        </p:nvSpPr>
        <p:spPr/>
        <p:txBody>
          <a:bodyPr/>
          <a:lstStyle/>
          <a:p>
            <a:fld id="{0725BAA1-FBBD-4E70-A359-A09EE94F66E3}" type="datetimeFigureOut">
              <a:rPr lang="es-AR" smtClean="0">
                <a:solidFill>
                  <a:prstClr val="black">
                    <a:tint val="75000"/>
                  </a:prstClr>
                </a:solidFill>
              </a:rPr>
              <a:pPr/>
              <a:t>7/8/2024</a:t>
            </a:fld>
            <a:endParaRPr lang="es-AR">
              <a:solidFill>
                <a:prstClr val="black">
                  <a:tint val="75000"/>
                </a:prstClr>
              </a:solidFill>
            </a:endParaRPr>
          </a:p>
        </p:txBody>
      </p:sp>
      <p:sp>
        <p:nvSpPr>
          <p:cNvPr id="6" name="5 Marcador de pie de página"/>
          <p:cNvSpPr>
            <a:spLocks noGrp="1"/>
          </p:cNvSpPr>
          <p:nvPr>
            <p:ph type="ftr" sz="quarter" idx="11"/>
          </p:nvPr>
        </p:nvSpPr>
        <p:spPr/>
        <p:txBody>
          <a:bodyPr/>
          <a:lstStyle/>
          <a:p>
            <a:endParaRPr lang="es-AR">
              <a:solidFill>
                <a:prstClr val="black">
                  <a:tint val="75000"/>
                </a:prstClr>
              </a:solidFill>
            </a:endParaRPr>
          </a:p>
        </p:txBody>
      </p:sp>
      <p:sp>
        <p:nvSpPr>
          <p:cNvPr id="7" name="6 Marcador de número de diapositiva"/>
          <p:cNvSpPr>
            <a:spLocks noGrp="1"/>
          </p:cNvSpPr>
          <p:nvPr>
            <p:ph type="sldNum" sz="quarter" idx="12"/>
          </p:nvPr>
        </p:nvSpPr>
        <p:spPr/>
        <p:txBody>
          <a:bodyPr/>
          <a:lstStyle/>
          <a:p>
            <a:fld id="{59E1C38B-2DCA-4AC1-8602-45EA13F687CD}" type="slidenum">
              <a:rPr lang="es-AR" smtClean="0">
                <a:solidFill>
                  <a:prstClr val="black">
                    <a:tint val="75000"/>
                  </a:prstClr>
                </a:solidFill>
              </a:rPr>
              <a:pPr/>
              <a:t>‹Nº›</a:t>
            </a:fld>
            <a:endParaRPr lang="es-AR">
              <a:solidFill>
                <a:prstClr val="black">
                  <a:tint val="75000"/>
                </a:prstClr>
              </a:solidFill>
            </a:endParaRPr>
          </a:p>
        </p:txBody>
      </p:sp>
    </p:spTree>
    <p:extLst>
      <p:ext uri="{BB962C8B-B14F-4D97-AF65-F5344CB8AC3E}">
        <p14:creationId xmlns:p14="http://schemas.microsoft.com/office/powerpoint/2010/main" val="165469767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792288" y="3600450"/>
            <a:ext cx="5486400" cy="425054"/>
          </a:xfrm>
        </p:spPr>
        <p:txBody>
          <a:bodyPr anchor="b"/>
          <a:lstStyle>
            <a:lvl1pPr algn="l">
              <a:defRPr sz="2000" b="1"/>
            </a:lvl1pPr>
          </a:lstStyle>
          <a:p>
            <a:r>
              <a:rPr lang="es-ES" smtClean="0"/>
              <a:t>Haga clic para modificar el estilo de título del patrón</a:t>
            </a:r>
            <a:endParaRPr lang="es-AR"/>
          </a:p>
        </p:txBody>
      </p:sp>
      <p:sp>
        <p:nvSpPr>
          <p:cNvPr id="3" name="2 Marcador de posición de imagen"/>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AR"/>
          </a:p>
        </p:txBody>
      </p:sp>
      <p:sp>
        <p:nvSpPr>
          <p:cNvPr id="4" name="3 Marcador de texto"/>
          <p:cNvSpPr>
            <a:spLocks noGrp="1"/>
          </p:cNvSpPr>
          <p:nvPr>
            <p:ph type="body" sz="half" idx="2"/>
          </p:nvPr>
        </p:nvSpPr>
        <p:spPr>
          <a:xfrm>
            <a:off x="1792288" y="4025503"/>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
        <p:nvSpPr>
          <p:cNvPr id="5" name="4 Marcador de fecha"/>
          <p:cNvSpPr>
            <a:spLocks noGrp="1"/>
          </p:cNvSpPr>
          <p:nvPr>
            <p:ph type="dt" sz="half" idx="10"/>
          </p:nvPr>
        </p:nvSpPr>
        <p:spPr/>
        <p:txBody>
          <a:bodyPr/>
          <a:lstStyle/>
          <a:p>
            <a:fld id="{0725BAA1-FBBD-4E70-A359-A09EE94F66E3}" type="datetimeFigureOut">
              <a:rPr lang="es-AR" smtClean="0">
                <a:solidFill>
                  <a:prstClr val="black">
                    <a:tint val="75000"/>
                  </a:prstClr>
                </a:solidFill>
              </a:rPr>
              <a:pPr/>
              <a:t>7/8/2024</a:t>
            </a:fld>
            <a:endParaRPr lang="es-AR">
              <a:solidFill>
                <a:prstClr val="black">
                  <a:tint val="75000"/>
                </a:prstClr>
              </a:solidFill>
            </a:endParaRPr>
          </a:p>
        </p:txBody>
      </p:sp>
      <p:sp>
        <p:nvSpPr>
          <p:cNvPr id="6" name="5 Marcador de pie de página"/>
          <p:cNvSpPr>
            <a:spLocks noGrp="1"/>
          </p:cNvSpPr>
          <p:nvPr>
            <p:ph type="ftr" sz="quarter" idx="11"/>
          </p:nvPr>
        </p:nvSpPr>
        <p:spPr/>
        <p:txBody>
          <a:bodyPr/>
          <a:lstStyle/>
          <a:p>
            <a:endParaRPr lang="es-AR">
              <a:solidFill>
                <a:prstClr val="black">
                  <a:tint val="75000"/>
                </a:prstClr>
              </a:solidFill>
            </a:endParaRPr>
          </a:p>
        </p:txBody>
      </p:sp>
      <p:sp>
        <p:nvSpPr>
          <p:cNvPr id="7" name="6 Marcador de número de diapositiva"/>
          <p:cNvSpPr>
            <a:spLocks noGrp="1"/>
          </p:cNvSpPr>
          <p:nvPr>
            <p:ph type="sldNum" sz="quarter" idx="12"/>
          </p:nvPr>
        </p:nvSpPr>
        <p:spPr/>
        <p:txBody>
          <a:bodyPr/>
          <a:lstStyle/>
          <a:p>
            <a:fld id="{59E1C38B-2DCA-4AC1-8602-45EA13F687CD}" type="slidenum">
              <a:rPr lang="es-AR" smtClean="0">
                <a:solidFill>
                  <a:prstClr val="black">
                    <a:tint val="75000"/>
                  </a:prstClr>
                </a:solidFill>
              </a:rPr>
              <a:pPr/>
              <a:t>‹Nº›</a:t>
            </a:fld>
            <a:endParaRPr lang="es-AR">
              <a:solidFill>
                <a:prstClr val="black">
                  <a:tint val="75000"/>
                </a:prstClr>
              </a:solidFill>
            </a:endParaRPr>
          </a:p>
        </p:txBody>
      </p:sp>
    </p:spTree>
    <p:extLst>
      <p:ext uri="{BB962C8B-B14F-4D97-AF65-F5344CB8AC3E}">
        <p14:creationId xmlns:p14="http://schemas.microsoft.com/office/powerpoint/2010/main" val="217085099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AR"/>
          </a:p>
        </p:txBody>
      </p:sp>
      <p:sp>
        <p:nvSpPr>
          <p:cNvPr id="3" name="2 Marcador de texto vertical"/>
          <p:cNvSpPr>
            <a:spLocks noGrp="1"/>
          </p:cNvSpPr>
          <p:nvPr>
            <p:ph type="body" orient="vert" idx="1"/>
          </p:nvPr>
        </p:nvSpPr>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AR"/>
          </a:p>
        </p:txBody>
      </p:sp>
      <p:sp>
        <p:nvSpPr>
          <p:cNvPr id="4" name="3 Marcador de fecha"/>
          <p:cNvSpPr>
            <a:spLocks noGrp="1"/>
          </p:cNvSpPr>
          <p:nvPr>
            <p:ph type="dt" sz="half" idx="10"/>
          </p:nvPr>
        </p:nvSpPr>
        <p:spPr/>
        <p:txBody>
          <a:bodyPr/>
          <a:lstStyle/>
          <a:p>
            <a:fld id="{0725BAA1-FBBD-4E70-A359-A09EE94F66E3}" type="datetimeFigureOut">
              <a:rPr lang="es-AR" smtClean="0">
                <a:solidFill>
                  <a:prstClr val="black">
                    <a:tint val="75000"/>
                  </a:prstClr>
                </a:solidFill>
              </a:rPr>
              <a:pPr/>
              <a:t>7/8/2024</a:t>
            </a:fld>
            <a:endParaRPr lang="es-AR">
              <a:solidFill>
                <a:prstClr val="black">
                  <a:tint val="75000"/>
                </a:prstClr>
              </a:solidFill>
            </a:endParaRPr>
          </a:p>
        </p:txBody>
      </p:sp>
      <p:sp>
        <p:nvSpPr>
          <p:cNvPr id="5" name="4 Marcador de pie de página"/>
          <p:cNvSpPr>
            <a:spLocks noGrp="1"/>
          </p:cNvSpPr>
          <p:nvPr>
            <p:ph type="ftr" sz="quarter" idx="11"/>
          </p:nvPr>
        </p:nvSpPr>
        <p:spPr/>
        <p:txBody>
          <a:bodyPr/>
          <a:lstStyle/>
          <a:p>
            <a:endParaRPr lang="es-AR">
              <a:solidFill>
                <a:prstClr val="black">
                  <a:tint val="75000"/>
                </a:prstClr>
              </a:solidFill>
            </a:endParaRPr>
          </a:p>
        </p:txBody>
      </p:sp>
      <p:sp>
        <p:nvSpPr>
          <p:cNvPr id="6" name="5 Marcador de número de diapositiva"/>
          <p:cNvSpPr>
            <a:spLocks noGrp="1"/>
          </p:cNvSpPr>
          <p:nvPr>
            <p:ph type="sldNum" sz="quarter" idx="12"/>
          </p:nvPr>
        </p:nvSpPr>
        <p:spPr/>
        <p:txBody>
          <a:bodyPr/>
          <a:lstStyle/>
          <a:p>
            <a:fld id="{59E1C38B-2DCA-4AC1-8602-45EA13F687CD}" type="slidenum">
              <a:rPr lang="es-AR" smtClean="0">
                <a:solidFill>
                  <a:prstClr val="black">
                    <a:tint val="75000"/>
                  </a:prstClr>
                </a:solidFill>
              </a:rPr>
              <a:pPr/>
              <a:t>‹Nº›</a:t>
            </a:fld>
            <a:endParaRPr lang="es-AR">
              <a:solidFill>
                <a:prstClr val="black">
                  <a:tint val="75000"/>
                </a:prstClr>
              </a:solidFill>
            </a:endParaRPr>
          </a:p>
        </p:txBody>
      </p:sp>
    </p:spTree>
    <p:extLst>
      <p:ext uri="{BB962C8B-B14F-4D97-AF65-F5344CB8AC3E}">
        <p14:creationId xmlns:p14="http://schemas.microsoft.com/office/powerpoint/2010/main" val="261305239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629400" y="205979"/>
            <a:ext cx="2057400" cy="4388644"/>
          </a:xfrm>
        </p:spPr>
        <p:txBody>
          <a:bodyPr vert="eaVert"/>
          <a:lstStyle/>
          <a:p>
            <a:r>
              <a:rPr lang="es-ES" smtClean="0"/>
              <a:t>Haga clic para modificar el estilo de título del patrón</a:t>
            </a:r>
            <a:endParaRPr lang="es-AR"/>
          </a:p>
        </p:txBody>
      </p:sp>
      <p:sp>
        <p:nvSpPr>
          <p:cNvPr id="3" name="2 Marcador de texto vertical"/>
          <p:cNvSpPr>
            <a:spLocks noGrp="1"/>
          </p:cNvSpPr>
          <p:nvPr>
            <p:ph type="body" orient="vert" idx="1"/>
          </p:nvPr>
        </p:nvSpPr>
        <p:spPr>
          <a:xfrm>
            <a:off x="457200" y="205979"/>
            <a:ext cx="6019800" cy="4388644"/>
          </a:xfr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AR"/>
          </a:p>
        </p:txBody>
      </p:sp>
      <p:sp>
        <p:nvSpPr>
          <p:cNvPr id="4" name="3 Marcador de fecha"/>
          <p:cNvSpPr>
            <a:spLocks noGrp="1"/>
          </p:cNvSpPr>
          <p:nvPr>
            <p:ph type="dt" sz="half" idx="10"/>
          </p:nvPr>
        </p:nvSpPr>
        <p:spPr/>
        <p:txBody>
          <a:bodyPr/>
          <a:lstStyle/>
          <a:p>
            <a:fld id="{0725BAA1-FBBD-4E70-A359-A09EE94F66E3}" type="datetimeFigureOut">
              <a:rPr lang="es-AR" smtClean="0">
                <a:solidFill>
                  <a:prstClr val="black">
                    <a:tint val="75000"/>
                  </a:prstClr>
                </a:solidFill>
              </a:rPr>
              <a:pPr/>
              <a:t>7/8/2024</a:t>
            </a:fld>
            <a:endParaRPr lang="es-AR">
              <a:solidFill>
                <a:prstClr val="black">
                  <a:tint val="75000"/>
                </a:prstClr>
              </a:solidFill>
            </a:endParaRPr>
          </a:p>
        </p:txBody>
      </p:sp>
      <p:sp>
        <p:nvSpPr>
          <p:cNvPr id="5" name="4 Marcador de pie de página"/>
          <p:cNvSpPr>
            <a:spLocks noGrp="1"/>
          </p:cNvSpPr>
          <p:nvPr>
            <p:ph type="ftr" sz="quarter" idx="11"/>
          </p:nvPr>
        </p:nvSpPr>
        <p:spPr/>
        <p:txBody>
          <a:bodyPr/>
          <a:lstStyle/>
          <a:p>
            <a:endParaRPr lang="es-AR">
              <a:solidFill>
                <a:prstClr val="black">
                  <a:tint val="75000"/>
                </a:prstClr>
              </a:solidFill>
            </a:endParaRPr>
          </a:p>
        </p:txBody>
      </p:sp>
      <p:sp>
        <p:nvSpPr>
          <p:cNvPr id="6" name="5 Marcador de número de diapositiva"/>
          <p:cNvSpPr>
            <a:spLocks noGrp="1"/>
          </p:cNvSpPr>
          <p:nvPr>
            <p:ph type="sldNum" sz="quarter" idx="12"/>
          </p:nvPr>
        </p:nvSpPr>
        <p:spPr/>
        <p:txBody>
          <a:bodyPr/>
          <a:lstStyle/>
          <a:p>
            <a:fld id="{59E1C38B-2DCA-4AC1-8602-45EA13F687CD}" type="slidenum">
              <a:rPr lang="es-AR" smtClean="0">
                <a:solidFill>
                  <a:prstClr val="black">
                    <a:tint val="75000"/>
                  </a:prstClr>
                </a:solidFill>
              </a:rPr>
              <a:pPr/>
              <a:t>‹Nº›</a:t>
            </a:fld>
            <a:endParaRPr lang="es-AR">
              <a:solidFill>
                <a:prstClr val="black">
                  <a:tint val="75000"/>
                </a:prstClr>
              </a:solidFill>
            </a:endParaRPr>
          </a:p>
        </p:txBody>
      </p:sp>
    </p:spTree>
    <p:extLst>
      <p:ext uri="{BB962C8B-B14F-4D97-AF65-F5344CB8AC3E}">
        <p14:creationId xmlns:p14="http://schemas.microsoft.com/office/powerpoint/2010/main" val="201207259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xAndObj">
  <p:cSld name="Título, texto y objetos">
    <p:spTree>
      <p:nvGrpSpPr>
        <p:cNvPr id="1" name=""/>
        <p:cNvGrpSpPr/>
        <p:nvPr/>
      </p:nvGrpSpPr>
      <p:grpSpPr>
        <a:xfrm>
          <a:off x="0" y="0"/>
          <a:ext cx="0" cy="0"/>
          <a:chOff x="0" y="0"/>
          <a:chExt cx="0" cy="0"/>
        </a:xfrm>
      </p:grpSpPr>
      <p:sp>
        <p:nvSpPr>
          <p:cNvPr id="2" name="1 Título"/>
          <p:cNvSpPr>
            <a:spLocks noGrp="1"/>
          </p:cNvSpPr>
          <p:nvPr>
            <p:ph type="title"/>
          </p:nvPr>
        </p:nvSpPr>
        <p:spPr>
          <a:xfrm>
            <a:off x="685800" y="457200"/>
            <a:ext cx="7772400" cy="685800"/>
          </a:xfrm>
        </p:spPr>
        <p:txBody>
          <a:bodyPr/>
          <a:lstStyle/>
          <a:p>
            <a:r>
              <a:rPr lang="es-ES" smtClean="0"/>
              <a:t>Haga clic para modificar el estilo de título del patrón</a:t>
            </a:r>
            <a:endParaRPr lang="es-AR"/>
          </a:p>
        </p:txBody>
      </p:sp>
      <p:sp>
        <p:nvSpPr>
          <p:cNvPr id="3" name="2 Marcador de texto"/>
          <p:cNvSpPr>
            <a:spLocks noGrp="1"/>
          </p:cNvSpPr>
          <p:nvPr>
            <p:ph type="body" sz="half" idx="1"/>
          </p:nvPr>
        </p:nvSpPr>
        <p:spPr>
          <a:xfrm>
            <a:off x="685800" y="1485900"/>
            <a:ext cx="3810000" cy="3086100"/>
          </a:xfrm>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AR"/>
          </a:p>
        </p:txBody>
      </p:sp>
      <p:sp>
        <p:nvSpPr>
          <p:cNvPr id="4" name="3 Marcador de contenido"/>
          <p:cNvSpPr>
            <a:spLocks noGrp="1"/>
          </p:cNvSpPr>
          <p:nvPr>
            <p:ph sz="half" idx="2"/>
          </p:nvPr>
        </p:nvSpPr>
        <p:spPr>
          <a:xfrm>
            <a:off x="4648200" y="1485900"/>
            <a:ext cx="3810000" cy="3086100"/>
          </a:xfrm>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AR"/>
          </a:p>
        </p:txBody>
      </p:sp>
      <p:sp>
        <p:nvSpPr>
          <p:cNvPr id="5" name="4 Marcador de pie de página"/>
          <p:cNvSpPr>
            <a:spLocks noGrp="1"/>
          </p:cNvSpPr>
          <p:nvPr>
            <p:ph type="ftr" sz="quarter" idx="10"/>
          </p:nvPr>
        </p:nvSpPr>
        <p:spPr>
          <a:xfrm>
            <a:off x="2195514" y="4814888"/>
            <a:ext cx="4764087" cy="342900"/>
          </a:xfrm>
        </p:spPr>
        <p:txBody>
          <a:bodyPr/>
          <a:lstStyle>
            <a:lvl1pPr>
              <a:defRPr/>
            </a:lvl1pPr>
          </a:lstStyle>
          <a:p>
            <a:r>
              <a:rPr lang="en-US">
                <a:solidFill>
                  <a:prstClr val="black">
                    <a:tint val="75000"/>
                  </a:prstClr>
                </a:solidFill>
              </a:rPr>
              <a:t>44. Consejo Directivo, septiembre 2003</a:t>
            </a:r>
          </a:p>
        </p:txBody>
      </p:sp>
      <p:sp>
        <p:nvSpPr>
          <p:cNvPr id="6" name="5 Marcador de número de diapositiva"/>
          <p:cNvSpPr>
            <a:spLocks noGrp="1"/>
          </p:cNvSpPr>
          <p:nvPr>
            <p:ph type="sldNum" sz="quarter" idx="11"/>
          </p:nvPr>
        </p:nvSpPr>
        <p:spPr>
          <a:xfrm>
            <a:off x="7253288" y="4804172"/>
            <a:ext cx="1905000" cy="342900"/>
          </a:xfrm>
        </p:spPr>
        <p:txBody>
          <a:bodyPr/>
          <a:lstStyle>
            <a:lvl1pPr>
              <a:defRPr/>
            </a:lvl1pPr>
          </a:lstStyle>
          <a:p>
            <a:fld id="{2072D06B-150C-4DB8-884B-2C600CB49BCF}" type="slidenum">
              <a:rPr lang="en-US">
                <a:solidFill>
                  <a:prstClr val="black">
                    <a:tint val="75000"/>
                  </a:prstClr>
                </a:solidFill>
              </a:rPr>
              <a:pPr/>
              <a:t>‹Nº›</a:t>
            </a:fld>
            <a:endParaRPr lang="en-US">
              <a:solidFill>
                <a:prstClr val="black">
                  <a:tint val="75000"/>
                </a:prstClr>
              </a:solidFill>
            </a:endParaRPr>
          </a:p>
        </p:txBody>
      </p:sp>
    </p:spTree>
    <p:extLst>
      <p:ext uri="{BB962C8B-B14F-4D97-AF65-F5344CB8AC3E}">
        <p14:creationId xmlns:p14="http://schemas.microsoft.com/office/powerpoint/2010/main" val="115355412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le with Image">
    <p:spTree>
      <p:nvGrpSpPr>
        <p:cNvPr id="1" name=""/>
        <p:cNvGrpSpPr/>
        <p:nvPr/>
      </p:nvGrpSpPr>
      <p:grpSpPr>
        <a:xfrm>
          <a:off x="0" y="0"/>
          <a:ext cx="0" cy="0"/>
          <a:chOff x="0" y="0"/>
          <a:chExt cx="0" cy="0"/>
        </a:xfrm>
      </p:grpSpPr>
      <p:sp>
        <p:nvSpPr>
          <p:cNvPr id="19" name="Rectangle 6">
            <a:extLst>
              <a:ext uri="{FF2B5EF4-FFF2-40B4-BE49-F238E27FC236}">
                <a16:creationId xmlns="" xmlns:a16="http://schemas.microsoft.com/office/drawing/2014/main" id="{18D4B9FA-39D5-DC46-AEE9-0F3C6ECD9555}"/>
              </a:ext>
            </a:extLst>
          </p:cNvPr>
          <p:cNvSpPr/>
          <p:nvPr userDrawn="1"/>
        </p:nvSpPr>
        <p:spPr>
          <a:xfrm>
            <a:off x="0" y="3105000"/>
            <a:ext cx="107504" cy="1485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07" tIns="34289" rIns="68507" bIns="34289" anchor="ctr"/>
          <a:lstStyle/>
          <a:p>
            <a:pPr algn="ctr" defTabSz="684967"/>
            <a:endParaRPr lang="en-US" altLang="en-US" sz="1400">
              <a:solidFill>
                <a:srgbClr val="FFFFFF"/>
              </a:solidFill>
            </a:endParaRPr>
          </a:p>
        </p:txBody>
      </p:sp>
      <p:sp>
        <p:nvSpPr>
          <p:cNvPr id="21" name="Title 1">
            <a:extLst>
              <a:ext uri="{FF2B5EF4-FFF2-40B4-BE49-F238E27FC236}">
                <a16:creationId xmlns="" xmlns:a16="http://schemas.microsoft.com/office/drawing/2014/main" id="{BBB8651D-A822-B447-BA6F-5B2ACD54EA33}"/>
              </a:ext>
            </a:extLst>
          </p:cNvPr>
          <p:cNvSpPr>
            <a:spLocks noGrp="1"/>
          </p:cNvSpPr>
          <p:nvPr>
            <p:ph type="ctrTitle" hasCustomPrompt="1"/>
          </p:nvPr>
        </p:nvSpPr>
        <p:spPr>
          <a:xfrm>
            <a:off x="733673" y="3024910"/>
            <a:ext cx="6675924" cy="671442"/>
          </a:xfrm>
        </p:spPr>
        <p:txBody>
          <a:bodyPr wrap="square" tIns="0" rIns="0" bIns="0" anchor="b" anchorCtr="0">
            <a:noAutofit/>
          </a:bodyPr>
          <a:lstStyle>
            <a:lvl1pPr>
              <a:lnSpc>
                <a:spcPts val="2835"/>
              </a:lnSpc>
              <a:defRPr sz="2100" b="0" i="0" baseline="0">
                <a:solidFill>
                  <a:schemeClr val="tx2"/>
                </a:solidFill>
                <a:latin typeface="Calibri" pitchFamily="34" charset="0"/>
                <a:ea typeface="メイリオ" pitchFamily="50" charset="-128"/>
                <a:cs typeface="Calibri" pitchFamily="34" charset="0"/>
              </a:defRPr>
            </a:lvl1pPr>
          </a:lstStyle>
          <a:p>
            <a:r>
              <a:rPr lang="en-GB"/>
              <a:t>Click to enter Presentation Title</a:t>
            </a:r>
          </a:p>
        </p:txBody>
      </p:sp>
      <p:sp>
        <p:nvSpPr>
          <p:cNvPr id="13" name="Text Placeholder 8">
            <a:extLst>
              <a:ext uri="{FF2B5EF4-FFF2-40B4-BE49-F238E27FC236}">
                <a16:creationId xmlns="" xmlns:a16="http://schemas.microsoft.com/office/drawing/2014/main" id="{10C6B0C8-EB17-EC48-8410-BE88116D3ACD}"/>
              </a:ext>
            </a:extLst>
          </p:cNvPr>
          <p:cNvSpPr>
            <a:spLocks noGrp="1"/>
          </p:cNvSpPr>
          <p:nvPr>
            <p:ph type="body" sz="quarter" idx="13" hasCustomPrompt="1"/>
          </p:nvPr>
        </p:nvSpPr>
        <p:spPr>
          <a:xfrm>
            <a:off x="733425" y="3748420"/>
            <a:ext cx="6677100" cy="199800"/>
          </a:xfrm>
        </p:spPr>
        <p:txBody>
          <a:bodyPr>
            <a:noAutofit/>
          </a:bodyPr>
          <a:lstStyle>
            <a:lvl1pPr marL="0" indent="0">
              <a:buNone/>
              <a:defRPr sz="1200">
                <a:solidFill>
                  <a:schemeClr val="tx2"/>
                </a:solidFill>
              </a:defRPr>
            </a:lvl1pPr>
          </a:lstStyle>
          <a:p>
            <a:r>
              <a:rPr lang="en-US"/>
              <a:t>Date</a:t>
            </a:r>
          </a:p>
        </p:txBody>
      </p:sp>
      <p:sp>
        <p:nvSpPr>
          <p:cNvPr id="14" name="Text Placeholder 17">
            <a:extLst>
              <a:ext uri="{FF2B5EF4-FFF2-40B4-BE49-F238E27FC236}">
                <a16:creationId xmlns="" xmlns:a16="http://schemas.microsoft.com/office/drawing/2014/main" id="{F36B06DC-7895-8244-8724-6CDF07B1B8EC}"/>
              </a:ext>
            </a:extLst>
          </p:cNvPr>
          <p:cNvSpPr>
            <a:spLocks noGrp="1"/>
          </p:cNvSpPr>
          <p:nvPr>
            <p:ph type="body" sz="quarter" idx="11" hasCustomPrompt="1"/>
          </p:nvPr>
        </p:nvSpPr>
        <p:spPr>
          <a:xfrm>
            <a:off x="733425" y="4192697"/>
            <a:ext cx="6677100" cy="199800"/>
          </a:xfrm>
        </p:spPr>
        <p:txBody>
          <a:bodyPr>
            <a:noAutofit/>
          </a:bodyPr>
          <a:lstStyle>
            <a:lvl1pPr marL="0" indent="0">
              <a:buNone/>
              <a:defRPr sz="1200">
                <a:solidFill>
                  <a:schemeClr val="tx2"/>
                </a:solidFill>
              </a:defRPr>
            </a:lvl1pPr>
          </a:lstStyle>
          <a:p>
            <a:r>
              <a:rPr lang="en-US"/>
              <a:t>Department</a:t>
            </a:r>
          </a:p>
        </p:txBody>
      </p:sp>
      <p:sp>
        <p:nvSpPr>
          <p:cNvPr id="15" name="Text Placeholder 19">
            <a:extLst>
              <a:ext uri="{FF2B5EF4-FFF2-40B4-BE49-F238E27FC236}">
                <a16:creationId xmlns="" xmlns:a16="http://schemas.microsoft.com/office/drawing/2014/main" id="{6BDF6E0C-07EA-D14B-9328-D8C625F573A5}"/>
              </a:ext>
            </a:extLst>
          </p:cNvPr>
          <p:cNvSpPr>
            <a:spLocks noGrp="1"/>
          </p:cNvSpPr>
          <p:nvPr>
            <p:ph type="body" sz="quarter" idx="14" hasCustomPrompt="1"/>
          </p:nvPr>
        </p:nvSpPr>
        <p:spPr>
          <a:xfrm>
            <a:off x="733425" y="3970559"/>
            <a:ext cx="6677100" cy="199800"/>
          </a:xfrm>
        </p:spPr>
        <p:txBody>
          <a:bodyPr>
            <a:noAutofit/>
          </a:bodyPr>
          <a:lstStyle>
            <a:lvl1pPr marL="0" indent="0">
              <a:buNone/>
              <a:defRPr sz="1200">
                <a:solidFill>
                  <a:schemeClr val="tx2"/>
                </a:solidFill>
              </a:defRPr>
            </a:lvl1pPr>
          </a:lstStyle>
          <a:p>
            <a:r>
              <a:rPr lang="en-US"/>
              <a:t>Name, Job Title</a:t>
            </a:r>
          </a:p>
        </p:txBody>
      </p:sp>
      <p:sp>
        <p:nvSpPr>
          <p:cNvPr id="20" name="Picture Placeholder 3">
            <a:extLst>
              <a:ext uri="{FF2B5EF4-FFF2-40B4-BE49-F238E27FC236}">
                <a16:creationId xmlns="" xmlns:a16="http://schemas.microsoft.com/office/drawing/2014/main" id="{902F3095-EA6E-F94A-AF04-18ED691DEB75}"/>
              </a:ext>
            </a:extLst>
          </p:cNvPr>
          <p:cNvSpPr>
            <a:spLocks noGrp="1"/>
          </p:cNvSpPr>
          <p:nvPr>
            <p:ph type="pic" sz="quarter" idx="17"/>
          </p:nvPr>
        </p:nvSpPr>
        <p:spPr>
          <a:xfrm>
            <a:off x="0" y="0"/>
            <a:ext cx="9144000" cy="2571750"/>
          </a:xfrm>
        </p:spPr>
        <p:txBody>
          <a:bodyPr/>
          <a:lstStyle/>
          <a:p>
            <a:endParaRPr lang="en-US"/>
          </a:p>
        </p:txBody>
      </p:sp>
      <p:pic>
        <p:nvPicPr>
          <p:cNvPr id="11" name="Picture 12" descr="Takeda_Logo_Pos_RGB.emf">
            <a:extLst>
              <a:ext uri="{FF2B5EF4-FFF2-40B4-BE49-F238E27FC236}">
                <a16:creationId xmlns="" xmlns:a16="http://schemas.microsoft.com/office/drawing/2014/main" id="{D003522B-CA1C-7940-9AC3-1D158FB0AF1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7533829" y="3105001"/>
            <a:ext cx="876500" cy="294776"/>
          </a:xfrm>
          <a:prstGeom prst="rect">
            <a:avLst/>
          </a:prstGeom>
          <a:noFill/>
          <a:ln w="9525">
            <a:noFill/>
            <a:miter lim="800000"/>
            <a:headEnd/>
            <a:tailEnd/>
          </a:ln>
        </p:spPr>
      </p:pic>
      <p:pic>
        <p:nvPicPr>
          <p:cNvPr id="12" name="Picture 11">
            <a:extLst>
              <a:ext uri="{FF2B5EF4-FFF2-40B4-BE49-F238E27FC236}">
                <a16:creationId xmlns="" xmlns:a16="http://schemas.microsoft.com/office/drawing/2014/main" id="{F0A45412-5330-3C4E-8BF0-9B1FA353B3C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462935" y="4104437"/>
            <a:ext cx="1134142" cy="678942"/>
          </a:xfrm>
          <a:prstGeom prst="rect">
            <a:avLst/>
          </a:prstGeom>
        </p:spPr>
      </p:pic>
      <p:sp>
        <p:nvSpPr>
          <p:cNvPr id="3" name="Text Placeholder 2">
            <a:extLst>
              <a:ext uri="{FF2B5EF4-FFF2-40B4-BE49-F238E27FC236}">
                <a16:creationId xmlns="" xmlns:a16="http://schemas.microsoft.com/office/drawing/2014/main" id="{D73E1AEB-2338-4C68-8D78-7C54C62807A2}"/>
              </a:ext>
            </a:extLst>
          </p:cNvPr>
          <p:cNvSpPr>
            <a:spLocks noGrp="1"/>
          </p:cNvSpPr>
          <p:nvPr>
            <p:ph type="body" sz="quarter" idx="19" hasCustomPrompt="1"/>
          </p:nvPr>
        </p:nvSpPr>
        <p:spPr>
          <a:xfrm>
            <a:off x="733425" y="4414837"/>
            <a:ext cx="6677100" cy="199800"/>
          </a:xfrm>
        </p:spPr>
        <p:txBody>
          <a:bodyPr>
            <a:noAutofit/>
          </a:bodyPr>
          <a:lstStyle>
            <a:lvl1pPr marL="0" indent="0">
              <a:buNone/>
              <a:defRPr sz="1200"/>
            </a:lvl1pPr>
            <a:lvl2pPr marL="342461" indent="0">
              <a:buNone/>
              <a:defRPr sz="1200"/>
            </a:lvl2pPr>
            <a:lvl3pPr marL="684967" indent="0">
              <a:buNone/>
              <a:defRPr sz="1200"/>
            </a:lvl3pPr>
            <a:lvl4pPr marL="1027451" indent="0">
              <a:buNone/>
              <a:defRPr sz="1200"/>
            </a:lvl4pPr>
            <a:lvl5pPr marL="1369934" indent="0">
              <a:buNone/>
              <a:defRPr sz="1200"/>
            </a:lvl5pPr>
          </a:lstStyle>
          <a:p>
            <a:pPr lvl="0"/>
            <a:r>
              <a:rPr lang="en-US"/>
              <a:t>Company Name</a:t>
            </a:r>
          </a:p>
        </p:txBody>
      </p:sp>
      <p:sp>
        <p:nvSpPr>
          <p:cNvPr id="4" name="Slide Number Placeholder 3">
            <a:extLst>
              <a:ext uri="{FF2B5EF4-FFF2-40B4-BE49-F238E27FC236}">
                <a16:creationId xmlns="" xmlns:a16="http://schemas.microsoft.com/office/drawing/2014/main" id="{1B79BE7A-A26E-4F2D-ACA2-A5CE14ADC39F}"/>
              </a:ext>
            </a:extLst>
          </p:cNvPr>
          <p:cNvSpPr>
            <a:spLocks noGrp="1"/>
          </p:cNvSpPr>
          <p:nvPr>
            <p:ph type="sldNum" sz="quarter" idx="21"/>
          </p:nvPr>
        </p:nvSpPr>
        <p:spPr/>
        <p:txBody>
          <a:bodyPr/>
          <a:lstStyle/>
          <a:p>
            <a:fld id="{E9B57936-92EF-4126-AE48-1D9D36D15E98}" type="slidenum">
              <a:rPr lang="ja-JP" altLang="en-US" smtClean="0">
                <a:solidFill>
                  <a:srgbClr val="A1A4AC"/>
                </a:solidFill>
              </a:rPr>
              <a:pPr/>
              <a:t>‹Nº›</a:t>
            </a:fld>
            <a:endParaRPr lang="ja-JP" altLang="en-US">
              <a:solidFill>
                <a:srgbClr val="A1A4AC"/>
              </a:solidFill>
            </a:endParaRPr>
          </a:p>
        </p:txBody>
      </p:sp>
      <p:sp>
        <p:nvSpPr>
          <p:cNvPr id="5" name="Footer Placeholder 4">
            <a:extLst>
              <a:ext uri="{FF2B5EF4-FFF2-40B4-BE49-F238E27FC236}">
                <a16:creationId xmlns="" xmlns:a16="http://schemas.microsoft.com/office/drawing/2014/main" id="{76CA4C1B-8891-44A3-B999-5E0855BC6AAC}"/>
              </a:ext>
            </a:extLst>
          </p:cNvPr>
          <p:cNvSpPr>
            <a:spLocks noGrp="1"/>
          </p:cNvSpPr>
          <p:nvPr>
            <p:ph type="ftr" sz="quarter" idx="22"/>
          </p:nvPr>
        </p:nvSpPr>
        <p:spPr/>
        <p:txBody>
          <a:bodyPr/>
          <a:lstStyle/>
          <a:p>
            <a:r>
              <a:rPr lang="en-GB" altLang="ja-JP">
                <a:solidFill>
                  <a:srgbClr val="000000">
                    <a:tint val="75000"/>
                  </a:srgbClr>
                </a:solidFill>
              </a:rPr>
              <a:t>Long-term efficacy and safety of Takeda’s dengue vaccine candidate (TAK-003) after 4.5 years of follow-up | TBC | Approval </a:t>
            </a:r>
            <a:r>
              <a:rPr lang="en-US" altLang="ja-JP">
                <a:solidFill>
                  <a:srgbClr val="000000">
                    <a:tint val="75000"/>
                  </a:srgbClr>
                </a:solidFill>
              </a:rPr>
              <a:t>date: March 2023</a:t>
            </a:r>
            <a:endParaRPr lang="ja-JP" altLang="en-US" sz="100">
              <a:solidFill>
                <a:srgbClr val="000000">
                  <a:tint val="75000"/>
                </a:srgbClr>
              </a:solidFill>
            </a:endParaRPr>
          </a:p>
        </p:txBody>
      </p:sp>
    </p:spTree>
    <p:extLst>
      <p:ext uri="{BB962C8B-B14F-4D97-AF65-F5344CB8AC3E}">
        <p14:creationId xmlns:p14="http://schemas.microsoft.com/office/powerpoint/2010/main" val="3287935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9" name="Rectangle 6">
            <a:extLst>
              <a:ext uri="{FF2B5EF4-FFF2-40B4-BE49-F238E27FC236}">
                <a16:creationId xmlns="" xmlns:a16="http://schemas.microsoft.com/office/drawing/2014/main" id="{18D4B9FA-39D5-DC46-AEE9-0F3C6ECD9555}"/>
              </a:ext>
            </a:extLst>
          </p:cNvPr>
          <p:cNvSpPr/>
          <p:nvPr userDrawn="1"/>
        </p:nvSpPr>
        <p:spPr>
          <a:xfrm>
            <a:off x="0" y="519522"/>
            <a:ext cx="107504" cy="40704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07" tIns="34289" rIns="68507" bIns="34289" anchor="ctr"/>
          <a:lstStyle/>
          <a:p>
            <a:pPr algn="ctr" defTabSz="684967"/>
            <a:endParaRPr lang="en-US" altLang="en-US" sz="1400">
              <a:solidFill>
                <a:srgbClr val="FFFFFF"/>
              </a:solidFill>
            </a:endParaRPr>
          </a:p>
        </p:txBody>
      </p:sp>
      <p:sp>
        <p:nvSpPr>
          <p:cNvPr id="21" name="Title 1">
            <a:extLst>
              <a:ext uri="{FF2B5EF4-FFF2-40B4-BE49-F238E27FC236}">
                <a16:creationId xmlns="" xmlns:a16="http://schemas.microsoft.com/office/drawing/2014/main" id="{BBB8651D-A822-B447-BA6F-5B2ACD54EA33}"/>
              </a:ext>
            </a:extLst>
          </p:cNvPr>
          <p:cNvSpPr>
            <a:spLocks noGrp="1"/>
          </p:cNvSpPr>
          <p:nvPr>
            <p:ph type="ctrTitle" hasCustomPrompt="1"/>
          </p:nvPr>
        </p:nvSpPr>
        <p:spPr>
          <a:xfrm>
            <a:off x="733671" y="1417374"/>
            <a:ext cx="5845440" cy="2308757"/>
          </a:xfrm>
        </p:spPr>
        <p:txBody>
          <a:bodyPr wrap="square" tIns="0" rIns="0" bIns="0" anchor="ctr" anchorCtr="0">
            <a:noAutofit/>
          </a:bodyPr>
          <a:lstStyle>
            <a:lvl1pPr>
              <a:lnSpc>
                <a:spcPts val="2835"/>
              </a:lnSpc>
              <a:defRPr sz="2100" b="0" i="0" baseline="0">
                <a:solidFill>
                  <a:schemeClr val="tx2"/>
                </a:solidFill>
                <a:latin typeface="Calibri" pitchFamily="34" charset="0"/>
                <a:ea typeface="メイリオ" pitchFamily="50" charset="-128"/>
                <a:cs typeface="Calibri" pitchFamily="34" charset="0"/>
              </a:defRPr>
            </a:lvl1pPr>
          </a:lstStyle>
          <a:p>
            <a:r>
              <a:rPr lang="en-US" altLang="ja-JP"/>
              <a:t>Click to enter Presentation Title</a:t>
            </a:r>
            <a:endParaRPr lang="en-GB"/>
          </a:p>
        </p:txBody>
      </p:sp>
      <p:pic>
        <p:nvPicPr>
          <p:cNvPr id="22" name="Picture 12" descr="Takeda_Logo_Pos_RGB.emf">
            <a:extLst>
              <a:ext uri="{FF2B5EF4-FFF2-40B4-BE49-F238E27FC236}">
                <a16:creationId xmlns="" xmlns:a16="http://schemas.microsoft.com/office/drawing/2014/main" id="{C149A174-44EE-8840-8DF2-A61115CADF3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733672" y="519522"/>
            <a:ext cx="876500" cy="294776"/>
          </a:xfrm>
          <a:prstGeom prst="rect">
            <a:avLst/>
          </a:prstGeom>
          <a:noFill/>
          <a:ln w="9525">
            <a:noFill/>
            <a:miter lim="800000"/>
            <a:headEnd/>
            <a:tailEnd/>
          </a:ln>
        </p:spPr>
      </p:pic>
      <p:sp>
        <p:nvSpPr>
          <p:cNvPr id="13" name="Text Placeholder 8">
            <a:extLst>
              <a:ext uri="{FF2B5EF4-FFF2-40B4-BE49-F238E27FC236}">
                <a16:creationId xmlns="" xmlns:a16="http://schemas.microsoft.com/office/drawing/2014/main" id="{B2B05F68-B197-814D-B205-23942323983F}"/>
              </a:ext>
            </a:extLst>
          </p:cNvPr>
          <p:cNvSpPr>
            <a:spLocks noGrp="1"/>
          </p:cNvSpPr>
          <p:nvPr>
            <p:ph type="body" sz="quarter" idx="13" hasCustomPrompt="1"/>
          </p:nvPr>
        </p:nvSpPr>
        <p:spPr>
          <a:xfrm>
            <a:off x="733425" y="3748420"/>
            <a:ext cx="5856300" cy="199800"/>
          </a:xfrm>
        </p:spPr>
        <p:txBody>
          <a:bodyPr>
            <a:noAutofit/>
          </a:bodyPr>
          <a:lstStyle>
            <a:lvl1pPr marL="0" indent="0">
              <a:buNone/>
              <a:defRPr sz="1200">
                <a:solidFill>
                  <a:schemeClr val="tx2"/>
                </a:solidFill>
              </a:defRPr>
            </a:lvl1pPr>
          </a:lstStyle>
          <a:p>
            <a:r>
              <a:rPr lang="en-US"/>
              <a:t>Date</a:t>
            </a:r>
          </a:p>
        </p:txBody>
      </p:sp>
      <p:sp>
        <p:nvSpPr>
          <p:cNvPr id="14" name="Text Placeholder 17">
            <a:extLst>
              <a:ext uri="{FF2B5EF4-FFF2-40B4-BE49-F238E27FC236}">
                <a16:creationId xmlns="" xmlns:a16="http://schemas.microsoft.com/office/drawing/2014/main" id="{35BA5041-95B8-DA43-9B0D-A51F8EB9AE8C}"/>
              </a:ext>
            </a:extLst>
          </p:cNvPr>
          <p:cNvSpPr>
            <a:spLocks noGrp="1"/>
          </p:cNvSpPr>
          <p:nvPr>
            <p:ph type="body" sz="quarter" idx="11" hasCustomPrompt="1"/>
          </p:nvPr>
        </p:nvSpPr>
        <p:spPr>
          <a:xfrm>
            <a:off x="733547" y="4192697"/>
            <a:ext cx="5855724" cy="199800"/>
          </a:xfrm>
        </p:spPr>
        <p:txBody>
          <a:bodyPr>
            <a:noAutofit/>
          </a:bodyPr>
          <a:lstStyle>
            <a:lvl1pPr marL="0" indent="0">
              <a:buNone/>
              <a:defRPr sz="1200">
                <a:solidFill>
                  <a:schemeClr val="tx2"/>
                </a:solidFill>
              </a:defRPr>
            </a:lvl1pPr>
          </a:lstStyle>
          <a:p>
            <a:r>
              <a:rPr lang="en-US"/>
              <a:t>Department</a:t>
            </a:r>
          </a:p>
        </p:txBody>
      </p:sp>
      <p:sp>
        <p:nvSpPr>
          <p:cNvPr id="16" name="Text Placeholder 19">
            <a:extLst>
              <a:ext uri="{FF2B5EF4-FFF2-40B4-BE49-F238E27FC236}">
                <a16:creationId xmlns="" xmlns:a16="http://schemas.microsoft.com/office/drawing/2014/main" id="{8170F29E-72F0-9043-B0D6-F30E440CFB8B}"/>
              </a:ext>
            </a:extLst>
          </p:cNvPr>
          <p:cNvSpPr>
            <a:spLocks noGrp="1"/>
          </p:cNvSpPr>
          <p:nvPr>
            <p:ph type="body" sz="quarter" idx="14" hasCustomPrompt="1"/>
          </p:nvPr>
        </p:nvSpPr>
        <p:spPr>
          <a:xfrm>
            <a:off x="733547" y="3970559"/>
            <a:ext cx="5855724" cy="199800"/>
          </a:xfrm>
        </p:spPr>
        <p:txBody>
          <a:bodyPr>
            <a:noAutofit/>
          </a:bodyPr>
          <a:lstStyle>
            <a:lvl1pPr marL="0" indent="0">
              <a:buNone/>
              <a:defRPr sz="1200">
                <a:solidFill>
                  <a:schemeClr val="tx2"/>
                </a:solidFill>
              </a:defRPr>
            </a:lvl1pPr>
          </a:lstStyle>
          <a:p>
            <a:r>
              <a:rPr lang="en-US"/>
              <a:t>Name, Job Title</a:t>
            </a:r>
          </a:p>
        </p:txBody>
      </p:sp>
      <p:pic>
        <p:nvPicPr>
          <p:cNvPr id="11" name="Picture 10">
            <a:extLst>
              <a:ext uri="{FF2B5EF4-FFF2-40B4-BE49-F238E27FC236}">
                <a16:creationId xmlns="" xmlns:a16="http://schemas.microsoft.com/office/drawing/2014/main" id="{E68C4E39-7A2C-C54A-89E6-D83490115C66}"/>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604706" y="340156"/>
            <a:ext cx="1134142" cy="678942"/>
          </a:xfrm>
          <a:prstGeom prst="rect">
            <a:avLst/>
          </a:prstGeom>
        </p:spPr>
      </p:pic>
      <p:sp>
        <p:nvSpPr>
          <p:cNvPr id="3" name="Text Placeholder 2">
            <a:extLst>
              <a:ext uri="{FF2B5EF4-FFF2-40B4-BE49-F238E27FC236}">
                <a16:creationId xmlns="" xmlns:a16="http://schemas.microsoft.com/office/drawing/2014/main" id="{D09022C1-C69C-4071-9785-A9344EEC9E86}"/>
              </a:ext>
            </a:extLst>
          </p:cNvPr>
          <p:cNvSpPr>
            <a:spLocks noGrp="1"/>
          </p:cNvSpPr>
          <p:nvPr>
            <p:ph type="body" sz="quarter" idx="19" hasCustomPrompt="1"/>
          </p:nvPr>
        </p:nvSpPr>
        <p:spPr>
          <a:xfrm>
            <a:off x="733425" y="4414837"/>
            <a:ext cx="5856300" cy="199800"/>
          </a:xfrm>
        </p:spPr>
        <p:txBody>
          <a:bodyPr>
            <a:noAutofit/>
          </a:bodyPr>
          <a:lstStyle>
            <a:lvl1pPr marL="0" indent="0">
              <a:buNone/>
              <a:defRPr sz="1200"/>
            </a:lvl1pPr>
            <a:lvl2pPr marL="342461" indent="0">
              <a:buNone/>
              <a:defRPr sz="1200"/>
            </a:lvl2pPr>
            <a:lvl3pPr marL="684967" indent="0">
              <a:buNone/>
              <a:defRPr sz="1200"/>
            </a:lvl3pPr>
            <a:lvl4pPr marL="1027451" indent="0">
              <a:buNone/>
              <a:defRPr sz="1200"/>
            </a:lvl4pPr>
            <a:lvl5pPr marL="1369934" indent="0">
              <a:buNone/>
              <a:defRPr sz="1200"/>
            </a:lvl5pPr>
          </a:lstStyle>
          <a:p>
            <a:pPr lvl="0"/>
            <a:r>
              <a:rPr lang="en-US"/>
              <a:t>Company Name</a:t>
            </a:r>
          </a:p>
        </p:txBody>
      </p:sp>
      <p:sp>
        <p:nvSpPr>
          <p:cNvPr id="4" name="Slide Number Placeholder 3">
            <a:extLst>
              <a:ext uri="{FF2B5EF4-FFF2-40B4-BE49-F238E27FC236}">
                <a16:creationId xmlns="" xmlns:a16="http://schemas.microsoft.com/office/drawing/2014/main" id="{B18B2ED7-FF41-4B61-BF13-6DE2674A496D}"/>
              </a:ext>
            </a:extLst>
          </p:cNvPr>
          <p:cNvSpPr>
            <a:spLocks noGrp="1"/>
          </p:cNvSpPr>
          <p:nvPr>
            <p:ph type="sldNum" sz="quarter" idx="21"/>
          </p:nvPr>
        </p:nvSpPr>
        <p:spPr/>
        <p:txBody>
          <a:bodyPr/>
          <a:lstStyle/>
          <a:p>
            <a:fld id="{E9B57936-92EF-4126-AE48-1D9D36D15E98}" type="slidenum">
              <a:rPr lang="ja-JP" altLang="en-US" smtClean="0">
                <a:solidFill>
                  <a:srgbClr val="A1A4AC"/>
                </a:solidFill>
              </a:rPr>
              <a:pPr/>
              <a:t>‹Nº›</a:t>
            </a:fld>
            <a:endParaRPr lang="ja-JP" altLang="en-US">
              <a:solidFill>
                <a:srgbClr val="A1A4AC"/>
              </a:solidFill>
            </a:endParaRPr>
          </a:p>
        </p:txBody>
      </p:sp>
      <p:sp>
        <p:nvSpPr>
          <p:cNvPr id="5" name="Footer Placeholder 4">
            <a:extLst>
              <a:ext uri="{FF2B5EF4-FFF2-40B4-BE49-F238E27FC236}">
                <a16:creationId xmlns="" xmlns:a16="http://schemas.microsoft.com/office/drawing/2014/main" id="{0B01F254-9374-4736-B0D3-552D9489DF29}"/>
              </a:ext>
            </a:extLst>
          </p:cNvPr>
          <p:cNvSpPr>
            <a:spLocks noGrp="1"/>
          </p:cNvSpPr>
          <p:nvPr>
            <p:ph type="ftr" sz="quarter" idx="22"/>
          </p:nvPr>
        </p:nvSpPr>
        <p:spPr/>
        <p:txBody>
          <a:bodyPr/>
          <a:lstStyle/>
          <a:p>
            <a:r>
              <a:rPr lang="en-GB" altLang="ja-JP">
                <a:solidFill>
                  <a:srgbClr val="000000">
                    <a:tint val="75000"/>
                  </a:srgbClr>
                </a:solidFill>
              </a:rPr>
              <a:t>Long-term efficacy and safety of Takeda’s dengue vaccine candidate (TAK-003) after 4.5 years of follow-up | TBC | Approval </a:t>
            </a:r>
            <a:r>
              <a:rPr lang="en-US" altLang="ja-JP">
                <a:solidFill>
                  <a:srgbClr val="000000">
                    <a:tint val="75000"/>
                  </a:srgbClr>
                </a:solidFill>
              </a:rPr>
              <a:t>date: March 2023</a:t>
            </a:r>
            <a:endParaRPr lang="ja-JP" altLang="en-US" sz="100">
              <a:solidFill>
                <a:srgbClr val="000000">
                  <a:tint val="75000"/>
                </a:srgbClr>
              </a:solidFill>
            </a:endParaRPr>
          </a:p>
        </p:txBody>
      </p:sp>
    </p:spTree>
    <p:extLst>
      <p:ext uri="{BB962C8B-B14F-4D97-AF65-F5344CB8AC3E}">
        <p14:creationId xmlns:p14="http://schemas.microsoft.com/office/powerpoint/2010/main" val="43651506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4.xml"/><Relationship Id="rId26" Type="http://schemas.openxmlformats.org/officeDocument/2006/relationships/tags" Target="../tags/tag12.xml"/><Relationship Id="rId39" Type="http://schemas.openxmlformats.org/officeDocument/2006/relationships/tags" Target="../tags/tag25.xml"/><Relationship Id="rId21" Type="http://schemas.openxmlformats.org/officeDocument/2006/relationships/tags" Target="../tags/tag7.xml"/><Relationship Id="rId34" Type="http://schemas.openxmlformats.org/officeDocument/2006/relationships/tags" Target="../tags/tag20.xml"/><Relationship Id="rId42" Type="http://schemas.openxmlformats.org/officeDocument/2006/relationships/tags" Target="../tags/tag28.xml"/><Relationship Id="rId47" Type="http://schemas.openxmlformats.org/officeDocument/2006/relationships/tags" Target="../tags/tag3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tags" Target="../tags/tag2.xml"/><Relationship Id="rId29" Type="http://schemas.openxmlformats.org/officeDocument/2006/relationships/tags" Target="../tags/tag15.xml"/><Relationship Id="rId11" Type="http://schemas.openxmlformats.org/officeDocument/2006/relationships/slideLayout" Target="../slideLayouts/slideLayout11.xml"/><Relationship Id="rId24" Type="http://schemas.openxmlformats.org/officeDocument/2006/relationships/tags" Target="../tags/tag10.xml"/><Relationship Id="rId32" Type="http://schemas.openxmlformats.org/officeDocument/2006/relationships/tags" Target="../tags/tag18.xml"/><Relationship Id="rId37" Type="http://schemas.openxmlformats.org/officeDocument/2006/relationships/tags" Target="../tags/tag23.xml"/><Relationship Id="rId40" Type="http://schemas.openxmlformats.org/officeDocument/2006/relationships/tags" Target="../tags/tag26.xml"/><Relationship Id="rId45" Type="http://schemas.openxmlformats.org/officeDocument/2006/relationships/tags" Target="../tags/tag31.xml"/><Relationship Id="rId5" Type="http://schemas.openxmlformats.org/officeDocument/2006/relationships/slideLayout" Target="../slideLayouts/slideLayout5.xml"/><Relationship Id="rId15" Type="http://schemas.openxmlformats.org/officeDocument/2006/relationships/vmlDrawing" Target="../drawings/vmlDrawing1.vml"/><Relationship Id="rId23" Type="http://schemas.openxmlformats.org/officeDocument/2006/relationships/tags" Target="../tags/tag9.xml"/><Relationship Id="rId28" Type="http://schemas.openxmlformats.org/officeDocument/2006/relationships/tags" Target="../tags/tag14.xml"/><Relationship Id="rId36" Type="http://schemas.openxmlformats.org/officeDocument/2006/relationships/tags" Target="../tags/tag22.xml"/><Relationship Id="rId49"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ags" Target="../tags/tag5.xml"/><Relationship Id="rId31" Type="http://schemas.openxmlformats.org/officeDocument/2006/relationships/tags" Target="../tags/tag17.xml"/><Relationship Id="rId44" Type="http://schemas.openxmlformats.org/officeDocument/2006/relationships/tags" Target="../tags/tag3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 Id="rId22" Type="http://schemas.openxmlformats.org/officeDocument/2006/relationships/tags" Target="../tags/tag8.xml"/><Relationship Id="rId27" Type="http://schemas.openxmlformats.org/officeDocument/2006/relationships/tags" Target="../tags/tag13.xml"/><Relationship Id="rId30" Type="http://schemas.openxmlformats.org/officeDocument/2006/relationships/tags" Target="../tags/tag16.xml"/><Relationship Id="rId35" Type="http://schemas.openxmlformats.org/officeDocument/2006/relationships/tags" Target="../tags/tag21.xml"/><Relationship Id="rId43" Type="http://schemas.openxmlformats.org/officeDocument/2006/relationships/tags" Target="../tags/tag29.xml"/><Relationship Id="rId48"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tags" Target="../tags/tag3.xml"/><Relationship Id="rId25" Type="http://schemas.openxmlformats.org/officeDocument/2006/relationships/tags" Target="../tags/tag11.xml"/><Relationship Id="rId33" Type="http://schemas.openxmlformats.org/officeDocument/2006/relationships/tags" Target="../tags/tag19.xml"/><Relationship Id="rId38" Type="http://schemas.openxmlformats.org/officeDocument/2006/relationships/tags" Target="../tags/tag24.xml"/><Relationship Id="rId46" Type="http://schemas.openxmlformats.org/officeDocument/2006/relationships/tags" Target="../tags/tag32.xml"/><Relationship Id="rId20" Type="http://schemas.openxmlformats.org/officeDocument/2006/relationships/tags" Target="../tags/tag6.xml"/><Relationship Id="rId41" Type="http://schemas.openxmlformats.org/officeDocument/2006/relationships/tags" Target="../tags/tag27.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149.xml"/><Relationship Id="rId18" Type="http://schemas.openxmlformats.org/officeDocument/2006/relationships/slideLayout" Target="../slideLayouts/slideLayout154.xml"/><Relationship Id="rId26" Type="http://schemas.openxmlformats.org/officeDocument/2006/relationships/slideLayout" Target="../slideLayouts/slideLayout162.xml"/><Relationship Id="rId3" Type="http://schemas.openxmlformats.org/officeDocument/2006/relationships/slideLayout" Target="../slideLayouts/slideLayout139.xml"/><Relationship Id="rId21" Type="http://schemas.openxmlformats.org/officeDocument/2006/relationships/slideLayout" Target="../slideLayouts/slideLayout157.xml"/><Relationship Id="rId34" Type="http://schemas.openxmlformats.org/officeDocument/2006/relationships/image" Target="../media/image21.emf"/><Relationship Id="rId7" Type="http://schemas.openxmlformats.org/officeDocument/2006/relationships/slideLayout" Target="../slideLayouts/slideLayout143.xml"/><Relationship Id="rId12" Type="http://schemas.openxmlformats.org/officeDocument/2006/relationships/slideLayout" Target="../slideLayouts/slideLayout148.xml"/><Relationship Id="rId17" Type="http://schemas.openxmlformats.org/officeDocument/2006/relationships/slideLayout" Target="../slideLayouts/slideLayout153.xml"/><Relationship Id="rId25" Type="http://schemas.openxmlformats.org/officeDocument/2006/relationships/slideLayout" Target="../slideLayouts/slideLayout161.xml"/><Relationship Id="rId33" Type="http://schemas.openxmlformats.org/officeDocument/2006/relationships/oleObject" Target="../embeddings/oleObject16.bin"/><Relationship Id="rId2" Type="http://schemas.openxmlformats.org/officeDocument/2006/relationships/slideLayout" Target="../slideLayouts/slideLayout138.xml"/><Relationship Id="rId16" Type="http://schemas.openxmlformats.org/officeDocument/2006/relationships/slideLayout" Target="../slideLayouts/slideLayout152.xml"/><Relationship Id="rId20" Type="http://schemas.openxmlformats.org/officeDocument/2006/relationships/slideLayout" Target="../slideLayouts/slideLayout156.xml"/><Relationship Id="rId29" Type="http://schemas.openxmlformats.org/officeDocument/2006/relationships/theme" Target="../theme/theme10.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slideLayout" Target="../slideLayouts/slideLayout147.xml"/><Relationship Id="rId24" Type="http://schemas.openxmlformats.org/officeDocument/2006/relationships/slideLayout" Target="../slideLayouts/slideLayout160.xml"/><Relationship Id="rId32" Type="http://schemas.openxmlformats.org/officeDocument/2006/relationships/tags" Target="../tags/tag82.xml"/><Relationship Id="rId5" Type="http://schemas.openxmlformats.org/officeDocument/2006/relationships/slideLayout" Target="../slideLayouts/slideLayout141.xml"/><Relationship Id="rId15" Type="http://schemas.openxmlformats.org/officeDocument/2006/relationships/slideLayout" Target="../slideLayouts/slideLayout151.xml"/><Relationship Id="rId23" Type="http://schemas.openxmlformats.org/officeDocument/2006/relationships/slideLayout" Target="../slideLayouts/slideLayout159.xml"/><Relationship Id="rId28" Type="http://schemas.openxmlformats.org/officeDocument/2006/relationships/slideLayout" Target="../slideLayouts/slideLayout164.xml"/><Relationship Id="rId10" Type="http://schemas.openxmlformats.org/officeDocument/2006/relationships/slideLayout" Target="../slideLayouts/slideLayout146.xml"/><Relationship Id="rId19" Type="http://schemas.openxmlformats.org/officeDocument/2006/relationships/slideLayout" Target="../slideLayouts/slideLayout155.xml"/><Relationship Id="rId31" Type="http://schemas.openxmlformats.org/officeDocument/2006/relationships/tags" Target="../tags/tag81.xml"/><Relationship Id="rId4" Type="http://schemas.openxmlformats.org/officeDocument/2006/relationships/slideLayout" Target="../slideLayouts/slideLayout140.xml"/><Relationship Id="rId9" Type="http://schemas.openxmlformats.org/officeDocument/2006/relationships/slideLayout" Target="../slideLayouts/slideLayout145.xml"/><Relationship Id="rId14" Type="http://schemas.openxmlformats.org/officeDocument/2006/relationships/slideLayout" Target="../slideLayouts/slideLayout150.xml"/><Relationship Id="rId22" Type="http://schemas.openxmlformats.org/officeDocument/2006/relationships/slideLayout" Target="../slideLayouts/slideLayout158.xml"/><Relationship Id="rId27" Type="http://schemas.openxmlformats.org/officeDocument/2006/relationships/slideLayout" Target="../slideLayouts/slideLayout163.xml"/><Relationship Id="rId30" Type="http://schemas.openxmlformats.org/officeDocument/2006/relationships/vmlDrawing" Target="../drawings/vmlDrawing16.vml"/><Relationship Id="rId8" Type="http://schemas.openxmlformats.org/officeDocument/2006/relationships/slideLayout" Target="../slideLayouts/slideLayout144.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72.xml"/><Relationship Id="rId3" Type="http://schemas.openxmlformats.org/officeDocument/2006/relationships/slideLayout" Target="../slideLayouts/slideLayout167.xml"/><Relationship Id="rId7" Type="http://schemas.openxmlformats.org/officeDocument/2006/relationships/slideLayout" Target="../slideLayouts/slideLayout171.xml"/><Relationship Id="rId12" Type="http://schemas.openxmlformats.org/officeDocument/2006/relationships/theme" Target="../theme/theme11.xml"/><Relationship Id="rId2" Type="http://schemas.openxmlformats.org/officeDocument/2006/relationships/slideLayout" Target="../slideLayouts/slideLayout166.xml"/><Relationship Id="rId1" Type="http://schemas.openxmlformats.org/officeDocument/2006/relationships/slideLayout" Target="../slideLayouts/slideLayout165.xml"/><Relationship Id="rId6" Type="http://schemas.openxmlformats.org/officeDocument/2006/relationships/slideLayout" Target="../slideLayouts/slideLayout170.xml"/><Relationship Id="rId11" Type="http://schemas.openxmlformats.org/officeDocument/2006/relationships/slideLayout" Target="../slideLayouts/slideLayout175.xml"/><Relationship Id="rId5" Type="http://schemas.openxmlformats.org/officeDocument/2006/relationships/slideLayout" Target="../slideLayouts/slideLayout169.xml"/><Relationship Id="rId10" Type="http://schemas.openxmlformats.org/officeDocument/2006/relationships/slideLayout" Target="../slideLayouts/slideLayout174.xml"/><Relationship Id="rId4" Type="http://schemas.openxmlformats.org/officeDocument/2006/relationships/slideLayout" Target="../slideLayouts/slideLayout168.xml"/><Relationship Id="rId9" Type="http://schemas.openxmlformats.org/officeDocument/2006/relationships/slideLayout" Target="../slideLayouts/slideLayout173.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theme" Target="../theme/theme12.xml"/><Relationship Id="rId3" Type="http://schemas.openxmlformats.org/officeDocument/2006/relationships/slideLayout" Target="../slideLayouts/slideLayout178.xml"/><Relationship Id="rId7" Type="http://schemas.openxmlformats.org/officeDocument/2006/relationships/slideLayout" Target="../slideLayouts/slideLayout182.xml"/><Relationship Id="rId12" Type="http://schemas.openxmlformats.org/officeDocument/2006/relationships/slideLayout" Target="../slideLayouts/slideLayout187.xml"/><Relationship Id="rId2" Type="http://schemas.openxmlformats.org/officeDocument/2006/relationships/slideLayout" Target="../slideLayouts/slideLayout177.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5" Type="http://schemas.openxmlformats.org/officeDocument/2006/relationships/slideLayout" Target="../slideLayouts/slideLayout180.xml"/><Relationship Id="rId10" Type="http://schemas.openxmlformats.org/officeDocument/2006/relationships/slideLayout" Target="../slideLayouts/slideLayout185.xml"/><Relationship Id="rId4" Type="http://schemas.openxmlformats.org/officeDocument/2006/relationships/slideLayout" Target="../slideLayouts/slideLayout179.xml"/><Relationship Id="rId9" Type="http://schemas.openxmlformats.org/officeDocument/2006/relationships/slideLayout" Target="../slideLayouts/slideLayout184.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95.xml"/><Relationship Id="rId13" Type="http://schemas.openxmlformats.org/officeDocument/2006/relationships/theme" Target="../theme/theme13.xml"/><Relationship Id="rId3" Type="http://schemas.openxmlformats.org/officeDocument/2006/relationships/slideLayout" Target="../slideLayouts/slideLayout190.xml"/><Relationship Id="rId7" Type="http://schemas.openxmlformats.org/officeDocument/2006/relationships/slideLayout" Target="../slideLayouts/slideLayout194.xml"/><Relationship Id="rId12" Type="http://schemas.openxmlformats.org/officeDocument/2006/relationships/slideLayout" Target="../slideLayouts/slideLayout199.xml"/><Relationship Id="rId2" Type="http://schemas.openxmlformats.org/officeDocument/2006/relationships/slideLayout" Target="../slideLayouts/slideLayout189.xml"/><Relationship Id="rId1" Type="http://schemas.openxmlformats.org/officeDocument/2006/relationships/slideLayout" Target="../slideLayouts/slideLayout188.xml"/><Relationship Id="rId6" Type="http://schemas.openxmlformats.org/officeDocument/2006/relationships/slideLayout" Target="../slideLayouts/slideLayout193.xml"/><Relationship Id="rId11" Type="http://schemas.openxmlformats.org/officeDocument/2006/relationships/slideLayout" Target="../slideLayouts/slideLayout198.xml"/><Relationship Id="rId5" Type="http://schemas.openxmlformats.org/officeDocument/2006/relationships/slideLayout" Target="../slideLayouts/slideLayout192.xml"/><Relationship Id="rId10" Type="http://schemas.openxmlformats.org/officeDocument/2006/relationships/slideLayout" Target="../slideLayouts/slideLayout197.xml"/><Relationship Id="rId4" Type="http://schemas.openxmlformats.org/officeDocument/2006/relationships/slideLayout" Target="../slideLayouts/slideLayout191.xml"/><Relationship Id="rId9" Type="http://schemas.openxmlformats.org/officeDocument/2006/relationships/slideLayout" Target="../slideLayouts/slideLayout196.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07.xml"/><Relationship Id="rId13" Type="http://schemas.openxmlformats.org/officeDocument/2006/relationships/image" Target="../media/image19.png"/><Relationship Id="rId3" Type="http://schemas.openxmlformats.org/officeDocument/2006/relationships/slideLayout" Target="../slideLayouts/slideLayout202.xml"/><Relationship Id="rId7" Type="http://schemas.openxmlformats.org/officeDocument/2006/relationships/slideLayout" Target="../slideLayouts/slideLayout206.xml"/><Relationship Id="rId12" Type="http://schemas.openxmlformats.org/officeDocument/2006/relationships/image" Target="../media/image18.emf"/><Relationship Id="rId2" Type="http://schemas.openxmlformats.org/officeDocument/2006/relationships/slideLayout" Target="../slideLayouts/slideLayout201.xml"/><Relationship Id="rId1" Type="http://schemas.openxmlformats.org/officeDocument/2006/relationships/slideLayout" Target="../slideLayouts/slideLayout200.xml"/><Relationship Id="rId6" Type="http://schemas.openxmlformats.org/officeDocument/2006/relationships/slideLayout" Target="../slideLayouts/slideLayout205.xml"/><Relationship Id="rId11" Type="http://schemas.openxmlformats.org/officeDocument/2006/relationships/theme" Target="../theme/theme14.xml"/><Relationship Id="rId5" Type="http://schemas.openxmlformats.org/officeDocument/2006/relationships/slideLayout" Target="../slideLayouts/slideLayout204.xml"/><Relationship Id="rId10" Type="http://schemas.openxmlformats.org/officeDocument/2006/relationships/slideLayout" Target="../slideLayouts/slideLayout209.xml"/><Relationship Id="rId4" Type="http://schemas.openxmlformats.org/officeDocument/2006/relationships/slideLayout" Target="../slideLayouts/slideLayout203.xml"/><Relationship Id="rId9" Type="http://schemas.openxmlformats.org/officeDocument/2006/relationships/slideLayout" Target="../slideLayouts/slideLayout208.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17.xml"/><Relationship Id="rId13" Type="http://schemas.openxmlformats.org/officeDocument/2006/relationships/slideLayout" Target="../slideLayouts/slideLayout222.xml"/><Relationship Id="rId18" Type="http://schemas.openxmlformats.org/officeDocument/2006/relationships/slideLayout" Target="../slideLayouts/slideLayout227.xml"/><Relationship Id="rId26" Type="http://schemas.openxmlformats.org/officeDocument/2006/relationships/oleObject" Target="../embeddings/oleObject17.bin"/><Relationship Id="rId3" Type="http://schemas.openxmlformats.org/officeDocument/2006/relationships/slideLayout" Target="../slideLayouts/slideLayout212.xml"/><Relationship Id="rId21" Type="http://schemas.openxmlformats.org/officeDocument/2006/relationships/slideLayout" Target="../slideLayouts/slideLayout230.xml"/><Relationship Id="rId7" Type="http://schemas.openxmlformats.org/officeDocument/2006/relationships/slideLayout" Target="../slideLayouts/slideLayout216.xml"/><Relationship Id="rId12" Type="http://schemas.openxmlformats.org/officeDocument/2006/relationships/slideLayout" Target="../slideLayouts/slideLayout221.xml"/><Relationship Id="rId17" Type="http://schemas.openxmlformats.org/officeDocument/2006/relationships/slideLayout" Target="../slideLayouts/slideLayout226.xml"/><Relationship Id="rId25" Type="http://schemas.openxmlformats.org/officeDocument/2006/relationships/tags" Target="../tags/tag84.xml"/><Relationship Id="rId2" Type="http://schemas.openxmlformats.org/officeDocument/2006/relationships/slideLayout" Target="../slideLayouts/slideLayout211.xml"/><Relationship Id="rId16" Type="http://schemas.openxmlformats.org/officeDocument/2006/relationships/slideLayout" Target="../slideLayouts/slideLayout225.xml"/><Relationship Id="rId20" Type="http://schemas.openxmlformats.org/officeDocument/2006/relationships/slideLayout" Target="../slideLayouts/slideLayout229.xml"/><Relationship Id="rId1" Type="http://schemas.openxmlformats.org/officeDocument/2006/relationships/slideLayout" Target="../slideLayouts/slideLayout210.xml"/><Relationship Id="rId6" Type="http://schemas.openxmlformats.org/officeDocument/2006/relationships/slideLayout" Target="../slideLayouts/slideLayout215.xml"/><Relationship Id="rId11" Type="http://schemas.openxmlformats.org/officeDocument/2006/relationships/slideLayout" Target="../slideLayouts/slideLayout220.xml"/><Relationship Id="rId24" Type="http://schemas.openxmlformats.org/officeDocument/2006/relationships/tags" Target="../tags/tag83.xml"/><Relationship Id="rId5" Type="http://schemas.openxmlformats.org/officeDocument/2006/relationships/slideLayout" Target="../slideLayouts/slideLayout214.xml"/><Relationship Id="rId15" Type="http://schemas.openxmlformats.org/officeDocument/2006/relationships/slideLayout" Target="../slideLayouts/slideLayout224.xml"/><Relationship Id="rId23" Type="http://schemas.openxmlformats.org/officeDocument/2006/relationships/vmlDrawing" Target="../drawings/vmlDrawing17.vml"/><Relationship Id="rId10" Type="http://schemas.openxmlformats.org/officeDocument/2006/relationships/slideLayout" Target="../slideLayouts/slideLayout219.xml"/><Relationship Id="rId19" Type="http://schemas.openxmlformats.org/officeDocument/2006/relationships/slideLayout" Target="../slideLayouts/slideLayout228.xml"/><Relationship Id="rId4" Type="http://schemas.openxmlformats.org/officeDocument/2006/relationships/slideLayout" Target="../slideLayouts/slideLayout213.xml"/><Relationship Id="rId9" Type="http://schemas.openxmlformats.org/officeDocument/2006/relationships/slideLayout" Target="../slideLayouts/slideLayout218.xml"/><Relationship Id="rId14" Type="http://schemas.openxmlformats.org/officeDocument/2006/relationships/slideLayout" Target="../slideLayouts/slideLayout223.xml"/><Relationship Id="rId22" Type="http://schemas.openxmlformats.org/officeDocument/2006/relationships/theme" Target="../theme/theme15.xml"/><Relationship Id="rId27" Type="http://schemas.openxmlformats.org/officeDocument/2006/relationships/image" Target="../media/image21.emf"/></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38.xml"/><Relationship Id="rId13" Type="http://schemas.openxmlformats.org/officeDocument/2006/relationships/slideLayout" Target="../slideLayouts/slideLayout243.xml"/><Relationship Id="rId18" Type="http://schemas.openxmlformats.org/officeDocument/2006/relationships/slideLayout" Target="../slideLayouts/slideLayout248.xml"/><Relationship Id="rId26" Type="http://schemas.openxmlformats.org/officeDocument/2006/relationships/tags" Target="../tags/tag86.xml"/><Relationship Id="rId3" Type="http://schemas.openxmlformats.org/officeDocument/2006/relationships/slideLayout" Target="../slideLayouts/slideLayout233.xml"/><Relationship Id="rId21" Type="http://schemas.openxmlformats.org/officeDocument/2006/relationships/slideLayout" Target="../slideLayouts/slideLayout251.xml"/><Relationship Id="rId7" Type="http://schemas.openxmlformats.org/officeDocument/2006/relationships/slideLayout" Target="../slideLayouts/slideLayout237.xml"/><Relationship Id="rId12" Type="http://schemas.openxmlformats.org/officeDocument/2006/relationships/slideLayout" Target="../slideLayouts/slideLayout242.xml"/><Relationship Id="rId17" Type="http://schemas.openxmlformats.org/officeDocument/2006/relationships/slideLayout" Target="../slideLayouts/slideLayout247.xml"/><Relationship Id="rId25" Type="http://schemas.openxmlformats.org/officeDocument/2006/relationships/tags" Target="../tags/tag85.xml"/><Relationship Id="rId2" Type="http://schemas.openxmlformats.org/officeDocument/2006/relationships/slideLayout" Target="../slideLayouts/slideLayout232.xml"/><Relationship Id="rId16" Type="http://schemas.openxmlformats.org/officeDocument/2006/relationships/slideLayout" Target="../slideLayouts/slideLayout246.xml"/><Relationship Id="rId20" Type="http://schemas.openxmlformats.org/officeDocument/2006/relationships/slideLayout" Target="../slideLayouts/slideLayout250.xml"/><Relationship Id="rId1" Type="http://schemas.openxmlformats.org/officeDocument/2006/relationships/slideLayout" Target="../slideLayouts/slideLayout231.xml"/><Relationship Id="rId6" Type="http://schemas.openxmlformats.org/officeDocument/2006/relationships/slideLayout" Target="../slideLayouts/slideLayout236.xml"/><Relationship Id="rId11" Type="http://schemas.openxmlformats.org/officeDocument/2006/relationships/slideLayout" Target="../slideLayouts/slideLayout241.xml"/><Relationship Id="rId24" Type="http://schemas.openxmlformats.org/officeDocument/2006/relationships/vmlDrawing" Target="../drawings/vmlDrawing18.vml"/><Relationship Id="rId5" Type="http://schemas.openxmlformats.org/officeDocument/2006/relationships/slideLayout" Target="../slideLayouts/slideLayout235.xml"/><Relationship Id="rId15" Type="http://schemas.openxmlformats.org/officeDocument/2006/relationships/slideLayout" Target="../slideLayouts/slideLayout245.xml"/><Relationship Id="rId23" Type="http://schemas.openxmlformats.org/officeDocument/2006/relationships/theme" Target="../theme/theme16.xml"/><Relationship Id="rId28" Type="http://schemas.openxmlformats.org/officeDocument/2006/relationships/image" Target="../media/image21.emf"/><Relationship Id="rId10" Type="http://schemas.openxmlformats.org/officeDocument/2006/relationships/slideLayout" Target="../slideLayouts/slideLayout240.xml"/><Relationship Id="rId19" Type="http://schemas.openxmlformats.org/officeDocument/2006/relationships/slideLayout" Target="../slideLayouts/slideLayout249.xml"/><Relationship Id="rId4" Type="http://schemas.openxmlformats.org/officeDocument/2006/relationships/slideLayout" Target="../slideLayouts/slideLayout234.xml"/><Relationship Id="rId9" Type="http://schemas.openxmlformats.org/officeDocument/2006/relationships/slideLayout" Target="../slideLayouts/slideLayout239.xml"/><Relationship Id="rId14" Type="http://schemas.openxmlformats.org/officeDocument/2006/relationships/slideLayout" Target="../slideLayouts/slideLayout244.xml"/><Relationship Id="rId22" Type="http://schemas.openxmlformats.org/officeDocument/2006/relationships/slideLayout" Target="../slideLayouts/slideLayout252.xml"/><Relationship Id="rId27" Type="http://schemas.openxmlformats.org/officeDocument/2006/relationships/oleObject" Target="../embeddings/oleObject18.bin"/></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60.xml"/><Relationship Id="rId13" Type="http://schemas.openxmlformats.org/officeDocument/2006/relationships/slideLayout" Target="../slideLayouts/slideLayout265.xml"/><Relationship Id="rId18" Type="http://schemas.openxmlformats.org/officeDocument/2006/relationships/slideLayout" Target="../slideLayouts/slideLayout270.xml"/><Relationship Id="rId26" Type="http://schemas.openxmlformats.org/officeDocument/2006/relationships/theme" Target="../theme/theme17.xml"/><Relationship Id="rId3" Type="http://schemas.openxmlformats.org/officeDocument/2006/relationships/slideLayout" Target="../slideLayouts/slideLayout255.xml"/><Relationship Id="rId21" Type="http://schemas.openxmlformats.org/officeDocument/2006/relationships/slideLayout" Target="../slideLayouts/slideLayout273.xml"/><Relationship Id="rId7" Type="http://schemas.openxmlformats.org/officeDocument/2006/relationships/slideLayout" Target="../slideLayouts/slideLayout259.xml"/><Relationship Id="rId12" Type="http://schemas.openxmlformats.org/officeDocument/2006/relationships/slideLayout" Target="../slideLayouts/slideLayout264.xml"/><Relationship Id="rId17" Type="http://schemas.openxmlformats.org/officeDocument/2006/relationships/slideLayout" Target="../slideLayouts/slideLayout269.xml"/><Relationship Id="rId25" Type="http://schemas.openxmlformats.org/officeDocument/2006/relationships/slideLayout" Target="../slideLayouts/slideLayout277.xml"/><Relationship Id="rId2" Type="http://schemas.openxmlformats.org/officeDocument/2006/relationships/slideLayout" Target="../slideLayouts/slideLayout254.xml"/><Relationship Id="rId16" Type="http://schemas.openxmlformats.org/officeDocument/2006/relationships/slideLayout" Target="../slideLayouts/slideLayout268.xml"/><Relationship Id="rId20" Type="http://schemas.openxmlformats.org/officeDocument/2006/relationships/slideLayout" Target="../slideLayouts/slideLayout272.xml"/><Relationship Id="rId29" Type="http://schemas.openxmlformats.org/officeDocument/2006/relationships/tags" Target="../tags/tag88.xml"/><Relationship Id="rId1" Type="http://schemas.openxmlformats.org/officeDocument/2006/relationships/slideLayout" Target="../slideLayouts/slideLayout253.xml"/><Relationship Id="rId6" Type="http://schemas.openxmlformats.org/officeDocument/2006/relationships/slideLayout" Target="../slideLayouts/slideLayout258.xml"/><Relationship Id="rId11" Type="http://schemas.openxmlformats.org/officeDocument/2006/relationships/slideLayout" Target="../slideLayouts/slideLayout263.xml"/><Relationship Id="rId24" Type="http://schemas.openxmlformats.org/officeDocument/2006/relationships/slideLayout" Target="../slideLayouts/slideLayout276.xml"/><Relationship Id="rId5" Type="http://schemas.openxmlformats.org/officeDocument/2006/relationships/slideLayout" Target="../slideLayouts/slideLayout257.xml"/><Relationship Id="rId15" Type="http://schemas.openxmlformats.org/officeDocument/2006/relationships/slideLayout" Target="../slideLayouts/slideLayout267.xml"/><Relationship Id="rId23" Type="http://schemas.openxmlformats.org/officeDocument/2006/relationships/slideLayout" Target="../slideLayouts/slideLayout275.xml"/><Relationship Id="rId28" Type="http://schemas.openxmlformats.org/officeDocument/2006/relationships/tags" Target="../tags/tag87.xml"/><Relationship Id="rId10" Type="http://schemas.openxmlformats.org/officeDocument/2006/relationships/slideLayout" Target="../slideLayouts/slideLayout262.xml"/><Relationship Id="rId19" Type="http://schemas.openxmlformats.org/officeDocument/2006/relationships/slideLayout" Target="../slideLayouts/slideLayout271.xml"/><Relationship Id="rId31" Type="http://schemas.openxmlformats.org/officeDocument/2006/relationships/image" Target="../media/image21.emf"/><Relationship Id="rId4" Type="http://schemas.openxmlformats.org/officeDocument/2006/relationships/slideLayout" Target="../slideLayouts/slideLayout256.xml"/><Relationship Id="rId9" Type="http://schemas.openxmlformats.org/officeDocument/2006/relationships/slideLayout" Target="../slideLayouts/slideLayout261.xml"/><Relationship Id="rId14" Type="http://schemas.openxmlformats.org/officeDocument/2006/relationships/slideLayout" Target="../slideLayouts/slideLayout266.xml"/><Relationship Id="rId22" Type="http://schemas.openxmlformats.org/officeDocument/2006/relationships/slideLayout" Target="../slideLayouts/slideLayout274.xml"/><Relationship Id="rId27" Type="http://schemas.openxmlformats.org/officeDocument/2006/relationships/vmlDrawing" Target="../drawings/vmlDrawing19.vml"/><Relationship Id="rId30" Type="http://schemas.openxmlformats.org/officeDocument/2006/relationships/oleObject" Target="../embeddings/oleObject19.bin"/></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85.xml"/><Relationship Id="rId13" Type="http://schemas.openxmlformats.org/officeDocument/2006/relationships/slideLayout" Target="../slideLayouts/slideLayout290.xml"/><Relationship Id="rId18" Type="http://schemas.openxmlformats.org/officeDocument/2006/relationships/slideLayout" Target="../slideLayouts/slideLayout295.xml"/><Relationship Id="rId3" Type="http://schemas.openxmlformats.org/officeDocument/2006/relationships/slideLayout" Target="../slideLayouts/slideLayout280.xml"/><Relationship Id="rId21" Type="http://schemas.openxmlformats.org/officeDocument/2006/relationships/theme" Target="../theme/theme18.xml"/><Relationship Id="rId7" Type="http://schemas.openxmlformats.org/officeDocument/2006/relationships/slideLayout" Target="../slideLayouts/slideLayout284.xml"/><Relationship Id="rId12" Type="http://schemas.openxmlformats.org/officeDocument/2006/relationships/slideLayout" Target="../slideLayouts/slideLayout289.xml"/><Relationship Id="rId17" Type="http://schemas.openxmlformats.org/officeDocument/2006/relationships/slideLayout" Target="../slideLayouts/slideLayout294.xml"/><Relationship Id="rId2" Type="http://schemas.openxmlformats.org/officeDocument/2006/relationships/slideLayout" Target="../slideLayouts/slideLayout279.xml"/><Relationship Id="rId16" Type="http://schemas.openxmlformats.org/officeDocument/2006/relationships/slideLayout" Target="../slideLayouts/slideLayout293.xml"/><Relationship Id="rId20" Type="http://schemas.openxmlformats.org/officeDocument/2006/relationships/slideLayout" Target="../slideLayouts/slideLayout297.xml"/><Relationship Id="rId1" Type="http://schemas.openxmlformats.org/officeDocument/2006/relationships/slideLayout" Target="../slideLayouts/slideLayout278.xml"/><Relationship Id="rId6" Type="http://schemas.openxmlformats.org/officeDocument/2006/relationships/slideLayout" Target="../slideLayouts/slideLayout283.xml"/><Relationship Id="rId11" Type="http://schemas.openxmlformats.org/officeDocument/2006/relationships/slideLayout" Target="../slideLayouts/slideLayout288.xml"/><Relationship Id="rId5" Type="http://schemas.openxmlformats.org/officeDocument/2006/relationships/slideLayout" Target="../slideLayouts/slideLayout282.xml"/><Relationship Id="rId15" Type="http://schemas.openxmlformats.org/officeDocument/2006/relationships/slideLayout" Target="../slideLayouts/slideLayout292.xml"/><Relationship Id="rId23" Type="http://schemas.openxmlformats.org/officeDocument/2006/relationships/image" Target="../media/image19.png"/><Relationship Id="rId10" Type="http://schemas.openxmlformats.org/officeDocument/2006/relationships/slideLayout" Target="../slideLayouts/slideLayout287.xml"/><Relationship Id="rId19" Type="http://schemas.openxmlformats.org/officeDocument/2006/relationships/slideLayout" Target="../slideLayouts/slideLayout296.xml"/><Relationship Id="rId4" Type="http://schemas.openxmlformats.org/officeDocument/2006/relationships/slideLayout" Target="../slideLayouts/slideLayout281.xml"/><Relationship Id="rId9" Type="http://schemas.openxmlformats.org/officeDocument/2006/relationships/slideLayout" Target="../slideLayouts/slideLayout286.xml"/><Relationship Id="rId14" Type="http://schemas.openxmlformats.org/officeDocument/2006/relationships/slideLayout" Target="../slideLayouts/slideLayout291.xml"/><Relationship Id="rId22" Type="http://schemas.openxmlformats.org/officeDocument/2006/relationships/image" Target="../media/image18.emf"/></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05.xml"/><Relationship Id="rId13" Type="http://schemas.openxmlformats.org/officeDocument/2006/relationships/slideLayout" Target="../slideLayouts/slideLayout310.xml"/><Relationship Id="rId18" Type="http://schemas.openxmlformats.org/officeDocument/2006/relationships/oleObject" Target="../embeddings/oleObject20.bin"/><Relationship Id="rId3" Type="http://schemas.openxmlformats.org/officeDocument/2006/relationships/slideLayout" Target="../slideLayouts/slideLayout300.xml"/><Relationship Id="rId7" Type="http://schemas.openxmlformats.org/officeDocument/2006/relationships/slideLayout" Target="../slideLayouts/slideLayout304.xml"/><Relationship Id="rId12" Type="http://schemas.openxmlformats.org/officeDocument/2006/relationships/slideLayout" Target="../slideLayouts/slideLayout309.xml"/><Relationship Id="rId17" Type="http://schemas.openxmlformats.org/officeDocument/2006/relationships/tags" Target="../tags/tag91.xml"/><Relationship Id="rId2" Type="http://schemas.openxmlformats.org/officeDocument/2006/relationships/slideLayout" Target="../slideLayouts/slideLayout299.xml"/><Relationship Id="rId16" Type="http://schemas.openxmlformats.org/officeDocument/2006/relationships/tags" Target="../tags/tag90.xml"/><Relationship Id="rId1" Type="http://schemas.openxmlformats.org/officeDocument/2006/relationships/slideLayout" Target="../slideLayouts/slideLayout298.xml"/><Relationship Id="rId6" Type="http://schemas.openxmlformats.org/officeDocument/2006/relationships/slideLayout" Target="../slideLayouts/slideLayout303.xml"/><Relationship Id="rId11" Type="http://schemas.openxmlformats.org/officeDocument/2006/relationships/slideLayout" Target="../slideLayouts/slideLayout308.xml"/><Relationship Id="rId5" Type="http://schemas.openxmlformats.org/officeDocument/2006/relationships/slideLayout" Target="../slideLayouts/slideLayout302.xml"/><Relationship Id="rId15" Type="http://schemas.openxmlformats.org/officeDocument/2006/relationships/vmlDrawing" Target="../drawings/vmlDrawing20.vml"/><Relationship Id="rId10" Type="http://schemas.openxmlformats.org/officeDocument/2006/relationships/slideLayout" Target="../slideLayouts/slideLayout307.xml"/><Relationship Id="rId19" Type="http://schemas.openxmlformats.org/officeDocument/2006/relationships/image" Target="../media/image9.emf"/><Relationship Id="rId4" Type="http://schemas.openxmlformats.org/officeDocument/2006/relationships/slideLayout" Target="../slideLayouts/slideLayout301.xml"/><Relationship Id="rId9" Type="http://schemas.openxmlformats.org/officeDocument/2006/relationships/slideLayout" Target="../slideLayouts/slideLayout306.xml"/><Relationship Id="rId14"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heme" Target="../theme/theme2.xml"/><Relationship Id="rId18" Type="http://schemas.openxmlformats.org/officeDocument/2006/relationships/image" Target="../media/image9.emf"/><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oleObject" Target="../embeddings/oleObject14.bin"/><Relationship Id="rId2" Type="http://schemas.openxmlformats.org/officeDocument/2006/relationships/slideLayout" Target="../slideLayouts/slideLayout15.xml"/><Relationship Id="rId16" Type="http://schemas.openxmlformats.org/officeDocument/2006/relationships/tags" Target="../tags/tag78.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tags" Target="../tags/tag77.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vmlDrawing" Target="../drawings/vmlDrawing14.v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18.xml"/><Relationship Id="rId3" Type="http://schemas.openxmlformats.org/officeDocument/2006/relationships/slideLayout" Target="../slideLayouts/slideLayout313.xml"/><Relationship Id="rId7" Type="http://schemas.openxmlformats.org/officeDocument/2006/relationships/slideLayout" Target="../slideLayouts/slideLayout317.xml"/><Relationship Id="rId12" Type="http://schemas.openxmlformats.org/officeDocument/2006/relationships/theme" Target="../theme/theme20.xml"/><Relationship Id="rId2" Type="http://schemas.openxmlformats.org/officeDocument/2006/relationships/slideLayout" Target="../slideLayouts/slideLayout312.xml"/><Relationship Id="rId1" Type="http://schemas.openxmlformats.org/officeDocument/2006/relationships/slideLayout" Target="../slideLayouts/slideLayout311.xml"/><Relationship Id="rId6" Type="http://schemas.openxmlformats.org/officeDocument/2006/relationships/slideLayout" Target="../slideLayouts/slideLayout316.xml"/><Relationship Id="rId11" Type="http://schemas.openxmlformats.org/officeDocument/2006/relationships/slideLayout" Target="../slideLayouts/slideLayout321.xml"/><Relationship Id="rId5" Type="http://schemas.openxmlformats.org/officeDocument/2006/relationships/slideLayout" Target="../slideLayouts/slideLayout315.xml"/><Relationship Id="rId10" Type="http://schemas.openxmlformats.org/officeDocument/2006/relationships/slideLayout" Target="../slideLayouts/slideLayout320.xml"/><Relationship Id="rId4" Type="http://schemas.openxmlformats.org/officeDocument/2006/relationships/slideLayout" Target="../slideLayouts/slideLayout314.xml"/><Relationship Id="rId9" Type="http://schemas.openxmlformats.org/officeDocument/2006/relationships/slideLayout" Target="../slideLayouts/slideLayout319.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329.xml"/><Relationship Id="rId13" Type="http://schemas.openxmlformats.org/officeDocument/2006/relationships/slideLayout" Target="../slideLayouts/slideLayout334.xml"/><Relationship Id="rId18" Type="http://schemas.openxmlformats.org/officeDocument/2006/relationships/tags" Target="../tags/tag93.xml"/><Relationship Id="rId3" Type="http://schemas.openxmlformats.org/officeDocument/2006/relationships/slideLayout" Target="../slideLayouts/slideLayout324.xml"/><Relationship Id="rId7" Type="http://schemas.openxmlformats.org/officeDocument/2006/relationships/slideLayout" Target="../slideLayouts/slideLayout328.xml"/><Relationship Id="rId12" Type="http://schemas.openxmlformats.org/officeDocument/2006/relationships/slideLayout" Target="../slideLayouts/slideLayout333.xml"/><Relationship Id="rId17" Type="http://schemas.openxmlformats.org/officeDocument/2006/relationships/tags" Target="../tags/tag92.xml"/><Relationship Id="rId2" Type="http://schemas.openxmlformats.org/officeDocument/2006/relationships/slideLayout" Target="../slideLayouts/slideLayout323.xml"/><Relationship Id="rId16" Type="http://schemas.openxmlformats.org/officeDocument/2006/relationships/vmlDrawing" Target="../drawings/vmlDrawing21.vml"/><Relationship Id="rId20" Type="http://schemas.openxmlformats.org/officeDocument/2006/relationships/image" Target="../media/image9.emf"/><Relationship Id="rId1" Type="http://schemas.openxmlformats.org/officeDocument/2006/relationships/slideLayout" Target="../slideLayouts/slideLayout322.xml"/><Relationship Id="rId6" Type="http://schemas.openxmlformats.org/officeDocument/2006/relationships/slideLayout" Target="../slideLayouts/slideLayout327.xml"/><Relationship Id="rId11" Type="http://schemas.openxmlformats.org/officeDocument/2006/relationships/slideLayout" Target="../slideLayouts/slideLayout332.xml"/><Relationship Id="rId5" Type="http://schemas.openxmlformats.org/officeDocument/2006/relationships/slideLayout" Target="../slideLayouts/slideLayout326.xml"/><Relationship Id="rId15" Type="http://schemas.openxmlformats.org/officeDocument/2006/relationships/theme" Target="../theme/theme21.xml"/><Relationship Id="rId10" Type="http://schemas.openxmlformats.org/officeDocument/2006/relationships/slideLayout" Target="../slideLayouts/slideLayout331.xml"/><Relationship Id="rId19" Type="http://schemas.openxmlformats.org/officeDocument/2006/relationships/oleObject" Target="../embeddings/oleObject21.bin"/><Relationship Id="rId4" Type="http://schemas.openxmlformats.org/officeDocument/2006/relationships/slideLayout" Target="../slideLayouts/slideLayout325.xml"/><Relationship Id="rId9" Type="http://schemas.openxmlformats.org/officeDocument/2006/relationships/slideLayout" Target="../slideLayouts/slideLayout330.xml"/><Relationship Id="rId14" Type="http://schemas.openxmlformats.org/officeDocument/2006/relationships/slideLayout" Target="../slideLayouts/slideLayout335.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343.xml"/><Relationship Id="rId13" Type="http://schemas.openxmlformats.org/officeDocument/2006/relationships/slideLayout" Target="../slideLayouts/slideLayout348.xml"/><Relationship Id="rId18" Type="http://schemas.openxmlformats.org/officeDocument/2006/relationships/tags" Target="../tags/tag95.xml"/><Relationship Id="rId3" Type="http://schemas.openxmlformats.org/officeDocument/2006/relationships/slideLayout" Target="../slideLayouts/slideLayout338.xml"/><Relationship Id="rId7" Type="http://schemas.openxmlformats.org/officeDocument/2006/relationships/slideLayout" Target="../slideLayouts/slideLayout342.xml"/><Relationship Id="rId12" Type="http://schemas.openxmlformats.org/officeDocument/2006/relationships/slideLayout" Target="../slideLayouts/slideLayout347.xml"/><Relationship Id="rId17" Type="http://schemas.openxmlformats.org/officeDocument/2006/relationships/tags" Target="../tags/tag94.xml"/><Relationship Id="rId2" Type="http://schemas.openxmlformats.org/officeDocument/2006/relationships/slideLayout" Target="../slideLayouts/slideLayout337.xml"/><Relationship Id="rId16" Type="http://schemas.openxmlformats.org/officeDocument/2006/relationships/vmlDrawing" Target="../drawings/vmlDrawing22.vml"/><Relationship Id="rId20" Type="http://schemas.openxmlformats.org/officeDocument/2006/relationships/image" Target="../media/image9.emf"/><Relationship Id="rId1" Type="http://schemas.openxmlformats.org/officeDocument/2006/relationships/slideLayout" Target="../slideLayouts/slideLayout336.xml"/><Relationship Id="rId6" Type="http://schemas.openxmlformats.org/officeDocument/2006/relationships/slideLayout" Target="../slideLayouts/slideLayout341.xml"/><Relationship Id="rId11" Type="http://schemas.openxmlformats.org/officeDocument/2006/relationships/slideLayout" Target="../slideLayouts/slideLayout346.xml"/><Relationship Id="rId5" Type="http://schemas.openxmlformats.org/officeDocument/2006/relationships/slideLayout" Target="../slideLayouts/slideLayout340.xml"/><Relationship Id="rId15" Type="http://schemas.openxmlformats.org/officeDocument/2006/relationships/theme" Target="../theme/theme22.xml"/><Relationship Id="rId10" Type="http://schemas.openxmlformats.org/officeDocument/2006/relationships/slideLayout" Target="../slideLayouts/slideLayout345.xml"/><Relationship Id="rId19" Type="http://schemas.openxmlformats.org/officeDocument/2006/relationships/oleObject" Target="../embeddings/oleObject22.bin"/><Relationship Id="rId4" Type="http://schemas.openxmlformats.org/officeDocument/2006/relationships/slideLayout" Target="../slideLayouts/slideLayout339.xml"/><Relationship Id="rId9" Type="http://schemas.openxmlformats.org/officeDocument/2006/relationships/slideLayout" Target="../slideLayouts/slideLayout344.xml"/><Relationship Id="rId14" Type="http://schemas.openxmlformats.org/officeDocument/2006/relationships/slideLayout" Target="../slideLayouts/slideLayout349.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357.xml"/><Relationship Id="rId13" Type="http://schemas.openxmlformats.org/officeDocument/2006/relationships/theme" Target="../theme/theme23.xml"/><Relationship Id="rId3" Type="http://schemas.openxmlformats.org/officeDocument/2006/relationships/slideLayout" Target="../slideLayouts/slideLayout352.xml"/><Relationship Id="rId7" Type="http://schemas.openxmlformats.org/officeDocument/2006/relationships/slideLayout" Target="../slideLayouts/slideLayout356.xml"/><Relationship Id="rId12" Type="http://schemas.openxmlformats.org/officeDocument/2006/relationships/slideLayout" Target="../slideLayouts/slideLayout361.xml"/><Relationship Id="rId2" Type="http://schemas.openxmlformats.org/officeDocument/2006/relationships/slideLayout" Target="../slideLayouts/slideLayout351.xml"/><Relationship Id="rId1" Type="http://schemas.openxmlformats.org/officeDocument/2006/relationships/slideLayout" Target="../slideLayouts/slideLayout350.xml"/><Relationship Id="rId6" Type="http://schemas.openxmlformats.org/officeDocument/2006/relationships/slideLayout" Target="../slideLayouts/slideLayout355.xml"/><Relationship Id="rId11" Type="http://schemas.openxmlformats.org/officeDocument/2006/relationships/slideLayout" Target="../slideLayouts/slideLayout360.xml"/><Relationship Id="rId5" Type="http://schemas.openxmlformats.org/officeDocument/2006/relationships/slideLayout" Target="../slideLayouts/slideLayout354.xml"/><Relationship Id="rId10" Type="http://schemas.openxmlformats.org/officeDocument/2006/relationships/slideLayout" Target="../slideLayouts/slideLayout359.xml"/><Relationship Id="rId4" Type="http://schemas.openxmlformats.org/officeDocument/2006/relationships/slideLayout" Target="../slideLayouts/slideLayout353.xml"/><Relationship Id="rId9" Type="http://schemas.openxmlformats.org/officeDocument/2006/relationships/slideLayout" Target="../slideLayouts/slideLayout35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image" Target="../media/image10.png"/><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9.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image" Target="../media/image14.png"/><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theme" Target="../theme/theme4.xml"/><Relationship Id="rId5" Type="http://schemas.openxmlformats.org/officeDocument/2006/relationships/slideLayout" Target="../slideLayouts/slideLayout5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3" Type="http://schemas.openxmlformats.org/officeDocument/2006/relationships/slideLayout" Target="../slideLayouts/slideLayout64.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5" Type="http://schemas.openxmlformats.org/officeDocument/2006/relationships/slideLayout" Target="../slideLayouts/slideLayout66.xml"/><Relationship Id="rId10" Type="http://schemas.openxmlformats.org/officeDocument/2006/relationships/slideLayout" Target="../slideLayouts/slideLayout71.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2.xml"/><Relationship Id="rId3" Type="http://schemas.openxmlformats.org/officeDocument/2006/relationships/slideLayout" Target="../slideLayouts/slideLayout77.xml"/><Relationship Id="rId7" Type="http://schemas.openxmlformats.org/officeDocument/2006/relationships/slideLayout" Target="../slideLayouts/slideLayout81.xml"/><Relationship Id="rId12" Type="http://schemas.openxmlformats.org/officeDocument/2006/relationships/theme" Target="../theme/theme6.xml"/><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5" Type="http://schemas.openxmlformats.org/officeDocument/2006/relationships/slideLayout" Target="../slideLayouts/slideLayout79.xml"/><Relationship Id="rId10" Type="http://schemas.openxmlformats.org/officeDocument/2006/relationships/slideLayout" Target="../slideLayouts/slideLayout84.xml"/><Relationship Id="rId4" Type="http://schemas.openxmlformats.org/officeDocument/2006/relationships/slideLayout" Target="../slideLayouts/slideLayout78.xml"/><Relationship Id="rId9" Type="http://schemas.openxmlformats.org/officeDocument/2006/relationships/slideLayout" Target="../slideLayouts/slideLayout8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theme" Target="../theme/theme7.xml"/><Relationship Id="rId3" Type="http://schemas.openxmlformats.org/officeDocument/2006/relationships/slideLayout" Target="../slideLayouts/slideLayout88.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5" Type="http://schemas.openxmlformats.org/officeDocument/2006/relationships/slideLayout" Target="../slideLayouts/slideLayout90.xml"/><Relationship Id="rId10" Type="http://schemas.openxmlformats.org/officeDocument/2006/relationships/slideLayout" Target="../slideLayouts/slideLayout95.xml"/><Relationship Id="rId4" Type="http://schemas.openxmlformats.org/officeDocument/2006/relationships/slideLayout" Target="../slideLayouts/slideLayout89.xml"/><Relationship Id="rId9" Type="http://schemas.openxmlformats.org/officeDocument/2006/relationships/slideLayout" Target="../slideLayouts/slideLayout9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5.xml"/><Relationship Id="rId13" Type="http://schemas.openxmlformats.org/officeDocument/2006/relationships/image" Target="../media/image19.png"/><Relationship Id="rId3" Type="http://schemas.openxmlformats.org/officeDocument/2006/relationships/slideLayout" Target="../slideLayouts/slideLayout100.xml"/><Relationship Id="rId7" Type="http://schemas.openxmlformats.org/officeDocument/2006/relationships/slideLayout" Target="../slideLayouts/slideLayout104.xml"/><Relationship Id="rId12" Type="http://schemas.openxmlformats.org/officeDocument/2006/relationships/image" Target="../media/image18.emf"/><Relationship Id="rId2" Type="http://schemas.openxmlformats.org/officeDocument/2006/relationships/slideLayout" Target="../slideLayouts/slideLayout99.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theme" Target="../theme/theme8.xml"/><Relationship Id="rId5" Type="http://schemas.openxmlformats.org/officeDocument/2006/relationships/slideLayout" Target="../slideLayouts/slideLayout102.xml"/><Relationship Id="rId10" Type="http://schemas.openxmlformats.org/officeDocument/2006/relationships/slideLayout" Target="../slideLayouts/slideLayout107.xml"/><Relationship Id="rId4" Type="http://schemas.openxmlformats.org/officeDocument/2006/relationships/slideLayout" Target="../slideLayouts/slideLayout101.xml"/><Relationship Id="rId9" Type="http://schemas.openxmlformats.org/officeDocument/2006/relationships/slideLayout" Target="../slideLayouts/slideLayout106.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120.xml"/><Relationship Id="rId18" Type="http://schemas.openxmlformats.org/officeDocument/2006/relationships/slideLayout" Target="../slideLayouts/slideLayout125.xml"/><Relationship Id="rId26" Type="http://schemas.openxmlformats.org/officeDocument/2006/relationships/slideLayout" Target="../slideLayouts/slideLayout133.xml"/><Relationship Id="rId3" Type="http://schemas.openxmlformats.org/officeDocument/2006/relationships/slideLayout" Target="../slideLayouts/slideLayout110.xml"/><Relationship Id="rId21" Type="http://schemas.openxmlformats.org/officeDocument/2006/relationships/slideLayout" Target="../slideLayouts/slideLayout128.xml"/><Relationship Id="rId34" Type="http://schemas.openxmlformats.org/officeDocument/2006/relationships/oleObject" Target="../embeddings/oleObject15.bin"/><Relationship Id="rId7" Type="http://schemas.openxmlformats.org/officeDocument/2006/relationships/slideLayout" Target="../slideLayouts/slideLayout114.xml"/><Relationship Id="rId12" Type="http://schemas.openxmlformats.org/officeDocument/2006/relationships/slideLayout" Target="../slideLayouts/slideLayout119.xml"/><Relationship Id="rId17" Type="http://schemas.openxmlformats.org/officeDocument/2006/relationships/slideLayout" Target="../slideLayouts/slideLayout124.xml"/><Relationship Id="rId25" Type="http://schemas.openxmlformats.org/officeDocument/2006/relationships/slideLayout" Target="../slideLayouts/slideLayout132.xml"/><Relationship Id="rId33" Type="http://schemas.openxmlformats.org/officeDocument/2006/relationships/tags" Target="../tags/tag80.xml"/><Relationship Id="rId2" Type="http://schemas.openxmlformats.org/officeDocument/2006/relationships/slideLayout" Target="../slideLayouts/slideLayout109.xml"/><Relationship Id="rId16" Type="http://schemas.openxmlformats.org/officeDocument/2006/relationships/slideLayout" Target="../slideLayouts/slideLayout123.xml"/><Relationship Id="rId20" Type="http://schemas.openxmlformats.org/officeDocument/2006/relationships/slideLayout" Target="../slideLayouts/slideLayout127.xml"/><Relationship Id="rId29" Type="http://schemas.openxmlformats.org/officeDocument/2006/relationships/slideLayout" Target="../slideLayouts/slideLayout136.xml"/><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24" Type="http://schemas.openxmlformats.org/officeDocument/2006/relationships/slideLayout" Target="../slideLayouts/slideLayout131.xml"/><Relationship Id="rId32" Type="http://schemas.openxmlformats.org/officeDocument/2006/relationships/tags" Target="../tags/tag79.xml"/><Relationship Id="rId5" Type="http://schemas.openxmlformats.org/officeDocument/2006/relationships/slideLayout" Target="../slideLayouts/slideLayout112.xml"/><Relationship Id="rId15" Type="http://schemas.openxmlformats.org/officeDocument/2006/relationships/slideLayout" Target="../slideLayouts/slideLayout122.xml"/><Relationship Id="rId23" Type="http://schemas.openxmlformats.org/officeDocument/2006/relationships/slideLayout" Target="../slideLayouts/slideLayout130.xml"/><Relationship Id="rId28" Type="http://schemas.openxmlformats.org/officeDocument/2006/relationships/slideLayout" Target="../slideLayouts/slideLayout135.xml"/><Relationship Id="rId10" Type="http://schemas.openxmlformats.org/officeDocument/2006/relationships/slideLayout" Target="../slideLayouts/slideLayout117.xml"/><Relationship Id="rId19" Type="http://schemas.openxmlformats.org/officeDocument/2006/relationships/slideLayout" Target="../slideLayouts/slideLayout126.xml"/><Relationship Id="rId31" Type="http://schemas.openxmlformats.org/officeDocument/2006/relationships/vmlDrawing" Target="../drawings/vmlDrawing15.vml"/><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slideLayout" Target="../slideLayouts/slideLayout121.xml"/><Relationship Id="rId22" Type="http://schemas.openxmlformats.org/officeDocument/2006/relationships/slideLayout" Target="../slideLayouts/slideLayout129.xml"/><Relationship Id="rId27" Type="http://schemas.openxmlformats.org/officeDocument/2006/relationships/slideLayout" Target="../slideLayouts/slideLayout134.xml"/><Relationship Id="rId30" Type="http://schemas.openxmlformats.org/officeDocument/2006/relationships/theme" Target="../theme/theme9.xml"/><Relationship Id="rId35" Type="http://schemas.openxmlformats.org/officeDocument/2006/relationships/image" Target="../media/image21.emf"/><Relationship Id="rId8" Type="http://schemas.openxmlformats.org/officeDocument/2006/relationships/slideLayout" Target="../slideLayouts/slideLayout11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6"/>
            </p:custDataLst>
            <p:extLst>
              <p:ext uri="{D42A27DB-BD31-4B8C-83A1-F6EECF244321}">
                <p14:modId xmlns:p14="http://schemas.microsoft.com/office/powerpoint/2010/main" val="2553490552"/>
              </p:ext>
            </p:extLst>
          </p:nvPr>
        </p:nvGraphicFramePr>
        <p:xfrm>
          <a:off x="0" y="77"/>
          <a:ext cx="161984" cy="121481"/>
        </p:xfrm>
        <a:graphic>
          <a:graphicData uri="http://schemas.openxmlformats.org/presentationml/2006/ole">
            <mc:AlternateContent xmlns:mc="http://schemas.openxmlformats.org/markup-compatibility/2006">
              <mc:Choice xmlns:v="urn:schemas-microsoft-com:vml" Requires="v">
                <p:oleObj spid="_x0000_s1121" name="think-cell Slide" r:id="rId48" imgW="360" imgH="360" progId="">
                  <p:embed/>
                </p:oleObj>
              </mc:Choice>
              <mc:Fallback>
                <p:oleObj name="think-cell Slide" r:id="rId48" imgW="360" imgH="360" progId="">
                  <p:embed/>
                  <p:pic>
                    <p:nvPicPr>
                      <p:cNvPr id="2" name="Object 1" hidden="1"/>
                      <p:cNvPicPr>
                        <a:picLocks noChangeAspect="1" noChangeArrowheads="1"/>
                      </p:cNvPicPr>
                      <p:nvPr/>
                    </p:nvPicPr>
                    <p:blipFill>
                      <a:blip r:embed="rId49">
                        <a:extLst>
                          <a:ext uri="{28A0092B-C50C-407E-A947-70E740481C1C}">
                            <a14:useLocalDpi xmlns:a14="http://schemas.microsoft.com/office/drawing/2010/main" val="0"/>
                          </a:ext>
                        </a:extLst>
                      </a:blip>
                      <a:srcRect/>
                      <a:stretch>
                        <a:fillRect/>
                      </a:stretch>
                    </p:blipFill>
                    <p:spPr bwMode="auto">
                      <a:xfrm>
                        <a:off x="0" y="77"/>
                        <a:ext cx="161984" cy="12148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3" name="Oval 72">
            <a:extLst>
              <a:ext uri="{FF2B5EF4-FFF2-40B4-BE49-F238E27FC236}">
                <a16:creationId xmlns="" xmlns:a16="http://schemas.microsoft.com/office/drawing/2014/main" id="{8E1D49F7-9E52-44AC-AB3A-6226DBD8C7A5}"/>
              </a:ext>
            </a:extLst>
          </p:cNvPr>
          <p:cNvSpPr/>
          <p:nvPr userDrawn="1"/>
        </p:nvSpPr>
        <p:spPr>
          <a:xfrm>
            <a:off x="8656077" y="4761562"/>
            <a:ext cx="312980" cy="312980"/>
          </a:xfrm>
          <a:prstGeom prst="ellipse">
            <a:avLst/>
          </a:prstGeom>
          <a:solidFill>
            <a:srgbClr val="F4F4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en-GB" sz="1400">
              <a:solidFill>
                <a:srgbClr val="FFFFFF"/>
              </a:solidFill>
              <a:sym typeface="Georgia" panose="02040502050405020303" pitchFamily="18" charset="0"/>
            </a:endParaRPr>
          </a:p>
        </p:txBody>
      </p:sp>
      <p:sp>
        <p:nvSpPr>
          <p:cNvPr id="19" name="Title Placeholder 2"/>
          <p:cNvSpPr>
            <a:spLocks noGrp="1" noChangeArrowheads="1"/>
          </p:cNvSpPr>
          <p:nvPr>
            <p:ph type="title"/>
          </p:nvPr>
        </p:nvSpPr>
        <p:spPr bwMode="gray">
          <a:xfrm>
            <a:off x="174956" y="176227"/>
            <a:ext cx="8794113"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en-GB" noProof="0"/>
          </a:p>
        </p:txBody>
      </p:sp>
      <p:sp>
        <p:nvSpPr>
          <p:cNvPr id="10" name="1. On-page tracker" hidden="1"/>
          <p:cNvSpPr>
            <a:spLocks noChangeArrowheads="1"/>
          </p:cNvSpPr>
          <p:nvPr userDrawn="1"/>
        </p:nvSpPr>
        <p:spPr bwMode="gray">
          <a:xfrm>
            <a:off x="174945" y="58055"/>
            <a:ext cx="360676"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85800"/>
            <a:r>
              <a:rPr lang="en-GB" sz="600" cap="all">
                <a:solidFill>
                  <a:srgbClr val="808080"/>
                </a:solidFill>
              </a:rPr>
              <a:t>TRACKER</a:t>
            </a:r>
          </a:p>
        </p:txBody>
      </p:sp>
      <p:sp>
        <p:nvSpPr>
          <p:cNvPr id="11" name="3. Unit of measure" hidden="1"/>
          <p:cNvSpPr txBox="1">
            <a:spLocks noChangeArrowheads="1"/>
          </p:cNvSpPr>
          <p:nvPr userDrawn="1"/>
        </p:nvSpPr>
        <p:spPr bwMode="gray">
          <a:xfrm>
            <a:off x="174956" y="417126"/>
            <a:ext cx="879411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GB" sz="1200">
                <a:solidFill>
                  <a:srgbClr val="808080"/>
                </a:solidFill>
                <a:latin typeface="Georgia"/>
              </a:rPr>
              <a:t>Unit of measure</a:t>
            </a:r>
          </a:p>
        </p:txBody>
      </p:sp>
      <p:sp>
        <p:nvSpPr>
          <p:cNvPr id="13" name="4. Footnote" hidden="1"/>
          <p:cNvSpPr txBox="1">
            <a:spLocks noChangeArrowheads="1"/>
          </p:cNvSpPr>
          <p:nvPr/>
        </p:nvSpPr>
        <p:spPr bwMode="gray">
          <a:xfrm>
            <a:off x="175094" y="4761677"/>
            <a:ext cx="8171291"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63104" indent="-63104">
              <a:defRPr lang="x-none"/>
            </a:pPr>
            <a:r>
              <a:rPr lang="en-GB" sz="600">
                <a:solidFill>
                  <a:srgbClr val="808080"/>
                </a:solidFill>
                <a:latin typeface="Georgia"/>
              </a:rPr>
              <a:t>1 Footnote</a:t>
            </a:r>
          </a:p>
        </p:txBody>
      </p:sp>
      <p:sp>
        <p:nvSpPr>
          <p:cNvPr id="3" name="Text Placeholder 2"/>
          <p:cNvSpPr>
            <a:spLocks noGrp="1"/>
          </p:cNvSpPr>
          <p:nvPr userDrawn="1">
            <p:ph type="body" idx="1"/>
          </p:nvPr>
        </p:nvSpPr>
        <p:spPr bwMode="gray">
          <a:xfrm>
            <a:off x="1778720" y="1961396"/>
            <a:ext cx="4350891" cy="846386"/>
          </a:xfrm>
          <a:prstGeom prst="rect">
            <a:avLst/>
          </a:prstGeom>
        </p:spPr>
        <p:txBody>
          <a:bodyPr vert="horz" wrap="square" lIns="0" tIns="0" rIns="0" bIns="0" rtlCol="0">
            <a:spAutoFit/>
          </a:bodyPr>
          <a:lstStyle/>
          <a:p>
            <a:pPr lvl="0" latinLnBrk="0"/>
            <a:r>
              <a:rPr lang="en-GB"/>
              <a:t>Click to edit Master text styles</a:t>
            </a:r>
          </a:p>
          <a:p>
            <a:pPr lvl="1" latinLnBrk="0"/>
            <a:r>
              <a:rPr lang="en-GB"/>
              <a:t>Second level</a:t>
            </a:r>
          </a:p>
          <a:p>
            <a:pPr lvl="2" latinLnBrk="0"/>
            <a:r>
              <a:rPr lang="en-GB"/>
              <a:t>Third level</a:t>
            </a:r>
          </a:p>
          <a:p>
            <a:pPr lvl="3" latinLnBrk="0"/>
            <a:r>
              <a:rPr lang="en-GB"/>
              <a:t>Fourth level</a:t>
            </a:r>
          </a:p>
          <a:p>
            <a:pPr lvl="4" latinLnBrk="0"/>
            <a:r>
              <a:rPr lang="en-GB"/>
              <a:t>Fifth level</a:t>
            </a:r>
          </a:p>
        </p:txBody>
      </p:sp>
      <p:grpSp>
        <p:nvGrpSpPr>
          <p:cNvPr id="15" name="ACET" hidden="1"/>
          <p:cNvGrpSpPr>
            <a:grpSpLocks/>
          </p:cNvGrpSpPr>
          <p:nvPr userDrawn="1"/>
        </p:nvGrpSpPr>
        <p:grpSpPr bwMode="gray">
          <a:xfrm>
            <a:off x="1778720" y="1462119"/>
            <a:ext cx="4350891" cy="357155"/>
            <a:chOff x="915" y="736"/>
            <a:chExt cx="2686" cy="294"/>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36"/>
              <a:ext cx="2686" cy="29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685800"/>
              <a:r>
                <a:rPr lang="en-GB" sz="1100" b="1">
                  <a:solidFill>
                    <a:srgbClr val="000000"/>
                  </a:solidFill>
                </a:rPr>
                <a:t>Title</a:t>
              </a:r>
            </a:p>
            <a:p>
              <a:pPr defTabSz="685800"/>
              <a:r>
                <a:rPr lang="en-GB" sz="1100">
                  <a:solidFill>
                    <a:srgbClr val="808080"/>
                  </a:solidFill>
                </a:rPr>
                <a:t>Unit of measure</a:t>
              </a:r>
            </a:p>
          </p:txBody>
        </p:sp>
      </p:grpSp>
      <p:sp>
        <p:nvSpPr>
          <p:cNvPr id="61" name="Slide Number"/>
          <p:cNvSpPr txBox="1">
            <a:spLocks/>
          </p:cNvSpPr>
          <p:nvPr userDrawn="1"/>
        </p:nvSpPr>
        <p:spPr bwMode="gray">
          <a:xfrm>
            <a:off x="8731615" y="4872002"/>
            <a:ext cx="161904" cy="92333"/>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ctr" defTabSz="685800"/>
            <a:fld id="{42C328C1-A84F-4A39-A664-DBA00541A8C6}" type="slidenum">
              <a:rPr lang="en-GB" sz="600" smtClean="0">
                <a:solidFill>
                  <a:srgbClr val="000000"/>
                </a:solidFill>
              </a:rPr>
              <a:pPr algn="ctr" defTabSz="685800"/>
              <a:t>‹Nº›</a:t>
            </a:fld>
            <a:endParaRPr lang="en-GB" sz="600">
              <a:solidFill>
                <a:srgbClr val="000000"/>
              </a:solidFill>
            </a:endParaRPr>
          </a:p>
        </p:txBody>
      </p:sp>
      <p:grpSp>
        <p:nvGrpSpPr>
          <p:cNvPr id="59" name="LegendBoxes" hidden="1"/>
          <p:cNvGrpSpPr>
            <a:grpSpLocks/>
          </p:cNvGrpSpPr>
          <p:nvPr userDrawn="1"/>
        </p:nvGrpSpPr>
        <p:grpSpPr bwMode="auto">
          <a:xfrm>
            <a:off x="8396517" y="202544"/>
            <a:ext cx="565547" cy="747713"/>
            <a:chOff x="4936" y="176"/>
            <a:chExt cx="475" cy="628"/>
          </a:xfrm>
        </p:grpSpPr>
        <p:sp>
          <p:nvSpPr>
            <p:cNvPr id="102" name="Legend1"/>
            <p:cNvSpPr>
              <a:spLocks noChangeArrowheads="1"/>
            </p:cNvSpPr>
            <p:nvPr/>
          </p:nvSpPr>
          <p:spPr bwMode="auto">
            <a:xfrm>
              <a:off x="5096" y="176"/>
              <a:ext cx="315"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rgbClr val="00244F"/>
                </a:buClr>
              </a:pPr>
              <a:r>
                <a:rPr lang="en-GB" sz="900">
                  <a:solidFill>
                    <a:srgbClr val="000000"/>
                  </a:solidFill>
                </a:rPr>
                <a:t>Legend</a:t>
              </a:r>
            </a:p>
          </p:txBody>
        </p:sp>
        <p:sp>
          <p:nvSpPr>
            <p:cNvPr id="103"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800"/>
              <a:endParaRPr lang="en-GB" sz="900">
                <a:solidFill>
                  <a:srgbClr val="000000"/>
                </a:solidFill>
              </a:endParaRPr>
            </a:p>
          </p:txBody>
        </p:sp>
        <p:sp>
          <p:nvSpPr>
            <p:cNvPr id="104" name="Legend2"/>
            <p:cNvSpPr>
              <a:spLocks noChangeArrowheads="1"/>
            </p:cNvSpPr>
            <p:nvPr/>
          </p:nvSpPr>
          <p:spPr bwMode="auto">
            <a:xfrm>
              <a:off x="5096" y="346"/>
              <a:ext cx="315"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rgbClr val="00244F"/>
                </a:buClr>
              </a:pPr>
              <a:r>
                <a:rPr lang="en-GB" sz="900">
                  <a:solidFill>
                    <a:srgbClr val="000000"/>
                  </a:solidFill>
                </a:rPr>
                <a:t>Legend</a:t>
              </a:r>
            </a:p>
          </p:txBody>
        </p:sp>
        <p:sp>
          <p:nvSpPr>
            <p:cNvPr id="105"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800"/>
              <a:endParaRPr lang="en-GB" sz="900">
                <a:solidFill>
                  <a:srgbClr val="000000"/>
                </a:solidFill>
              </a:endParaRPr>
            </a:p>
          </p:txBody>
        </p:sp>
        <p:sp>
          <p:nvSpPr>
            <p:cNvPr id="106" name="Legend3"/>
            <p:cNvSpPr>
              <a:spLocks noChangeArrowheads="1"/>
            </p:cNvSpPr>
            <p:nvPr/>
          </p:nvSpPr>
          <p:spPr bwMode="auto">
            <a:xfrm>
              <a:off x="5096" y="517"/>
              <a:ext cx="315"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rgbClr val="00244F"/>
                </a:buClr>
              </a:pPr>
              <a:r>
                <a:rPr lang="en-GB" sz="900">
                  <a:solidFill>
                    <a:srgbClr val="000000"/>
                  </a:solidFill>
                </a:rPr>
                <a:t>Legend</a:t>
              </a:r>
            </a:p>
          </p:txBody>
        </p:sp>
        <p:sp>
          <p:nvSpPr>
            <p:cNvPr id="107"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800"/>
              <a:endParaRPr lang="en-GB" sz="900">
                <a:solidFill>
                  <a:srgbClr val="000000"/>
                </a:solidFill>
              </a:endParaRPr>
            </a:p>
          </p:txBody>
        </p:sp>
        <p:sp>
          <p:nvSpPr>
            <p:cNvPr id="108" name="Legend4"/>
            <p:cNvSpPr>
              <a:spLocks noChangeArrowheads="1"/>
            </p:cNvSpPr>
            <p:nvPr/>
          </p:nvSpPr>
          <p:spPr bwMode="auto">
            <a:xfrm>
              <a:off x="5096" y="688"/>
              <a:ext cx="315"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rgbClr val="00244F"/>
                </a:buClr>
              </a:pPr>
              <a:r>
                <a:rPr lang="en-GB" sz="900">
                  <a:solidFill>
                    <a:srgbClr val="000000"/>
                  </a:solidFill>
                </a:rPr>
                <a:t>Legend</a:t>
              </a:r>
            </a:p>
          </p:txBody>
        </p:sp>
        <p:sp>
          <p:nvSpPr>
            <p:cNvPr id="109"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800"/>
              <a:endParaRPr lang="en-GB" sz="900">
                <a:solidFill>
                  <a:srgbClr val="000000"/>
                </a:solidFill>
              </a:endParaRPr>
            </a:p>
          </p:txBody>
        </p:sp>
      </p:grpSp>
      <p:grpSp>
        <p:nvGrpSpPr>
          <p:cNvPr id="110" name="LegendLines" hidden="1"/>
          <p:cNvGrpSpPr>
            <a:grpSpLocks/>
          </p:cNvGrpSpPr>
          <p:nvPr userDrawn="1"/>
        </p:nvGrpSpPr>
        <p:grpSpPr bwMode="auto">
          <a:xfrm>
            <a:off x="8165383" y="202467"/>
            <a:ext cx="796528" cy="547688"/>
            <a:chOff x="4750" y="176"/>
            <a:chExt cx="669" cy="460"/>
          </a:xfrm>
        </p:grpSpPr>
        <p:sp>
          <p:nvSpPr>
            <p:cNvPr id="111"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685800"/>
              <a:endParaRPr lang="en-GB" sz="900">
                <a:solidFill>
                  <a:srgbClr val="000000"/>
                </a:solidFill>
              </a:endParaRPr>
            </a:p>
          </p:txBody>
        </p:sp>
        <p:sp>
          <p:nvSpPr>
            <p:cNvPr id="112"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685800"/>
              <a:endParaRPr lang="en-GB" sz="900">
                <a:solidFill>
                  <a:srgbClr val="000000"/>
                </a:solidFill>
              </a:endParaRPr>
            </a:p>
          </p:txBody>
        </p:sp>
        <p:sp>
          <p:nvSpPr>
            <p:cNvPr id="113"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685800"/>
              <a:endParaRPr lang="en-GB" sz="900">
                <a:solidFill>
                  <a:srgbClr val="000000"/>
                </a:solidFill>
              </a:endParaRPr>
            </a:p>
          </p:txBody>
        </p:sp>
        <p:sp>
          <p:nvSpPr>
            <p:cNvPr id="114" name="Legend1"/>
            <p:cNvSpPr>
              <a:spLocks noChangeArrowheads="1"/>
            </p:cNvSpPr>
            <p:nvPr/>
          </p:nvSpPr>
          <p:spPr bwMode="auto">
            <a:xfrm>
              <a:off x="5104" y="176"/>
              <a:ext cx="315"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rgbClr val="00244F"/>
                </a:buClr>
              </a:pPr>
              <a:r>
                <a:rPr lang="en-GB" sz="900">
                  <a:solidFill>
                    <a:srgbClr val="000000"/>
                  </a:solidFill>
                </a:rPr>
                <a:t>Legend</a:t>
              </a:r>
            </a:p>
          </p:txBody>
        </p:sp>
        <p:sp>
          <p:nvSpPr>
            <p:cNvPr id="115" name="Legend2"/>
            <p:cNvSpPr>
              <a:spLocks noChangeArrowheads="1"/>
            </p:cNvSpPr>
            <p:nvPr/>
          </p:nvSpPr>
          <p:spPr bwMode="auto">
            <a:xfrm>
              <a:off x="5104" y="344"/>
              <a:ext cx="315"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rgbClr val="00244F"/>
                </a:buClr>
              </a:pPr>
              <a:r>
                <a:rPr lang="en-GB" sz="900">
                  <a:solidFill>
                    <a:srgbClr val="000000"/>
                  </a:solidFill>
                </a:rPr>
                <a:t>Legend</a:t>
              </a:r>
            </a:p>
          </p:txBody>
        </p:sp>
        <p:sp>
          <p:nvSpPr>
            <p:cNvPr id="116" name="Legend3"/>
            <p:cNvSpPr>
              <a:spLocks noChangeArrowheads="1"/>
            </p:cNvSpPr>
            <p:nvPr/>
          </p:nvSpPr>
          <p:spPr bwMode="auto">
            <a:xfrm>
              <a:off x="5104" y="520"/>
              <a:ext cx="315"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rgbClr val="00244F"/>
                </a:buClr>
              </a:pPr>
              <a:r>
                <a:rPr lang="en-GB" sz="900">
                  <a:solidFill>
                    <a:srgbClr val="000000"/>
                  </a:solidFill>
                </a:rPr>
                <a:t>Legend</a:t>
              </a:r>
            </a:p>
          </p:txBody>
        </p:sp>
      </p:grpSp>
      <p:grpSp>
        <p:nvGrpSpPr>
          <p:cNvPr id="117" name="Sticker" hidden="1"/>
          <p:cNvGrpSpPr/>
          <p:nvPr userDrawn="1"/>
        </p:nvGrpSpPr>
        <p:grpSpPr bwMode="auto">
          <a:xfrm>
            <a:off x="8398087" y="202467"/>
            <a:ext cx="571117" cy="120033"/>
            <a:chOff x="7979285" y="285750"/>
            <a:chExt cx="761490" cy="160044"/>
          </a:xfrm>
        </p:grpSpPr>
        <p:sp>
          <p:nvSpPr>
            <p:cNvPr id="118" name="StickerRectangle"/>
            <p:cNvSpPr>
              <a:spLocks noChangeArrowheads="1"/>
            </p:cNvSpPr>
            <p:nvPr/>
          </p:nvSpPr>
          <p:spPr bwMode="auto">
            <a:xfrm>
              <a:off x="7979285" y="285750"/>
              <a:ext cx="761490" cy="160044"/>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671513">
                <a:buClr>
                  <a:srgbClr val="00244F"/>
                </a:buClr>
              </a:pPr>
              <a:r>
                <a:rPr lang="en-GB" sz="600">
                  <a:solidFill>
                    <a:srgbClr val="808080"/>
                  </a:solidFill>
                </a:rPr>
                <a:t>PRELIMINARY</a:t>
              </a:r>
            </a:p>
          </p:txBody>
        </p:sp>
        <p:cxnSp>
          <p:nvCxnSpPr>
            <p:cNvPr id="119" name="AutoShape 31"/>
            <p:cNvCxnSpPr>
              <a:cxnSpLocks noChangeShapeType="1"/>
              <a:stCxn id="118" idx="2"/>
              <a:endCxn id="118" idx="4"/>
            </p:cNvCxnSpPr>
            <p:nvPr/>
          </p:nvCxnSpPr>
          <p:spPr bwMode="auto">
            <a:xfrm>
              <a:off x="7979285" y="285750"/>
              <a:ext cx="0" cy="160044"/>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20" name="AutoShape 32"/>
            <p:cNvCxnSpPr>
              <a:cxnSpLocks noChangeShapeType="1"/>
              <a:stCxn id="118" idx="4"/>
              <a:endCxn id="118" idx="6"/>
            </p:cNvCxnSpPr>
            <p:nvPr/>
          </p:nvCxnSpPr>
          <p:spPr bwMode="auto">
            <a:xfrm>
              <a:off x="7979285" y="445794"/>
              <a:ext cx="76149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121" name="LegendMoons" hidden="1"/>
          <p:cNvGrpSpPr/>
          <p:nvPr userDrawn="1"/>
        </p:nvGrpSpPr>
        <p:grpSpPr bwMode="auto">
          <a:xfrm>
            <a:off x="8346390" y="202466"/>
            <a:ext cx="615609" cy="979887"/>
            <a:chOff x="6655594" y="273840"/>
            <a:chExt cx="820811" cy="1306516"/>
          </a:xfrm>
        </p:grpSpPr>
        <p:grpSp>
          <p:nvGrpSpPr>
            <p:cNvPr id="122" name="MoonLegend1"/>
            <p:cNvGrpSpPr>
              <a:grpSpLocks noChangeAspect="1"/>
            </p:cNvGrpSpPr>
            <p:nvPr>
              <p:custDataLst>
                <p:tags r:id="rId33"/>
              </p:custDataLst>
            </p:nvPr>
          </p:nvGrpSpPr>
          <p:grpSpPr bwMode="auto">
            <a:xfrm>
              <a:off x="6655594" y="273840"/>
              <a:ext cx="209550" cy="209551"/>
              <a:chOff x="4533" y="183"/>
              <a:chExt cx="144" cy="144"/>
            </a:xfrm>
          </p:grpSpPr>
          <p:sp>
            <p:nvSpPr>
              <p:cNvPr id="140" name="Oval 38"/>
              <p:cNvSpPr>
                <a:spLocks noChangeAspect="1" noChangeArrowheads="1"/>
              </p:cNvSpPr>
              <p:nvPr>
                <p:custDataLst>
                  <p:tags r:id="rId46"/>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800"/>
                <a:endParaRPr lang="en-GB" sz="900">
                  <a:solidFill>
                    <a:srgbClr val="000000"/>
                  </a:solidFill>
                </a:endParaRPr>
              </a:p>
            </p:txBody>
          </p:sp>
          <p:sp>
            <p:nvSpPr>
              <p:cNvPr id="141" name="Arc 39"/>
              <p:cNvSpPr>
                <a:spLocks noChangeAspect="1"/>
              </p:cNvSpPr>
              <p:nvPr>
                <p:custDataLst>
                  <p:tags r:id="rId47"/>
                </p:custDataLst>
              </p:nvPr>
            </p:nvSpPr>
            <p:spPr bwMode="auto">
              <a:xfrm>
                <a:off x="4533" y="183"/>
                <a:ext cx="144" cy="144"/>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800"/>
                <a:endParaRPr lang="en-GB" sz="900">
                  <a:solidFill>
                    <a:srgbClr val="000000"/>
                  </a:solidFill>
                </a:endParaRPr>
              </a:p>
            </p:txBody>
          </p:sp>
        </p:grpSp>
        <p:grpSp>
          <p:nvGrpSpPr>
            <p:cNvPr id="123" name="MoonLegend2"/>
            <p:cNvGrpSpPr>
              <a:grpSpLocks noChangeAspect="1"/>
            </p:cNvGrpSpPr>
            <p:nvPr>
              <p:custDataLst>
                <p:tags r:id="rId34"/>
              </p:custDataLst>
            </p:nvPr>
          </p:nvGrpSpPr>
          <p:grpSpPr bwMode="auto">
            <a:xfrm>
              <a:off x="6655594" y="548081"/>
              <a:ext cx="209550" cy="209551"/>
              <a:chOff x="1694" y="2044"/>
              <a:chExt cx="160" cy="160"/>
            </a:xfrm>
          </p:grpSpPr>
          <p:sp>
            <p:nvSpPr>
              <p:cNvPr id="138" name="Oval 41"/>
              <p:cNvSpPr>
                <a:spLocks noChangeAspect="1" noChangeArrowheads="1"/>
              </p:cNvSpPr>
              <p:nvPr>
                <p:custDataLst>
                  <p:tags r:id="rId4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800"/>
                <a:endParaRPr lang="en-GB" sz="900">
                  <a:solidFill>
                    <a:srgbClr val="000000"/>
                  </a:solidFill>
                </a:endParaRPr>
              </a:p>
            </p:txBody>
          </p:sp>
          <p:sp>
            <p:nvSpPr>
              <p:cNvPr id="139" name="Arc 42"/>
              <p:cNvSpPr>
                <a:spLocks noChangeAspect="1"/>
              </p:cNvSpPr>
              <p:nvPr>
                <p:custDataLst>
                  <p:tags r:id="rId45"/>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800"/>
                <a:endParaRPr lang="en-GB" sz="900">
                  <a:solidFill>
                    <a:srgbClr val="000000"/>
                  </a:solidFill>
                </a:endParaRPr>
              </a:p>
            </p:txBody>
          </p:sp>
        </p:grpSp>
        <p:grpSp>
          <p:nvGrpSpPr>
            <p:cNvPr id="124" name="MoonLegend4"/>
            <p:cNvGrpSpPr>
              <a:grpSpLocks noChangeAspect="1"/>
            </p:cNvGrpSpPr>
            <p:nvPr>
              <p:custDataLst>
                <p:tags r:id="rId35"/>
              </p:custDataLst>
            </p:nvPr>
          </p:nvGrpSpPr>
          <p:grpSpPr bwMode="auto">
            <a:xfrm>
              <a:off x="6655594" y="1096563"/>
              <a:ext cx="209550" cy="209551"/>
              <a:chOff x="4495" y="1198"/>
              <a:chExt cx="160" cy="160"/>
            </a:xfrm>
          </p:grpSpPr>
          <p:sp>
            <p:nvSpPr>
              <p:cNvPr id="136" name="Oval 47"/>
              <p:cNvSpPr>
                <a:spLocks noChangeAspect="1" noChangeArrowheads="1"/>
              </p:cNvSpPr>
              <p:nvPr>
                <p:custDataLst>
                  <p:tags r:id="rId4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800"/>
                <a:endParaRPr lang="en-GB" sz="900">
                  <a:solidFill>
                    <a:srgbClr val="000000"/>
                  </a:solidFill>
                </a:endParaRPr>
              </a:p>
            </p:txBody>
          </p:sp>
          <p:sp>
            <p:nvSpPr>
              <p:cNvPr id="137" name="Arc 48"/>
              <p:cNvSpPr>
                <a:spLocks noChangeAspect="1"/>
              </p:cNvSpPr>
              <p:nvPr>
                <p:custDataLst>
                  <p:tags r:id="rId43"/>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800"/>
                <a:endParaRPr lang="en-GB" sz="900">
                  <a:solidFill>
                    <a:srgbClr val="000000"/>
                  </a:solidFill>
                </a:endParaRPr>
              </a:p>
            </p:txBody>
          </p:sp>
        </p:grpSp>
        <p:grpSp>
          <p:nvGrpSpPr>
            <p:cNvPr id="125" name="MoonLegend5"/>
            <p:cNvGrpSpPr>
              <a:grpSpLocks noChangeAspect="1"/>
            </p:cNvGrpSpPr>
            <p:nvPr>
              <p:custDataLst>
                <p:tags r:id="rId36"/>
              </p:custDataLst>
            </p:nvPr>
          </p:nvGrpSpPr>
          <p:grpSpPr bwMode="auto">
            <a:xfrm>
              <a:off x="6655594" y="1370805"/>
              <a:ext cx="209550" cy="209551"/>
              <a:chOff x="4495" y="1440"/>
              <a:chExt cx="160" cy="160"/>
            </a:xfrm>
          </p:grpSpPr>
          <p:sp>
            <p:nvSpPr>
              <p:cNvPr id="134" name="Oval 50"/>
              <p:cNvSpPr>
                <a:spLocks noChangeAspect="1" noChangeArrowheads="1"/>
              </p:cNvSpPr>
              <p:nvPr>
                <p:custDataLst>
                  <p:tags r:id="rId40"/>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800"/>
                <a:endParaRPr lang="en-GB" sz="900">
                  <a:solidFill>
                    <a:srgbClr val="000000"/>
                  </a:solidFill>
                </a:endParaRPr>
              </a:p>
            </p:txBody>
          </p:sp>
          <p:sp>
            <p:nvSpPr>
              <p:cNvPr id="135" name="Oval 51"/>
              <p:cNvSpPr>
                <a:spLocks noChangeAspect="1" noChangeArrowheads="1"/>
              </p:cNvSpPr>
              <p:nvPr>
                <p:custDataLst>
                  <p:tags r:id="rId41"/>
                </p:custDataLst>
              </p:nvPr>
            </p:nvSpPr>
            <p:spPr bwMode="auto">
              <a:xfrm>
                <a:off x="4495" y="1440"/>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800"/>
                <a:endParaRPr lang="en-GB" sz="900">
                  <a:solidFill>
                    <a:srgbClr val="000000"/>
                  </a:solidFill>
                </a:endParaRPr>
              </a:p>
            </p:txBody>
          </p:sp>
        </p:grpSp>
        <p:sp>
          <p:nvSpPr>
            <p:cNvPr id="126" name="Legend1"/>
            <p:cNvSpPr>
              <a:spLocks noChangeArrowheads="1"/>
            </p:cNvSpPr>
            <p:nvPr/>
          </p:nvSpPr>
          <p:spPr bwMode="auto">
            <a:xfrm>
              <a:off x="6976268" y="286540"/>
              <a:ext cx="500137" cy="184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rgbClr val="00244F"/>
                </a:buClr>
              </a:pPr>
              <a:r>
                <a:rPr lang="en-GB" sz="900">
                  <a:solidFill>
                    <a:srgbClr val="000000"/>
                  </a:solidFill>
                </a:rPr>
                <a:t>Legend</a:t>
              </a:r>
            </a:p>
          </p:txBody>
        </p:sp>
        <p:sp>
          <p:nvSpPr>
            <p:cNvPr id="127" name="Legend2"/>
            <p:cNvSpPr>
              <a:spLocks noChangeArrowheads="1"/>
            </p:cNvSpPr>
            <p:nvPr/>
          </p:nvSpPr>
          <p:spPr bwMode="auto">
            <a:xfrm>
              <a:off x="6976268" y="561179"/>
              <a:ext cx="500137" cy="184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rgbClr val="00244F"/>
                </a:buClr>
              </a:pPr>
              <a:r>
                <a:rPr lang="en-GB" sz="900">
                  <a:solidFill>
                    <a:srgbClr val="000000"/>
                  </a:solidFill>
                </a:rPr>
                <a:t>Legend</a:t>
              </a:r>
            </a:p>
          </p:txBody>
        </p:sp>
        <p:sp>
          <p:nvSpPr>
            <p:cNvPr id="128" name="Legend3"/>
            <p:cNvSpPr>
              <a:spLocks noChangeArrowheads="1"/>
            </p:cNvSpPr>
            <p:nvPr/>
          </p:nvSpPr>
          <p:spPr bwMode="auto">
            <a:xfrm>
              <a:off x="6976268" y="835817"/>
              <a:ext cx="500137" cy="184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rgbClr val="00244F"/>
                </a:buClr>
              </a:pPr>
              <a:r>
                <a:rPr lang="en-GB" sz="900">
                  <a:solidFill>
                    <a:srgbClr val="000000"/>
                  </a:solidFill>
                </a:rPr>
                <a:t>Legend</a:t>
              </a:r>
            </a:p>
          </p:txBody>
        </p:sp>
        <p:sp>
          <p:nvSpPr>
            <p:cNvPr id="129" name="Legend4"/>
            <p:cNvSpPr>
              <a:spLocks noChangeArrowheads="1"/>
            </p:cNvSpPr>
            <p:nvPr/>
          </p:nvSpPr>
          <p:spPr bwMode="auto">
            <a:xfrm>
              <a:off x="6976268" y="1107280"/>
              <a:ext cx="500137" cy="184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rgbClr val="00244F"/>
                </a:buClr>
              </a:pPr>
              <a:r>
                <a:rPr lang="en-GB" sz="900">
                  <a:solidFill>
                    <a:srgbClr val="000000"/>
                  </a:solidFill>
                </a:rPr>
                <a:t>Legend</a:t>
              </a:r>
            </a:p>
          </p:txBody>
        </p:sp>
        <p:sp>
          <p:nvSpPr>
            <p:cNvPr id="130" name="Legend5"/>
            <p:cNvSpPr>
              <a:spLocks noChangeArrowheads="1"/>
            </p:cNvSpPr>
            <p:nvPr/>
          </p:nvSpPr>
          <p:spPr bwMode="auto">
            <a:xfrm>
              <a:off x="6976268" y="1383505"/>
              <a:ext cx="500137" cy="184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671513">
                <a:buClr>
                  <a:srgbClr val="00244F"/>
                </a:buClr>
              </a:pPr>
              <a:r>
                <a:rPr lang="en-GB" sz="900">
                  <a:solidFill>
                    <a:srgbClr val="000000"/>
                  </a:solidFill>
                </a:rPr>
                <a:t>Legend</a:t>
              </a:r>
            </a:p>
          </p:txBody>
        </p:sp>
        <p:grpSp>
          <p:nvGrpSpPr>
            <p:cNvPr id="131" name="MoonLegend3"/>
            <p:cNvGrpSpPr>
              <a:grpSpLocks noChangeAspect="1"/>
            </p:cNvGrpSpPr>
            <p:nvPr>
              <p:custDataLst>
                <p:tags r:id="rId37"/>
              </p:custDataLst>
            </p:nvPr>
          </p:nvGrpSpPr>
          <p:grpSpPr bwMode="auto">
            <a:xfrm>
              <a:off x="6655594" y="822322"/>
              <a:ext cx="209550" cy="209551"/>
              <a:chOff x="4495" y="1198"/>
              <a:chExt cx="160" cy="160"/>
            </a:xfrm>
          </p:grpSpPr>
          <p:sp>
            <p:nvSpPr>
              <p:cNvPr id="132" name="Oval 47"/>
              <p:cNvSpPr>
                <a:spLocks noChangeAspect="1" noChangeArrowheads="1"/>
              </p:cNvSpPr>
              <p:nvPr>
                <p:custDataLst>
                  <p:tags r:id="rId3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800"/>
                <a:endParaRPr lang="en-GB" sz="900">
                  <a:solidFill>
                    <a:srgbClr val="000000"/>
                  </a:solidFill>
                </a:endParaRPr>
              </a:p>
            </p:txBody>
          </p:sp>
          <p:sp>
            <p:nvSpPr>
              <p:cNvPr id="133" name="Arc 48"/>
              <p:cNvSpPr>
                <a:spLocks noChangeAspect="1"/>
              </p:cNvSpPr>
              <p:nvPr>
                <p:custDataLst>
                  <p:tags r:id="rId39"/>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85800"/>
                <a:endParaRPr lang="en-GB" sz="900">
                  <a:solidFill>
                    <a:srgbClr val="000000"/>
                  </a:solidFill>
                </a:endParaRPr>
              </a:p>
            </p:txBody>
          </p:sp>
        </p:grpSp>
      </p:grpSp>
      <p:grpSp>
        <p:nvGrpSpPr>
          <p:cNvPr id="75" name="EmptyMoon" hidden="1">
            <a:extLst>
              <a:ext uri="{FF2B5EF4-FFF2-40B4-BE49-F238E27FC236}">
                <a16:creationId xmlns="" xmlns:a16="http://schemas.microsoft.com/office/drawing/2014/main" id="{9BD1B4D7-74E0-4DE5-B8A4-C5E65FC17718}"/>
              </a:ext>
            </a:extLst>
          </p:cNvPr>
          <p:cNvGrpSpPr>
            <a:grpSpLocks noChangeAspect="1"/>
          </p:cNvGrpSpPr>
          <p:nvPr userDrawn="1">
            <p:custDataLst>
              <p:tags r:id="rId17"/>
            </p:custDataLst>
          </p:nvPr>
        </p:nvGrpSpPr>
        <p:grpSpPr>
          <a:xfrm>
            <a:off x="8250984" y="1768235"/>
            <a:ext cx="190500" cy="190500"/>
            <a:chOff x="762000" y="1270000"/>
            <a:chExt cx="254000" cy="254000"/>
          </a:xfrm>
          <a:solidFill>
            <a:schemeClr val="accent1"/>
          </a:solidFill>
        </p:grpSpPr>
        <p:sp>
          <p:nvSpPr>
            <p:cNvPr id="76" name="Oval 75">
              <a:extLst>
                <a:ext uri="{FF2B5EF4-FFF2-40B4-BE49-F238E27FC236}">
                  <a16:creationId xmlns="" xmlns:a16="http://schemas.microsoft.com/office/drawing/2014/main" id="{68120A83-F4A0-4FB0-A1F1-95DA01C4EAFF}"/>
                </a:ext>
              </a:extLst>
            </p:cNvPr>
            <p:cNvSpPr/>
            <p:nvPr>
              <p:custDataLst>
                <p:tags r:id="rId31"/>
              </p:custDataLst>
            </p:nvPr>
          </p:nvSpPr>
          <p:spPr>
            <a:xfrm>
              <a:off x="762000" y="1270000"/>
              <a:ext cx="254000" cy="254000"/>
            </a:xfrm>
            <a:prstGeom prst="ellipse">
              <a:avLst/>
            </a:prstGeom>
            <a:grp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400">
                <a:solidFill>
                  <a:srgbClr val="000000"/>
                </a:solidFill>
              </a:endParaRPr>
            </a:p>
          </p:txBody>
        </p:sp>
        <p:sp>
          <p:nvSpPr>
            <p:cNvPr id="77" name="Arc 76" hidden="1">
              <a:extLst>
                <a:ext uri="{FF2B5EF4-FFF2-40B4-BE49-F238E27FC236}">
                  <a16:creationId xmlns="" xmlns:a16="http://schemas.microsoft.com/office/drawing/2014/main" id="{D87B598F-D508-48B3-BA2B-BB32C2889CF9}"/>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3"/>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defTabSz="685800"/>
              <a:endParaRPr lang="en-GB" sz="1400">
                <a:solidFill>
                  <a:srgbClr val="000000"/>
                </a:solidFill>
              </a:endParaRPr>
            </a:p>
          </p:txBody>
        </p:sp>
      </p:grpSp>
      <p:grpSp>
        <p:nvGrpSpPr>
          <p:cNvPr id="78" name="QuaterMoon" hidden="1">
            <a:extLst>
              <a:ext uri="{FF2B5EF4-FFF2-40B4-BE49-F238E27FC236}">
                <a16:creationId xmlns="" xmlns:a16="http://schemas.microsoft.com/office/drawing/2014/main" id="{3BA3896A-2D13-41B8-AD5F-B6271D2C8A64}"/>
              </a:ext>
            </a:extLst>
          </p:cNvPr>
          <p:cNvGrpSpPr>
            <a:grpSpLocks noChangeAspect="1"/>
          </p:cNvGrpSpPr>
          <p:nvPr userDrawn="1">
            <p:custDataLst>
              <p:tags r:id="rId18"/>
            </p:custDataLst>
          </p:nvPr>
        </p:nvGrpSpPr>
        <p:grpSpPr>
          <a:xfrm>
            <a:off x="8250984" y="2149235"/>
            <a:ext cx="190500" cy="190500"/>
            <a:chOff x="762000" y="1270000"/>
            <a:chExt cx="254000" cy="254000"/>
          </a:xfrm>
        </p:grpSpPr>
        <p:sp>
          <p:nvSpPr>
            <p:cNvPr id="79" name="Oval 78">
              <a:extLst>
                <a:ext uri="{FF2B5EF4-FFF2-40B4-BE49-F238E27FC236}">
                  <a16:creationId xmlns="" xmlns:a16="http://schemas.microsoft.com/office/drawing/2014/main" id="{4103D2F6-988C-48F1-A436-DF264DC03402}"/>
                </a:ext>
              </a:extLst>
            </p:cNvPr>
            <p:cNvSpPr/>
            <p:nvPr>
              <p:custDataLst>
                <p:tags r:id="rId29"/>
              </p:custDataLst>
            </p:nvPr>
          </p:nvSpPr>
          <p:spPr>
            <a:xfrm>
              <a:off x="762000" y="1270000"/>
              <a:ext cx="254000" cy="254000"/>
            </a:xfrm>
            <a:prstGeom prst="ellipse">
              <a:avLst/>
            </a:prstGeom>
            <a:solidFill>
              <a:schemeClr val="accent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400">
                <a:solidFill>
                  <a:srgbClr val="000000"/>
                </a:solidFill>
              </a:endParaRPr>
            </a:p>
          </p:txBody>
        </p:sp>
        <p:sp>
          <p:nvSpPr>
            <p:cNvPr id="80" name="Arc 79">
              <a:extLst>
                <a:ext uri="{FF2B5EF4-FFF2-40B4-BE49-F238E27FC236}">
                  <a16:creationId xmlns="" xmlns:a16="http://schemas.microsoft.com/office/drawing/2014/main" id="{9F6D644F-F24A-4008-A1DA-6BC6891CEFD5}"/>
                </a:ext>
              </a:extLst>
            </p:cNvPr>
            <p:cNvSpPr/>
            <p:nvPr>
              <p:custDataLst>
                <p:tags r:id="rId30"/>
              </p:custDataLst>
            </p:nvPr>
          </p:nvSpPr>
          <p:spPr>
            <a:xfrm>
              <a:off x="762000" y="1270000"/>
              <a:ext cx="254000" cy="254000"/>
            </a:xfrm>
            <a:prstGeom prst="arc">
              <a:avLst>
                <a:gd name="adj1" fmla="val 16200000"/>
                <a:gd name="adj2" fmla="val 0"/>
              </a:avLst>
            </a:prstGeom>
            <a:solidFill>
              <a:schemeClr val="accent3"/>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defTabSz="685800"/>
              <a:endParaRPr lang="en-GB" sz="1400">
                <a:solidFill>
                  <a:srgbClr val="000000"/>
                </a:solidFill>
              </a:endParaRPr>
            </a:p>
          </p:txBody>
        </p:sp>
      </p:grpSp>
      <p:grpSp>
        <p:nvGrpSpPr>
          <p:cNvPr id="81" name="HalfMoon" hidden="1">
            <a:extLst>
              <a:ext uri="{FF2B5EF4-FFF2-40B4-BE49-F238E27FC236}">
                <a16:creationId xmlns="" xmlns:a16="http://schemas.microsoft.com/office/drawing/2014/main" id="{8E223F34-3DE6-46B8-B323-D902D99D6115}"/>
              </a:ext>
            </a:extLst>
          </p:cNvPr>
          <p:cNvGrpSpPr>
            <a:grpSpLocks noChangeAspect="1"/>
          </p:cNvGrpSpPr>
          <p:nvPr userDrawn="1">
            <p:custDataLst>
              <p:tags r:id="rId19"/>
            </p:custDataLst>
          </p:nvPr>
        </p:nvGrpSpPr>
        <p:grpSpPr>
          <a:xfrm>
            <a:off x="8250984" y="2530235"/>
            <a:ext cx="190500" cy="190500"/>
            <a:chOff x="762000" y="1270000"/>
            <a:chExt cx="254000" cy="254000"/>
          </a:xfrm>
          <a:solidFill>
            <a:schemeClr val="accent3"/>
          </a:solidFill>
        </p:grpSpPr>
        <p:sp>
          <p:nvSpPr>
            <p:cNvPr id="82" name="Oval 81">
              <a:extLst>
                <a:ext uri="{FF2B5EF4-FFF2-40B4-BE49-F238E27FC236}">
                  <a16:creationId xmlns="" xmlns:a16="http://schemas.microsoft.com/office/drawing/2014/main" id="{98F5819B-24FB-4C43-ADDF-2A1DD30119F7}"/>
                </a:ext>
              </a:extLst>
            </p:cNvPr>
            <p:cNvSpPr/>
            <p:nvPr>
              <p:custDataLst>
                <p:tags r:id="rId27"/>
              </p:custDataLst>
            </p:nvPr>
          </p:nvSpPr>
          <p:spPr>
            <a:xfrm>
              <a:off x="762000" y="1270000"/>
              <a:ext cx="254000" cy="254000"/>
            </a:xfrm>
            <a:prstGeom prst="ellipse">
              <a:avLst/>
            </a:prstGeom>
            <a:solidFill>
              <a:schemeClr val="accent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400">
                <a:solidFill>
                  <a:srgbClr val="000000"/>
                </a:solidFill>
              </a:endParaRPr>
            </a:p>
          </p:txBody>
        </p:sp>
        <p:sp>
          <p:nvSpPr>
            <p:cNvPr id="83" name="Arc 82">
              <a:extLst>
                <a:ext uri="{FF2B5EF4-FFF2-40B4-BE49-F238E27FC236}">
                  <a16:creationId xmlns="" xmlns:a16="http://schemas.microsoft.com/office/drawing/2014/main" id="{78BCF0F7-D8C0-434B-854B-E039CA38BE6A}"/>
                </a:ext>
              </a:extLst>
            </p:cNvPr>
            <p:cNvSpPr/>
            <p:nvPr>
              <p:custDataLst>
                <p:tags r:id="rId28"/>
              </p:custDataLst>
            </p:nvPr>
          </p:nvSpPr>
          <p:spPr>
            <a:xfrm>
              <a:off x="762000" y="1270000"/>
              <a:ext cx="254000" cy="254000"/>
            </a:xfrm>
            <a:prstGeom prst="arc">
              <a:avLst>
                <a:gd name="adj1" fmla="val 16200000"/>
                <a:gd name="adj2" fmla="val 5400000"/>
              </a:avLst>
            </a:prstGeom>
            <a:solidFill>
              <a:schemeClr val="accent3"/>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defTabSz="685800"/>
              <a:endParaRPr lang="en-GB" sz="1400">
                <a:solidFill>
                  <a:srgbClr val="000000"/>
                </a:solidFill>
              </a:endParaRPr>
            </a:p>
          </p:txBody>
        </p:sp>
      </p:grpSp>
      <p:grpSp>
        <p:nvGrpSpPr>
          <p:cNvPr id="84" name="3QuaterMoon" hidden="1">
            <a:extLst>
              <a:ext uri="{FF2B5EF4-FFF2-40B4-BE49-F238E27FC236}">
                <a16:creationId xmlns="" xmlns:a16="http://schemas.microsoft.com/office/drawing/2014/main" id="{CAADBF20-BB39-4FDE-A63B-6E4A5B6D2701}"/>
              </a:ext>
            </a:extLst>
          </p:cNvPr>
          <p:cNvGrpSpPr>
            <a:grpSpLocks noChangeAspect="1"/>
          </p:cNvGrpSpPr>
          <p:nvPr userDrawn="1">
            <p:custDataLst>
              <p:tags r:id="rId20"/>
            </p:custDataLst>
          </p:nvPr>
        </p:nvGrpSpPr>
        <p:grpSpPr>
          <a:xfrm>
            <a:off x="8250984" y="2911235"/>
            <a:ext cx="190500" cy="190500"/>
            <a:chOff x="762000" y="1270000"/>
            <a:chExt cx="254000" cy="254000"/>
          </a:xfrm>
          <a:solidFill>
            <a:schemeClr val="accent3"/>
          </a:solidFill>
        </p:grpSpPr>
        <p:sp>
          <p:nvSpPr>
            <p:cNvPr id="85" name="Oval 84">
              <a:extLst>
                <a:ext uri="{FF2B5EF4-FFF2-40B4-BE49-F238E27FC236}">
                  <a16:creationId xmlns="" xmlns:a16="http://schemas.microsoft.com/office/drawing/2014/main" id="{5D1641E8-5E2F-410A-AE9C-E3D8675A0BD3}"/>
                </a:ext>
              </a:extLst>
            </p:cNvPr>
            <p:cNvSpPr/>
            <p:nvPr>
              <p:custDataLst>
                <p:tags r:id="rId25"/>
              </p:custDataLst>
            </p:nvPr>
          </p:nvSpPr>
          <p:spPr>
            <a:xfrm>
              <a:off x="762000" y="1270000"/>
              <a:ext cx="254000" cy="254000"/>
            </a:xfrm>
            <a:prstGeom prst="ellipse">
              <a:avLst/>
            </a:prstGeom>
            <a:solidFill>
              <a:schemeClr val="accent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400">
                <a:solidFill>
                  <a:srgbClr val="000000"/>
                </a:solidFill>
              </a:endParaRPr>
            </a:p>
          </p:txBody>
        </p:sp>
        <p:sp>
          <p:nvSpPr>
            <p:cNvPr id="86" name="Arc 85">
              <a:extLst>
                <a:ext uri="{FF2B5EF4-FFF2-40B4-BE49-F238E27FC236}">
                  <a16:creationId xmlns="" xmlns:a16="http://schemas.microsoft.com/office/drawing/2014/main" id="{6ABE24C1-892D-4AE0-8DED-CDFC438BE5E1}"/>
                </a:ext>
              </a:extLst>
            </p:cNvPr>
            <p:cNvSpPr/>
            <p:nvPr>
              <p:custDataLst>
                <p:tags r:id="rId26"/>
              </p:custDataLst>
            </p:nvPr>
          </p:nvSpPr>
          <p:spPr>
            <a:xfrm>
              <a:off x="762000" y="1270000"/>
              <a:ext cx="254000" cy="254000"/>
            </a:xfrm>
            <a:prstGeom prst="arc">
              <a:avLst>
                <a:gd name="adj1" fmla="val 16200000"/>
                <a:gd name="adj2" fmla="val 10800000"/>
              </a:avLst>
            </a:prstGeom>
            <a:solidFill>
              <a:schemeClr val="accent3"/>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defTabSz="685800"/>
              <a:endParaRPr lang="en-GB" sz="1400">
                <a:solidFill>
                  <a:srgbClr val="000000"/>
                </a:solidFill>
              </a:endParaRPr>
            </a:p>
          </p:txBody>
        </p:sp>
      </p:grpSp>
      <p:grpSp>
        <p:nvGrpSpPr>
          <p:cNvPr id="87" name="FullMoon" hidden="1">
            <a:extLst>
              <a:ext uri="{FF2B5EF4-FFF2-40B4-BE49-F238E27FC236}">
                <a16:creationId xmlns="" xmlns:a16="http://schemas.microsoft.com/office/drawing/2014/main" id="{3B001A47-A449-4B93-932D-0C35A0D7ACD6}"/>
              </a:ext>
            </a:extLst>
          </p:cNvPr>
          <p:cNvGrpSpPr>
            <a:grpSpLocks noChangeAspect="1"/>
          </p:cNvGrpSpPr>
          <p:nvPr userDrawn="1">
            <p:custDataLst>
              <p:tags r:id="rId21"/>
            </p:custDataLst>
          </p:nvPr>
        </p:nvGrpSpPr>
        <p:grpSpPr>
          <a:xfrm>
            <a:off x="8250984" y="3292235"/>
            <a:ext cx="190500" cy="190500"/>
            <a:chOff x="762000" y="1270000"/>
            <a:chExt cx="254000" cy="254000"/>
          </a:xfrm>
          <a:solidFill>
            <a:schemeClr val="accent3"/>
          </a:solidFill>
        </p:grpSpPr>
        <p:sp>
          <p:nvSpPr>
            <p:cNvPr id="88" name="Oval 87">
              <a:extLst>
                <a:ext uri="{FF2B5EF4-FFF2-40B4-BE49-F238E27FC236}">
                  <a16:creationId xmlns="" xmlns:a16="http://schemas.microsoft.com/office/drawing/2014/main" id="{3865AD9F-D31A-4AF9-970D-0FC9BF1F5FFD}"/>
                </a:ext>
              </a:extLst>
            </p:cNvPr>
            <p:cNvSpPr/>
            <p:nvPr>
              <p:custDataLst>
                <p:tags r:id="rId23"/>
              </p:custDataLst>
            </p:nvPr>
          </p:nvSpPr>
          <p:spPr>
            <a:xfrm>
              <a:off x="762000" y="1270000"/>
              <a:ext cx="254000" cy="254000"/>
            </a:xfrm>
            <a:prstGeom prst="ellipse">
              <a:avLst/>
            </a:prstGeom>
            <a:solidFill>
              <a:schemeClr val="accent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400">
                <a:solidFill>
                  <a:srgbClr val="000000"/>
                </a:solidFill>
              </a:endParaRPr>
            </a:p>
          </p:txBody>
        </p:sp>
        <p:sp>
          <p:nvSpPr>
            <p:cNvPr id="89" name="Arc 88">
              <a:extLst>
                <a:ext uri="{FF2B5EF4-FFF2-40B4-BE49-F238E27FC236}">
                  <a16:creationId xmlns="" xmlns:a16="http://schemas.microsoft.com/office/drawing/2014/main" id="{E93561DF-4865-47BD-8CC5-F2120C1A6D17}"/>
                </a:ext>
              </a:extLst>
            </p:cNvPr>
            <p:cNvSpPr/>
            <p:nvPr>
              <p:custDataLst>
                <p:tags r:id="rId24"/>
              </p:custDataLst>
            </p:nvPr>
          </p:nvSpPr>
          <p:spPr>
            <a:xfrm>
              <a:off x="762000" y="1270000"/>
              <a:ext cx="254000" cy="254000"/>
            </a:xfrm>
            <a:prstGeom prst="arc">
              <a:avLst>
                <a:gd name="adj1" fmla="val 16200000"/>
                <a:gd name="adj2" fmla="val 16200000"/>
              </a:avLst>
            </a:prstGeom>
            <a:solidFill>
              <a:schemeClr val="accent3"/>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defTabSz="685800"/>
              <a:endParaRPr lang="en-GB" sz="1400">
                <a:solidFill>
                  <a:srgbClr val="000000"/>
                </a:solidFill>
              </a:endParaRPr>
            </a:p>
          </p:txBody>
        </p:sp>
      </p:grpSp>
      <p:sp>
        <p:nvSpPr>
          <p:cNvPr id="4" name="5. Source" hidden="1">
            <a:extLst>
              <a:ext uri="{FF2B5EF4-FFF2-40B4-BE49-F238E27FC236}">
                <a16:creationId xmlns="" xmlns:a16="http://schemas.microsoft.com/office/drawing/2014/main" id="{39281FBF-4376-4AD3-B5DC-2C9BCAD82DA8}"/>
              </a:ext>
            </a:extLst>
          </p:cNvPr>
          <p:cNvSpPr txBox="1"/>
          <p:nvPr userDrawn="1">
            <p:custDataLst>
              <p:tags r:id="rId22"/>
            </p:custDataLst>
          </p:nvPr>
        </p:nvSpPr>
        <p:spPr>
          <a:xfrm>
            <a:off x="798600" y="4982286"/>
            <a:ext cx="7547651" cy="161583"/>
          </a:xfrm>
          <a:prstGeom prst="rect">
            <a:avLst/>
          </a:prstGeom>
          <a:noFill/>
        </p:spPr>
        <p:txBody>
          <a:bodyPr vert="horz" wrap="square" lIns="68580" tIns="34290" rIns="68580" bIns="34290" rtlCol="0">
            <a:spAutoFit/>
          </a:bodyPr>
          <a:lstStyle/>
          <a:p>
            <a:pPr defTabSz="685800"/>
            <a:r>
              <a:rPr lang="en-GB" sz="600">
                <a:solidFill>
                  <a:srgbClr val="000000"/>
                </a:solidFill>
              </a:rPr>
              <a:t>SOURCE : Source</a:t>
            </a:r>
          </a:p>
        </p:txBody>
      </p:sp>
    </p:spTree>
    <p:extLst>
      <p:ext uri="{BB962C8B-B14F-4D97-AF65-F5344CB8AC3E}">
        <p14:creationId xmlns:p14="http://schemas.microsoft.com/office/powerpoint/2010/main" val="3861005440"/>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 id="2147483818" r:id="rId8"/>
    <p:sldLayoutId id="2147483819" r:id="rId9"/>
    <p:sldLayoutId id="2147483820" r:id="rId10"/>
    <p:sldLayoutId id="2147483821" r:id="rId11"/>
    <p:sldLayoutId id="2147483822" r:id="rId12"/>
    <p:sldLayoutId id="2147483824" r:id="rId13"/>
  </p:sldLayoutIdLst>
  <p:hf hdr="0" ftr="0" dt="0"/>
  <p:txStyles>
    <p:titleStyle>
      <a:lvl1pPr algn="l" defTabSz="913520" rtl="0" eaLnBrk="1" fontAlgn="base" hangingPunct="1">
        <a:spcBef>
          <a:spcPct val="0"/>
        </a:spcBef>
        <a:spcAft>
          <a:spcPct val="0"/>
        </a:spcAft>
        <a:tabLst>
          <a:tab pos="275351" algn="l"/>
        </a:tabLst>
        <a:defRPr lang="x-none" sz="1800" b="1" baseline="0">
          <a:solidFill>
            <a:schemeClr val="tx2"/>
          </a:solidFill>
          <a:latin typeface="+mj-lt"/>
          <a:ea typeface="+mj-ea"/>
          <a:cs typeface="+mj-cs"/>
        </a:defRPr>
      </a:lvl1pPr>
      <a:lvl2pPr algn="l" defTabSz="913520" rtl="0" eaLnBrk="1" fontAlgn="base" hangingPunct="1">
        <a:spcBef>
          <a:spcPct val="0"/>
        </a:spcBef>
        <a:spcAft>
          <a:spcPct val="0"/>
        </a:spcAft>
        <a:defRPr lang="x-none" sz="1900" b="1">
          <a:solidFill>
            <a:schemeClr val="tx2"/>
          </a:solidFill>
          <a:latin typeface="Arial" charset="0"/>
        </a:defRPr>
      </a:lvl2pPr>
      <a:lvl3pPr algn="l" defTabSz="913520" rtl="0" eaLnBrk="1" fontAlgn="base" hangingPunct="1">
        <a:spcBef>
          <a:spcPct val="0"/>
        </a:spcBef>
        <a:spcAft>
          <a:spcPct val="0"/>
        </a:spcAft>
        <a:defRPr lang="x-none" sz="1900" b="1">
          <a:solidFill>
            <a:schemeClr val="tx2"/>
          </a:solidFill>
          <a:latin typeface="Arial" charset="0"/>
        </a:defRPr>
      </a:lvl3pPr>
      <a:lvl4pPr algn="l" defTabSz="913520" rtl="0" eaLnBrk="1" fontAlgn="base" hangingPunct="1">
        <a:spcBef>
          <a:spcPct val="0"/>
        </a:spcBef>
        <a:spcAft>
          <a:spcPct val="0"/>
        </a:spcAft>
        <a:defRPr lang="x-none" sz="1900" b="1">
          <a:solidFill>
            <a:schemeClr val="tx2"/>
          </a:solidFill>
          <a:latin typeface="Arial" charset="0"/>
        </a:defRPr>
      </a:lvl4pPr>
      <a:lvl5pPr algn="l" defTabSz="913520" rtl="0" eaLnBrk="1" fontAlgn="base" hangingPunct="1">
        <a:spcBef>
          <a:spcPct val="0"/>
        </a:spcBef>
        <a:spcAft>
          <a:spcPct val="0"/>
        </a:spcAft>
        <a:defRPr lang="x-none" sz="1900" b="1">
          <a:solidFill>
            <a:schemeClr val="tx2"/>
          </a:solidFill>
          <a:latin typeface="Arial" charset="0"/>
        </a:defRPr>
      </a:lvl5pPr>
      <a:lvl6pPr marL="466478" algn="l" defTabSz="913520" rtl="0" eaLnBrk="1" fontAlgn="base" hangingPunct="1">
        <a:spcBef>
          <a:spcPct val="0"/>
        </a:spcBef>
        <a:spcAft>
          <a:spcPct val="0"/>
        </a:spcAft>
        <a:defRPr lang="x-none" sz="1900" b="1">
          <a:solidFill>
            <a:schemeClr val="tx2"/>
          </a:solidFill>
          <a:latin typeface="Arial" charset="0"/>
        </a:defRPr>
      </a:lvl6pPr>
      <a:lvl7pPr marL="932956" algn="l" defTabSz="913520" rtl="0" eaLnBrk="1" fontAlgn="base" hangingPunct="1">
        <a:spcBef>
          <a:spcPct val="0"/>
        </a:spcBef>
        <a:spcAft>
          <a:spcPct val="0"/>
        </a:spcAft>
        <a:defRPr lang="x-none" sz="1900" b="1">
          <a:solidFill>
            <a:schemeClr val="tx2"/>
          </a:solidFill>
          <a:latin typeface="Arial" charset="0"/>
        </a:defRPr>
      </a:lvl7pPr>
      <a:lvl8pPr marL="1399432" algn="l" defTabSz="913520" rtl="0" eaLnBrk="1" fontAlgn="base" hangingPunct="1">
        <a:spcBef>
          <a:spcPct val="0"/>
        </a:spcBef>
        <a:spcAft>
          <a:spcPct val="0"/>
        </a:spcAft>
        <a:defRPr lang="x-none" sz="1900" b="1">
          <a:solidFill>
            <a:schemeClr val="tx2"/>
          </a:solidFill>
          <a:latin typeface="Arial" charset="0"/>
        </a:defRPr>
      </a:lvl8pPr>
      <a:lvl9pPr marL="1865910" algn="l" defTabSz="913520" rtl="0" eaLnBrk="1" fontAlgn="base" hangingPunct="1">
        <a:spcBef>
          <a:spcPct val="0"/>
        </a:spcBef>
        <a:spcAft>
          <a:spcPct val="0"/>
        </a:spcAft>
        <a:defRPr lang="x-none" sz="1900" b="1">
          <a:solidFill>
            <a:schemeClr val="tx2"/>
          </a:solidFill>
          <a:latin typeface="Arial" charset="0"/>
        </a:defRPr>
      </a:lvl9pPr>
    </p:titleStyle>
    <p:bodyStyle>
      <a:lvl1pPr marL="0" indent="0" algn="l" defTabSz="913520" rtl="0" eaLnBrk="1" fontAlgn="base" hangingPunct="1">
        <a:spcBef>
          <a:spcPct val="0"/>
        </a:spcBef>
        <a:spcAft>
          <a:spcPct val="0"/>
        </a:spcAft>
        <a:buClr>
          <a:schemeClr val="tx2"/>
        </a:buClr>
        <a:buSzPct val="100000"/>
        <a:defRPr lang="x-none" sz="1100" baseline="0">
          <a:solidFill>
            <a:schemeClr val="tx1"/>
          </a:solidFill>
          <a:latin typeface="+mn-lt"/>
          <a:ea typeface="+mn-ea"/>
          <a:cs typeface="+mn-cs"/>
        </a:defRPr>
      </a:lvl1pPr>
      <a:lvl2pPr marL="144018" indent="-144018" algn="l" defTabSz="913520" rtl="0" eaLnBrk="1" fontAlgn="base" hangingPunct="1">
        <a:spcBef>
          <a:spcPct val="0"/>
        </a:spcBef>
        <a:spcAft>
          <a:spcPct val="0"/>
        </a:spcAft>
        <a:buClr>
          <a:schemeClr val="tx2"/>
        </a:buClr>
        <a:buSzPct val="125000"/>
        <a:buFont typeface="Arial" panose="020B0604020202020204" pitchFamily="34" charset="0"/>
        <a:buChar char="•"/>
        <a:defRPr lang="x-none" sz="1100" baseline="0">
          <a:solidFill>
            <a:schemeClr val="tx1"/>
          </a:solidFill>
          <a:latin typeface="+mn-lt"/>
        </a:defRPr>
      </a:lvl2pPr>
      <a:lvl3pPr marL="342900" indent="-198882" algn="l" defTabSz="913520" rtl="0" eaLnBrk="1" fontAlgn="base" hangingPunct="1">
        <a:spcBef>
          <a:spcPct val="0"/>
        </a:spcBef>
        <a:spcAft>
          <a:spcPct val="0"/>
        </a:spcAft>
        <a:buClr>
          <a:schemeClr val="tx2"/>
        </a:buClr>
        <a:buSzPct val="120000"/>
        <a:buFont typeface="Arial" charset="0"/>
        <a:buChar char="–"/>
        <a:defRPr lang="x-none" sz="1100" baseline="0">
          <a:solidFill>
            <a:schemeClr val="tx1"/>
          </a:solidFill>
          <a:latin typeface="+mn-lt"/>
        </a:defRPr>
      </a:lvl3pPr>
      <a:lvl4pPr marL="459486" indent="-116586" algn="l" defTabSz="913520" rtl="0" eaLnBrk="1" fontAlgn="base" hangingPunct="1">
        <a:spcBef>
          <a:spcPct val="0"/>
        </a:spcBef>
        <a:spcAft>
          <a:spcPct val="0"/>
        </a:spcAft>
        <a:buClr>
          <a:schemeClr val="tx2"/>
        </a:buClr>
        <a:buSzPct val="100000"/>
        <a:buFont typeface="Arial" panose="020B0604020202020204" pitchFamily="34" charset="0"/>
        <a:buChar char="•"/>
        <a:defRPr lang="x-none" sz="1100" baseline="0">
          <a:solidFill>
            <a:schemeClr val="tx1"/>
          </a:solidFill>
          <a:latin typeface="+mn-lt"/>
        </a:defRPr>
      </a:lvl4pPr>
      <a:lvl5pPr marL="562356" indent="-96012" algn="l" defTabSz="913520" rtl="0" eaLnBrk="1" fontAlgn="base" hangingPunct="1">
        <a:spcBef>
          <a:spcPct val="0"/>
        </a:spcBef>
        <a:spcAft>
          <a:spcPct val="0"/>
        </a:spcAft>
        <a:buClr>
          <a:schemeClr val="tx2"/>
        </a:buClr>
        <a:buSzPct val="89000"/>
        <a:buFont typeface="Arial" charset="0"/>
        <a:buChar char="-"/>
        <a:defRPr lang="x-none" sz="1100" baseline="0">
          <a:solidFill>
            <a:schemeClr val="tx1"/>
          </a:solidFill>
          <a:latin typeface="+mn-lt"/>
        </a:defRPr>
      </a:lvl5pPr>
      <a:lvl6pPr marL="765023" indent="-132817" algn="l" defTabSz="91352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6pPr>
      <a:lvl7pPr marL="765023" indent="-132817" algn="l" defTabSz="91352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7pPr>
      <a:lvl8pPr marL="765023" indent="-132817" algn="l" defTabSz="91352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8pPr>
      <a:lvl9pPr marL="765023" indent="-132817" algn="l" defTabSz="91352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9pPr>
    </p:bodyStyle>
    <p:otherStyle>
      <a:defPPr>
        <a:defRPr lang="x-none"/>
      </a:defPPr>
      <a:lvl1pPr marL="0" algn="l" defTabSz="932956" rtl="0" eaLnBrk="1" latinLnBrk="0" hangingPunct="1">
        <a:defRPr lang="x-none" sz="1800" kern="1200">
          <a:solidFill>
            <a:schemeClr val="tx1"/>
          </a:solidFill>
          <a:latin typeface="+mn-lt"/>
          <a:ea typeface="+mn-ea"/>
          <a:cs typeface="+mn-cs"/>
        </a:defRPr>
      </a:lvl1pPr>
      <a:lvl2pPr marL="466478" algn="l" defTabSz="932956" rtl="0" eaLnBrk="1" latinLnBrk="0" hangingPunct="1">
        <a:defRPr lang="x-none" sz="1800" kern="1200">
          <a:solidFill>
            <a:schemeClr val="tx1"/>
          </a:solidFill>
          <a:latin typeface="+mn-lt"/>
          <a:ea typeface="+mn-ea"/>
          <a:cs typeface="+mn-cs"/>
        </a:defRPr>
      </a:lvl2pPr>
      <a:lvl3pPr marL="932956" algn="l" defTabSz="932956" rtl="0" eaLnBrk="1" latinLnBrk="0" hangingPunct="1">
        <a:defRPr lang="x-none" sz="1800" kern="1200">
          <a:solidFill>
            <a:schemeClr val="tx1"/>
          </a:solidFill>
          <a:latin typeface="+mn-lt"/>
          <a:ea typeface="+mn-ea"/>
          <a:cs typeface="+mn-cs"/>
        </a:defRPr>
      </a:lvl3pPr>
      <a:lvl4pPr marL="1399432" algn="l" defTabSz="932956" rtl="0" eaLnBrk="1" latinLnBrk="0" hangingPunct="1">
        <a:defRPr lang="x-none" sz="1800" kern="1200">
          <a:solidFill>
            <a:schemeClr val="tx1"/>
          </a:solidFill>
          <a:latin typeface="+mn-lt"/>
          <a:ea typeface="+mn-ea"/>
          <a:cs typeface="+mn-cs"/>
        </a:defRPr>
      </a:lvl4pPr>
      <a:lvl5pPr marL="1865910" algn="l" defTabSz="932956" rtl="0" eaLnBrk="1" latinLnBrk="0" hangingPunct="1">
        <a:defRPr lang="x-none" sz="1800" kern="1200">
          <a:solidFill>
            <a:schemeClr val="tx1"/>
          </a:solidFill>
          <a:latin typeface="+mn-lt"/>
          <a:ea typeface="+mn-ea"/>
          <a:cs typeface="+mn-cs"/>
        </a:defRPr>
      </a:lvl5pPr>
      <a:lvl6pPr marL="2332388" algn="l" defTabSz="932956" rtl="0" eaLnBrk="1" latinLnBrk="0" hangingPunct="1">
        <a:defRPr lang="x-none" sz="1800" kern="1200">
          <a:solidFill>
            <a:schemeClr val="tx1"/>
          </a:solidFill>
          <a:latin typeface="+mn-lt"/>
          <a:ea typeface="+mn-ea"/>
          <a:cs typeface="+mn-cs"/>
        </a:defRPr>
      </a:lvl6pPr>
      <a:lvl7pPr marL="2798866" algn="l" defTabSz="932956" rtl="0" eaLnBrk="1" latinLnBrk="0" hangingPunct="1">
        <a:defRPr lang="x-none" sz="1800" kern="1200">
          <a:solidFill>
            <a:schemeClr val="tx1"/>
          </a:solidFill>
          <a:latin typeface="+mn-lt"/>
          <a:ea typeface="+mn-ea"/>
          <a:cs typeface="+mn-cs"/>
        </a:defRPr>
      </a:lvl7pPr>
      <a:lvl8pPr marL="3265343" algn="l" defTabSz="932956" rtl="0" eaLnBrk="1" latinLnBrk="0" hangingPunct="1">
        <a:defRPr lang="x-none" sz="1800" kern="1200">
          <a:solidFill>
            <a:schemeClr val="tx1"/>
          </a:solidFill>
          <a:latin typeface="+mn-lt"/>
          <a:ea typeface="+mn-ea"/>
          <a:cs typeface="+mn-cs"/>
        </a:defRPr>
      </a:lvl8pPr>
      <a:lvl9pPr marL="3731821" algn="l" defTabSz="932956" rtl="0" eaLnBrk="1" latinLnBrk="0" hangingPunct="1">
        <a:defRPr lang="x-none"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D283D300-2124-42DF-B73B-3D3D4C546EC6}"/>
              </a:ext>
            </a:extLst>
          </p:cNvPr>
          <p:cNvGraphicFramePr>
            <a:graphicFrameLocks noChangeAspect="1"/>
          </p:cNvGraphicFramePr>
          <p:nvPr userDrawn="1">
            <p:custDataLst>
              <p:tags r:id="rId31"/>
            </p:custDataLst>
            <p:extLst>
              <p:ext uri="{D42A27DB-BD31-4B8C-83A1-F6EECF244321}">
                <p14:modId xmlns:p14="http://schemas.microsoft.com/office/powerpoint/2010/main" val="3246150202"/>
              </p:ext>
            </p:ext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spid="_x0000_s16451" name="Diapositiva de think-cell" r:id="rId33" imgW="395" imgH="394" progId="TCLayout.ActiveDocument.1">
                  <p:embed/>
                </p:oleObj>
              </mc:Choice>
              <mc:Fallback>
                <p:oleObj name="Diapositiva de think-cell" r:id="rId33" imgW="395" imgH="394" progId="TCLayout.ActiveDocument.1">
                  <p:embed/>
                  <p:pic>
                    <p:nvPicPr>
                      <p:cNvPr id="0" name=""/>
                      <p:cNvPicPr/>
                      <p:nvPr/>
                    </p:nvPicPr>
                    <p:blipFill>
                      <a:blip r:embed="rId34"/>
                      <a:stretch>
                        <a:fillRect/>
                      </a:stretch>
                    </p:blipFill>
                    <p:spPr>
                      <a:xfrm>
                        <a:off x="1193" y="1193"/>
                        <a:ext cx="1191" cy="1191"/>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4B895B28-7064-4AD0-A15D-88F99BCA9BAD}"/>
              </a:ext>
            </a:extLst>
          </p:cNvPr>
          <p:cNvSpPr/>
          <p:nvPr userDrawn="1">
            <p:custDataLst>
              <p:tags r:id="rId32"/>
            </p:custDataLst>
          </p:nvPr>
        </p:nvSpPr>
        <p:spPr>
          <a:xfrm>
            <a:off x="3" y="9"/>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85647"/>
            <a:endParaRPr kumimoji="1" lang="en-US" altLang="ja-JP" sz="2100">
              <a:solidFill>
                <a:srgbClr val="FFFFFF"/>
              </a:solidFill>
              <a:cs typeface="Calibri" panose="020F0502020204030204" pitchFamily="34" charset="0"/>
              <a:sym typeface="Calibri" panose="020F0502020204030204" pitchFamily="34" charset="0"/>
            </a:endParaRPr>
          </a:p>
        </p:txBody>
      </p:sp>
      <p:sp>
        <p:nvSpPr>
          <p:cNvPr id="3" name="テキスト プレースホルダ 2"/>
          <p:cNvSpPr>
            <a:spLocks noGrp="1"/>
          </p:cNvSpPr>
          <p:nvPr>
            <p:ph type="body" idx="1"/>
          </p:nvPr>
        </p:nvSpPr>
        <p:spPr>
          <a:xfrm>
            <a:off x="233363" y="925117"/>
            <a:ext cx="8677275" cy="3887390"/>
          </a:xfrm>
          <a:prstGeom prst="rect">
            <a:avLst/>
          </a:prstGeom>
        </p:spPr>
        <p:txBody>
          <a:bodyPr vert="horz" lIns="0" tIns="34283" rIns="68552" bIns="34283" rtlCol="0">
            <a:normAutofit/>
          </a:bodyPr>
          <a:lstStyle/>
          <a:p>
            <a:pPr lvl="0"/>
            <a:r>
              <a:rPr kumimoji="1" lang="en-US" altLang="ja-JP"/>
              <a:t>Master text</a:t>
            </a:r>
            <a:endParaRPr kumimoji="1" lang="ja-JP" altLang="en-US"/>
          </a:p>
        </p:txBody>
      </p:sp>
      <p:sp>
        <p:nvSpPr>
          <p:cNvPr id="9" name="タイトル プレースホルダ 1">
            <a:extLst>
              <a:ext uri="{FF2B5EF4-FFF2-40B4-BE49-F238E27FC236}">
                <a16:creationId xmlns="" xmlns:a16="http://schemas.microsoft.com/office/drawing/2014/main" id="{D7981A12-E00B-604C-B863-7CBF31AA6408}"/>
              </a:ext>
            </a:extLst>
          </p:cNvPr>
          <p:cNvSpPr>
            <a:spLocks noGrp="1"/>
          </p:cNvSpPr>
          <p:nvPr>
            <p:ph type="title"/>
          </p:nvPr>
        </p:nvSpPr>
        <p:spPr>
          <a:xfrm>
            <a:off x="454558" y="121208"/>
            <a:ext cx="7421313" cy="514351"/>
          </a:xfrm>
          <a:prstGeom prst="rect">
            <a:avLst/>
          </a:prstGeom>
        </p:spPr>
        <p:txBody>
          <a:bodyPr vert="horz" lIns="0" tIns="0" rIns="0" bIns="0" rtlCol="0" anchor="ctr">
            <a:normAutofit/>
          </a:bodyPr>
          <a:lstStyle/>
          <a:p>
            <a:r>
              <a:rPr kumimoji="1" lang="en-US" altLang="ja-JP"/>
              <a:t>Master title</a:t>
            </a:r>
            <a:endParaRPr kumimoji="1" lang="ja-JP" altLang="en-US"/>
          </a:p>
        </p:txBody>
      </p:sp>
      <p:sp>
        <p:nvSpPr>
          <p:cNvPr id="13" name="スライド番号プレースホルダ 5">
            <a:extLst>
              <a:ext uri="{FF2B5EF4-FFF2-40B4-BE49-F238E27FC236}">
                <a16:creationId xmlns="" xmlns:a16="http://schemas.microsoft.com/office/drawing/2014/main" id="{C7AA5A17-3F2F-B94B-9342-A137057B898D}"/>
              </a:ext>
            </a:extLst>
          </p:cNvPr>
          <p:cNvSpPr>
            <a:spLocks noGrp="1"/>
          </p:cNvSpPr>
          <p:nvPr>
            <p:ph type="sldNum" sz="quarter" idx="4"/>
          </p:nvPr>
        </p:nvSpPr>
        <p:spPr>
          <a:xfrm>
            <a:off x="233363" y="4867276"/>
            <a:ext cx="442392" cy="172074"/>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3905"/>
            <a:fld id="{E9B57936-92EF-4126-AE48-1D9D36D15E98}" type="slidenum">
              <a:rPr lang="ja-JP" altLang="en-US" smtClean="0">
                <a:solidFill>
                  <a:srgbClr val="34373F"/>
                </a:solidFill>
              </a:rPr>
              <a:pPr defTabSz="913905"/>
              <a:t>‹Nº›</a:t>
            </a:fld>
            <a:endParaRPr lang="ja-JP" altLang="en-US">
              <a:solidFill>
                <a:srgbClr val="34373F"/>
              </a:solidFill>
            </a:endParaRPr>
          </a:p>
        </p:txBody>
      </p:sp>
    </p:spTree>
    <p:extLst>
      <p:ext uri="{BB962C8B-B14F-4D97-AF65-F5344CB8AC3E}">
        <p14:creationId xmlns:p14="http://schemas.microsoft.com/office/powerpoint/2010/main" val="1159185555"/>
      </p:ext>
    </p:extLst>
  </p:cSld>
  <p:clrMap bg1="lt1" tx1="dk1" bg2="lt2" tx2="dk2" accent1="accent1" accent2="accent2" accent3="accent3" accent4="accent4" accent5="accent5" accent6="accent6" hlink="hlink" folHlink="folHlink"/>
  <p:sldLayoutIdLst>
    <p:sldLayoutId id="2147484127" r:id="rId1"/>
    <p:sldLayoutId id="2147484128" r:id="rId2"/>
    <p:sldLayoutId id="2147484129" r:id="rId3"/>
    <p:sldLayoutId id="2147484130" r:id="rId4"/>
    <p:sldLayoutId id="2147484131" r:id="rId5"/>
    <p:sldLayoutId id="2147484132" r:id="rId6"/>
    <p:sldLayoutId id="2147484133" r:id="rId7"/>
    <p:sldLayoutId id="2147484134" r:id="rId8"/>
    <p:sldLayoutId id="2147484135" r:id="rId9"/>
    <p:sldLayoutId id="2147484136" r:id="rId10"/>
    <p:sldLayoutId id="2147484137" r:id="rId11"/>
    <p:sldLayoutId id="2147484138" r:id="rId12"/>
    <p:sldLayoutId id="2147484139" r:id="rId13"/>
    <p:sldLayoutId id="2147484140" r:id="rId14"/>
    <p:sldLayoutId id="2147484141" r:id="rId15"/>
    <p:sldLayoutId id="2147484142" r:id="rId16"/>
    <p:sldLayoutId id="2147484143" r:id="rId17"/>
    <p:sldLayoutId id="2147484144" r:id="rId18"/>
    <p:sldLayoutId id="2147484145" r:id="rId19"/>
    <p:sldLayoutId id="2147484146" r:id="rId20"/>
    <p:sldLayoutId id="2147484148" r:id="rId21"/>
    <p:sldLayoutId id="2147484149" r:id="rId22"/>
    <p:sldLayoutId id="2147484150" r:id="rId23"/>
    <p:sldLayoutId id="2147484151" r:id="rId24"/>
    <p:sldLayoutId id="2147484152" r:id="rId25"/>
    <p:sldLayoutId id="2147484153" r:id="rId26"/>
    <p:sldLayoutId id="2147484154" r:id="rId27"/>
    <p:sldLayoutId id="2147484155" r:id="rId28"/>
  </p:sldLayoutIdLst>
  <p:transition spd="slow">
    <p:push dir="u"/>
  </p:transition>
  <p:hf hdr="0"/>
  <p:txStyles>
    <p:titleStyle>
      <a:lvl1pPr algn="l" defTabSz="685460" rtl="0" eaLnBrk="1" latinLnBrk="0" hangingPunct="1">
        <a:lnSpc>
          <a:spcPts val="2100"/>
        </a:lnSpc>
        <a:spcBef>
          <a:spcPct val="0"/>
        </a:spcBef>
        <a:buNone/>
        <a:defRPr kumimoji="1" sz="2100" b="1" i="0" kern="1200" baseline="0">
          <a:solidFill>
            <a:schemeClr val="tx1"/>
          </a:solidFill>
          <a:latin typeface="Calibri" panose="020F0502020204030204" pitchFamily="34" charset="0"/>
          <a:ea typeface="メイリオ" pitchFamily="50" charset="-128"/>
          <a:cs typeface="Calibri" pitchFamily="34" charset="0"/>
        </a:defRPr>
      </a:lvl1pPr>
    </p:titleStyle>
    <p:bodyStyle>
      <a:lvl1pPr marL="342722" indent="-342722" algn="l" defTabSz="685460" rtl="0" eaLnBrk="1" latinLnBrk="0" hangingPunct="1">
        <a:spcBef>
          <a:spcPct val="20000"/>
        </a:spcBef>
        <a:buClr>
          <a:srgbClr val="4C4948"/>
        </a:buClr>
        <a:buFont typeface="Arial" panose="020B0604020202020204" pitchFamily="34" charset="0"/>
        <a:buChar char="•"/>
        <a:defRPr kumimoji="1" sz="1500" b="0" i="0" kern="1200" baseline="0">
          <a:solidFill>
            <a:schemeClr val="tx1"/>
          </a:solidFill>
          <a:latin typeface="Calibri" panose="020F0502020204030204" pitchFamily="34" charset="0"/>
          <a:ea typeface="メイリオ" pitchFamily="50" charset="-128"/>
          <a:cs typeface="Calibri" pitchFamily="34" charset="0"/>
        </a:defRPr>
      </a:lvl1pPr>
      <a:lvl2pPr marL="556933" indent="-214213" algn="l" defTabSz="685460" rtl="0" eaLnBrk="1" latinLnBrk="0" hangingPunct="1">
        <a:spcBef>
          <a:spcPct val="20000"/>
        </a:spcBef>
        <a:buClr>
          <a:srgbClr val="4C4948"/>
        </a:buClr>
        <a:buFont typeface="Arial" pitchFamily="34" charset="0"/>
        <a:buChar char="–"/>
        <a:defRPr kumimoji="1" sz="1500" b="0" i="0" kern="1200">
          <a:solidFill>
            <a:schemeClr val="tx1"/>
          </a:solidFill>
          <a:latin typeface="Calibri" panose="020F0502020204030204" pitchFamily="34" charset="0"/>
          <a:ea typeface="メイリオ" pitchFamily="50" charset="-128"/>
          <a:cs typeface="Calibri" pitchFamily="34" charset="0"/>
        </a:defRPr>
      </a:lvl2pPr>
      <a:lvl3pPr marL="856829" indent="-171370" algn="l" defTabSz="685460" rtl="0" eaLnBrk="1" latinLnBrk="0" hangingPunct="1">
        <a:spcBef>
          <a:spcPct val="20000"/>
        </a:spcBef>
        <a:buClr>
          <a:srgbClr val="4C4948"/>
        </a:buClr>
        <a:buFont typeface="Arial" pitchFamily="34" charset="0"/>
        <a:buChar char="•"/>
        <a:defRPr kumimoji="1" sz="1500" b="0" i="0" kern="1200" baseline="0">
          <a:solidFill>
            <a:schemeClr val="tx1"/>
          </a:solidFill>
          <a:latin typeface="Calibri" panose="020F0502020204030204" pitchFamily="34" charset="0"/>
          <a:ea typeface="メイリオ" pitchFamily="50" charset="-128"/>
          <a:cs typeface="Calibri" pitchFamily="34" charset="0"/>
        </a:defRPr>
      </a:lvl3pPr>
      <a:lvl4pPr marL="1199550" indent="-171370" algn="l" defTabSz="685460" rtl="0" eaLnBrk="1" latinLnBrk="0" hangingPunct="1">
        <a:spcBef>
          <a:spcPct val="20000"/>
        </a:spcBef>
        <a:buClr>
          <a:srgbClr val="4C4948"/>
        </a:buClr>
        <a:buFont typeface="Arial" pitchFamily="34" charset="0"/>
        <a:buChar char="–"/>
        <a:defRPr kumimoji="1" sz="1500" b="0" i="0" kern="1200" baseline="0">
          <a:solidFill>
            <a:schemeClr val="tx1"/>
          </a:solidFill>
          <a:latin typeface="Calibri" panose="020F0502020204030204" pitchFamily="34" charset="0"/>
          <a:ea typeface="メイリオ" pitchFamily="50" charset="-128"/>
          <a:cs typeface="Calibri" pitchFamily="34" charset="0"/>
        </a:defRPr>
      </a:lvl4pPr>
      <a:lvl5pPr marL="1542272" indent="-171370" algn="l" defTabSz="685460" rtl="0" eaLnBrk="1" latinLnBrk="0" hangingPunct="1">
        <a:spcBef>
          <a:spcPct val="20000"/>
        </a:spcBef>
        <a:buClr>
          <a:srgbClr val="4C4948"/>
        </a:buClr>
        <a:buFont typeface="Arial" pitchFamily="34" charset="0"/>
        <a:buChar char="»"/>
        <a:defRPr kumimoji="1" sz="1500" b="0" i="0" kern="1200" baseline="0">
          <a:solidFill>
            <a:schemeClr val="tx1"/>
          </a:solidFill>
          <a:latin typeface="Calibri" panose="020F0502020204030204" pitchFamily="34" charset="0"/>
          <a:ea typeface="メイリオ" pitchFamily="50" charset="-128"/>
          <a:cs typeface="Calibri" pitchFamily="34" charset="0"/>
        </a:defRPr>
      </a:lvl5pPr>
      <a:lvl6pPr marL="1885010" indent="-171370" algn="l" defTabSz="685460" rtl="0" eaLnBrk="1" latinLnBrk="0" hangingPunct="1">
        <a:spcBef>
          <a:spcPct val="20000"/>
        </a:spcBef>
        <a:buFont typeface="Arial" pitchFamily="34" charset="0"/>
        <a:buChar char="•"/>
        <a:defRPr kumimoji="1" sz="1500" kern="1200">
          <a:solidFill>
            <a:schemeClr val="tx1"/>
          </a:solidFill>
          <a:latin typeface="+mn-lt"/>
          <a:ea typeface="+mn-ea"/>
          <a:cs typeface="+mn-cs"/>
        </a:defRPr>
      </a:lvl6pPr>
      <a:lvl7pPr marL="2227740" indent="-171370" algn="l" defTabSz="685460" rtl="0" eaLnBrk="1" latinLnBrk="0" hangingPunct="1">
        <a:spcBef>
          <a:spcPct val="20000"/>
        </a:spcBef>
        <a:buFont typeface="Arial" pitchFamily="34" charset="0"/>
        <a:buChar char="•"/>
        <a:defRPr kumimoji="1" sz="1500" kern="1200">
          <a:solidFill>
            <a:schemeClr val="tx1"/>
          </a:solidFill>
          <a:latin typeface="+mn-lt"/>
          <a:ea typeface="+mn-ea"/>
          <a:cs typeface="+mn-cs"/>
        </a:defRPr>
      </a:lvl7pPr>
      <a:lvl8pPr marL="2570470" indent="-171370" algn="l" defTabSz="685460" rtl="0" eaLnBrk="1" latinLnBrk="0" hangingPunct="1">
        <a:spcBef>
          <a:spcPct val="20000"/>
        </a:spcBef>
        <a:buFont typeface="Arial" pitchFamily="34" charset="0"/>
        <a:buChar char="•"/>
        <a:defRPr kumimoji="1" sz="1500" kern="1200">
          <a:solidFill>
            <a:schemeClr val="tx1"/>
          </a:solidFill>
          <a:latin typeface="+mn-lt"/>
          <a:ea typeface="+mn-ea"/>
          <a:cs typeface="+mn-cs"/>
        </a:defRPr>
      </a:lvl8pPr>
      <a:lvl9pPr marL="2913209" indent="-171370" algn="l" defTabSz="685460" rtl="0" eaLnBrk="1" latinLnBrk="0" hangingPunct="1">
        <a:spcBef>
          <a:spcPct val="20000"/>
        </a:spcBef>
        <a:buFont typeface="Arial" pitchFamily="34" charset="0"/>
        <a:buChar char="•"/>
        <a:defRPr kumimoji="1" sz="1500" kern="1200">
          <a:solidFill>
            <a:schemeClr val="tx1"/>
          </a:solidFill>
          <a:latin typeface="+mn-lt"/>
          <a:ea typeface="+mn-ea"/>
          <a:cs typeface="+mn-cs"/>
        </a:defRPr>
      </a:lvl9pPr>
    </p:bodyStyle>
    <p:otherStyle>
      <a:defPPr>
        <a:defRPr lang="ja-JP"/>
      </a:defPPr>
      <a:lvl1pPr marL="0" algn="l" defTabSz="685460" rtl="0" eaLnBrk="1" latinLnBrk="0" hangingPunct="1">
        <a:defRPr kumimoji="1" sz="1400" kern="1200">
          <a:solidFill>
            <a:schemeClr val="tx1"/>
          </a:solidFill>
          <a:latin typeface="+mn-lt"/>
          <a:ea typeface="+mn-ea"/>
          <a:cs typeface="+mn-cs"/>
        </a:defRPr>
      </a:lvl1pPr>
      <a:lvl2pPr marL="342722" algn="l" defTabSz="685460" rtl="0" eaLnBrk="1" latinLnBrk="0" hangingPunct="1">
        <a:defRPr kumimoji="1" sz="1400" kern="1200">
          <a:solidFill>
            <a:schemeClr val="tx1"/>
          </a:solidFill>
          <a:latin typeface="+mn-lt"/>
          <a:ea typeface="+mn-ea"/>
          <a:cs typeface="+mn-cs"/>
        </a:defRPr>
      </a:lvl2pPr>
      <a:lvl3pPr marL="685460" algn="l" defTabSz="685460" rtl="0" eaLnBrk="1" latinLnBrk="0" hangingPunct="1">
        <a:defRPr kumimoji="1" sz="1400" kern="1200">
          <a:solidFill>
            <a:schemeClr val="tx1"/>
          </a:solidFill>
          <a:latin typeface="+mn-lt"/>
          <a:ea typeface="+mn-ea"/>
          <a:cs typeface="+mn-cs"/>
        </a:defRPr>
      </a:lvl3pPr>
      <a:lvl4pPr marL="1028190" algn="l" defTabSz="685460" rtl="0" eaLnBrk="1" latinLnBrk="0" hangingPunct="1">
        <a:defRPr kumimoji="1" sz="1400" kern="1200">
          <a:solidFill>
            <a:schemeClr val="tx1"/>
          </a:solidFill>
          <a:latin typeface="+mn-lt"/>
          <a:ea typeface="+mn-ea"/>
          <a:cs typeface="+mn-cs"/>
        </a:defRPr>
      </a:lvl4pPr>
      <a:lvl5pPr marL="1370920" algn="l" defTabSz="685460" rtl="0" eaLnBrk="1" latinLnBrk="0" hangingPunct="1">
        <a:defRPr kumimoji="1" sz="1400" kern="1200">
          <a:solidFill>
            <a:schemeClr val="tx1"/>
          </a:solidFill>
          <a:latin typeface="+mn-lt"/>
          <a:ea typeface="+mn-ea"/>
          <a:cs typeface="+mn-cs"/>
        </a:defRPr>
      </a:lvl5pPr>
      <a:lvl6pPr marL="1713659" algn="l" defTabSz="685460" rtl="0" eaLnBrk="1" latinLnBrk="0" hangingPunct="1">
        <a:defRPr kumimoji="1" sz="1400" kern="1200">
          <a:solidFill>
            <a:schemeClr val="tx1"/>
          </a:solidFill>
          <a:latin typeface="+mn-lt"/>
          <a:ea typeface="+mn-ea"/>
          <a:cs typeface="+mn-cs"/>
        </a:defRPr>
      </a:lvl6pPr>
      <a:lvl7pPr marL="2056379" algn="l" defTabSz="685460" rtl="0" eaLnBrk="1" latinLnBrk="0" hangingPunct="1">
        <a:defRPr kumimoji="1" sz="1400" kern="1200">
          <a:solidFill>
            <a:schemeClr val="tx1"/>
          </a:solidFill>
          <a:latin typeface="+mn-lt"/>
          <a:ea typeface="+mn-ea"/>
          <a:cs typeface="+mn-cs"/>
        </a:defRPr>
      </a:lvl7pPr>
      <a:lvl8pPr marL="2399100" algn="l" defTabSz="685460" rtl="0" eaLnBrk="1" latinLnBrk="0" hangingPunct="1">
        <a:defRPr kumimoji="1" sz="1400" kern="1200">
          <a:solidFill>
            <a:schemeClr val="tx1"/>
          </a:solidFill>
          <a:latin typeface="+mn-lt"/>
          <a:ea typeface="+mn-ea"/>
          <a:cs typeface="+mn-cs"/>
        </a:defRPr>
      </a:lvl8pPr>
      <a:lvl9pPr marL="2741822" algn="l" defTabSz="685460" rtl="0" eaLnBrk="1" latinLnBrk="0" hangingPunct="1">
        <a:defRPr kumimoji="1" sz="1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77">
          <p15:clr>
            <a:srgbClr val="F26B43"/>
          </p15:clr>
        </p15:guide>
        <p15:guide id="2" pos="189">
          <p15:clr>
            <a:srgbClr val="F26B43"/>
          </p15:clr>
        </p15:guide>
        <p15:guide id="3" pos="7491">
          <p15:clr>
            <a:srgbClr val="F26B43"/>
          </p15:clr>
        </p15:guide>
        <p15:guide id="4" orient="horz" pos="4042">
          <p15:clr>
            <a:srgbClr val="F26B43"/>
          </p15:clr>
        </p15:guide>
        <p15:guide id="5" pos="370">
          <p15:clr>
            <a:srgbClr val="F26B43"/>
          </p15:clr>
        </p15:guide>
        <p15:guide id="6" orient="horz" pos="4088">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p:cNvSpPr>
            <a:spLocks noGrp="1"/>
          </p:cNvSpPr>
          <p:nvPr>
            <p:ph type="title"/>
          </p:nvPr>
        </p:nvSpPr>
        <p:spPr>
          <a:xfrm>
            <a:off x="628650" y="273844"/>
            <a:ext cx="7886700" cy="994172"/>
          </a:xfrm>
          <a:prstGeom prst="rect">
            <a:avLst/>
          </a:prstGeom>
        </p:spPr>
        <p:txBody>
          <a:bodyPr vert="horz" lIns="68573" tIns="34289" rIns="68573" bIns="34289" rtlCol="0" anchor="ctr">
            <a:normAutofit/>
          </a:bodyPr>
          <a:lstStyle/>
          <a:p>
            <a:r>
              <a:rPr lang="es-ES" smtClean="0"/>
              <a:t>Haga clic para modificar el estilo de título del patrón</a:t>
            </a:r>
            <a:endParaRPr lang="en-US"/>
          </a:p>
        </p:txBody>
      </p:sp>
      <p:sp>
        <p:nvSpPr>
          <p:cNvPr id="3" name="Marcador de texto 2"/>
          <p:cNvSpPr>
            <a:spLocks noGrp="1"/>
          </p:cNvSpPr>
          <p:nvPr>
            <p:ph type="body" idx="1"/>
          </p:nvPr>
        </p:nvSpPr>
        <p:spPr>
          <a:xfrm>
            <a:off x="628650" y="1369218"/>
            <a:ext cx="7886700" cy="3263504"/>
          </a:xfrm>
          <a:prstGeom prst="rect">
            <a:avLst/>
          </a:prstGeom>
        </p:spPr>
        <p:txBody>
          <a:bodyPr vert="horz" lIns="68573" tIns="34289" rIns="68573" bIns="34289" rtlCol="0">
            <a:normAutofit/>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n-US"/>
          </a:p>
        </p:txBody>
      </p:sp>
      <p:sp>
        <p:nvSpPr>
          <p:cNvPr id="4" name="Marcador de fecha 3"/>
          <p:cNvSpPr>
            <a:spLocks noGrp="1"/>
          </p:cNvSpPr>
          <p:nvPr>
            <p:ph type="dt" sz="half" idx="2"/>
          </p:nvPr>
        </p:nvSpPr>
        <p:spPr>
          <a:xfrm>
            <a:off x="628650" y="4767264"/>
            <a:ext cx="2057400" cy="273844"/>
          </a:xfrm>
          <a:prstGeom prst="rect">
            <a:avLst/>
          </a:prstGeom>
        </p:spPr>
        <p:txBody>
          <a:bodyPr vert="horz" lIns="68573" tIns="34289" rIns="68573" bIns="34289" rtlCol="0" anchor="ctr"/>
          <a:lstStyle>
            <a:lvl1pPr algn="l">
              <a:defRPr sz="900">
                <a:solidFill>
                  <a:schemeClr val="tx1">
                    <a:tint val="75000"/>
                  </a:schemeClr>
                </a:solidFill>
              </a:defRPr>
            </a:lvl1pPr>
          </a:lstStyle>
          <a:p>
            <a:pPr defTabSz="685715"/>
            <a:fld id="{38B4D932-240E-4531-9F52-FABDFF4A113F}" type="datetimeFigureOut">
              <a:rPr lang="en-US" smtClean="0">
                <a:solidFill>
                  <a:prstClr val="black">
                    <a:tint val="75000"/>
                  </a:prstClr>
                </a:solidFill>
              </a:rPr>
              <a:pPr defTabSz="685715"/>
              <a:t>8/7/2024</a:t>
            </a:fld>
            <a:endParaRPr lang="en-US">
              <a:solidFill>
                <a:prstClr val="black">
                  <a:tint val="75000"/>
                </a:prstClr>
              </a:solidFill>
            </a:endParaRPr>
          </a:p>
        </p:txBody>
      </p:sp>
      <p:sp>
        <p:nvSpPr>
          <p:cNvPr id="5" name="Marcador de pie de página 4"/>
          <p:cNvSpPr>
            <a:spLocks noGrp="1"/>
          </p:cNvSpPr>
          <p:nvPr>
            <p:ph type="ftr" sz="quarter" idx="3"/>
          </p:nvPr>
        </p:nvSpPr>
        <p:spPr>
          <a:xfrm>
            <a:off x="3028950" y="4767264"/>
            <a:ext cx="3086100" cy="273844"/>
          </a:xfrm>
          <a:prstGeom prst="rect">
            <a:avLst/>
          </a:prstGeom>
        </p:spPr>
        <p:txBody>
          <a:bodyPr vert="horz" lIns="68573" tIns="34289" rIns="68573" bIns="34289" rtlCol="0" anchor="ctr"/>
          <a:lstStyle>
            <a:lvl1pPr algn="ctr">
              <a:defRPr sz="900">
                <a:solidFill>
                  <a:schemeClr val="tx1">
                    <a:tint val="75000"/>
                  </a:schemeClr>
                </a:solidFill>
              </a:defRPr>
            </a:lvl1pPr>
          </a:lstStyle>
          <a:p>
            <a:pPr defTabSz="685715"/>
            <a:endParaRPr lang="en-US">
              <a:solidFill>
                <a:prstClr val="black">
                  <a:tint val="75000"/>
                </a:prstClr>
              </a:solidFill>
            </a:endParaRPr>
          </a:p>
        </p:txBody>
      </p:sp>
      <p:sp>
        <p:nvSpPr>
          <p:cNvPr id="6" name="Marcador de número de diapositiva 5"/>
          <p:cNvSpPr>
            <a:spLocks noGrp="1"/>
          </p:cNvSpPr>
          <p:nvPr>
            <p:ph type="sldNum" sz="quarter" idx="4"/>
          </p:nvPr>
        </p:nvSpPr>
        <p:spPr>
          <a:xfrm>
            <a:off x="6457950" y="4767264"/>
            <a:ext cx="2057400" cy="273844"/>
          </a:xfrm>
          <a:prstGeom prst="rect">
            <a:avLst/>
          </a:prstGeom>
        </p:spPr>
        <p:txBody>
          <a:bodyPr vert="horz" lIns="68573" tIns="34289" rIns="68573" bIns="34289" rtlCol="0" anchor="ctr"/>
          <a:lstStyle>
            <a:lvl1pPr algn="r">
              <a:defRPr sz="900">
                <a:solidFill>
                  <a:schemeClr val="tx1">
                    <a:tint val="75000"/>
                  </a:schemeClr>
                </a:solidFill>
              </a:defRPr>
            </a:lvl1pPr>
          </a:lstStyle>
          <a:p>
            <a:pPr defTabSz="685715"/>
            <a:fld id="{B22A62D8-18E0-437B-A77A-F5135579B757}" type="slidenum">
              <a:rPr lang="en-US" smtClean="0">
                <a:solidFill>
                  <a:prstClr val="black">
                    <a:tint val="75000"/>
                  </a:prstClr>
                </a:solidFill>
              </a:rPr>
              <a:pPr defTabSz="685715"/>
              <a:t>‹Nº›</a:t>
            </a:fld>
            <a:endParaRPr lang="en-US">
              <a:solidFill>
                <a:prstClr val="black">
                  <a:tint val="75000"/>
                </a:prstClr>
              </a:solidFill>
            </a:endParaRPr>
          </a:p>
        </p:txBody>
      </p:sp>
    </p:spTree>
    <p:extLst>
      <p:ext uri="{BB962C8B-B14F-4D97-AF65-F5344CB8AC3E}">
        <p14:creationId xmlns:p14="http://schemas.microsoft.com/office/powerpoint/2010/main" val="1710444381"/>
      </p:ext>
    </p:extLst>
  </p:cSld>
  <p:clrMap bg1="lt1" tx1="dk1" bg2="lt2" tx2="dk2" accent1="accent1" accent2="accent2" accent3="accent3" accent4="accent4" accent5="accent5" accent6="accent6" hlink="hlink" folHlink="folHlink"/>
  <p:sldLayoutIdLst>
    <p:sldLayoutId id="2147484158" r:id="rId1"/>
    <p:sldLayoutId id="2147484159" r:id="rId2"/>
    <p:sldLayoutId id="2147484160" r:id="rId3"/>
    <p:sldLayoutId id="2147484161" r:id="rId4"/>
    <p:sldLayoutId id="2147484162" r:id="rId5"/>
    <p:sldLayoutId id="2147484163" r:id="rId6"/>
    <p:sldLayoutId id="2147484164" r:id="rId7"/>
    <p:sldLayoutId id="2147484165" r:id="rId8"/>
    <p:sldLayoutId id="2147484166" r:id="rId9"/>
    <p:sldLayoutId id="2147484167" r:id="rId10"/>
    <p:sldLayoutId id="2147484168" r:id="rId11"/>
  </p:sldLayoutIdLst>
  <p:txStyles>
    <p:titleStyle>
      <a:lvl1pPr algn="l" defTabSz="685715"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30" indent="-171430" algn="l" defTabSz="685715"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289" indent="-171430" algn="l" defTabSz="685715"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144" indent="-171430" algn="l" defTabSz="685715"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000" indent="-171430" algn="l" defTabSz="68571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4pPr>
      <a:lvl5pPr marL="1542857" indent="-171430" algn="l" defTabSz="68571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715" indent="-171430" algn="l" defTabSz="68571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573" indent="-171430" algn="l" defTabSz="68571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430" indent="-171430" algn="l" defTabSz="68571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289" indent="-171430" algn="l" defTabSz="685715"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685715" rtl="0" eaLnBrk="1" latinLnBrk="0" hangingPunct="1">
        <a:defRPr sz="1400" kern="1200">
          <a:solidFill>
            <a:schemeClr val="tx1"/>
          </a:solidFill>
          <a:latin typeface="+mn-lt"/>
          <a:ea typeface="+mn-ea"/>
          <a:cs typeface="+mn-cs"/>
        </a:defRPr>
      </a:lvl1pPr>
      <a:lvl2pPr marL="342857" algn="l" defTabSz="685715" rtl="0" eaLnBrk="1" latinLnBrk="0" hangingPunct="1">
        <a:defRPr sz="1400" kern="1200">
          <a:solidFill>
            <a:schemeClr val="tx1"/>
          </a:solidFill>
          <a:latin typeface="+mn-lt"/>
          <a:ea typeface="+mn-ea"/>
          <a:cs typeface="+mn-cs"/>
        </a:defRPr>
      </a:lvl2pPr>
      <a:lvl3pPr marL="685715" algn="l" defTabSz="685715" rtl="0" eaLnBrk="1" latinLnBrk="0" hangingPunct="1">
        <a:defRPr sz="1400" kern="1200">
          <a:solidFill>
            <a:schemeClr val="tx1"/>
          </a:solidFill>
          <a:latin typeface="+mn-lt"/>
          <a:ea typeface="+mn-ea"/>
          <a:cs typeface="+mn-cs"/>
        </a:defRPr>
      </a:lvl3pPr>
      <a:lvl4pPr marL="1028573" algn="l" defTabSz="685715" rtl="0" eaLnBrk="1" latinLnBrk="0" hangingPunct="1">
        <a:defRPr sz="1400" kern="1200">
          <a:solidFill>
            <a:schemeClr val="tx1"/>
          </a:solidFill>
          <a:latin typeface="+mn-lt"/>
          <a:ea typeface="+mn-ea"/>
          <a:cs typeface="+mn-cs"/>
        </a:defRPr>
      </a:lvl4pPr>
      <a:lvl5pPr marL="1371430" algn="l" defTabSz="685715" rtl="0" eaLnBrk="1" latinLnBrk="0" hangingPunct="1">
        <a:defRPr sz="1400" kern="1200">
          <a:solidFill>
            <a:schemeClr val="tx1"/>
          </a:solidFill>
          <a:latin typeface="+mn-lt"/>
          <a:ea typeface="+mn-ea"/>
          <a:cs typeface="+mn-cs"/>
        </a:defRPr>
      </a:lvl5pPr>
      <a:lvl6pPr marL="1714289" algn="l" defTabSz="685715" rtl="0" eaLnBrk="1" latinLnBrk="0" hangingPunct="1">
        <a:defRPr sz="1400" kern="1200">
          <a:solidFill>
            <a:schemeClr val="tx1"/>
          </a:solidFill>
          <a:latin typeface="+mn-lt"/>
          <a:ea typeface="+mn-ea"/>
          <a:cs typeface="+mn-cs"/>
        </a:defRPr>
      </a:lvl6pPr>
      <a:lvl7pPr marL="2057144" algn="l" defTabSz="685715" rtl="0" eaLnBrk="1" latinLnBrk="0" hangingPunct="1">
        <a:defRPr sz="1400" kern="1200">
          <a:solidFill>
            <a:schemeClr val="tx1"/>
          </a:solidFill>
          <a:latin typeface="+mn-lt"/>
          <a:ea typeface="+mn-ea"/>
          <a:cs typeface="+mn-cs"/>
        </a:defRPr>
      </a:lvl7pPr>
      <a:lvl8pPr marL="2400000" algn="l" defTabSz="685715" rtl="0" eaLnBrk="1" latinLnBrk="0" hangingPunct="1">
        <a:defRPr sz="1400" kern="1200">
          <a:solidFill>
            <a:schemeClr val="tx1"/>
          </a:solidFill>
          <a:latin typeface="+mn-lt"/>
          <a:ea typeface="+mn-ea"/>
          <a:cs typeface="+mn-cs"/>
        </a:defRPr>
      </a:lvl8pPr>
      <a:lvl9pPr marL="2742857" algn="l" defTabSz="685715" rtl="0" eaLnBrk="1" latinLnBrk="0" hangingPunct="1">
        <a:defRPr sz="14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8" name="27 Rectángulo"/>
          <p:cNvSpPr/>
          <p:nvPr/>
        </p:nvSpPr>
        <p:spPr>
          <a:xfrm>
            <a:off x="1" y="275256"/>
            <a:ext cx="9144000" cy="63305"/>
          </a:xfrm>
          <a:prstGeom prst="rect">
            <a:avLst/>
          </a:prstGeom>
          <a:solidFill>
            <a:schemeClr val="accent2">
              <a:alpha val="5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18" tIns="45659" rIns="91318" bIns="45659" anchor="ctr"/>
          <a:lstStyle/>
          <a:p>
            <a:pPr algn="ctr" defTabSz="913028"/>
            <a:endParaRPr lang="en-US">
              <a:solidFill>
                <a:prstClr val="white"/>
              </a:solidFill>
            </a:endParaRPr>
          </a:p>
        </p:txBody>
      </p:sp>
      <p:sp>
        <p:nvSpPr>
          <p:cNvPr id="29" name="28 Rectángulo"/>
          <p:cNvSpPr/>
          <p:nvPr/>
        </p:nvSpPr>
        <p:spPr>
          <a:xfrm>
            <a:off x="0" y="27"/>
            <a:ext cx="9144000" cy="232997"/>
          </a:xfrm>
          <a:prstGeom prst="rect">
            <a:avLst/>
          </a:prstGeom>
          <a:solidFill>
            <a:schemeClr val="tx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18" tIns="45659" rIns="91318" bIns="45659" anchor="ctr"/>
          <a:lstStyle/>
          <a:p>
            <a:pPr algn="ctr" defTabSz="913028"/>
            <a:endParaRPr lang="en-US">
              <a:solidFill>
                <a:prstClr val="white"/>
              </a:solidFill>
            </a:endParaRPr>
          </a:p>
        </p:txBody>
      </p:sp>
      <p:sp>
        <p:nvSpPr>
          <p:cNvPr id="30" name="29 Rectángulo"/>
          <p:cNvSpPr/>
          <p:nvPr/>
        </p:nvSpPr>
        <p:spPr>
          <a:xfrm>
            <a:off x="29" y="231349"/>
            <a:ext cx="9144001" cy="68581"/>
          </a:xfrm>
          <a:prstGeom prst="rect">
            <a:avLst/>
          </a:prstGeom>
          <a:solidFill>
            <a:schemeClr val="accent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18" tIns="45659" rIns="91318" bIns="45659" anchor="ctr"/>
          <a:lstStyle/>
          <a:p>
            <a:pPr algn="ctr" defTabSz="913028"/>
            <a:endParaRPr lang="en-US">
              <a:solidFill>
                <a:prstClr val="white"/>
              </a:solidFill>
            </a:endParaRPr>
          </a:p>
        </p:txBody>
      </p:sp>
      <p:sp>
        <p:nvSpPr>
          <p:cNvPr id="31" name="30 Rectángulo"/>
          <p:cNvSpPr/>
          <p:nvPr/>
        </p:nvSpPr>
        <p:spPr>
          <a:xfrm flipV="1">
            <a:off x="5410223" y="270327"/>
            <a:ext cx="3733819" cy="68315"/>
          </a:xfrm>
          <a:prstGeom prst="rect">
            <a:avLst/>
          </a:prstGeom>
          <a:solidFill>
            <a:schemeClr val="accent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18" tIns="45659" rIns="91318" bIns="45659" anchor="ctr"/>
          <a:lstStyle/>
          <a:p>
            <a:pPr algn="ctr" defTabSz="913028"/>
            <a:endParaRPr lang="en-US">
              <a:solidFill>
                <a:prstClr val="white"/>
              </a:solidFill>
            </a:endParaRPr>
          </a:p>
        </p:txBody>
      </p:sp>
      <p:sp>
        <p:nvSpPr>
          <p:cNvPr id="32" name="31 Rectángulo"/>
          <p:cNvSpPr/>
          <p:nvPr/>
        </p:nvSpPr>
        <p:spPr>
          <a:xfrm flipV="1">
            <a:off x="5410265" y="330085"/>
            <a:ext cx="3733801" cy="135026"/>
          </a:xfrm>
          <a:prstGeom prst="rect">
            <a:avLst/>
          </a:prstGeom>
          <a:solidFill>
            <a:schemeClr val="accent2">
              <a:alpha val="5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18" tIns="45659" rIns="91318" bIns="45659" anchor="ctr"/>
          <a:lstStyle/>
          <a:p>
            <a:pPr algn="ctr" defTabSz="913028"/>
            <a:endParaRPr lang="en-US">
              <a:solidFill>
                <a:prstClr val="white"/>
              </a:solidFill>
            </a:endParaRPr>
          </a:p>
        </p:txBody>
      </p:sp>
      <p:sp useBgFill="1">
        <p:nvSpPr>
          <p:cNvPr id="33" name="32 Rectángulo redondeado"/>
          <p:cNvSpPr/>
          <p:nvPr/>
        </p:nvSpPr>
        <p:spPr bwMode="white">
          <a:xfrm>
            <a:off x="5407339" y="373128"/>
            <a:ext cx="3063240" cy="20574"/>
          </a:xfrm>
          <a:prstGeom prst="roundRect">
            <a:avLst>
              <a:gd name="adj" fmla="val 16667"/>
            </a:avLst>
          </a:prstGeom>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18" tIns="45659" rIns="91318" bIns="45659" anchor="ctr"/>
          <a:lstStyle/>
          <a:p>
            <a:pPr algn="ctr" defTabSz="913028"/>
            <a:endParaRPr lang="en-US">
              <a:solidFill>
                <a:prstClr val="white"/>
              </a:solidFill>
            </a:endParaRPr>
          </a:p>
        </p:txBody>
      </p:sp>
      <p:sp useBgFill="1">
        <p:nvSpPr>
          <p:cNvPr id="34" name="33 Rectángulo redondeado"/>
          <p:cNvSpPr/>
          <p:nvPr/>
        </p:nvSpPr>
        <p:spPr bwMode="white">
          <a:xfrm>
            <a:off x="7373646" y="441707"/>
            <a:ext cx="1600200" cy="27432"/>
          </a:xfrm>
          <a:prstGeom prst="roundRect">
            <a:avLst>
              <a:gd name="adj" fmla="val 16667"/>
            </a:avLst>
          </a:prstGeom>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18" tIns="45659" rIns="91318" bIns="45659" anchor="ctr"/>
          <a:lstStyle/>
          <a:p>
            <a:pPr algn="ctr" defTabSz="913028"/>
            <a:endParaRPr lang="en-US">
              <a:solidFill>
                <a:prstClr val="white"/>
              </a:solidFill>
            </a:endParaRPr>
          </a:p>
        </p:txBody>
      </p:sp>
      <p:sp>
        <p:nvSpPr>
          <p:cNvPr id="35" name="34 Rectángulo"/>
          <p:cNvSpPr/>
          <p:nvPr/>
        </p:nvSpPr>
        <p:spPr bwMode="invGray">
          <a:xfrm>
            <a:off x="9084967" y="-1501"/>
            <a:ext cx="57626" cy="466344"/>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18" tIns="45659" rIns="91318" bIns="45659" anchor="ctr"/>
          <a:lstStyle/>
          <a:p>
            <a:pPr algn="ctr" defTabSz="913028"/>
            <a:endParaRPr lang="en-US" dirty="0">
              <a:solidFill>
                <a:prstClr val="white"/>
              </a:solidFill>
            </a:endParaRPr>
          </a:p>
        </p:txBody>
      </p:sp>
      <p:sp>
        <p:nvSpPr>
          <p:cNvPr id="36" name="35 Rectángulo"/>
          <p:cNvSpPr/>
          <p:nvPr/>
        </p:nvSpPr>
        <p:spPr bwMode="invGray">
          <a:xfrm>
            <a:off x="9044481" y="-1501"/>
            <a:ext cx="27432" cy="466344"/>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18" tIns="45659" rIns="91318" bIns="45659" anchor="ctr"/>
          <a:lstStyle/>
          <a:p>
            <a:pPr algn="ctr" defTabSz="913028"/>
            <a:endParaRPr lang="en-US" dirty="0">
              <a:solidFill>
                <a:prstClr val="white"/>
              </a:solidFill>
            </a:endParaRPr>
          </a:p>
        </p:txBody>
      </p:sp>
      <p:sp>
        <p:nvSpPr>
          <p:cNvPr id="37" name="36 Rectángulo"/>
          <p:cNvSpPr/>
          <p:nvPr/>
        </p:nvSpPr>
        <p:spPr bwMode="invGray">
          <a:xfrm>
            <a:off x="9025428" y="-1501"/>
            <a:ext cx="9144" cy="466344"/>
          </a:xfrm>
          <a:prstGeom prst="rect">
            <a:avLst/>
          </a:prstGeom>
          <a:solidFill>
            <a:srgbClr val="FFFFFF">
              <a:alpha val="6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18" tIns="45659" rIns="91318" bIns="45659" anchor="ctr"/>
          <a:lstStyle/>
          <a:p>
            <a:pPr algn="ctr" defTabSz="913028"/>
            <a:endParaRPr lang="en-US">
              <a:solidFill>
                <a:prstClr val="white"/>
              </a:solidFill>
            </a:endParaRPr>
          </a:p>
        </p:txBody>
      </p:sp>
      <p:sp>
        <p:nvSpPr>
          <p:cNvPr id="38" name="37 Rectángulo"/>
          <p:cNvSpPr/>
          <p:nvPr/>
        </p:nvSpPr>
        <p:spPr bwMode="invGray">
          <a:xfrm>
            <a:off x="8975423" y="-1501"/>
            <a:ext cx="27432" cy="466344"/>
          </a:xfrm>
          <a:prstGeom prst="rect">
            <a:avLst/>
          </a:prstGeom>
          <a:solidFill>
            <a:srgbClr val="FFFFFF">
              <a:alpha val="4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18" tIns="45659" rIns="91318" bIns="45659" anchor="ctr"/>
          <a:lstStyle/>
          <a:p>
            <a:pPr algn="ctr" defTabSz="913028"/>
            <a:endParaRPr lang="en-US">
              <a:solidFill>
                <a:prstClr val="white"/>
              </a:solidFill>
            </a:endParaRPr>
          </a:p>
        </p:txBody>
      </p:sp>
      <p:sp>
        <p:nvSpPr>
          <p:cNvPr id="39" name="38 Rectángulo"/>
          <p:cNvSpPr/>
          <p:nvPr/>
        </p:nvSpPr>
        <p:spPr bwMode="invGray">
          <a:xfrm>
            <a:off x="8915677" y="285"/>
            <a:ext cx="54864" cy="438912"/>
          </a:xfrm>
          <a:prstGeom prst="rect">
            <a:avLst/>
          </a:prstGeom>
          <a:solidFill>
            <a:srgbClr val="FFFFFF">
              <a:alpha val="2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18" tIns="45659" rIns="91318" bIns="45659" anchor="ctr"/>
          <a:lstStyle/>
          <a:p>
            <a:pPr algn="ctr" defTabSz="913028"/>
            <a:endParaRPr lang="en-US">
              <a:solidFill>
                <a:prstClr val="white"/>
              </a:solidFill>
            </a:endParaRPr>
          </a:p>
        </p:txBody>
      </p:sp>
      <p:sp>
        <p:nvSpPr>
          <p:cNvPr id="40" name="39 Rectángulo"/>
          <p:cNvSpPr/>
          <p:nvPr/>
        </p:nvSpPr>
        <p:spPr bwMode="invGray">
          <a:xfrm>
            <a:off x="8873475" y="285"/>
            <a:ext cx="9144" cy="438912"/>
          </a:xfrm>
          <a:prstGeom prst="rect">
            <a:avLst/>
          </a:prstGeom>
          <a:solidFill>
            <a:srgbClr val="FFFFFF">
              <a:alpha val="30196"/>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18" tIns="45659" rIns="91318" bIns="45659" anchor="ctr"/>
          <a:lstStyle/>
          <a:p>
            <a:pPr algn="ctr" defTabSz="913028"/>
            <a:endParaRPr lang="en-US" dirty="0">
              <a:solidFill>
                <a:prstClr val="white"/>
              </a:solidFill>
            </a:endParaRPr>
          </a:p>
        </p:txBody>
      </p:sp>
      <p:sp>
        <p:nvSpPr>
          <p:cNvPr id="22" name="21 Marcador de título"/>
          <p:cNvSpPr>
            <a:spLocks noGrp="1"/>
          </p:cNvSpPr>
          <p:nvPr>
            <p:ph type="title"/>
          </p:nvPr>
        </p:nvSpPr>
        <p:spPr>
          <a:xfrm>
            <a:off x="457200" y="857250"/>
            <a:ext cx="8229600" cy="800100"/>
          </a:xfrm>
          <a:prstGeom prst="rect">
            <a:avLst/>
          </a:prstGeom>
        </p:spPr>
        <p:txBody>
          <a:bodyPr vert="horz" lIns="91318" tIns="45659" rIns="91318" bIns="45659" anchor="ctr">
            <a:normAutofit/>
          </a:bodyPr>
          <a:lstStyle/>
          <a:p>
            <a:r>
              <a:rPr kumimoji="0" lang="es-ES" smtClean="0"/>
              <a:t>Haga clic para modificar el estilo de título del patrón</a:t>
            </a:r>
            <a:endParaRPr kumimoji="0" lang="en-US"/>
          </a:p>
        </p:txBody>
      </p:sp>
      <p:sp>
        <p:nvSpPr>
          <p:cNvPr id="13" name="12 Marcador de texto"/>
          <p:cNvSpPr>
            <a:spLocks noGrp="1"/>
          </p:cNvSpPr>
          <p:nvPr>
            <p:ph type="body" idx="1"/>
          </p:nvPr>
        </p:nvSpPr>
        <p:spPr>
          <a:xfrm>
            <a:off x="457200" y="1687068"/>
            <a:ext cx="8229600" cy="3243834"/>
          </a:xfrm>
          <a:prstGeom prst="rect">
            <a:avLst/>
          </a:prstGeom>
        </p:spPr>
        <p:txBody>
          <a:bodyPr vert="horz" lIns="91318" tIns="45659" rIns="91318" bIns="45659">
            <a:normAutofit/>
          </a:bodyPr>
          <a:lstStyle/>
          <a:p>
            <a:pPr lvl="0" eaLnBrk="1" latinLnBrk="0" hangingPunct="1"/>
            <a:r>
              <a:rPr kumimoji="0" lang="es-ES" smtClean="0"/>
              <a:t>Haga clic para modificar el estilo de texto del patrón</a:t>
            </a:r>
          </a:p>
          <a:p>
            <a:pPr lvl="1" eaLnBrk="1" latinLnBrk="0" hangingPunct="1"/>
            <a:r>
              <a:rPr kumimoji="0" lang="es-ES" smtClean="0"/>
              <a:t>Segundo nivel</a:t>
            </a:r>
          </a:p>
          <a:p>
            <a:pPr lvl="2" eaLnBrk="1" latinLnBrk="0" hangingPunct="1"/>
            <a:r>
              <a:rPr kumimoji="0" lang="es-ES" smtClean="0"/>
              <a:t>Tercer nivel</a:t>
            </a:r>
          </a:p>
          <a:p>
            <a:pPr lvl="3" eaLnBrk="1" latinLnBrk="0" hangingPunct="1"/>
            <a:r>
              <a:rPr kumimoji="0" lang="es-ES" smtClean="0"/>
              <a:t>Cuarto nivel</a:t>
            </a:r>
          </a:p>
          <a:p>
            <a:pPr lvl="4" eaLnBrk="1" latinLnBrk="0" hangingPunct="1"/>
            <a:r>
              <a:rPr kumimoji="0" lang="es-ES" smtClean="0"/>
              <a:t>Quinto nivel</a:t>
            </a:r>
            <a:endParaRPr kumimoji="0" lang="en-US"/>
          </a:p>
        </p:txBody>
      </p:sp>
      <p:sp>
        <p:nvSpPr>
          <p:cNvPr id="14" name="13 Marcador de fecha"/>
          <p:cNvSpPr>
            <a:spLocks noGrp="1"/>
          </p:cNvSpPr>
          <p:nvPr>
            <p:ph type="dt" sz="half" idx="2"/>
          </p:nvPr>
        </p:nvSpPr>
        <p:spPr>
          <a:xfrm>
            <a:off x="6586536" y="459486"/>
            <a:ext cx="957264" cy="342900"/>
          </a:xfrm>
          <a:prstGeom prst="rect">
            <a:avLst/>
          </a:prstGeom>
        </p:spPr>
        <p:txBody>
          <a:bodyPr vert="horz" lIns="91318" tIns="45659" rIns="91318" bIns="45659"/>
          <a:lstStyle>
            <a:lvl1pPr algn="l" eaLnBrk="1" latinLnBrk="0" hangingPunct="1">
              <a:defRPr kumimoji="0" sz="800">
                <a:solidFill>
                  <a:schemeClr val="accent2"/>
                </a:solidFill>
              </a:defRPr>
            </a:lvl1pPr>
          </a:lstStyle>
          <a:p>
            <a:pPr defTabSz="913028"/>
            <a:fld id="{32099F8F-6F72-4552-9675-E6A73B760289}" type="datetimeFigureOut">
              <a:rPr lang="es-AR" smtClean="0">
                <a:solidFill>
                  <a:srgbClr val="438086"/>
                </a:solidFill>
              </a:rPr>
              <a:pPr defTabSz="913028"/>
              <a:t>7/8/2024</a:t>
            </a:fld>
            <a:endParaRPr lang="es-AR">
              <a:solidFill>
                <a:srgbClr val="438086"/>
              </a:solidFill>
            </a:endParaRPr>
          </a:p>
        </p:txBody>
      </p:sp>
      <p:sp>
        <p:nvSpPr>
          <p:cNvPr id="3" name="2 Marcador de pie de página"/>
          <p:cNvSpPr>
            <a:spLocks noGrp="1"/>
          </p:cNvSpPr>
          <p:nvPr>
            <p:ph type="ftr" sz="quarter" idx="3"/>
          </p:nvPr>
        </p:nvSpPr>
        <p:spPr>
          <a:xfrm>
            <a:off x="5257800" y="459486"/>
            <a:ext cx="1325880" cy="342900"/>
          </a:xfrm>
          <a:prstGeom prst="rect">
            <a:avLst/>
          </a:prstGeom>
        </p:spPr>
        <p:txBody>
          <a:bodyPr vert="horz" lIns="91318" tIns="45659" rIns="91318" bIns="45659"/>
          <a:lstStyle>
            <a:lvl1pPr algn="r" eaLnBrk="1" latinLnBrk="0" hangingPunct="1">
              <a:defRPr kumimoji="0" sz="800">
                <a:solidFill>
                  <a:schemeClr val="accent2"/>
                </a:solidFill>
              </a:defRPr>
            </a:lvl1pPr>
          </a:lstStyle>
          <a:p>
            <a:pPr defTabSz="913028"/>
            <a:endParaRPr lang="es-AR">
              <a:solidFill>
                <a:srgbClr val="438086"/>
              </a:solidFill>
            </a:endParaRPr>
          </a:p>
        </p:txBody>
      </p:sp>
      <p:sp>
        <p:nvSpPr>
          <p:cNvPr id="23" name="22 Marcador de número de diapositiva"/>
          <p:cNvSpPr>
            <a:spLocks noGrp="1"/>
          </p:cNvSpPr>
          <p:nvPr>
            <p:ph type="sldNum" sz="quarter" idx="4"/>
          </p:nvPr>
        </p:nvSpPr>
        <p:spPr>
          <a:xfrm>
            <a:off x="8174736" y="1704"/>
            <a:ext cx="762000" cy="274320"/>
          </a:xfrm>
          <a:prstGeom prst="rect">
            <a:avLst/>
          </a:prstGeom>
        </p:spPr>
        <p:txBody>
          <a:bodyPr vert="horz" lIns="91318" tIns="45659" rIns="91318" bIns="45659" anchor="b"/>
          <a:lstStyle>
            <a:lvl1pPr algn="r" eaLnBrk="1" latinLnBrk="0" hangingPunct="1">
              <a:defRPr kumimoji="0" sz="1800">
                <a:solidFill>
                  <a:srgbClr val="FFFFFF"/>
                </a:solidFill>
              </a:defRPr>
            </a:lvl1pPr>
          </a:lstStyle>
          <a:p>
            <a:pPr defTabSz="913028"/>
            <a:fld id="{2F20CBE2-B0F0-4F11-A5D6-860EBEE691F4}" type="slidenum">
              <a:rPr lang="es-AR" smtClean="0"/>
              <a:pPr defTabSz="913028"/>
              <a:t>‹Nº›</a:t>
            </a:fld>
            <a:endParaRPr lang="es-AR"/>
          </a:p>
        </p:txBody>
      </p:sp>
    </p:spTree>
    <p:extLst>
      <p:ext uri="{BB962C8B-B14F-4D97-AF65-F5344CB8AC3E}">
        <p14:creationId xmlns:p14="http://schemas.microsoft.com/office/powerpoint/2010/main" val="1218444283"/>
      </p:ext>
    </p:extLst>
  </p:cSld>
  <p:clrMap bg1="lt1" tx1="dk1" bg2="lt2" tx2="dk2" accent1="accent1" accent2="accent2" accent3="accent3" accent4="accent4" accent5="accent5" accent6="accent6" hlink="hlink" folHlink="folHlink"/>
  <p:sldLayoutIdLst>
    <p:sldLayoutId id="2147484203" r:id="rId1"/>
    <p:sldLayoutId id="2147484204" r:id="rId2"/>
    <p:sldLayoutId id="2147484205" r:id="rId3"/>
    <p:sldLayoutId id="2147484206" r:id="rId4"/>
    <p:sldLayoutId id="2147484207" r:id="rId5"/>
    <p:sldLayoutId id="2147484208" r:id="rId6"/>
    <p:sldLayoutId id="2147484209" r:id="rId7"/>
    <p:sldLayoutId id="2147484210" r:id="rId8"/>
    <p:sldLayoutId id="2147484211" r:id="rId9"/>
    <p:sldLayoutId id="2147484212" r:id="rId10"/>
    <p:sldLayoutId id="2147484213" r:id="rId11"/>
    <p:sldLayoutId id="2147484214" r:id="rId12"/>
  </p:sldLayoutIdLst>
  <p:txStyles>
    <p:titleStyle>
      <a:lvl1pPr algn="l" rtl="0" eaLnBrk="1" latinLnBrk="0" hangingPunct="1">
        <a:spcBef>
          <a:spcPct val="0"/>
        </a:spcBef>
        <a:buNone/>
        <a:defRPr kumimoji="0" sz="4000" kern="1200">
          <a:solidFill>
            <a:schemeClr val="tx2"/>
          </a:solidFill>
          <a:latin typeface="+mj-lt"/>
          <a:ea typeface="+mj-ea"/>
          <a:cs typeface="+mj-cs"/>
        </a:defRPr>
      </a:lvl1pPr>
    </p:titleStyle>
    <p:bodyStyle>
      <a:lvl1pPr marL="365211" indent="-255665"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7362" indent="-246522"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2141" indent="-219092"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7748" indent="-200863"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7784" indent="-182606"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6904" indent="-182606"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6054" indent="-182606"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6857" indent="-182606"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36864" indent="-182606"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6470" algn="l" rtl="0" eaLnBrk="1" latinLnBrk="0" hangingPunct="1">
        <a:defRPr kumimoji="0" kern="1200">
          <a:solidFill>
            <a:schemeClr val="tx1"/>
          </a:solidFill>
          <a:latin typeface="+mn-lt"/>
          <a:ea typeface="+mn-ea"/>
          <a:cs typeface="+mn-cs"/>
        </a:defRPr>
      </a:lvl2pPr>
      <a:lvl3pPr marL="913028" algn="l" rtl="0" eaLnBrk="1" latinLnBrk="0" hangingPunct="1">
        <a:defRPr kumimoji="0" kern="1200">
          <a:solidFill>
            <a:schemeClr val="tx1"/>
          </a:solidFill>
          <a:latin typeface="+mn-lt"/>
          <a:ea typeface="+mn-ea"/>
          <a:cs typeface="+mn-cs"/>
        </a:defRPr>
      </a:lvl3pPr>
      <a:lvl4pPr marL="1369526" algn="l" rtl="0" eaLnBrk="1" latinLnBrk="0" hangingPunct="1">
        <a:defRPr kumimoji="0" kern="1200">
          <a:solidFill>
            <a:schemeClr val="tx1"/>
          </a:solidFill>
          <a:latin typeface="+mn-lt"/>
          <a:ea typeface="+mn-ea"/>
          <a:cs typeface="+mn-cs"/>
        </a:defRPr>
      </a:lvl4pPr>
      <a:lvl5pPr marL="1826054" algn="l" rtl="0" eaLnBrk="1" latinLnBrk="0" hangingPunct="1">
        <a:defRPr kumimoji="0" kern="1200">
          <a:solidFill>
            <a:schemeClr val="tx1"/>
          </a:solidFill>
          <a:latin typeface="+mn-lt"/>
          <a:ea typeface="+mn-ea"/>
          <a:cs typeface="+mn-cs"/>
        </a:defRPr>
      </a:lvl5pPr>
      <a:lvl6pPr marL="2282523" algn="l" rtl="0" eaLnBrk="1" latinLnBrk="0" hangingPunct="1">
        <a:defRPr kumimoji="0" kern="1200">
          <a:solidFill>
            <a:schemeClr val="tx1"/>
          </a:solidFill>
          <a:latin typeface="+mn-lt"/>
          <a:ea typeface="+mn-ea"/>
          <a:cs typeface="+mn-cs"/>
        </a:defRPr>
      </a:lvl6pPr>
      <a:lvl7pPr marL="2738993" algn="l" rtl="0" eaLnBrk="1" latinLnBrk="0" hangingPunct="1">
        <a:defRPr kumimoji="0" kern="1200">
          <a:solidFill>
            <a:schemeClr val="tx1"/>
          </a:solidFill>
          <a:latin typeface="+mn-lt"/>
          <a:ea typeface="+mn-ea"/>
          <a:cs typeface="+mn-cs"/>
        </a:defRPr>
      </a:lvl7pPr>
      <a:lvl8pPr marL="3195520" algn="l" rtl="0" eaLnBrk="1" latinLnBrk="0" hangingPunct="1">
        <a:defRPr kumimoji="0" kern="1200">
          <a:solidFill>
            <a:schemeClr val="tx1"/>
          </a:solidFill>
          <a:latin typeface="+mn-lt"/>
          <a:ea typeface="+mn-ea"/>
          <a:cs typeface="+mn-cs"/>
        </a:defRPr>
      </a:lvl8pPr>
      <a:lvl9pPr marL="3652035" algn="l" rtl="0" eaLnBrk="1" latinLnBrk="0" hangingPunct="1">
        <a:defRPr kumimoji="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8" name="27 Rectángulo"/>
          <p:cNvSpPr/>
          <p:nvPr/>
        </p:nvSpPr>
        <p:spPr>
          <a:xfrm>
            <a:off x="1" y="275245"/>
            <a:ext cx="9144000" cy="63305"/>
          </a:xfrm>
          <a:prstGeom prst="rect">
            <a:avLst/>
          </a:prstGeom>
          <a:solidFill>
            <a:schemeClr val="accent2">
              <a:alpha val="5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18" tIns="45659" rIns="91318" bIns="45659" anchor="ctr"/>
          <a:lstStyle/>
          <a:p>
            <a:pPr algn="ctr" defTabSz="913028"/>
            <a:endParaRPr lang="en-US">
              <a:solidFill>
                <a:prstClr val="white"/>
              </a:solidFill>
            </a:endParaRPr>
          </a:p>
        </p:txBody>
      </p:sp>
      <p:sp>
        <p:nvSpPr>
          <p:cNvPr id="29" name="28 Rectángulo"/>
          <p:cNvSpPr/>
          <p:nvPr/>
        </p:nvSpPr>
        <p:spPr>
          <a:xfrm>
            <a:off x="0" y="15"/>
            <a:ext cx="9144000" cy="232997"/>
          </a:xfrm>
          <a:prstGeom prst="rect">
            <a:avLst/>
          </a:prstGeom>
          <a:solidFill>
            <a:schemeClr val="tx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18" tIns="45659" rIns="91318" bIns="45659" anchor="ctr"/>
          <a:lstStyle/>
          <a:p>
            <a:pPr algn="ctr" defTabSz="913028"/>
            <a:endParaRPr lang="en-US">
              <a:solidFill>
                <a:prstClr val="white"/>
              </a:solidFill>
            </a:endParaRPr>
          </a:p>
        </p:txBody>
      </p:sp>
      <p:sp>
        <p:nvSpPr>
          <p:cNvPr id="30" name="29 Rectángulo"/>
          <p:cNvSpPr/>
          <p:nvPr/>
        </p:nvSpPr>
        <p:spPr>
          <a:xfrm>
            <a:off x="17" y="231338"/>
            <a:ext cx="9144001" cy="68581"/>
          </a:xfrm>
          <a:prstGeom prst="rect">
            <a:avLst/>
          </a:prstGeom>
          <a:solidFill>
            <a:schemeClr val="accent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18" tIns="45659" rIns="91318" bIns="45659" anchor="ctr"/>
          <a:lstStyle/>
          <a:p>
            <a:pPr algn="ctr" defTabSz="913028"/>
            <a:endParaRPr lang="en-US">
              <a:solidFill>
                <a:prstClr val="white"/>
              </a:solidFill>
            </a:endParaRPr>
          </a:p>
        </p:txBody>
      </p:sp>
      <p:sp>
        <p:nvSpPr>
          <p:cNvPr id="31" name="30 Rectángulo"/>
          <p:cNvSpPr/>
          <p:nvPr/>
        </p:nvSpPr>
        <p:spPr>
          <a:xfrm flipV="1">
            <a:off x="5410223" y="270316"/>
            <a:ext cx="3733819" cy="68315"/>
          </a:xfrm>
          <a:prstGeom prst="rect">
            <a:avLst/>
          </a:prstGeom>
          <a:solidFill>
            <a:schemeClr val="accent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18" tIns="45659" rIns="91318" bIns="45659" anchor="ctr"/>
          <a:lstStyle/>
          <a:p>
            <a:pPr algn="ctr" defTabSz="913028"/>
            <a:endParaRPr lang="en-US">
              <a:solidFill>
                <a:prstClr val="white"/>
              </a:solidFill>
            </a:endParaRPr>
          </a:p>
        </p:txBody>
      </p:sp>
      <p:sp>
        <p:nvSpPr>
          <p:cNvPr id="32" name="31 Rectángulo"/>
          <p:cNvSpPr/>
          <p:nvPr/>
        </p:nvSpPr>
        <p:spPr>
          <a:xfrm flipV="1">
            <a:off x="5410265" y="330085"/>
            <a:ext cx="3733801" cy="135026"/>
          </a:xfrm>
          <a:prstGeom prst="rect">
            <a:avLst/>
          </a:prstGeom>
          <a:solidFill>
            <a:schemeClr val="accent2">
              <a:alpha val="5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18" tIns="45659" rIns="91318" bIns="45659" anchor="ctr"/>
          <a:lstStyle/>
          <a:p>
            <a:pPr algn="ctr" defTabSz="913028"/>
            <a:endParaRPr lang="en-US">
              <a:solidFill>
                <a:prstClr val="white"/>
              </a:solidFill>
            </a:endParaRPr>
          </a:p>
        </p:txBody>
      </p:sp>
      <p:sp useBgFill="1">
        <p:nvSpPr>
          <p:cNvPr id="33" name="32 Rectángulo redondeado"/>
          <p:cNvSpPr/>
          <p:nvPr/>
        </p:nvSpPr>
        <p:spPr bwMode="white">
          <a:xfrm>
            <a:off x="5407339" y="373128"/>
            <a:ext cx="3063240" cy="20574"/>
          </a:xfrm>
          <a:prstGeom prst="roundRect">
            <a:avLst>
              <a:gd name="adj" fmla="val 16667"/>
            </a:avLst>
          </a:prstGeom>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18" tIns="45659" rIns="91318" bIns="45659" anchor="ctr"/>
          <a:lstStyle/>
          <a:p>
            <a:pPr algn="ctr" defTabSz="913028"/>
            <a:endParaRPr lang="en-US">
              <a:solidFill>
                <a:prstClr val="white"/>
              </a:solidFill>
            </a:endParaRPr>
          </a:p>
        </p:txBody>
      </p:sp>
      <p:sp useBgFill="1">
        <p:nvSpPr>
          <p:cNvPr id="34" name="33 Rectángulo redondeado"/>
          <p:cNvSpPr/>
          <p:nvPr/>
        </p:nvSpPr>
        <p:spPr bwMode="white">
          <a:xfrm>
            <a:off x="7373646" y="441707"/>
            <a:ext cx="1600200" cy="27432"/>
          </a:xfrm>
          <a:prstGeom prst="roundRect">
            <a:avLst>
              <a:gd name="adj" fmla="val 16667"/>
            </a:avLst>
          </a:prstGeom>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18" tIns="45659" rIns="91318" bIns="45659" anchor="ctr"/>
          <a:lstStyle/>
          <a:p>
            <a:pPr algn="ctr" defTabSz="913028"/>
            <a:endParaRPr lang="en-US">
              <a:solidFill>
                <a:prstClr val="white"/>
              </a:solidFill>
            </a:endParaRPr>
          </a:p>
        </p:txBody>
      </p:sp>
      <p:sp>
        <p:nvSpPr>
          <p:cNvPr id="35" name="34 Rectángulo"/>
          <p:cNvSpPr/>
          <p:nvPr/>
        </p:nvSpPr>
        <p:spPr bwMode="invGray">
          <a:xfrm>
            <a:off x="9084967" y="-1501"/>
            <a:ext cx="57626" cy="466344"/>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18" tIns="45659" rIns="91318" bIns="45659" anchor="ctr"/>
          <a:lstStyle/>
          <a:p>
            <a:pPr algn="ctr" defTabSz="913028"/>
            <a:endParaRPr lang="en-US" dirty="0">
              <a:solidFill>
                <a:prstClr val="white"/>
              </a:solidFill>
            </a:endParaRPr>
          </a:p>
        </p:txBody>
      </p:sp>
      <p:sp>
        <p:nvSpPr>
          <p:cNvPr id="36" name="35 Rectángulo"/>
          <p:cNvSpPr/>
          <p:nvPr/>
        </p:nvSpPr>
        <p:spPr bwMode="invGray">
          <a:xfrm>
            <a:off x="9044481" y="-1501"/>
            <a:ext cx="27432" cy="466344"/>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18" tIns="45659" rIns="91318" bIns="45659" anchor="ctr"/>
          <a:lstStyle/>
          <a:p>
            <a:pPr algn="ctr" defTabSz="913028"/>
            <a:endParaRPr lang="en-US" dirty="0">
              <a:solidFill>
                <a:prstClr val="white"/>
              </a:solidFill>
            </a:endParaRPr>
          </a:p>
        </p:txBody>
      </p:sp>
      <p:sp>
        <p:nvSpPr>
          <p:cNvPr id="37" name="36 Rectángulo"/>
          <p:cNvSpPr/>
          <p:nvPr/>
        </p:nvSpPr>
        <p:spPr bwMode="invGray">
          <a:xfrm>
            <a:off x="9025428" y="-1501"/>
            <a:ext cx="9144" cy="466344"/>
          </a:xfrm>
          <a:prstGeom prst="rect">
            <a:avLst/>
          </a:prstGeom>
          <a:solidFill>
            <a:srgbClr val="FFFFFF">
              <a:alpha val="6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18" tIns="45659" rIns="91318" bIns="45659" anchor="ctr"/>
          <a:lstStyle/>
          <a:p>
            <a:pPr algn="ctr" defTabSz="913028"/>
            <a:endParaRPr lang="en-US">
              <a:solidFill>
                <a:prstClr val="white"/>
              </a:solidFill>
            </a:endParaRPr>
          </a:p>
        </p:txBody>
      </p:sp>
      <p:sp>
        <p:nvSpPr>
          <p:cNvPr id="38" name="37 Rectángulo"/>
          <p:cNvSpPr/>
          <p:nvPr/>
        </p:nvSpPr>
        <p:spPr bwMode="invGray">
          <a:xfrm>
            <a:off x="8975423" y="-1501"/>
            <a:ext cx="27432" cy="466344"/>
          </a:xfrm>
          <a:prstGeom prst="rect">
            <a:avLst/>
          </a:prstGeom>
          <a:solidFill>
            <a:srgbClr val="FFFFFF">
              <a:alpha val="4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18" tIns="45659" rIns="91318" bIns="45659" anchor="ctr"/>
          <a:lstStyle/>
          <a:p>
            <a:pPr algn="ctr" defTabSz="913028"/>
            <a:endParaRPr lang="en-US">
              <a:solidFill>
                <a:prstClr val="white"/>
              </a:solidFill>
            </a:endParaRPr>
          </a:p>
        </p:txBody>
      </p:sp>
      <p:sp>
        <p:nvSpPr>
          <p:cNvPr id="39" name="38 Rectángulo"/>
          <p:cNvSpPr/>
          <p:nvPr/>
        </p:nvSpPr>
        <p:spPr bwMode="invGray">
          <a:xfrm>
            <a:off x="8915677" y="285"/>
            <a:ext cx="54864" cy="438912"/>
          </a:xfrm>
          <a:prstGeom prst="rect">
            <a:avLst/>
          </a:prstGeom>
          <a:solidFill>
            <a:srgbClr val="FFFFFF">
              <a:alpha val="2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18" tIns="45659" rIns="91318" bIns="45659" anchor="ctr"/>
          <a:lstStyle/>
          <a:p>
            <a:pPr algn="ctr" defTabSz="913028"/>
            <a:endParaRPr lang="en-US">
              <a:solidFill>
                <a:prstClr val="white"/>
              </a:solidFill>
            </a:endParaRPr>
          </a:p>
        </p:txBody>
      </p:sp>
      <p:sp>
        <p:nvSpPr>
          <p:cNvPr id="40" name="39 Rectángulo"/>
          <p:cNvSpPr/>
          <p:nvPr/>
        </p:nvSpPr>
        <p:spPr bwMode="invGray">
          <a:xfrm>
            <a:off x="8873475" y="285"/>
            <a:ext cx="9144" cy="438912"/>
          </a:xfrm>
          <a:prstGeom prst="rect">
            <a:avLst/>
          </a:prstGeom>
          <a:solidFill>
            <a:srgbClr val="FFFFFF">
              <a:alpha val="30196"/>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lIns="91318" tIns="45659" rIns="91318" bIns="45659" anchor="ctr"/>
          <a:lstStyle/>
          <a:p>
            <a:pPr algn="ctr" defTabSz="913028"/>
            <a:endParaRPr lang="en-US" dirty="0">
              <a:solidFill>
                <a:prstClr val="white"/>
              </a:solidFill>
            </a:endParaRPr>
          </a:p>
        </p:txBody>
      </p:sp>
      <p:sp>
        <p:nvSpPr>
          <p:cNvPr id="22" name="21 Marcador de título"/>
          <p:cNvSpPr>
            <a:spLocks noGrp="1"/>
          </p:cNvSpPr>
          <p:nvPr>
            <p:ph type="title"/>
          </p:nvPr>
        </p:nvSpPr>
        <p:spPr>
          <a:xfrm>
            <a:off x="457200" y="857250"/>
            <a:ext cx="8229600" cy="800100"/>
          </a:xfrm>
          <a:prstGeom prst="rect">
            <a:avLst/>
          </a:prstGeom>
        </p:spPr>
        <p:txBody>
          <a:bodyPr vert="horz" lIns="91318" tIns="45659" rIns="91318" bIns="45659" anchor="ctr">
            <a:normAutofit/>
          </a:bodyPr>
          <a:lstStyle/>
          <a:p>
            <a:r>
              <a:rPr kumimoji="0" lang="es-ES" smtClean="0"/>
              <a:t>Haga clic para modificar el estilo de título del patrón</a:t>
            </a:r>
            <a:endParaRPr kumimoji="0" lang="en-US"/>
          </a:p>
        </p:txBody>
      </p:sp>
      <p:sp>
        <p:nvSpPr>
          <p:cNvPr id="13" name="12 Marcador de texto"/>
          <p:cNvSpPr>
            <a:spLocks noGrp="1"/>
          </p:cNvSpPr>
          <p:nvPr>
            <p:ph type="body" idx="1"/>
          </p:nvPr>
        </p:nvSpPr>
        <p:spPr>
          <a:xfrm>
            <a:off x="457200" y="1687068"/>
            <a:ext cx="8229600" cy="3243834"/>
          </a:xfrm>
          <a:prstGeom prst="rect">
            <a:avLst/>
          </a:prstGeom>
        </p:spPr>
        <p:txBody>
          <a:bodyPr vert="horz" lIns="91318" tIns="45659" rIns="91318" bIns="45659">
            <a:normAutofit/>
          </a:bodyPr>
          <a:lstStyle/>
          <a:p>
            <a:pPr lvl="0" eaLnBrk="1" latinLnBrk="0" hangingPunct="1"/>
            <a:r>
              <a:rPr kumimoji="0" lang="es-ES" smtClean="0"/>
              <a:t>Haga clic para modificar el estilo de texto del patrón</a:t>
            </a:r>
          </a:p>
          <a:p>
            <a:pPr lvl="1" eaLnBrk="1" latinLnBrk="0" hangingPunct="1"/>
            <a:r>
              <a:rPr kumimoji="0" lang="es-ES" smtClean="0"/>
              <a:t>Segundo nivel</a:t>
            </a:r>
          </a:p>
          <a:p>
            <a:pPr lvl="2" eaLnBrk="1" latinLnBrk="0" hangingPunct="1"/>
            <a:r>
              <a:rPr kumimoji="0" lang="es-ES" smtClean="0"/>
              <a:t>Tercer nivel</a:t>
            </a:r>
          </a:p>
          <a:p>
            <a:pPr lvl="3" eaLnBrk="1" latinLnBrk="0" hangingPunct="1"/>
            <a:r>
              <a:rPr kumimoji="0" lang="es-ES" smtClean="0"/>
              <a:t>Cuarto nivel</a:t>
            </a:r>
          </a:p>
          <a:p>
            <a:pPr lvl="4" eaLnBrk="1" latinLnBrk="0" hangingPunct="1"/>
            <a:r>
              <a:rPr kumimoji="0" lang="es-ES" smtClean="0"/>
              <a:t>Quinto nivel</a:t>
            </a:r>
            <a:endParaRPr kumimoji="0" lang="en-US"/>
          </a:p>
        </p:txBody>
      </p:sp>
      <p:sp>
        <p:nvSpPr>
          <p:cNvPr id="14" name="13 Marcador de fecha"/>
          <p:cNvSpPr>
            <a:spLocks noGrp="1"/>
          </p:cNvSpPr>
          <p:nvPr>
            <p:ph type="dt" sz="half" idx="2"/>
          </p:nvPr>
        </p:nvSpPr>
        <p:spPr>
          <a:xfrm>
            <a:off x="6586536" y="459486"/>
            <a:ext cx="957264" cy="342900"/>
          </a:xfrm>
          <a:prstGeom prst="rect">
            <a:avLst/>
          </a:prstGeom>
        </p:spPr>
        <p:txBody>
          <a:bodyPr vert="horz" lIns="91318" tIns="45659" rIns="91318" bIns="45659"/>
          <a:lstStyle>
            <a:lvl1pPr algn="l" eaLnBrk="1" latinLnBrk="0" hangingPunct="1">
              <a:defRPr kumimoji="0" sz="800">
                <a:solidFill>
                  <a:schemeClr val="accent2"/>
                </a:solidFill>
              </a:defRPr>
            </a:lvl1pPr>
          </a:lstStyle>
          <a:p>
            <a:pPr defTabSz="913028"/>
            <a:fld id="{32099F8F-6F72-4552-9675-E6A73B760289}" type="datetimeFigureOut">
              <a:rPr lang="es-AR" smtClean="0">
                <a:solidFill>
                  <a:srgbClr val="438086"/>
                </a:solidFill>
              </a:rPr>
              <a:pPr defTabSz="913028"/>
              <a:t>7/8/2024</a:t>
            </a:fld>
            <a:endParaRPr lang="es-AR">
              <a:solidFill>
                <a:srgbClr val="438086"/>
              </a:solidFill>
            </a:endParaRPr>
          </a:p>
        </p:txBody>
      </p:sp>
      <p:sp>
        <p:nvSpPr>
          <p:cNvPr id="3" name="2 Marcador de pie de página"/>
          <p:cNvSpPr>
            <a:spLocks noGrp="1"/>
          </p:cNvSpPr>
          <p:nvPr>
            <p:ph type="ftr" sz="quarter" idx="3"/>
          </p:nvPr>
        </p:nvSpPr>
        <p:spPr>
          <a:xfrm>
            <a:off x="5257800" y="459486"/>
            <a:ext cx="1325880" cy="342900"/>
          </a:xfrm>
          <a:prstGeom prst="rect">
            <a:avLst/>
          </a:prstGeom>
        </p:spPr>
        <p:txBody>
          <a:bodyPr vert="horz" lIns="91318" tIns="45659" rIns="91318" bIns="45659"/>
          <a:lstStyle>
            <a:lvl1pPr algn="r" eaLnBrk="1" latinLnBrk="0" hangingPunct="1">
              <a:defRPr kumimoji="0" sz="800">
                <a:solidFill>
                  <a:schemeClr val="accent2"/>
                </a:solidFill>
              </a:defRPr>
            </a:lvl1pPr>
          </a:lstStyle>
          <a:p>
            <a:pPr defTabSz="913028"/>
            <a:endParaRPr lang="es-AR">
              <a:solidFill>
                <a:srgbClr val="438086"/>
              </a:solidFill>
            </a:endParaRPr>
          </a:p>
        </p:txBody>
      </p:sp>
      <p:sp>
        <p:nvSpPr>
          <p:cNvPr id="23" name="22 Marcador de número de diapositiva"/>
          <p:cNvSpPr>
            <a:spLocks noGrp="1"/>
          </p:cNvSpPr>
          <p:nvPr>
            <p:ph type="sldNum" sz="quarter" idx="4"/>
          </p:nvPr>
        </p:nvSpPr>
        <p:spPr>
          <a:xfrm>
            <a:off x="8174736" y="1704"/>
            <a:ext cx="762000" cy="274320"/>
          </a:xfrm>
          <a:prstGeom prst="rect">
            <a:avLst/>
          </a:prstGeom>
        </p:spPr>
        <p:txBody>
          <a:bodyPr vert="horz" lIns="91318" tIns="45659" rIns="91318" bIns="45659" anchor="b"/>
          <a:lstStyle>
            <a:lvl1pPr algn="r" eaLnBrk="1" latinLnBrk="0" hangingPunct="1">
              <a:defRPr kumimoji="0" sz="1800">
                <a:solidFill>
                  <a:srgbClr val="FFFFFF"/>
                </a:solidFill>
              </a:defRPr>
            </a:lvl1pPr>
          </a:lstStyle>
          <a:p>
            <a:pPr defTabSz="913028"/>
            <a:fld id="{2F20CBE2-B0F0-4F11-A5D6-860EBEE691F4}" type="slidenum">
              <a:rPr lang="es-AR" smtClean="0"/>
              <a:pPr defTabSz="913028"/>
              <a:t>‹Nº›</a:t>
            </a:fld>
            <a:endParaRPr lang="es-AR"/>
          </a:p>
        </p:txBody>
      </p:sp>
    </p:spTree>
    <p:extLst>
      <p:ext uri="{BB962C8B-B14F-4D97-AF65-F5344CB8AC3E}">
        <p14:creationId xmlns:p14="http://schemas.microsoft.com/office/powerpoint/2010/main" val="1554262564"/>
      </p:ext>
    </p:extLst>
  </p:cSld>
  <p:clrMap bg1="lt1" tx1="dk1" bg2="lt2" tx2="dk2" accent1="accent1" accent2="accent2" accent3="accent3" accent4="accent4" accent5="accent5" accent6="accent6" hlink="hlink" folHlink="folHlink"/>
  <p:sldLayoutIdLst>
    <p:sldLayoutId id="2147484216" r:id="rId1"/>
    <p:sldLayoutId id="2147484217" r:id="rId2"/>
    <p:sldLayoutId id="2147484218" r:id="rId3"/>
    <p:sldLayoutId id="2147484219" r:id="rId4"/>
    <p:sldLayoutId id="2147484220" r:id="rId5"/>
    <p:sldLayoutId id="2147484221" r:id="rId6"/>
    <p:sldLayoutId id="2147484222" r:id="rId7"/>
    <p:sldLayoutId id="2147484223" r:id="rId8"/>
    <p:sldLayoutId id="2147484224" r:id="rId9"/>
    <p:sldLayoutId id="2147484225" r:id="rId10"/>
    <p:sldLayoutId id="2147484226" r:id="rId11"/>
    <p:sldLayoutId id="2147484227" r:id="rId12"/>
  </p:sldLayoutIdLst>
  <p:txStyles>
    <p:titleStyle>
      <a:lvl1pPr algn="l" rtl="0" eaLnBrk="1" latinLnBrk="0" hangingPunct="1">
        <a:spcBef>
          <a:spcPct val="0"/>
        </a:spcBef>
        <a:buNone/>
        <a:defRPr kumimoji="0" sz="4000" kern="1200">
          <a:solidFill>
            <a:schemeClr val="tx2"/>
          </a:solidFill>
          <a:latin typeface="+mj-lt"/>
          <a:ea typeface="+mj-ea"/>
          <a:cs typeface="+mj-cs"/>
        </a:defRPr>
      </a:lvl1pPr>
    </p:titleStyle>
    <p:bodyStyle>
      <a:lvl1pPr marL="365211" indent="-255665"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7362" indent="-246522"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2141" indent="-219092"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7748" indent="-200863"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7784" indent="-182606"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6904" indent="-182606"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6054" indent="-182606"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6857" indent="-182606"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36864" indent="-182606"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6470" algn="l" rtl="0" eaLnBrk="1" latinLnBrk="0" hangingPunct="1">
        <a:defRPr kumimoji="0" kern="1200">
          <a:solidFill>
            <a:schemeClr val="tx1"/>
          </a:solidFill>
          <a:latin typeface="+mn-lt"/>
          <a:ea typeface="+mn-ea"/>
          <a:cs typeface="+mn-cs"/>
        </a:defRPr>
      </a:lvl2pPr>
      <a:lvl3pPr marL="913028" algn="l" rtl="0" eaLnBrk="1" latinLnBrk="0" hangingPunct="1">
        <a:defRPr kumimoji="0" kern="1200">
          <a:solidFill>
            <a:schemeClr val="tx1"/>
          </a:solidFill>
          <a:latin typeface="+mn-lt"/>
          <a:ea typeface="+mn-ea"/>
          <a:cs typeface="+mn-cs"/>
        </a:defRPr>
      </a:lvl3pPr>
      <a:lvl4pPr marL="1369526" algn="l" rtl="0" eaLnBrk="1" latinLnBrk="0" hangingPunct="1">
        <a:defRPr kumimoji="0" kern="1200">
          <a:solidFill>
            <a:schemeClr val="tx1"/>
          </a:solidFill>
          <a:latin typeface="+mn-lt"/>
          <a:ea typeface="+mn-ea"/>
          <a:cs typeface="+mn-cs"/>
        </a:defRPr>
      </a:lvl4pPr>
      <a:lvl5pPr marL="1826054" algn="l" rtl="0" eaLnBrk="1" latinLnBrk="0" hangingPunct="1">
        <a:defRPr kumimoji="0" kern="1200">
          <a:solidFill>
            <a:schemeClr val="tx1"/>
          </a:solidFill>
          <a:latin typeface="+mn-lt"/>
          <a:ea typeface="+mn-ea"/>
          <a:cs typeface="+mn-cs"/>
        </a:defRPr>
      </a:lvl5pPr>
      <a:lvl6pPr marL="2282523" algn="l" rtl="0" eaLnBrk="1" latinLnBrk="0" hangingPunct="1">
        <a:defRPr kumimoji="0" kern="1200">
          <a:solidFill>
            <a:schemeClr val="tx1"/>
          </a:solidFill>
          <a:latin typeface="+mn-lt"/>
          <a:ea typeface="+mn-ea"/>
          <a:cs typeface="+mn-cs"/>
        </a:defRPr>
      </a:lvl6pPr>
      <a:lvl7pPr marL="2738993" algn="l" rtl="0" eaLnBrk="1" latinLnBrk="0" hangingPunct="1">
        <a:defRPr kumimoji="0" kern="1200">
          <a:solidFill>
            <a:schemeClr val="tx1"/>
          </a:solidFill>
          <a:latin typeface="+mn-lt"/>
          <a:ea typeface="+mn-ea"/>
          <a:cs typeface="+mn-cs"/>
        </a:defRPr>
      </a:lvl7pPr>
      <a:lvl8pPr marL="3195520" algn="l" rtl="0" eaLnBrk="1" latinLnBrk="0" hangingPunct="1">
        <a:defRPr kumimoji="0" kern="1200">
          <a:solidFill>
            <a:schemeClr val="tx1"/>
          </a:solidFill>
          <a:latin typeface="+mn-lt"/>
          <a:ea typeface="+mn-ea"/>
          <a:cs typeface="+mn-cs"/>
        </a:defRPr>
      </a:lvl8pPr>
      <a:lvl9pPr marL="3652035" algn="l" rtl="0" eaLnBrk="1" latinLnBrk="0" hangingPunct="1">
        <a:defRPr kumimoji="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テキスト プレースホルダ 2"/>
          <p:cNvSpPr>
            <a:spLocks noGrp="1"/>
          </p:cNvSpPr>
          <p:nvPr>
            <p:ph type="body" idx="1"/>
          </p:nvPr>
        </p:nvSpPr>
        <p:spPr>
          <a:xfrm>
            <a:off x="395288" y="927498"/>
            <a:ext cx="8343651" cy="3696480"/>
          </a:xfrm>
          <a:prstGeom prst="rect">
            <a:avLst/>
          </a:prstGeom>
        </p:spPr>
        <p:txBody>
          <a:bodyPr vert="horz" lIns="0" tIns="34289" rIns="68508" bIns="34289" rtlCol="0">
            <a:normAutofit/>
          </a:bodyPr>
          <a:lstStyle/>
          <a:p>
            <a:pPr lvl="0"/>
            <a:r>
              <a:rPr kumimoji="1" lang="en-US" altLang="ja-JP"/>
              <a:t>Master text</a:t>
            </a:r>
            <a:endParaRPr kumimoji="1" lang="ja-JP" altLang="en-US"/>
          </a:p>
          <a:p>
            <a:pPr lvl="1"/>
            <a:r>
              <a:rPr kumimoji="1" lang="en-US" altLang="ja-JP"/>
              <a:t>Second level</a:t>
            </a:r>
            <a:endParaRPr kumimoji="1" lang="ja-JP" altLang="en-US"/>
          </a:p>
          <a:p>
            <a:pPr lvl="2"/>
            <a:r>
              <a:rPr kumimoji="1" lang="en-US" altLang="ja-JP"/>
              <a:t>Third</a:t>
            </a:r>
            <a:r>
              <a:rPr kumimoji="1" lang="ja-JP" altLang="en-US"/>
              <a:t> </a:t>
            </a:r>
            <a:r>
              <a:rPr kumimoji="1" lang="en-US" altLang="ja-JP"/>
              <a:t>level</a:t>
            </a:r>
            <a:endParaRPr kumimoji="1" lang="ja-JP" altLang="en-US"/>
          </a:p>
          <a:p>
            <a:pPr lvl="3"/>
            <a:r>
              <a:rPr kumimoji="1" lang="en-US" altLang="ja-JP"/>
              <a:t>Fourth level</a:t>
            </a:r>
            <a:endParaRPr kumimoji="1" lang="ja-JP" altLang="en-US"/>
          </a:p>
          <a:p>
            <a:pPr lvl="4"/>
            <a:r>
              <a:rPr kumimoji="1" lang="en-US" altLang="ja-JP"/>
              <a:t>Fifth level</a:t>
            </a:r>
            <a:endParaRPr kumimoji="1" lang="ja-JP" altLang="en-US"/>
          </a:p>
        </p:txBody>
      </p:sp>
      <p:sp>
        <p:nvSpPr>
          <p:cNvPr id="15" name="タイトル プレースホルダ 1"/>
          <p:cNvSpPr>
            <a:spLocks noGrp="1"/>
          </p:cNvSpPr>
          <p:nvPr>
            <p:ph type="title"/>
          </p:nvPr>
        </p:nvSpPr>
        <p:spPr>
          <a:xfrm>
            <a:off x="395289" y="99585"/>
            <a:ext cx="7357234" cy="527957"/>
          </a:xfrm>
          <a:prstGeom prst="rect">
            <a:avLst/>
          </a:prstGeom>
        </p:spPr>
        <p:txBody>
          <a:bodyPr vert="horz" lIns="0" tIns="34289" rIns="68508" bIns="0" rtlCol="0" anchor="b">
            <a:noAutofit/>
          </a:bodyPr>
          <a:lstStyle/>
          <a:p>
            <a:r>
              <a:rPr kumimoji="1" lang="en-US" altLang="ja-JP"/>
              <a:t>Master title</a:t>
            </a:r>
            <a:endParaRPr kumimoji="1" lang="ja-JP" altLang="en-US"/>
          </a:p>
        </p:txBody>
      </p:sp>
      <p:sp>
        <p:nvSpPr>
          <p:cNvPr id="11" name="Rectangle 6">
            <a:extLst>
              <a:ext uri="{FF2B5EF4-FFF2-40B4-BE49-F238E27FC236}">
                <a16:creationId xmlns="" xmlns:a16="http://schemas.microsoft.com/office/drawing/2014/main" id="{18D4B9FA-39D5-DC46-AEE9-0F3C6ECD9555}"/>
              </a:ext>
            </a:extLst>
          </p:cNvPr>
          <p:cNvSpPr/>
          <p:nvPr userDrawn="1"/>
        </p:nvSpPr>
        <p:spPr>
          <a:xfrm>
            <a:off x="0" y="101206"/>
            <a:ext cx="107504" cy="526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08" tIns="34289" rIns="68508" bIns="34289" anchor="ctr"/>
          <a:lstStyle/>
          <a:p>
            <a:pPr algn="ctr" defTabSz="684984"/>
            <a:endParaRPr lang="en-US" altLang="en-US" sz="1400">
              <a:solidFill>
                <a:srgbClr val="E1242A"/>
              </a:solidFill>
            </a:endParaRPr>
          </a:p>
        </p:txBody>
      </p:sp>
      <p:pic>
        <p:nvPicPr>
          <p:cNvPr id="8" name="Picture 12" descr="Takeda_Logo_Pos_RGB.emf">
            <a:extLst>
              <a:ext uri="{FF2B5EF4-FFF2-40B4-BE49-F238E27FC236}">
                <a16:creationId xmlns="" xmlns:a16="http://schemas.microsoft.com/office/drawing/2014/main" id="{61B6986B-A886-0F49-AE59-BDBDD9D1E920}"/>
              </a:ext>
            </a:extLst>
          </p:cNvPr>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bwMode="auto">
          <a:xfrm>
            <a:off x="7975658" y="233604"/>
            <a:ext cx="772806" cy="259904"/>
          </a:xfrm>
          <a:prstGeom prst="rect">
            <a:avLst/>
          </a:prstGeom>
          <a:noFill/>
          <a:ln w="9525">
            <a:noFill/>
            <a:miter lim="800000"/>
            <a:headEnd/>
            <a:tailEnd/>
          </a:ln>
        </p:spPr>
      </p:pic>
      <p:sp>
        <p:nvSpPr>
          <p:cNvPr id="10" name="Slide Number Placeholder 2">
            <a:extLst>
              <a:ext uri="{FF2B5EF4-FFF2-40B4-BE49-F238E27FC236}">
                <a16:creationId xmlns="" xmlns:a16="http://schemas.microsoft.com/office/drawing/2014/main" id="{41D27A7B-FAE7-B348-9F8F-C6040D0C8D42}"/>
              </a:ext>
            </a:extLst>
          </p:cNvPr>
          <p:cNvSpPr>
            <a:spLocks noGrp="1"/>
          </p:cNvSpPr>
          <p:nvPr>
            <p:ph type="sldNum" sz="quarter" idx="4"/>
          </p:nvPr>
        </p:nvSpPr>
        <p:spPr>
          <a:xfrm>
            <a:off x="0" y="4748469"/>
            <a:ext cx="339635" cy="292687"/>
          </a:xfrm>
          <a:prstGeom prst="rect">
            <a:avLst/>
          </a:prstGeom>
        </p:spPr>
        <p:txBody>
          <a:bodyPr lIns="68508" tIns="34289" rIns="0" bIns="34289" anchor="ctr" anchorCtr="0"/>
          <a:lstStyle>
            <a:lvl1pPr algn="r">
              <a:defRPr sz="800" b="0" i="0">
                <a:solidFill>
                  <a:schemeClr val="accent3"/>
                </a:solidFill>
                <a:latin typeface="Calibri" panose="020F0502020204030204" pitchFamily="34" charset="0"/>
                <a:cs typeface="Calibri" panose="020F0502020204030204" pitchFamily="34" charset="0"/>
              </a:defRPr>
            </a:lvl1pPr>
          </a:lstStyle>
          <a:p>
            <a:pPr defTabSz="684984"/>
            <a:fld id="{E9B57936-92EF-4126-AE48-1D9D36D15E98}" type="slidenum">
              <a:rPr lang="ja-JP" altLang="en-US" smtClean="0">
                <a:solidFill>
                  <a:srgbClr val="A1A4AC"/>
                </a:solidFill>
              </a:rPr>
              <a:pPr defTabSz="684984"/>
              <a:t>‹Nº›</a:t>
            </a:fld>
            <a:endParaRPr lang="ja-JP" altLang="en-US">
              <a:solidFill>
                <a:srgbClr val="A1A4AC"/>
              </a:solidFill>
            </a:endParaRPr>
          </a:p>
        </p:txBody>
      </p:sp>
      <p:pic>
        <p:nvPicPr>
          <p:cNvPr id="9" name="Picture 8">
            <a:extLst>
              <a:ext uri="{FF2B5EF4-FFF2-40B4-BE49-F238E27FC236}">
                <a16:creationId xmlns="" xmlns:a16="http://schemas.microsoft.com/office/drawing/2014/main" id="{9882863E-CAEA-FB4F-AA30-716CDF5EAB13}"/>
              </a:ext>
            </a:extLst>
          </p:cNvPr>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a:off x="7937746" y="4604928"/>
            <a:ext cx="1008126" cy="603504"/>
          </a:xfrm>
          <a:prstGeom prst="rect">
            <a:avLst/>
          </a:prstGeom>
        </p:spPr>
      </p:pic>
      <p:sp>
        <p:nvSpPr>
          <p:cNvPr id="2" name="Footer Placeholder 1">
            <a:extLst>
              <a:ext uri="{FF2B5EF4-FFF2-40B4-BE49-F238E27FC236}">
                <a16:creationId xmlns="" xmlns:a16="http://schemas.microsoft.com/office/drawing/2014/main" id="{F83C59BB-1B84-44DE-94F6-9C74ABA411BA}"/>
              </a:ext>
            </a:extLst>
          </p:cNvPr>
          <p:cNvSpPr>
            <a:spLocks noGrp="1"/>
          </p:cNvSpPr>
          <p:nvPr>
            <p:ph type="ftr" sz="quarter" idx="3"/>
          </p:nvPr>
        </p:nvSpPr>
        <p:spPr>
          <a:xfrm>
            <a:off x="395291" y="4749564"/>
            <a:ext cx="7443787" cy="272700"/>
          </a:xfrm>
          <a:prstGeom prst="rect">
            <a:avLst/>
          </a:prstGeom>
        </p:spPr>
        <p:txBody>
          <a:bodyPr vert="horz" lIns="68508" tIns="0" rIns="68508" bIns="0" rtlCol="0" anchor="ctr"/>
          <a:lstStyle>
            <a:lvl1pPr algn="l">
              <a:defRPr sz="800">
                <a:solidFill>
                  <a:schemeClr val="tx1">
                    <a:tint val="75000"/>
                  </a:schemeClr>
                </a:solidFill>
              </a:defRPr>
            </a:lvl1pPr>
          </a:lstStyle>
          <a:p>
            <a:pPr defTabSz="684984"/>
            <a:r>
              <a:rPr lang="en-GB" altLang="ja-JP" smtClean="0">
                <a:solidFill>
                  <a:srgbClr val="000000">
                    <a:tint val="75000"/>
                  </a:srgbClr>
                </a:solidFill>
              </a:rPr>
              <a:t>Long-term efficacy and safety of Takeda’s dengue vaccine candidate (TAK-003) after 4.5 years of follow-up | TBC | Approval </a:t>
            </a:r>
            <a:r>
              <a:rPr lang="en-US" altLang="ja-JP" smtClean="0">
                <a:solidFill>
                  <a:srgbClr val="000000">
                    <a:tint val="75000"/>
                  </a:srgbClr>
                </a:solidFill>
              </a:rPr>
              <a:t>date: March 2023</a:t>
            </a:r>
            <a:endParaRPr lang="ja-JP" altLang="en-US" sz="200">
              <a:solidFill>
                <a:srgbClr val="000000">
                  <a:tint val="75000"/>
                </a:srgbClr>
              </a:solidFill>
            </a:endParaRPr>
          </a:p>
        </p:txBody>
      </p:sp>
    </p:spTree>
    <p:extLst>
      <p:ext uri="{BB962C8B-B14F-4D97-AF65-F5344CB8AC3E}">
        <p14:creationId xmlns:p14="http://schemas.microsoft.com/office/powerpoint/2010/main" val="2473017782"/>
      </p:ext>
    </p:extLst>
  </p:cSld>
  <p:clrMap bg1="lt1" tx1="dk1" bg2="lt2" tx2="dk2" accent1="accent1" accent2="accent2" accent3="accent3" accent4="accent4" accent5="accent5" accent6="accent6" hlink="hlink" folHlink="folHlink"/>
  <p:sldLayoutIdLst>
    <p:sldLayoutId id="2147484229" r:id="rId1"/>
    <p:sldLayoutId id="2147484230" r:id="rId2"/>
    <p:sldLayoutId id="2147484231" r:id="rId3"/>
    <p:sldLayoutId id="2147484232" r:id="rId4"/>
    <p:sldLayoutId id="2147484233" r:id="rId5"/>
    <p:sldLayoutId id="2147484234" r:id="rId6"/>
    <p:sldLayoutId id="2147484235" r:id="rId7"/>
    <p:sldLayoutId id="2147484236" r:id="rId8"/>
    <p:sldLayoutId id="2147484237" r:id="rId9"/>
    <p:sldLayoutId id="2147484238" r:id="rId10"/>
  </p:sldLayoutIdLst>
  <p:hf hdr="0" dt="0"/>
  <p:txStyles>
    <p:titleStyle>
      <a:lvl1pPr algn="l" defTabSz="684984" rtl="0" eaLnBrk="1" latinLnBrk="0" hangingPunct="1">
        <a:spcBef>
          <a:spcPct val="0"/>
        </a:spcBef>
        <a:buNone/>
        <a:defRPr kumimoji="1" sz="2100" kern="1200" baseline="0">
          <a:solidFill>
            <a:schemeClr val="tx2"/>
          </a:solidFill>
          <a:latin typeface="Calibri" pitchFamily="34" charset="0"/>
          <a:ea typeface="メイリオ" pitchFamily="50" charset="-128"/>
          <a:cs typeface="Calibri" pitchFamily="34" charset="0"/>
        </a:defRPr>
      </a:lvl1pPr>
    </p:titleStyle>
    <p:bodyStyle>
      <a:lvl1pPr marL="342470" indent="-342470" algn="l" defTabSz="684984" rtl="0" eaLnBrk="1" latinLnBrk="0" hangingPunct="1">
        <a:spcBef>
          <a:spcPct val="20000"/>
        </a:spcBef>
        <a:buClr>
          <a:srgbClr val="4C4948"/>
        </a:buClr>
        <a:buFont typeface="Arial" panose="020B0604020202020204" pitchFamily="34" charset="0"/>
        <a:buChar char="•"/>
        <a:defRPr kumimoji="1" sz="2000" kern="1200" baseline="0">
          <a:solidFill>
            <a:schemeClr val="tx2"/>
          </a:solidFill>
          <a:latin typeface="Calibri" pitchFamily="34" charset="0"/>
          <a:ea typeface="メイリオ" pitchFamily="50" charset="-128"/>
          <a:cs typeface="Calibri" pitchFamily="34" charset="0"/>
        </a:defRPr>
      </a:lvl1pPr>
      <a:lvl2pPr marL="556541" indent="-214073" algn="l" defTabSz="684984" rtl="0" eaLnBrk="1" latinLnBrk="0" hangingPunct="1">
        <a:spcBef>
          <a:spcPct val="20000"/>
        </a:spcBef>
        <a:buClr>
          <a:srgbClr val="4C4948"/>
        </a:buClr>
        <a:buFont typeface="Arial" pitchFamily="34" charset="0"/>
        <a:buChar char="–"/>
        <a:defRPr kumimoji="1" sz="1800" kern="1200">
          <a:solidFill>
            <a:schemeClr val="tx2"/>
          </a:solidFill>
          <a:latin typeface="Calibri" pitchFamily="34" charset="0"/>
          <a:ea typeface="メイリオ" pitchFamily="50" charset="-128"/>
          <a:cs typeface="Calibri" pitchFamily="34" charset="0"/>
        </a:defRPr>
      </a:lvl2pPr>
      <a:lvl3pPr marL="856241" indent="-171258" algn="l" defTabSz="684984" rtl="0" eaLnBrk="1" latinLnBrk="0" hangingPunct="1">
        <a:spcBef>
          <a:spcPct val="20000"/>
        </a:spcBef>
        <a:buClr>
          <a:srgbClr val="4C4948"/>
        </a:buClr>
        <a:buFont typeface="Arial" pitchFamily="34" charset="0"/>
        <a:buChar char="•"/>
        <a:defRPr kumimoji="1" sz="1700" kern="1200" baseline="0">
          <a:solidFill>
            <a:schemeClr val="tx2"/>
          </a:solidFill>
          <a:latin typeface="Calibri" pitchFamily="34" charset="0"/>
          <a:ea typeface="メイリオ" pitchFamily="50" charset="-128"/>
          <a:cs typeface="Calibri" pitchFamily="34" charset="0"/>
        </a:defRPr>
      </a:lvl3pPr>
      <a:lvl4pPr marL="1198710" indent="-171258" algn="l" defTabSz="684984" rtl="0" eaLnBrk="1" latinLnBrk="0" hangingPunct="1">
        <a:spcBef>
          <a:spcPct val="20000"/>
        </a:spcBef>
        <a:buClr>
          <a:srgbClr val="4C4948"/>
        </a:buClr>
        <a:buFont typeface="Arial" pitchFamily="34" charset="0"/>
        <a:buChar char="–"/>
        <a:defRPr kumimoji="1" sz="1500" kern="1200" baseline="0">
          <a:solidFill>
            <a:schemeClr val="tx2"/>
          </a:solidFill>
          <a:latin typeface="Calibri" pitchFamily="34" charset="0"/>
          <a:ea typeface="メイリオ" pitchFamily="50" charset="-128"/>
          <a:cs typeface="Calibri" pitchFamily="34" charset="0"/>
        </a:defRPr>
      </a:lvl4pPr>
      <a:lvl5pPr marL="1541180" indent="-171258" algn="l" defTabSz="684984" rtl="0" eaLnBrk="1" latinLnBrk="0" hangingPunct="1">
        <a:spcBef>
          <a:spcPct val="20000"/>
        </a:spcBef>
        <a:buClr>
          <a:srgbClr val="4C4948"/>
        </a:buClr>
        <a:buFont typeface="Arial" pitchFamily="34" charset="0"/>
        <a:buChar char="»"/>
        <a:defRPr kumimoji="1" sz="1500" kern="1200" baseline="0">
          <a:solidFill>
            <a:schemeClr val="tx2"/>
          </a:solidFill>
          <a:latin typeface="Calibri" pitchFamily="34" charset="0"/>
          <a:ea typeface="メイリオ" pitchFamily="50" charset="-128"/>
          <a:cs typeface="Calibri" pitchFamily="34" charset="0"/>
        </a:defRPr>
      </a:lvl5pPr>
      <a:lvl6pPr marL="1883694" indent="-171258" algn="l" defTabSz="684984" rtl="0" eaLnBrk="1" latinLnBrk="0" hangingPunct="1">
        <a:spcBef>
          <a:spcPct val="20000"/>
        </a:spcBef>
        <a:buFont typeface="Arial" pitchFamily="34" charset="0"/>
        <a:buChar char="•"/>
        <a:defRPr kumimoji="1" sz="1500" kern="1200">
          <a:solidFill>
            <a:schemeClr val="tx1"/>
          </a:solidFill>
          <a:latin typeface="+mn-lt"/>
          <a:ea typeface="+mn-ea"/>
          <a:cs typeface="+mn-cs"/>
        </a:defRPr>
      </a:lvl6pPr>
      <a:lvl7pPr marL="2226186" indent="-171258" algn="l" defTabSz="684984" rtl="0" eaLnBrk="1" latinLnBrk="0" hangingPunct="1">
        <a:spcBef>
          <a:spcPct val="20000"/>
        </a:spcBef>
        <a:buFont typeface="Arial" pitchFamily="34" charset="0"/>
        <a:buChar char="•"/>
        <a:defRPr kumimoji="1" sz="1500" kern="1200">
          <a:solidFill>
            <a:schemeClr val="tx1"/>
          </a:solidFill>
          <a:latin typeface="+mn-lt"/>
          <a:ea typeface="+mn-ea"/>
          <a:cs typeface="+mn-cs"/>
        </a:defRPr>
      </a:lvl7pPr>
      <a:lvl8pPr marL="2568678" indent="-171258" algn="l" defTabSz="684984" rtl="0" eaLnBrk="1" latinLnBrk="0" hangingPunct="1">
        <a:spcBef>
          <a:spcPct val="20000"/>
        </a:spcBef>
        <a:buFont typeface="Arial" pitchFamily="34" charset="0"/>
        <a:buChar char="•"/>
        <a:defRPr kumimoji="1" sz="1500" kern="1200">
          <a:solidFill>
            <a:schemeClr val="tx1"/>
          </a:solidFill>
          <a:latin typeface="+mn-lt"/>
          <a:ea typeface="+mn-ea"/>
          <a:cs typeface="+mn-cs"/>
        </a:defRPr>
      </a:lvl8pPr>
      <a:lvl9pPr marL="2911193" indent="-171258" algn="l" defTabSz="684984" rtl="0" eaLnBrk="1" latinLnBrk="0" hangingPunct="1">
        <a:spcBef>
          <a:spcPct val="20000"/>
        </a:spcBef>
        <a:buFont typeface="Arial" pitchFamily="34" charset="0"/>
        <a:buChar char="•"/>
        <a:defRPr kumimoji="1" sz="1500" kern="1200">
          <a:solidFill>
            <a:schemeClr val="tx1"/>
          </a:solidFill>
          <a:latin typeface="+mn-lt"/>
          <a:ea typeface="+mn-ea"/>
          <a:cs typeface="+mn-cs"/>
        </a:defRPr>
      </a:lvl9pPr>
    </p:bodyStyle>
    <p:otherStyle>
      <a:defPPr>
        <a:defRPr lang="ja-JP"/>
      </a:defPPr>
      <a:lvl1pPr marL="0" algn="l" defTabSz="684984" rtl="0" eaLnBrk="1" latinLnBrk="0" hangingPunct="1">
        <a:defRPr kumimoji="1" sz="1400" kern="1200">
          <a:solidFill>
            <a:schemeClr val="tx1"/>
          </a:solidFill>
          <a:latin typeface="+mn-lt"/>
          <a:ea typeface="+mn-ea"/>
          <a:cs typeface="+mn-cs"/>
        </a:defRPr>
      </a:lvl1pPr>
      <a:lvl2pPr marL="342470" algn="l" defTabSz="684984" rtl="0" eaLnBrk="1" latinLnBrk="0" hangingPunct="1">
        <a:defRPr kumimoji="1" sz="1400" kern="1200">
          <a:solidFill>
            <a:schemeClr val="tx1"/>
          </a:solidFill>
          <a:latin typeface="+mn-lt"/>
          <a:ea typeface="+mn-ea"/>
          <a:cs typeface="+mn-cs"/>
        </a:defRPr>
      </a:lvl2pPr>
      <a:lvl3pPr marL="684984" algn="l" defTabSz="684984" rtl="0" eaLnBrk="1" latinLnBrk="0" hangingPunct="1">
        <a:defRPr kumimoji="1" sz="1400" kern="1200">
          <a:solidFill>
            <a:schemeClr val="tx1"/>
          </a:solidFill>
          <a:latin typeface="+mn-lt"/>
          <a:ea typeface="+mn-ea"/>
          <a:cs typeface="+mn-cs"/>
        </a:defRPr>
      </a:lvl3pPr>
      <a:lvl4pPr marL="1027476" algn="l" defTabSz="684984" rtl="0" eaLnBrk="1" latinLnBrk="0" hangingPunct="1">
        <a:defRPr kumimoji="1" sz="1400" kern="1200">
          <a:solidFill>
            <a:schemeClr val="tx1"/>
          </a:solidFill>
          <a:latin typeface="+mn-lt"/>
          <a:ea typeface="+mn-ea"/>
          <a:cs typeface="+mn-cs"/>
        </a:defRPr>
      </a:lvl4pPr>
      <a:lvl5pPr marL="1369968" algn="l" defTabSz="684984" rtl="0" eaLnBrk="1" latinLnBrk="0" hangingPunct="1">
        <a:defRPr kumimoji="1" sz="1400" kern="1200">
          <a:solidFill>
            <a:schemeClr val="tx1"/>
          </a:solidFill>
          <a:latin typeface="+mn-lt"/>
          <a:ea typeface="+mn-ea"/>
          <a:cs typeface="+mn-cs"/>
        </a:defRPr>
      </a:lvl5pPr>
      <a:lvl6pPr marL="1712483" algn="l" defTabSz="684984" rtl="0" eaLnBrk="1" latinLnBrk="0" hangingPunct="1">
        <a:defRPr kumimoji="1" sz="1400" kern="1200">
          <a:solidFill>
            <a:schemeClr val="tx1"/>
          </a:solidFill>
          <a:latin typeface="+mn-lt"/>
          <a:ea typeface="+mn-ea"/>
          <a:cs typeface="+mn-cs"/>
        </a:defRPr>
      </a:lvl6pPr>
      <a:lvl7pPr marL="2054951" algn="l" defTabSz="684984" rtl="0" eaLnBrk="1" latinLnBrk="0" hangingPunct="1">
        <a:defRPr kumimoji="1" sz="1400" kern="1200">
          <a:solidFill>
            <a:schemeClr val="tx1"/>
          </a:solidFill>
          <a:latin typeface="+mn-lt"/>
          <a:ea typeface="+mn-ea"/>
          <a:cs typeface="+mn-cs"/>
        </a:defRPr>
      </a:lvl7pPr>
      <a:lvl8pPr marL="2397420" algn="l" defTabSz="684984" rtl="0" eaLnBrk="1" latinLnBrk="0" hangingPunct="1">
        <a:defRPr kumimoji="1" sz="1400" kern="1200">
          <a:solidFill>
            <a:schemeClr val="tx1"/>
          </a:solidFill>
          <a:latin typeface="+mn-lt"/>
          <a:ea typeface="+mn-ea"/>
          <a:cs typeface="+mn-cs"/>
        </a:defRPr>
      </a:lvl8pPr>
      <a:lvl9pPr marL="2739890" algn="l" defTabSz="684984" rtl="0" eaLnBrk="1" latinLnBrk="0" hangingPunct="1">
        <a:defRPr kumimoji="1" sz="1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527">
          <p15:clr>
            <a:srgbClr val="F26B43"/>
          </p15:clr>
        </p15:guide>
        <p15:guide id="2" pos="325">
          <p15:clr>
            <a:srgbClr val="F26B43"/>
          </p15:clr>
        </p15:guide>
        <p15:guide id="3" orient="horz" pos="4020">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D283D300-2124-42DF-B73B-3D3D4C546EC6}"/>
              </a:ext>
            </a:extLst>
          </p:cNvPr>
          <p:cNvGraphicFramePr>
            <a:graphicFrameLocks noChangeAspect="1"/>
          </p:cNvGraphicFramePr>
          <p:nvPr userDrawn="1">
            <p:custDataLst>
              <p:tags r:id="rId24"/>
            </p:custDataLst>
            <p:extLst>
              <p:ext uri="{D42A27DB-BD31-4B8C-83A1-F6EECF244321}">
                <p14:modId xmlns:p14="http://schemas.microsoft.com/office/powerpoint/2010/main" val="1078729712"/>
              </p:ext>
            </p:ext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spid="_x0000_s17475" name="Diapositiva de think-cell" r:id="rId26" imgW="395" imgH="394" progId="TCLayout.ActiveDocument.1">
                  <p:embed/>
                </p:oleObj>
              </mc:Choice>
              <mc:Fallback>
                <p:oleObj name="Diapositiva de think-cell" r:id="rId26" imgW="395" imgH="394" progId="TCLayout.ActiveDocument.1">
                  <p:embed/>
                  <p:pic>
                    <p:nvPicPr>
                      <p:cNvPr id="0" name=""/>
                      <p:cNvPicPr/>
                      <p:nvPr/>
                    </p:nvPicPr>
                    <p:blipFill>
                      <a:blip r:embed="rId27"/>
                      <a:stretch>
                        <a:fillRect/>
                      </a:stretch>
                    </p:blipFill>
                    <p:spPr>
                      <a:xfrm>
                        <a:off x="1193" y="1193"/>
                        <a:ext cx="1191" cy="1191"/>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4B895B28-7064-4AD0-A15D-88F99BCA9BAD}"/>
              </a:ext>
            </a:extLst>
          </p:cNvPr>
          <p:cNvSpPr/>
          <p:nvPr userDrawn="1">
            <p:custDataLst>
              <p:tags r:id="rId25"/>
            </p:custDataLst>
          </p:nvPr>
        </p:nvSpPr>
        <p:spPr>
          <a:xfrm>
            <a:off x="3" y="24"/>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85103"/>
            <a:endParaRPr kumimoji="1" lang="en-US" altLang="ja-JP" sz="2100">
              <a:solidFill>
                <a:srgbClr val="FFFFFF"/>
              </a:solidFill>
              <a:cs typeface="Calibri" panose="020F0502020204030204" pitchFamily="34" charset="0"/>
              <a:sym typeface="Calibri" panose="020F0502020204030204" pitchFamily="34" charset="0"/>
            </a:endParaRPr>
          </a:p>
        </p:txBody>
      </p:sp>
      <p:sp>
        <p:nvSpPr>
          <p:cNvPr id="3" name="テキスト プレースホルダ 2"/>
          <p:cNvSpPr>
            <a:spLocks noGrp="1"/>
          </p:cNvSpPr>
          <p:nvPr>
            <p:ph type="body" idx="1"/>
          </p:nvPr>
        </p:nvSpPr>
        <p:spPr>
          <a:xfrm>
            <a:off x="233363" y="925117"/>
            <a:ext cx="8677275" cy="3887390"/>
          </a:xfrm>
          <a:prstGeom prst="rect">
            <a:avLst/>
          </a:prstGeom>
        </p:spPr>
        <p:txBody>
          <a:bodyPr vert="horz" lIns="0" tIns="34283" rIns="68504" bIns="34283" rtlCol="0">
            <a:normAutofit/>
          </a:bodyPr>
          <a:lstStyle/>
          <a:p>
            <a:pPr lvl="0"/>
            <a:r>
              <a:rPr kumimoji="1" lang="en-US" altLang="ja-JP"/>
              <a:t>Master text</a:t>
            </a:r>
            <a:endParaRPr kumimoji="1" lang="ja-JP" altLang="en-US"/>
          </a:p>
        </p:txBody>
      </p:sp>
      <p:sp>
        <p:nvSpPr>
          <p:cNvPr id="11" name="Footer Placeholder 8">
            <a:extLst>
              <a:ext uri="{FF2B5EF4-FFF2-40B4-BE49-F238E27FC236}">
                <a16:creationId xmlns="" xmlns:a16="http://schemas.microsoft.com/office/drawing/2014/main" id="{44E43001-C216-284A-9EBD-E54B5DD295CE}"/>
              </a:ext>
            </a:extLst>
          </p:cNvPr>
          <p:cNvSpPr>
            <a:spLocks noGrp="1"/>
          </p:cNvSpPr>
          <p:nvPr>
            <p:ph type="ftr" sz="quarter" idx="3"/>
          </p:nvPr>
        </p:nvSpPr>
        <p:spPr>
          <a:xfrm>
            <a:off x="5824538" y="4867276"/>
            <a:ext cx="3086100" cy="172074"/>
          </a:xfrm>
          <a:prstGeom prst="rect">
            <a:avLst/>
          </a:prstGeom>
        </p:spPr>
        <p:txBody>
          <a:bodyPr vert="horz" lIns="68519" tIns="34289" rIns="68519" bIns="34289" rtlCol="0" anchor="ctr"/>
          <a:lstStyle>
            <a:lvl1pPr algn="r">
              <a:defRPr sz="600" b="1" spc="75" baseline="0">
                <a:solidFill>
                  <a:schemeClr val="tx1"/>
                </a:solidFill>
              </a:defRPr>
            </a:lvl1pPr>
          </a:lstStyle>
          <a:p>
            <a:pPr defTabSz="685103"/>
            <a:r>
              <a:rPr lang="x-none" smtClean="0">
                <a:solidFill>
                  <a:srgbClr val="34373F"/>
                </a:solidFill>
              </a:rPr>
              <a:t> </a:t>
            </a:r>
            <a:endParaRPr lang="x-none">
              <a:solidFill>
                <a:srgbClr val="34373F"/>
              </a:solidFill>
            </a:endParaRPr>
          </a:p>
        </p:txBody>
      </p:sp>
      <p:sp>
        <p:nvSpPr>
          <p:cNvPr id="9" name="タイトル プレースホルダ 1">
            <a:extLst>
              <a:ext uri="{FF2B5EF4-FFF2-40B4-BE49-F238E27FC236}">
                <a16:creationId xmlns="" xmlns:a16="http://schemas.microsoft.com/office/drawing/2014/main" id="{D7981A12-E00B-604C-B863-7CBF31AA6408}"/>
              </a:ext>
            </a:extLst>
          </p:cNvPr>
          <p:cNvSpPr>
            <a:spLocks noGrp="1"/>
          </p:cNvSpPr>
          <p:nvPr>
            <p:ph type="title"/>
          </p:nvPr>
        </p:nvSpPr>
        <p:spPr>
          <a:xfrm>
            <a:off x="454558" y="121208"/>
            <a:ext cx="7421313" cy="514351"/>
          </a:xfrm>
          <a:prstGeom prst="rect">
            <a:avLst/>
          </a:prstGeom>
        </p:spPr>
        <p:txBody>
          <a:bodyPr vert="horz" lIns="0" tIns="0" rIns="0" bIns="0" rtlCol="0" anchor="ctr">
            <a:normAutofit/>
          </a:bodyPr>
          <a:lstStyle/>
          <a:p>
            <a:r>
              <a:rPr kumimoji="1" lang="en-US" altLang="ja-JP"/>
              <a:t>Master title</a:t>
            </a:r>
            <a:endParaRPr kumimoji="1" lang="ja-JP" altLang="en-US"/>
          </a:p>
        </p:txBody>
      </p:sp>
      <p:sp>
        <p:nvSpPr>
          <p:cNvPr id="13" name="スライド番号プレースホルダ 5">
            <a:extLst>
              <a:ext uri="{FF2B5EF4-FFF2-40B4-BE49-F238E27FC236}">
                <a16:creationId xmlns="" xmlns:a16="http://schemas.microsoft.com/office/drawing/2014/main" id="{C7AA5A17-3F2F-B94B-9342-A137057B898D}"/>
              </a:ext>
            </a:extLst>
          </p:cNvPr>
          <p:cNvSpPr>
            <a:spLocks noGrp="1"/>
          </p:cNvSpPr>
          <p:nvPr>
            <p:ph type="sldNum" sz="quarter" idx="4"/>
          </p:nvPr>
        </p:nvSpPr>
        <p:spPr>
          <a:xfrm>
            <a:off x="233363" y="4867276"/>
            <a:ext cx="442392" cy="172074"/>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3185"/>
            <a:fld id="{E9B57936-92EF-4126-AE48-1D9D36D15E98}" type="slidenum">
              <a:rPr lang="ja-JP" altLang="en-US" smtClean="0">
                <a:solidFill>
                  <a:srgbClr val="34373F"/>
                </a:solidFill>
              </a:rPr>
              <a:pPr defTabSz="913185"/>
              <a:t>‹Nº›</a:t>
            </a:fld>
            <a:endParaRPr lang="ja-JP" altLang="en-US">
              <a:solidFill>
                <a:srgbClr val="34373F"/>
              </a:solidFill>
            </a:endParaRPr>
          </a:p>
        </p:txBody>
      </p:sp>
    </p:spTree>
    <p:extLst>
      <p:ext uri="{BB962C8B-B14F-4D97-AF65-F5344CB8AC3E}">
        <p14:creationId xmlns:p14="http://schemas.microsoft.com/office/powerpoint/2010/main" val="3245250502"/>
      </p:ext>
    </p:extLst>
  </p:cSld>
  <p:clrMap bg1="lt1" tx1="dk1" bg2="lt2" tx2="dk2" accent1="accent1" accent2="accent2" accent3="accent3" accent4="accent4" accent5="accent5" accent6="accent6" hlink="hlink" folHlink="folHlink"/>
  <p:sldLayoutIdLst>
    <p:sldLayoutId id="2147484240" r:id="rId1"/>
    <p:sldLayoutId id="2147484241" r:id="rId2"/>
    <p:sldLayoutId id="2147484242" r:id="rId3"/>
    <p:sldLayoutId id="2147484243" r:id="rId4"/>
    <p:sldLayoutId id="2147484244" r:id="rId5"/>
    <p:sldLayoutId id="2147484245" r:id="rId6"/>
    <p:sldLayoutId id="2147484246" r:id="rId7"/>
    <p:sldLayoutId id="2147484247" r:id="rId8"/>
    <p:sldLayoutId id="2147484248" r:id="rId9"/>
    <p:sldLayoutId id="2147484249" r:id="rId10"/>
    <p:sldLayoutId id="2147484250" r:id="rId11"/>
    <p:sldLayoutId id="2147484251" r:id="rId12"/>
    <p:sldLayoutId id="2147484252" r:id="rId13"/>
    <p:sldLayoutId id="2147484253" r:id="rId14"/>
    <p:sldLayoutId id="2147484254" r:id="rId15"/>
    <p:sldLayoutId id="2147484255" r:id="rId16"/>
    <p:sldLayoutId id="2147484256" r:id="rId17"/>
    <p:sldLayoutId id="2147484257" r:id="rId18"/>
    <p:sldLayoutId id="2147484258" r:id="rId19"/>
    <p:sldLayoutId id="2147484259" r:id="rId20"/>
    <p:sldLayoutId id="2147484260" r:id="rId21"/>
  </p:sldLayoutIdLst>
  <p:transition spd="slow">
    <p:push dir="u"/>
  </p:transition>
  <p:hf hdr="0" dt="0"/>
  <p:txStyles>
    <p:titleStyle>
      <a:lvl1pPr algn="l" defTabSz="684916" rtl="0" eaLnBrk="1" latinLnBrk="0" hangingPunct="1">
        <a:lnSpc>
          <a:spcPts val="2100"/>
        </a:lnSpc>
        <a:spcBef>
          <a:spcPct val="0"/>
        </a:spcBef>
        <a:buNone/>
        <a:defRPr kumimoji="1" sz="2100" b="1" i="0" kern="1200" baseline="0">
          <a:solidFill>
            <a:schemeClr val="tx1"/>
          </a:solidFill>
          <a:latin typeface="Calibri" panose="020F0502020204030204" pitchFamily="34" charset="0"/>
          <a:ea typeface="メイリオ" pitchFamily="50" charset="-128"/>
          <a:cs typeface="Calibri" pitchFamily="34" charset="0"/>
        </a:defRPr>
      </a:lvl1pPr>
    </p:titleStyle>
    <p:bodyStyle>
      <a:lvl1pPr marL="342434" indent="-342434" algn="l" defTabSz="684916" rtl="0" eaLnBrk="1" latinLnBrk="0" hangingPunct="1">
        <a:spcBef>
          <a:spcPct val="20000"/>
        </a:spcBef>
        <a:buClr>
          <a:srgbClr val="4C4948"/>
        </a:buClr>
        <a:buFont typeface="Arial" panose="020B0604020202020204" pitchFamily="34" charset="0"/>
        <a:buChar char="•"/>
        <a:defRPr kumimoji="1" sz="1500" b="0" i="0" kern="1200" baseline="0">
          <a:solidFill>
            <a:schemeClr val="tx1"/>
          </a:solidFill>
          <a:latin typeface="Calibri" panose="020F0502020204030204" pitchFamily="34" charset="0"/>
          <a:ea typeface="メイリオ" pitchFamily="50" charset="-128"/>
          <a:cs typeface="Calibri" pitchFamily="34" charset="0"/>
        </a:defRPr>
      </a:lvl1pPr>
      <a:lvl2pPr marL="556485" indent="-214053" algn="l" defTabSz="684916" rtl="0" eaLnBrk="1" latinLnBrk="0" hangingPunct="1">
        <a:spcBef>
          <a:spcPct val="20000"/>
        </a:spcBef>
        <a:buClr>
          <a:srgbClr val="4C4948"/>
        </a:buClr>
        <a:buFont typeface="Arial" pitchFamily="34" charset="0"/>
        <a:buChar char="–"/>
        <a:defRPr kumimoji="1" sz="1500" b="0" i="0" kern="1200">
          <a:solidFill>
            <a:schemeClr val="tx1"/>
          </a:solidFill>
          <a:latin typeface="Calibri" panose="020F0502020204030204" pitchFamily="34" charset="0"/>
          <a:ea typeface="メイリオ" pitchFamily="50" charset="-128"/>
          <a:cs typeface="Calibri" pitchFamily="34" charset="0"/>
        </a:defRPr>
      </a:lvl2pPr>
      <a:lvl3pPr marL="856157" indent="-171242" algn="l" defTabSz="684916" rtl="0" eaLnBrk="1" latinLnBrk="0" hangingPunct="1">
        <a:spcBef>
          <a:spcPct val="20000"/>
        </a:spcBef>
        <a:buClr>
          <a:srgbClr val="4C4948"/>
        </a:buClr>
        <a:buFont typeface="Arial" pitchFamily="34" charset="0"/>
        <a:buChar char="•"/>
        <a:defRPr kumimoji="1" sz="1500" b="0" i="0" kern="1200" baseline="0">
          <a:solidFill>
            <a:schemeClr val="tx1"/>
          </a:solidFill>
          <a:latin typeface="Calibri" panose="020F0502020204030204" pitchFamily="34" charset="0"/>
          <a:ea typeface="メイリオ" pitchFamily="50" charset="-128"/>
          <a:cs typeface="Calibri" pitchFamily="34" charset="0"/>
        </a:defRPr>
      </a:lvl3pPr>
      <a:lvl4pPr marL="1198590" indent="-171242" algn="l" defTabSz="684916" rtl="0" eaLnBrk="1" latinLnBrk="0" hangingPunct="1">
        <a:spcBef>
          <a:spcPct val="20000"/>
        </a:spcBef>
        <a:buClr>
          <a:srgbClr val="4C4948"/>
        </a:buClr>
        <a:buFont typeface="Arial" pitchFamily="34" charset="0"/>
        <a:buChar char="–"/>
        <a:defRPr kumimoji="1" sz="1500" b="0" i="0" kern="1200" baseline="0">
          <a:solidFill>
            <a:schemeClr val="tx1"/>
          </a:solidFill>
          <a:latin typeface="Calibri" panose="020F0502020204030204" pitchFamily="34" charset="0"/>
          <a:ea typeface="メイリオ" pitchFamily="50" charset="-128"/>
          <a:cs typeface="Calibri" pitchFamily="34" charset="0"/>
        </a:defRPr>
      </a:lvl4pPr>
      <a:lvl5pPr marL="1541024" indent="-171242" algn="l" defTabSz="684916" rtl="0" eaLnBrk="1" latinLnBrk="0" hangingPunct="1">
        <a:spcBef>
          <a:spcPct val="20000"/>
        </a:spcBef>
        <a:buClr>
          <a:srgbClr val="4C4948"/>
        </a:buClr>
        <a:buFont typeface="Arial" pitchFamily="34" charset="0"/>
        <a:buChar char="»"/>
        <a:defRPr kumimoji="1" sz="1500" b="0" i="0" kern="1200" baseline="0">
          <a:solidFill>
            <a:schemeClr val="tx1"/>
          </a:solidFill>
          <a:latin typeface="Calibri" panose="020F0502020204030204" pitchFamily="34" charset="0"/>
          <a:ea typeface="メイリオ" pitchFamily="50" charset="-128"/>
          <a:cs typeface="Calibri" pitchFamily="34" charset="0"/>
        </a:defRPr>
      </a:lvl5pPr>
      <a:lvl6pPr marL="1883506" indent="-171242" algn="l" defTabSz="684916" rtl="0" eaLnBrk="1" latinLnBrk="0" hangingPunct="1">
        <a:spcBef>
          <a:spcPct val="20000"/>
        </a:spcBef>
        <a:buFont typeface="Arial" pitchFamily="34" charset="0"/>
        <a:buChar char="•"/>
        <a:defRPr kumimoji="1" sz="1500" kern="1200">
          <a:solidFill>
            <a:schemeClr val="tx1"/>
          </a:solidFill>
          <a:latin typeface="+mn-lt"/>
          <a:ea typeface="+mn-ea"/>
          <a:cs typeface="+mn-cs"/>
        </a:defRPr>
      </a:lvl6pPr>
      <a:lvl7pPr marL="2225964" indent="-171242" algn="l" defTabSz="684916" rtl="0" eaLnBrk="1" latinLnBrk="0" hangingPunct="1">
        <a:spcBef>
          <a:spcPct val="20000"/>
        </a:spcBef>
        <a:buFont typeface="Arial" pitchFamily="34" charset="0"/>
        <a:buChar char="•"/>
        <a:defRPr kumimoji="1" sz="1500" kern="1200">
          <a:solidFill>
            <a:schemeClr val="tx1"/>
          </a:solidFill>
          <a:latin typeface="+mn-lt"/>
          <a:ea typeface="+mn-ea"/>
          <a:cs typeface="+mn-cs"/>
        </a:defRPr>
      </a:lvl7pPr>
      <a:lvl8pPr marL="2568422" indent="-171242" algn="l" defTabSz="684916" rtl="0" eaLnBrk="1" latinLnBrk="0" hangingPunct="1">
        <a:spcBef>
          <a:spcPct val="20000"/>
        </a:spcBef>
        <a:buFont typeface="Arial" pitchFamily="34" charset="0"/>
        <a:buChar char="•"/>
        <a:defRPr kumimoji="1" sz="1500" kern="1200">
          <a:solidFill>
            <a:schemeClr val="tx1"/>
          </a:solidFill>
          <a:latin typeface="+mn-lt"/>
          <a:ea typeface="+mn-ea"/>
          <a:cs typeface="+mn-cs"/>
        </a:defRPr>
      </a:lvl8pPr>
      <a:lvl9pPr marL="2910905" indent="-171242" algn="l" defTabSz="684916" rtl="0" eaLnBrk="1" latinLnBrk="0" hangingPunct="1">
        <a:spcBef>
          <a:spcPct val="20000"/>
        </a:spcBef>
        <a:buFont typeface="Arial" pitchFamily="34" charset="0"/>
        <a:buChar char="•"/>
        <a:defRPr kumimoji="1" sz="1500" kern="1200">
          <a:solidFill>
            <a:schemeClr val="tx1"/>
          </a:solidFill>
          <a:latin typeface="+mn-lt"/>
          <a:ea typeface="+mn-ea"/>
          <a:cs typeface="+mn-cs"/>
        </a:defRPr>
      </a:lvl9pPr>
    </p:bodyStyle>
    <p:otherStyle>
      <a:defPPr>
        <a:defRPr lang="ja-JP"/>
      </a:defPPr>
      <a:lvl1pPr marL="0" algn="l" defTabSz="684916" rtl="0" eaLnBrk="1" latinLnBrk="0" hangingPunct="1">
        <a:defRPr kumimoji="1" sz="1400" kern="1200">
          <a:solidFill>
            <a:schemeClr val="tx1"/>
          </a:solidFill>
          <a:latin typeface="+mn-lt"/>
          <a:ea typeface="+mn-ea"/>
          <a:cs typeface="+mn-cs"/>
        </a:defRPr>
      </a:lvl1pPr>
      <a:lvl2pPr marL="342434" algn="l" defTabSz="684916" rtl="0" eaLnBrk="1" latinLnBrk="0" hangingPunct="1">
        <a:defRPr kumimoji="1" sz="1400" kern="1200">
          <a:solidFill>
            <a:schemeClr val="tx1"/>
          </a:solidFill>
          <a:latin typeface="+mn-lt"/>
          <a:ea typeface="+mn-ea"/>
          <a:cs typeface="+mn-cs"/>
        </a:defRPr>
      </a:lvl2pPr>
      <a:lvl3pPr marL="684916" algn="l" defTabSz="684916" rtl="0" eaLnBrk="1" latinLnBrk="0" hangingPunct="1">
        <a:defRPr kumimoji="1" sz="1400" kern="1200">
          <a:solidFill>
            <a:schemeClr val="tx1"/>
          </a:solidFill>
          <a:latin typeface="+mn-lt"/>
          <a:ea typeface="+mn-ea"/>
          <a:cs typeface="+mn-cs"/>
        </a:defRPr>
      </a:lvl3pPr>
      <a:lvl4pPr marL="1027374" algn="l" defTabSz="684916" rtl="0" eaLnBrk="1" latinLnBrk="0" hangingPunct="1">
        <a:defRPr kumimoji="1" sz="1400" kern="1200">
          <a:solidFill>
            <a:schemeClr val="tx1"/>
          </a:solidFill>
          <a:latin typeface="+mn-lt"/>
          <a:ea typeface="+mn-ea"/>
          <a:cs typeface="+mn-cs"/>
        </a:defRPr>
      </a:lvl4pPr>
      <a:lvl5pPr marL="1369832" algn="l" defTabSz="684916" rtl="0" eaLnBrk="1" latinLnBrk="0" hangingPunct="1">
        <a:defRPr kumimoji="1" sz="1400" kern="1200">
          <a:solidFill>
            <a:schemeClr val="tx1"/>
          </a:solidFill>
          <a:latin typeface="+mn-lt"/>
          <a:ea typeface="+mn-ea"/>
          <a:cs typeface="+mn-cs"/>
        </a:defRPr>
      </a:lvl5pPr>
      <a:lvl6pPr marL="1712315" algn="l" defTabSz="684916" rtl="0" eaLnBrk="1" latinLnBrk="0" hangingPunct="1">
        <a:defRPr kumimoji="1" sz="1400" kern="1200">
          <a:solidFill>
            <a:schemeClr val="tx1"/>
          </a:solidFill>
          <a:latin typeface="+mn-lt"/>
          <a:ea typeface="+mn-ea"/>
          <a:cs typeface="+mn-cs"/>
        </a:defRPr>
      </a:lvl6pPr>
      <a:lvl7pPr marL="2054747" algn="l" defTabSz="684916" rtl="0" eaLnBrk="1" latinLnBrk="0" hangingPunct="1">
        <a:defRPr kumimoji="1" sz="1400" kern="1200">
          <a:solidFill>
            <a:schemeClr val="tx1"/>
          </a:solidFill>
          <a:latin typeface="+mn-lt"/>
          <a:ea typeface="+mn-ea"/>
          <a:cs typeface="+mn-cs"/>
        </a:defRPr>
      </a:lvl7pPr>
      <a:lvl8pPr marL="2397180" algn="l" defTabSz="684916" rtl="0" eaLnBrk="1" latinLnBrk="0" hangingPunct="1">
        <a:defRPr kumimoji="1" sz="1400" kern="1200">
          <a:solidFill>
            <a:schemeClr val="tx1"/>
          </a:solidFill>
          <a:latin typeface="+mn-lt"/>
          <a:ea typeface="+mn-ea"/>
          <a:cs typeface="+mn-cs"/>
        </a:defRPr>
      </a:lvl8pPr>
      <a:lvl9pPr marL="2739614" algn="l" defTabSz="684916" rtl="0" eaLnBrk="1" latinLnBrk="0" hangingPunct="1">
        <a:defRPr kumimoji="1" sz="1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77">
          <p15:clr>
            <a:srgbClr val="F26B43"/>
          </p15:clr>
        </p15:guide>
        <p15:guide id="2" pos="189" userDrawn="1">
          <p15:clr>
            <a:srgbClr val="F26B43"/>
          </p15:clr>
        </p15:guide>
        <p15:guide id="3" pos="7491" userDrawn="1">
          <p15:clr>
            <a:srgbClr val="F26B43"/>
          </p15:clr>
        </p15:guide>
        <p15:guide id="4" orient="horz" pos="4042">
          <p15:clr>
            <a:srgbClr val="F26B43"/>
          </p15:clr>
        </p15:guide>
        <p15:guide id="5" pos="370" userDrawn="1">
          <p15:clr>
            <a:srgbClr val="F26B43"/>
          </p15:clr>
        </p15:guide>
        <p15:guide id="6" orient="horz" pos="4088" userDrawn="1">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D283D300-2124-42DF-B73B-3D3D4C546EC6}"/>
              </a:ext>
            </a:extLst>
          </p:cNvPr>
          <p:cNvGraphicFramePr>
            <a:graphicFrameLocks noChangeAspect="1"/>
          </p:cNvGraphicFramePr>
          <p:nvPr userDrawn="1">
            <p:custDataLst>
              <p:tags r:id="rId25"/>
            </p:custDataLst>
            <p:extLst>
              <p:ext uri="{D42A27DB-BD31-4B8C-83A1-F6EECF244321}">
                <p14:modId xmlns:p14="http://schemas.microsoft.com/office/powerpoint/2010/main" val="91516021"/>
              </p:ext>
            </p:ext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spid="_x0000_s18499" name="Diapositiva de think-cell" r:id="rId27" imgW="395" imgH="394" progId="TCLayout.ActiveDocument.1">
                  <p:embed/>
                </p:oleObj>
              </mc:Choice>
              <mc:Fallback>
                <p:oleObj name="Diapositiva de think-cell" r:id="rId27" imgW="395" imgH="394" progId="TCLayout.ActiveDocument.1">
                  <p:embed/>
                  <p:pic>
                    <p:nvPicPr>
                      <p:cNvPr id="0" name=""/>
                      <p:cNvPicPr/>
                      <p:nvPr/>
                    </p:nvPicPr>
                    <p:blipFill>
                      <a:blip r:embed="rId28"/>
                      <a:stretch>
                        <a:fillRect/>
                      </a:stretch>
                    </p:blipFill>
                    <p:spPr>
                      <a:xfrm>
                        <a:off x="1193" y="1193"/>
                        <a:ext cx="1191" cy="1191"/>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4B895B28-7064-4AD0-A15D-88F99BCA9BAD}"/>
              </a:ext>
            </a:extLst>
          </p:cNvPr>
          <p:cNvSpPr/>
          <p:nvPr userDrawn="1">
            <p:custDataLst>
              <p:tags r:id="rId26"/>
            </p:custDataLst>
          </p:nvPr>
        </p:nvSpPr>
        <p:spPr>
          <a:xfrm>
            <a:off x="3" y="24"/>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85188"/>
            <a:endParaRPr kumimoji="1" lang="en-US" altLang="ja-JP" sz="2100">
              <a:solidFill>
                <a:srgbClr val="FFFFFF"/>
              </a:solidFill>
              <a:cs typeface="Calibri" panose="020F0502020204030204" pitchFamily="34" charset="0"/>
              <a:sym typeface="Calibri" panose="020F0502020204030204" pitchFamily="34" charset="0"/>
            </a:endParaRPr>
          </a:p>
        </p:txBody>
      </p:sp>
      <p:sp>
        <p:nvSpPr>
          <p:cNvPr id="3" name="テキスト プレースホルダ 2"/>
          <p:cNvSpPr>
            <a:spLocks noGrp="1"/>
          </p:cNvSpPr>
          <p:nvPr>
            <p:ph type="body" idx="1"/>
          </p:nvPr>
        </p:nvSpPr>
        <p:spPr>
          <a:xfrm>
            <a:off x="233363" y="925117"/>
            <a:ext cx="8677275" cy="3887390"/>
          </a:xfrm>
          <a:prstGeom prst="rect">
            <a:avLst/>
          </a:prstGeom>
        </p:spPr>
        <p:txBody>
          <a:bodyPr vert="horz" lIns="0" tIns="34283" rIns="68511" bIns="34283" rtlCol="0">
            <a:normAutofit/>
          </a:bodyPr>
          <a:lstStyle/>
          <a:p>
            <a:pPr lvl="0"/>
            <a:r>
              <a:rPr kumimoji="1" lang="en-US" altLang="ja-JP"/>
              <a:t>Master text</a:t>
            </a:r>
            <a:endParaRPr kumimoji="1" lang="ja-JP" altLang="en-US"/>
          </a:p>
        </p:txBody>
      </p:sp>
      <p:sp>
        <p:nvSpPr>
          <p:cNvPr id="11" name="Footer Placeholder 8">
            <a:extLst>
              <a:ext uri="{FF2B5EF4-FFF2-40B4-BE49-F238E27FC236}">
                <a16:creationId xmlns="" xmlns:a16="http://schemas.microsoft.com/office/drawing/2014/main" id="{44E43001-C216-284A-9EBD-E54B5DD295CE}"/>
              </a:ext>
            </a:extLst>
          </p:cNvPr>
          <p:cNvSpPr>
            <a:spLocks noGrp="1"/>
          </p:cNvSpPr>
          <p:nvPr>
            <p:ph type="ftr" sz="quarter" idx="3"/>
          </p:nvPr>
        </p:nvSpPr>
        <p:spPr>
          <a:xfrm>
            <a:off x="5824538" y="4867276"/>
            <a:ext cx="3086100" cy="172074"/>
          </a:xfrm>
          <a:prstGeom prst="rect">
            <a:avLst/>
          </a:prstGeom>
        </p:spPr>
        <p:txBody>
          <a:bodyPr vert="horz" lIns="68526" tIns="34289" rIns="68526" bIns="34289" rtlCol="0" anchor="ctr"/>
          <a:lstStyle>
            <a:lvl1pPr algn="r">
              <a:defRPr sz="600" b="1" spc="75" baseline="0">
                <a:solidFill>
                  <a:schemeClr val="tx1"/>
                </a:solidFill>
              </a:defRPr>
            </a:lvl1pPr>
          </a:lstStyle>
          <a:p>
            <a:pPr defTabSz="685188"/>
            <a:r>
              <a:rPr lang="x-none" smtClean="0">
                <a:solidFill>
                  <a:srgbClr val="34373F"/>
                </a:solidFill>
              </a:rPr>
              <a:t> </a:t>
            </a:r>
            <a:endParaRPr lang="x-none">
              <a:solidFill>
                <a:srgbClr val="34373F"/>
              </a:solidFill>
            </a:endParaRPr>
          </a:p>
        </p:txBody>
      </p:sp>
      <p:sp>
        <p:nvSpPr>
          <p:cNvPr id="9" name="タイトル プレースホルダ 1">
            <a:extLst>
              <a:ext uri="{FF2B5EF4-FFF2-40B4-BE49-F238E27FC236}">
                <a16:creationId xmlns="" xmlns:a16="http://schemas.microsoft.com/office/drawing/2014/main" id="{D7981A12-E00B-604C-B863-7CBF31AA6408}"/>
              </a:ext>
            </a:extLst>
          </p:cNvPr>
          <p:cNvSpPr>
            <a:spLocks noGrp="1"/>
          </p:cNvSpPr>
          <p:nvPr>
            <p:ph type="title"/>
          </p:nvPr>
        </p:nvSpPr>
        <p:spPr>
          <a:xfrm>
            <a:off x="454558" y="121208"/>
            <a:ext cx="7421313" cy="514351"/>
          </a:xfrm>
          <a:prstGeom prst="rect">
            <a:avLst/>
          </a:prstGeom>
        </p:spPr>
        <p:txBody>
          <a:bodyPr vert="horz" lIns="0" tIns="0" rIns="0" bIns="0" rtlCol="0" anchor="ctr">
            <a:normAutofit/>
          </a:bodyPr>
          <a:lstStyle/>
          <a:p>
            <a:r>
              <a:rPr kumimoji="1" lang="en-US" altLang="ja-JP"/>
              <a:t>Master title</a:t>
            </a:r>
            <a:endParaRPr kumimoji="1" lang="ja-JP" altLang="en-US"/>
          </a:p>
        </p:txBody>
      </p:sp>
      <p:sp>
        <p:nvSpPr>
          <p:cNvPr id="13" name="スライド番号プレースホルダ 5">
            <a:extLst>
              <a:ext uri="{FF2B5EF4-FFF2-40B4-BE49-F238E27FC236}">
                <a16:creationId xmlns="" xmlns:a16="http://schemas.microsoft.com/office/drawing/2014/main" id="{C7AA5A17-3F2F-B94B-9342-A137057B898D}"/>
              </a:ext>
            </a:extLst>
          </p:cNvPr>
          <p:cNvSpPr>
            <a:spLocks noGrp="1"/>
          </p:cNvSpPr>
          <p:nvPr>
            <p:ph type="sldNum" sz="quarter" idx="4"/>
          </p:nvPr>
        </p:nvSpPr>
        <p:spPr>
          <a:xfrm>
            <a:off x="233363" y="4867276"/>
            <a:ext cx="442392" cy="172074"/>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3298"/>
            <a:fld id="{E9B57936-92EF-4126-AE48-1D9D36D15E98}" type="slidenum">
              <a:rPr lang="ja-JP" altLang="en-US" smtClean="0">
                <a:solidFill>
                  <a:srgbClr val="34373F"/>
                </a:solidFill>
              </a:rPr>
              <a:pPr defTabSz="913298"/>
              <a:t>‹Nº›</a:t>
            </a:fld>
            <a:endParaRPr lang="ja-JP" altLang="en-US">
              <a:solidFill>
                <a:srgbClr val="34373F"/>
              </a:solidFill>
            </a:endParaRPr>
          </a:p>
        </p:txBody>
      </p:sp>
    </p:spTree>
    <p:extLst>
      <p:ext uri="{BB962C8B-B14F-4D97-AF65-F5344CB8AC3E}">
        <p14:creationId xmlns:p14="http://schemas.microsoft.com/office/powerpoint/2010/main" val="4190774050"/>
      </p:ext>
    </p:extLst>
  </p:cSld>
  <p:clrMap bg1="lt1" tx1="dk1" bg2="lt2" tx2="dk2" accent1="accent1" accent2="accent2" accent3="accent3" accent4="accent4" accent5="accent5" accent6="accent6" hlink="hlink" folHlink="folHlink"/>
  <p:sldLayoutIdLst>
    <p:sldLayoutId id="2147484262" r:id="rId1"/>
    <p:sldLayoutId id="2147484263" r:id="rId2"/>
    <p:sldLayoutId id="2147484264" r:id="rId3"/>
    <p:sldLayoutId id="2147484265" r:id="rId4"/>
    <p:sldLayoutId id="2147484266" r:id="rId5"/>
    <p:sldLayoutId id="2147484267" r:id="rId6"/>
    <p:sldLayoutId id="2147484268" r:id="rId7"/>
    <p:sldLayoutId id="2147484269" r:id="rId8"/>
    <p:sldLayoutId id="2147484270" r:id="rId9"/>
    <p:sldLayoutId id="2147484271" r:id="rId10"/>
    <p:sldLayoutId id="2147484272" r:id="rId11"/>
    <p:sldLayoutId id="2147484273" r:id="rId12"/>
    <p:sldLayoutId id="2147484274" r:id="rId13"/>
    <p:sldLayoutId id="2147484275" r:id="rId14"/>
    <p:sldLayoutId id="2147484276" r:id="rId15"/>
    <p:sldLayoutId id="2147484277" r:id="rId16"/>
    <p:sldLayoutId id="2147484278" r:id="rId17"/>
    <p:sldLayoutId id="2147484279" r:id="rId18"/>
    <p:sldLayoutId id="2147484280" r:id="rId19"/>
    <p:sldLayoutId id="2147484281" r:id="rId20"/>
    <p:sldLayoutId id="2147484282" r:id="rId21"/>
    <p:sldLayoutId id="2147484283" r:id="rId22"/>
  </p:sldLayoutIdLst>
  <p:transition spd="slow">
    <p:push dir="u"/>
  </p:transition>
  <p:hf hdr="0" dt="0"/>
  <p:txStyles>
    <p:titleStyle>
      <a:lvl1pPr algn="l" defTabSz="685001" rtl="0" eaLnBrk="1" latinLnBrk="0" hangingPunct="1">
        <a:lnSpc>
          <a:spcPts val="2100"/>
        </a:lnSpc>
        <a:spcBef>
          <a:spcPct val="0"/>
        </a:spcBef>
        <a:buNone/>
        <a:defRPr kumimoji="1" sz="2100" b="1" i="0" kern="1200" baseline="0">
          <a:solidFill>
            <a:schemeClr val="tx1"/>
          </a:solidFill>
          <a:latin typeface="Calibri" panose="020F0502020204030204" pitchFamily="34" charset="0"/>
          <a:ea typeface="メイリオ" pitchFamily="50" charset="-128"/>
          <a:cs typeface="Calibri" pitchFamily="34" charset="0"/>
        </a:defRPr>
      </a:lvl1pPr>
    </p:titleStyle>
    <p:bodyStyle>
      <a:lvl1pPr marL="342479" indent="-342479" algn="l" defTabSz="685001" rtl="0" eaLnBrk="1" latinLnBrk="0" hangingPunct="1">
        <a:spcBef>
          <a:spcPct val="20000"/>
        </a:spcBef>
        <a:buClr>
          <a:srgbClr val="4C4948"/>
        </a:buClr>
        <a:buFont typeface="Arial" panose="020B0604020202020204" pitchFamily="34" charset="0"/>
        <a:buChar char="•"/>
        <a:defRPr kumimoji="1" sz="1500" b="0" i="0" kern="1200" baseline="0">
          <a:solidFill>
            <a:schemeClr val="tx1"/>
          </a:solidFill>
          <a:latin typeface="Calibri" panose="020F0502020204030204" pitchFamily="34" charset="0"/>
          <a:ea typeface="メイリオ" pitchFamily="50" charset="-128"/>
          <a:cs typeface="Calibri" pitchFamily="34" charset="0"/>
        </a:defRPr>
      </a:lvl1pPr>
      <a:lvl2pPr marL="556555" indent="-214078" algn="l" defTabSz="685001" rtl="0" eaLnBrk="1" latinLnBrk="0" hangingPunct="1">
        <a:spcBef>
          <a:spcPct val="20000"/>
        </a:spcBef>
        <a:buClr>
          <a:srgbClr val="4C4948"/>
        </a:buClr>
        <a:buFont typeface="Arial" pitchFamily="34" charset="0"/>
        <a:buChar char="–"/>
        <a:defRPr kumimoji="1" sz="1500" b="0" i="0" kern="1200">
          <a:solidFill>
            <a:schemeClr val="tx1"/>
          </a:solidFill>
          <a:latin typeface="Calibri" panose="020F0502020204030204" pitchFamily="34" charset="0"/>
          <a:ea typeface="メイリオ" pitchFamily="50" charset="-128"/>
          <a:cs typeface="Calibri" pitchFamily="34" charset="0"/>
        </a:defRPr>
      </a:lvl2pPr>
      <a:lvl3pPr marL="856262" indent="-171262" algn="l" defTabSz="685001" rtl="0" eaLnBrk="1" latinLnBrk="0" hangingPunct="1">
        <a:spcBef>
          <a:spcPct val="20000"/>
        </a:spcBef>
        <a:buClr>
          <a:srgbClr val="4C4948"/>
        </a:buClr>
        <a:buFont typeface="Arial" pitchFamily="34" charset="0"/>
        <a:buChar char="•"/>
        <a:defRPr kumimoji="1" sz="1500" b="0" i="0" kern="1200" baseline="0">
          <a:solidFill>
            <a:schemeClr val="tx1"/>
          </a:solidFill>
          <a:latin typeface="Calibri" panose="020F0502020204030204" pitchFamily="34" charset="0"/>
          <a:ea typeface="メイリオ" pitchFamily="50" charset="-128"/>
          <a:cs typeface="Calibri" pitchFamily="34" charset="0"/>
        </a:defRPr>
      </a:lvl3pPr>
      <a:lvl4pPr marL="1198740" indent="-171262" algn="l" defTabSz="685001" rtl="0" eaLnBrk="1" latinLnBrk="0" hangingPunct="1">
        <a:spcBef>
          <a:spcPct val="20000"/>
        </a:spcBef>
        <a:buClr>
          <a:srgbClr val="4C4948"/>
        </a:buClr>
        <a:buFont typeface="Arial" pitchFamily="34" charset="0"/>
        <a:buChar char="–"/>
        <a:defRPr kumimoji="1" sz="1500" b="0" i="0" kern="1200" baseline="0">
          <a:solidFill>
            <a:schemeClr val="tx1"/>
          </a:solidFill>
          <a:latin typeface="Calibri" panose="020F0502020204030204" pitchFamily="34" charset="0"/>
          <a:ea typeface="メイリオ" pitchFamily="50" charset="-128"/>
          <a:cs typeface="Calibri" pitchFamily="34" charset="0"/>
        </a:defRPr>
      </a:lvl4pPr>
      <a:lvl5pPr marL="1541219" indent="-171262" algn="l" defTabSz="685001" rtl="0" eaLnBrk="1" latinLnBrk="0" hangingPunct="1">
        <a:spcBef>
          <a:spcPct val="20000"/>
        </a:spcBef>
        <a:buClr>
          <a:srgbClr val="4C4948"/>
        </a:buClr>
        <a:buFont typeface="Arial" pitchFamily="34" charset="0"/>
        <a:buChar char="»"/>
        <a:defRPr kumimoji="1" sz="1500" b="0" i="0" kern="1200" baseline="0">
          <a:solidFill>
            <a:schemeClr val="tx1"/>
          </a:solidFill>
          <a:latin typeface="Calibri" panose="020F0502020204030204" pitchFamily="34" charset="0"/>
          <a:ea typeface="メイリオ" pitchFamily="50" charset="-128"/>
          <a:cs typeface="Calibri" pitchFamily="34" charset="0"/>
        </a:defRPr>
      </a:lvl5pPr>
      <a:lvl6pPr marL="1883741" indent="-171262" algn="l" defTabSz="685001" rtl="0" eaLnBrk="1" latinLnBrk="0" hangingPunct="1">
        <a:spcBef>
          <a:spcPct val="20000"/>
        </a:spcBef>
        <a:buFont typeface="Arial" pitchFamily="34" charset="0"/>
        <a:buChar char="•"/>
        <a:defRPr kumimoji="1" sz="1500" kern="1200">
          <a:solidFill>
            <a:schemeClr val="tx1"/>
          </a:solidFill>
          <a:latin typeface="+mn-lt"/>
          <a:ea typeface="+mn-ea"/>
          <a:cs typeface="+mn-cs"/>
        </a:defRPr>
      </a:lvl6pPr>
      <a:lvl7pPr marL="2226242" indent="-171262" algn="l" defTabSz="685001" rtl="0" eaLnBrk="1" latinLnBrk="0" hangingPunct="1">
        <a:spcBef>
          <a:spcPct val="20000"/>
        </a:spcBef>
        <a:buFont typeface="Arial" pitchFamily="34" charset="0"/>
        <a:buChar char="•"/>
        <a:defRPr kumimoji="1" sz="1500" kern="1200">
          <a:solidFill>
            <a:schemeClr val="tx1"/>
          </a:solidFill>
          <a:latin typeface="+mn-lt"/>
          <a:ea typeface="+mn-ea"/>
          <a:cs typeface="+mn-cs"/>
        </a:defRPr>
      </a:lvl7pPr>
      <a:lvl8pPr marL="2568742" indent="-171262" algn="l" defTabSz="685001" rtl="0" eaLnBrk="1" latinLnBrk="0" hangingPunct="1">
        <a:spcBef>
          <a:spcPct val="20000"/>
        </a:spcBef>
        <a:buFont typeface="Arial" pitchFamily="34" charset="0"/>
        <a:buChar char="•"/>
        <a:defRPr kumimoji="1" sz="1500" kern="1200">
          <a:solidFill>
            <a:schemeClr val="tx1"/>
          </a:solidFill>
          <a:latin typeface="+mn-lt"/>
          <a:ea typeface="+mn-ea"/>
          <a:cs typeface="+mn-cs"/>
        </a:defRPr>
      </a:lvl8pPr>
      <a:lvl9pPr marL="2911265" indent="-171262" algn="l" defTabSz="685001" rtl="0" eaLnBrk="1" latinLnBrk="0" hangingPunct="1">
        <a:spcBef>
          <a:spcPct val="20000"/>
        </a:spcBef>
        <a:buFont typeface="Arial" pitchFamily="34" charset="0"/>
        <a:buChar char="•"/>
        <a:defRPr kumimoji="1" sz="1500" kern="1200">
          <a:solidFill>
            <a:schemeClr val="tx1"/>
          </a:solidFill>
          <a:latin typeface="+mn-lt"/>
          <a:ea typeface="+mn-ea"/>
          <a:cs typeface="+mn-cs"/>
        </a:defRPr>
      </a:lvl9pPr>
    </p:bodyStyle>
    <p:otherStyle>
      <a:defPPr>
        <a:defRPr lang="ja-JP"/>
      </a:defPPr>
      <a:lvl1pPr marL="0" algn="l" defTabSz="685001" rtl="0" eaLnBrk="1" latinLnBrk="0" hangingPunct="1">
        <a:defRPr kumimoji="1" sz="1400" kern="1200">
          <a:solidFill>
            <a:schemeClr val="tx1"/>
          </a:solidFill>
          <a:latin typeface="+mn-lt"/>
          <a:ea typeface="+mn-ea"/>
          <a:cs typeface="+mn-cs"/>
        </a:defRPr>
      </a:lvl1pPr>
      <a:lvl2pPr marL="342479" algn="l" defTabSz="685001" rtl="0" eaLnBrk="1" latinLnBrk="0" hangingPunct="1">
        <a:defRPr kumimoji="1" sz="1400" kern="1200">
          <a:solidFill>
            <a:schemeClr val="tx1"/>
          </a:solidFill>
          <a:latin typeface="+mn-lt"/>
          <a:ea typeface="+mn-ea"/>
          <a:cs typeface="+mn-cs"/>
        </a:defRPr>
      </a:lvl2pPr>
      <a:lvl3pPr marL="685001" algn="l" defTabSz="685001" rtl="0" eaLnBrk="1" latinLnBrk="0" hangingPunct="1">
        <a:defRPr kumimoji="1" sz="1400" kern="1200">
          <a:solidFill>
            <a:schemeClr val="tx1"/>
          </a:solidFill>
          <a:latin typeface="+mn-lt"/>
          <a:ea typeface="+mn-ea"/>
          <a:cs typeface="+mn-cs"/>
        </a:defRPr>
      </a:lvl3pPr>
      <a:lvl4pPr marL="1027502" algn="l" defTabSz="685001" rtl="0" eaLnBrk="1" latinLnBrk="0" hangingPunct="1">
        <a:defRPr kumimoji="1" sz="1400" kern="1200">
          <a:solidFill>
            <a:schemeClr val="tx1"/>
          </a:solidFill>
          <a:latin typeface="+mn-lt"/>
          <a:ea typeface="+mn-ea"/>
          <a:cs typeface="+mn-cs"/>
        </a:defRPr>
      </a:lvl4pPr>
      <a:lvl5pPr marL="1370002" algn="l" defTabSz="685001" rtl="0" eaLnBrk="1" latinLnBrk="0" hangingPunct="1">
        <a:defRPr kumimoji="1" sz="1400" kern="1200">
          <a:solidFill>
            <a:schemeClr val="tx1"/>
          </a:solidFill>
          <a:latin typeface="+mn-lt"/>
          <a:ea typeface="+mn-ea"/>
          <a:cs typeface="+mn-cs"/>
        </a:defRPr>
      </a:lvl5pPr>
      <a:lvl6pPr marL="1712525" algn="l" defTabSz="685001" rtl="0" eaLnBrk="1" latinLnBrk="0" hangingPunct="1">
        <a:defRPr kumimoji="1" sz="1400" kern="1200">
          <a:solidFill>
            <a:schemeClr val="tx1"/>
          </a:solidFill>
          <a:latin typeface="+mn-lt"/>
          <a:ea typeface="+mn-ea"/>
          <a:cs typeface="+mn-cs"/>
        </a:defRPr>
      </a:lvl6pPr>
      <a:lvl7pPr marL="2055002" algn="l" defTabSz="685001" rtl="0" eaLnBrk="1" latinLnBrk="0" hangingPunct="1">
        <a:defRPr kumimoji="1" sz="1400" kern="1200">
          <a:solidFill>
            <a:schemeClr val="tx1"/>
          </a:solidFill>
          <a:latin typeface="+mn-lt"/>
          <a:ea typeface="+mn-ea"/>
          <a:cs typeface="+mn-cs"/>
        </a:defRPr>
      </a:lvl7pPr>
      <a:lvl8pPr marL="2397480" algn="l" defTabSz="685001" rtl="0" eaLnBrk="1" latinLnBrk="0" hangingPunct="1">
        <a:defRPr kumimoji="1" sz="1400" kern="1200">
          <a:solidFill>
            <a:schemeClr val="tx1"/>
          </a:solidFill>
          <a:latin typeface="+mn-lt"/>
          <a:ea typeface="+mn-ea"/>
          <a:cs typeface="+mn-cs"/>
        </a:defRPr>
      </a:lvl8pPr>
      <a:lvl9pPr marL="2739959" algn="l" defTabSz="685001" rtl="0" eaLnBrk="1" latinLnBrk="0" hangingPunct="1">
        <a:defRPr kumimoji="1" sz="1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77">
          <p15:clr>
            <a:srgbClr val="F26B43"/>
          </p15:clr>
        </p15:guide>
        <p15:guide id="2" pos="189" userDrawn="1">
          <p15:clr>
            <a:srgbClr val="F26B43"/>
          </p15:clr>
        </p15:guide>
        <p15:guide id="3" pos="7491" userDrawn="1">
          <p15:clr>
            <a:srgbClr val="F26B43"/>
          </p15:clr>
        </p15:guide>
        <p15:guide id="4" orient="horz" pos="4042">
          <p15:clr>
            <a:srgbClr val="F26B43"/>
          </p15:clr>
        </p15:guide>
        <p15:guide id="5" pos="370" userDrawn="1">
          <p15:clr>
            <a:srgbClr val="F26B43"/>
          </p15:clr>
        </p15:guide>
        <p15:guide id="6" orient="horz" pos="4088" userDrawn="1">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D283D300-2124-42DF-B73B-3D3D4C546EC6}"/>
              </a:ext>
            </a:extLst>
          </p:cNvPr>
          <p:cNvGraphicFramePr>
            <a:graphicFrameLocks noChangeAspect="1"/>
          </p:cNvGraphicFramePr>
          <p:nvPr userDrawn="1">
            <p:custDataLst>
              <p:tags r:id="rId28"/>
            </p:custDataLst>
            <p:extLst>
              <p:ext uri="{D42A27DB-BD31-4B8C-83A1-F6EECF244321}">
                <p14:modId xmlns:p14="http://schemas.microsoft.com/office/powerpoint/2010/main" val="2120136778"/>
              </p:ext>
            </p:ext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spid="_x0000_s19523" name="think-cell Slide" r:id="rId30" imgW="395" imgH="394" progId="TCLayout.ActiveDocument.1">
                  <p:embed/>
                </p:oleObj>
              </mc:Choice>
              <mc:Fallback>
                <p:oleObj name="think-cell Slide" r:id="rId30" imgW="395" imgH="394" progId="TCLayout.ActiveDocument.1">
                  <p:embed/>
                  <p:pic>
                    <p:nvPicPr>
                      <p:cNvPr id="0" name=""/>
                      <p:cNvPicPr/>
                      <p:nvPr/>
                    </p:nvPicPr>
                    <p:blipFill>
                      <a:blip r:embed="rId31"/>
                      <a:stretch>
                        <a:fillRect/>
                      </a:stretch>
                    </p:blipFill>
                    <p:spPr>
                      <a:xfrm>
                        <a:off x="1193" y="1193"/>
                        <a:ext cx="1191" cy="1191"/>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4B895B28-7064-4AD0-A15D-88F99BCA9BAD}"/>
              </a:ext>
            </a:extLst>
          </p:cNvPr>
          <p:cNvSpPr/>
          <p:nvPr userDrawn="1">
            <p:custDataLst>
              <p:tags r:id="rId29"/>
            </p:custDataLst>
          </p:nvPr>
        </p:nvSpPr>
        <p:spPr>
          <a:xfrm>
            <a:off x="3" y="24"/>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85239"/>
            <a:endParaRPr kumimoji="1" lang="en-US" altLang="ja-JP" sz="2100">
              <a:solidFill>
                <a:srgbClr val="FFFFFF"/>
              </a:solidFill>
              <a:cs typeface="Calibri" panose="020F0502020204030204" pitchFamily="34" charset="0"/>
              <a:sym typeface="Calibri" panose="020F0502020204030204" pitchFamily="34" charset="0"/>
            </a:endParaRPr>
          </a:p>
        </p:txBody>
      </p:sp>
      <p:sp>
        <p:nvSpPr>
          <p:cNvPr id="3" name="テキスト プレースホルダ 2"/>
          <p:cNvSpPr>
            <a:spLocks noGrp="1"/>
          </p:cNvSpPr>
          <p:nvPr>
            <p:ph type="body" idx="1"/>
          </p:nvPr>
        </p:nvSpPr>
        <p:spPr>
          <a:xfrm>
            <a:off x="233363" y="925117"/>
            <a:ext cx="8677275" cy="3887390"/>
          </a:xfrm>
          <a:prstGeom prst="rect">
            <a:avLst/>
          </a:prstGeom>
        </p:spPr>
        <p:txBody>
          <a:bodyPr vert="horz" lIns="0" tIns="34283" rIns="68516" bIns="34283" rtlCol="0">
            <a:normAutofit/>
          </a:bodyPr>
          <a:lstStyle/>
          <a:p>
            <a:pPr lvl="0"/>
            <a:r>
              <a:rPr kumimoji="1" lang="en-US" altLang="ja-JP"/>
              <a:t>Master text</a:t>
            </a:r>
            <a:endParaRPr kumimoji="1" lang="ja-JP" altLang="en-US"/>
          </a:p>
        </p:txBody>
      </p:sp>
      <p:sp>
        <p:nvSpPr>
          <p:cNvPr id="11" name="Footer Placeholder 8">
            <a:extLst>
              <a:ext uri="{FF2B5EF4-FFF2-40B4-BE49-F238E27FC236}">
                <a16:creationId xmlns="" xmlns:a16="http://schemas.microsoft.com/office/drawing/2014/main" id="{44E43001-C216-284A-9EBD-E54B5DD295CE}"/>
              </a:ext>
            </a:extLst>
          </p:cNvPr>
          <p:cNvSpPr>
            <a:spLocks noGrp="1"/>
          </p:cNvSpPr>
          <p:nvPr>
            <p:ph type="ftr" sz="quarter" idx="3"/>
          </p:nvPr>
        </p:nvSpPr>
        <p:spPr>
          <a:xfrm>
            <a:off x="5824538" y="4867276"/>
            <a:ext cx="3086100" cy="172074"/>
          </a:xfrm>
          <a:prstGeom prst="rect">
            <a:avLst/>
          </a:prstGeom>
        </p:spPr>
        <p:txBody>
          <a:bodyPr vert="horz" lIns="68531" tIns="34289" rIns="68531" bIns="34289" rtlCol="0" anchor="ctr"/>
          <a:lstStyle>
            <a:lvl1pPr algn="r">
              <a:defRPr sz="600" b="1" spc="75" baseline="0">
                <a:solidFill>
                  <a:schemeClr val="tx1"/>
                </a:solidFill>
              </a:defRPr>
            </a:lvl1pPr>
          </a:lstStyle>
          <a:p>
            <a:pPr defTabSz="685239"/>
            <a:r>
              <a:rPr lang="x-none" smtClean="0">
                <a:solidFill>
                  <a:srgbClr val="34373F"/>
                </a:solidFill>
              </a:rPr>
              <a:t> </a:t>
            </a:r>
            <a:endParaRPr lang="x-none">
              <a:solidFill>
                <a:srgbClr val="34373F"/>
              </a:solidFill>
            </a:endParaRPr>
          </a:p>
        </p:txBody>
      </p:sp>
      <p:sp>
        <p:nvSpPr>
          <p:cNvPr id="9" name="タイトル プレースホルダ 1">
            <a:extLst>
              <a:ext uri="{FF2B5EF4-FFF2-40B4-BE49-F238E27FC236}">
                <a16:creationId xmlns="" xmlns:a16="http://schemas.microsoft.com/office/drawing/2014/main" id="{D7981A12-E00B-604C-B863-7CBF31AA6408}"/>
              </a:ext>
            </a:extLst>
          </p:cNvPr>
          <p:cNvSpPr>
            <a:spLocks noGrp="1"/>
          </p:cNvSpPr>
          <p:nvPr>
            <p:ph type="title"/>
          </p:nvPr>
        </p:nvSpPr>
        <p:spPr>
          <a:xfrm>
            <a:off x="454558" y="121208"/>
            <a:ext cx="7421313" cy="514351"/>
          </a:xfrm>
          <a:prstGeom prst="rect">
            <a:avLst/>
          </a:prstGeom>
        </p:spPr>
        <p:txBody>
          <a:bodyPr vert="horz" lIns="0" tIns="0" rIns="0" bIns="0" rtlCol="0" anchor="ctr">
            <a:normAutofit/>
          </a:bodyPr>
          <a:lstStyle/>
          <a:p>
            <a:r>
              <a:rPr kumimoji="1" lang="en-US" altLang="ja-JP"/>
              <a:t>Master title</a:t>
            </a:r>
            <a:endParaRPr kumimoji="1" lang="ja-JP" altLang="en-US"/>
          </a:p>
        </p:txBody>
      </p:sp>
      <p:sp>
        <p:nvSpPr>
          <p:cNvPr id="13" name="スライド番号プレースホルダ 5">
            <a:extLst>
              <a:ext uri="{FF2B5EF4-FFF2-40B4-BE49-F238E27FC236}">
                <a16:creationId xmlns="" xmlns:a16="http://schemas.microsoft.com/office/drawing/2014/main" id="{C7AA5A17-3F2F-B94B-9342-A137057B898D}"/>
              </a:ext>
            </a:extLst>
          </p:cNvPr>
          <p:cNvSpPr>
            <a:spLocks noGrp="1"/>
          </p:cNvSpPr>
          <p:nvPr>
            <p:ph type="sldNum" sz="quarter" idx="4"/>
          </p:nvPr>
        </p:nvSpPr>
        <p:spPr>
          <a:xfrm>
            <a:off x="233363" y="4867276"/>
            <a:ext cx="442392" cy="172074"/>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3365"/>
            <a:fld id="{E9B57936-92EF-4126-AE48-1D9D36D15E98}" type="slidenum">
              <a:rPr lang="ja-JP" altLang="en-US" smtClean="0">
                <a:solidFill>
                  <a:srgbClr val="34373F"/>
                </a:solidFill>
              </a:rPr>
              <a:pPr defTabSz="913365"/>
              <a:t>‹Nº›</a:t>
            </a:fld>
            <a:endParaRPr lang="ja-JP" altLang="en-US">
              <a:solidFill>
                <a:srgbClr val="34373F"/>
              </a:solidFill>
            </a:endParaRPr>
          </a:p>
        </p:txBody>
      </p:sp>
    </p:spTree>
    <p:extLst>
      <p:ext uri="{BB962C8B-B14F-4D97-AF65-F5344CB8AC3E}">
        <p14:creationId xmlns:p14="http://schemas.microsoft.com/office/powerpoint/2010/main" val="1567969655"/>
      </p:ext>
    </p:extLst>
  </p:cSld>
  <p:clrMap bg1="lt1" tx1="dk1" bg2="lt2" tx2="dk2" accent1="accent1" accent2="accent2" accent3="accent3" accent4="accent4" accent5="accent5" accent6="accent6" hlink="hlink" folHlink="folHlink"/>
  <p:sldLayoutIdLst>
    <p:sldLayoutId id="2147484296" r:id="rId1"/>
    <p:sldLayoutId id="2147484297" r:id="rId2"/>
    <p:sldLayoutId id="2147484298" r:id="rId3"/>
    <p:sldLayoutId id="2147484299" r:id="rId4"/>
    <p:sldLayoutId id="2147484300" r:id="rId5"/>
    <p:sldLayoutId id="2147484301" r:id="rId6"/>
    <p:sldLayoutId id="2147484302" r:id="rId7"/>
    <p:sldLayoutId id="2147484303" r:id="rId8"/>
    <p:sldLayoutId id="2147484304" r:id="rId9"/>
    <p:sldLayoutId id="2147484305" r:id="rId10"/>
    <p:sldLayoutId id="2147484306" r:id="rId11"/>
    <p:sldLayoutId id="2147484307" r:id="rId12"/>
    <p:sldLayoutId id="2147484308" r:id="rId13"/>
    <p:sldLayoutId id="2147484309" r:id="rId14"/>
    <p:sldLayoutId id="2147484310" r:id="rId15"/>
    <p:sldLayoutId id="2147484311" r:id="rId16"/>
    <p:sldLayoutId id="2147484312" r:id="rId17"/>
    <p:sldLayoutId id="2147484313" r:id="rId18"/>
    <p:sldLayoutId id="2147484314" r:id="rId19"/>
    <p:sldLayoutId id="2147484315" r:id="rId20"/>
    <p:sldLayoutId id="2147484316" r:id="rId21"/>
    <p:sldLayoutId id="2147484317" r:id="rId22"/>
    <p:sldLayoutId id="2147484318" r:id="rId23"/>
    <p:sldLayoutId id="2147484319" r:id="rId24"/>
    <p:sldLayoutId id="2147484320" r:id="rId25"/>
  </p:sldLayoutIdLst>
  <p:transition spd="slow">
    <p:push dir="u"/>
  </p:transition>
  <p:hf hdr="0" dt="0"/>
  <p:txStyles>
    <p:titleStyle>
      <a:lvl1pPr algn="l" defTabSz="685052" rtl="0" eaLnBrk="1" latinLnBrk="0" hangingPunct="1">
        <a:lnSpc>
          <a:spcPts val="2100"/>
        </a:lnSpc>
        <a:spcBef>
          <a:spcPct val="0"/>
        </a:spcBef>
        <a:buNone/>
        <a:defRPr kumimoji="1" sz="2100" b="1" i="0" kern="1200" baseline="0">
          <a:solidFill>
            <a:schemeClr val="tx1"/>
          </a:solidFill>
          <a:latin typeface="Calibri" panose="020F0502020204030204" pitchFamily="34" charset="0"/>
          <a:ea typeface="メイリオ" pitchFamily="50" charset="-128"/>
          <a:cs typeface="Calibri" pitchFamily="34" charset="0"/>
        </a:defRPr>
      </a:lvl1pPr>
    </p:titleStyle>
    <p:bodyStyle>
      <a:lvl1pPr marL="342506" indent="-342506" algn="l" defTabSz="685052" rtl="0" eaLnBrk="1" latinLnBrk="0" hangingPunct="1">
        <a:spcBef>
          <a:spcPct val="20000"/>
        </a:spcBef>
        <a:buClr>
          <a:srgbClr val="4C4948"/>
        </a:buClr>
        <a:buFont typeface="Arial" panose="020B0604020202020204" pitchFamily="34" charset="0"/>
        <a:buChar char="•"/>
        <a:defRPr kumimoji="1" sz="1500" b="0" i="0" kern="1200" baseline="0">
          <a:solidFill>
            <a:schemeClr val="tx1"/>
          </a:solidFill>
          <a:latin typeface="Calibri" panose="020F0502020204030204" pitchFamily="34" charset="0"/>
          <a:ea typeface="メイリオ" pitchFamily="50" charset="-128"/>
          <a:cs typeface="Calibri" pitchFamily="34" charset="0"/>
        </a:defRPr>
      </a:lvl1pPr>
      <a:lvl2pPr marL="556597" indent="-214093" algn="l" defTabSz="685052" rtl="0" eaLnBrk="1" latinLnBrk="0" hangingPunct="1">
        <a:spcBef>
          <a:spcPct val="20000"/>
        </a:spcBef>
        <a:buClr>
          <a:srgbClr val="4C4948"/>
        </a:buClr>
        <a:buFont typeface="Arial" pitchFamily="34" charset="0"/>
        <a:buChar char="–"/>
        <a:defRPr kumimoji="1" sz="1500" b="0" i="0" kern="1200">
          <a:solidFill>
            <a:schemeClr val="tx1"/>
          </a:solidFill>
          <a:latin typeface="Calibri" panose="020F0502020204030204" pitchFamily="34" charset="0"/>
          <a:ea typeface="メイリオ" pitchFamily="50" charset="-128"/>
          <a:cs typeface="Calibri" pitchFamily="34" charset="0"/>
        </a:defRPr>
      </a:lvl2pPr>
      <a:lvl3pPr marL="856325" indent="-171274" algn="l" defTabSz="685052" rtl="0" eaLnBrk="1" latinLnBrk="0" hangingPunct="1">
        <a:spcBef>
          <a:spcPct val="20000"/>
        </a:spcBef>
        <a:buClr>
          <a:srgbClr val="4C4948"/>
        </a:buClr>
        <a:buFont typeface="Arial" pitchFamily="34" charset="0"/>
        <a:buChar char="•"/>
        <a:defRPr kumimoji="1" sz="1500" b="0" i="0" kern="1200" baseline="0">
          <a:solidFill>
            <a:schemeClr val="tx1"/>
          </a:solidFill>
          <a:latin typeface="Calibri" panose="020F0502020204030204" pitchFamily="34" charset="0"/>
          <a:ea typeface="メイリオ" pitchFamily="50" charset="-128"/>
          <a:cs typeface="Calibri" pitchFamily="34" charset="0"/>
        </a:defRPr>
      </a:lvl3pPr>
      <a:lvl4pPr marL="1198830" indent="-171274" algn="l" defTabSz="685052" rtl="0" eaLnBrk="1" latinLnBrk="0" hangingPunct="1">
        <a:spcBef>
          <a:spcPct val="20000"/>
        </a:spcBef>
        <a:buClr>
          <a:srgbClr val="4C4948"/>
        </a:buClr>
        <a:buFont typeface="Arial" pitchFamily="34" charset="0"/>
        <a:buChar char="–"/>
        <a:defRPr kumimoji="1" sz="1500" b="0" i="0" kern="1200" baseline="0">
          <a:solidFill>
            <a:schemeClr val="tx1"/>
          </a:solidFill>
          <a:latin typeface="Calibri" panose="020F0502020204030204" pitchFamily="34" charset="0"/>
          <a:ea typeface="メイリオ" pitchFamily="50" charset="-128"/>
          <a:cs typeface="Calibri" pitchFamily="34" charset="0"/>
        </a:defRPr>
      </a:lvl4pPr>
      <a:lvl5pPr marL="1541336" indent="-171274" algn="l" defTabSz="685052" rtl="0" eaLnBrk="1" latinLnBrk="0" hangingPunct="1">
        <a:spcBef>
          <a:spcPct val="20000"/>
        </a:spcBef>
        <a:buClr>
          <a:srgbClr val="4C4948"/>
        </a:buClr>
        <a:buFont typeface="Arial" pitchFamily="34" charset="0"/>
        <a:buChar char="»"/>
        <a:defRPr kumimoji="1" sz="1500" b="0" i="0" kern="1200" baseline="0">
          <a:solidFill>
            <a:schemeClr val="tx1"/>
          </a:solidFill>
          <a:latin typeface="Calibri" panose="020F0502020204030204" pitchFamily="34" charset="0"/>
          <a:ea typeface="メイリオ" pitchFamily="50" charset="-128"/>
          <a:cs typeface="Calibri" pitchFamily="34" charset="0"/>
        </a:defRPr>
      </a:lvl5pPr>
      <a:lvl6pPr marL="1883882" indent="-171274" algn="l" defTabSz="685052" rtl="0" eaLnBrk="1" latinLnBrk="0" hangingPunct="1">
        <a:spcBef>
          <a:spcPct val="20000"/>
        </a:spcBef>
        <a:buFont typeface="Arial" pitchFamily="34" charset="0"/>
        <a:buChar char="•"/>
        <a:defRPr kumimoji="1" sz="1500" kern="1200">
          <a:solidFill>
            <a:schemeClr val="tx1"/>
          </a:solidFill>
          <a:latin typeface="+mn-lt"/>
          <a:ea typeface="+mn-ea"/>
          <a:cs typeface="+mn-cs"/>
        </a:defRPr>
      </a:lvl6pPr>
      <a:lvl7pPr marL="2226408" indent="-171274" algn="l" defTabSz="685052" rtl="0" eaLnBrk="1" latinLnBrk="0" hangingPunct="1">
        <a:spcBef>
          <a:spcPct val="20000"/>
        </a:spcBef>
        <a:buFont typeface="Arial" pitchFamily="34" charset="0"/>
        <a:buChar char="•"/>
        <a:defRPr kumimoji="1" sz="1500" kern="1200">
          <a:solidFill>
            <a:schemeClr val="tx1"/>
          </a:solidFill>
          <a:latin typeface="+mn-lt"/>
          <a:ea typeface="+mn-ea"/>
          <a:cs typeface="+mn-cs"/>
        </a:defRPr>
      </a:lvl7pPr>
      <a:lvl8pPr marL="2568934" indent="-171274" algn="l" defTabSz="685052" rtl="0" eaLnBrk="1" latinLnBrk="0" hangingPunct="1">
        <a:spcBef>
          <a:spcPct val="20000"/>
        </a:spcBef>
        <a:buFont typeface="Arial" pitchFamily="34" charset="0"/>
        <a:buChar char="•"/>
        <a:defRPr kumimoji="1" sz="1500" kern="1200">
          <a:solidFill>
            <a:schemeClr val="tx1"/>
          </a:solidFill>
          <a:latin typeface="+mn-lt"/>
          <a:ea typeface="+mn-ea"/>
          <a:cs typeface="+mn-cs"/>
        </a:defRPr>
      </a:lvl8pPr>
      <a:lvl9pPr marL="2911481" indent="-171274" algn="l" defTabSz="685052" rtl="0" eaLnBrk="1" latinLnBrk="0" hangingPunct="1">
        <a:spcBef>
          <a:spcPct val="20000"/>
        </a:spcBef>
        <a:buFont typeface="Arial" pitchFamily="34" charset="0"/>
        <a:buChar char="•"/>
        <a:defRPr kumimoji="1" sz="1500" kern="1200">
          <a:solidFill>
            <a:schemeClr val="tx1"/>
          </a:solidFill>
          <a:latin typeface="+mn-lt"/>
          <a:ea typeface="+mn-ea"/>
          <a:cs typeface="+mn-cs"/>
        </a:defRPr>
      </a:lvl9pPr>
    </p:bodyStyle>
    <p:otherStyle>
      <a:defPPr>
        <a:defRPr lang="ja-JP"/>
      </a:defPPr>
      <a:lvl1pPr marL="0" algn="l" defTabSz="685052" rtl="0" eaLnBrk="1" latinLnBrk="0" hangingPunct="1">
        <a:defRPr kumimoji="1" sz="1400" kern="1200">
          <a:solidFill>
            <a:schemeClr val="tx1"/>
          </a:solidFill>
          <a:latin typeface="+mn-lt"/>
          <a:ea typeface="+mn-ea"/>
          <a:cs typeface="+mn-cs"/>
        </a:defRPr>
      </a:lvl1pPr>
      <a:lvl2pPr marL="342506" algn="l" defTabSz="685052" rtl="0" eaLnBrk="1" latinLnBrk="0" hangingPunct="1">
        <a:defRPr kumimoji="1" sz="1400" kern="1200">
          <a:solidFill>
            <a:schemeClr val="tx1"/>
          </a:solidFill>
          <a:latin typeface="+mn-lt"/>
          <a:ea typeface="+mn-ea"/>
          <a:cs typeface="+mn-cs"/>
        </a:defRPr>
      </a:lvl2pPr>
      <a:lvl3pPr marL="685052" algn="l" defTabSz="685052" rtl="0" eaLnBrk="1" latinLnBrk="0" hangingPunct="1">
        <a:defRPr kumimoji="1" sz="1400" kern="1200">
          <a:solidFill>
            <a:schemeClr val="tx1"/>
          </a:solidFill>
          <a:latin typeface="+mn-lt"/>
          <a:ea typeface="+mn-ea"/>
          <a:cs typeface="+mn-cs"/>
        </a:defRPr>
      </a:lvl3pPr>
      <a:lvl4pPr marL="1027578" algn="l" defTabSz="685052" rtl="0" eaLnBrk="1" latinLnBrk="0" hangingPunct="1">
        <a:defRPr kumimoji="1" sz="1400" kern="1200">
          <a:solidFill>
            <a:schemeClr val="tx1"/>
          </a:solidFill>
          <a:latin typeface="+mn-lt"/>
          <a:ea typeface="+mn-ea"/>
          <a:cs typeface="+mn-cs"/>
        </a:defRPr>
      </a:lvl4pPr>
      <a:lvl5pPr marL="1370104" algn="l" defTabSz="685052" rtl="0" eaLnBrk="1" latinLnBrk="0" hangingPunct="1">
        <a:defRPr kumimoji="1" sz="1400" kern="1200">
          <a:solidFill>
            <a:schemeClr val="tx1"/>
          </a:solidFill>
          <a:latin typeface="+mn-lt"/>
          <a:ea typeface="+mn-ea"/>
          <a:cs typeface="+mn-cs"/>
        </a:defRPr>
      </a:lvl5pPr>
      <a:lvl6pPr marL="1712651" algn="l" defTabSz="685052" rtl="0" eaLnBrk="1" latinLnBrk="0" hangingPunct="1">
        <a:defRPr kumimoji="1" sz="1400" kern="1200">
          <a:solidFill>
            <a:schemeClr val="tx1"/>
          </a:solidFill>
          <a:latin typeface="+mn-lt"/>
          <a:ea typeface="+mn-ea"/>
          <a:cs typeface="+mn-cs"/>
        </a:defRPr>
      </a:lvl6pPr>
      <a:lvl7pPr marL="2055155" algn="l" defTabSz="685052" rtl="0" eaLnBrk="1" latinLnBrk="0" hangingPunct="1">
        <a:defRPr kumimoji="1" sz="1400" kern="1200">
          <a:solidFill>
            <a:schemeClr val="tx1"/>
          </a:solidFill>
          <a:latin typeface="+mn-lt"/>
          <a:ea typeface="+mn-ea"/>
          <a:cs typeface="+mn-cs"/>
        </a:defRPr>
      </a:lvl7pPr>
      <a:lvl8pPr marL="2397660" algn="l" defTabSz="685052" rtl="0" eaLnBrk="1" latinLnBrk="0" hangingPunct="1">
        <a:defRPr kumimoji="1" sz="1400" kern="1200">
          <a:solidFill>
            <a:schemeClr val="tx1"/>
          </a:solidFill>
          <a:latin typeface="+mn-lt"/>
          <a:ea typeface="+mn-ea"/>
          <a:cs typeface="+mn-cs"/>
        </a:defRPr>
      </a:lvl8pPr>
      <a:lvl9pPr marL="2740166" algn="l" defTabSz="685052" rtl="0" eaLnBrk="1" latinLnBrk="0" hangingPunct="1">
        <a:defRPr kumimoji="1" sz="1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77">
          <p15:clr>
            <a:srgbClr val="F26B43"/>
          </p15:clr>
        </p15:guide>
        <p15:guide id="2" pos="189">
          <p15:clr>
            <a:srgbClr val="F26B43"/>
          </p15:clr>
        </p15:guide>
        <p15:guide id="3" pos="7491">
          <p15:clr>
            <a:srgbClr val="F26B43"/>
          </p15:clr>
        </p15:guide>
        <p15:guide id="4" orient="horz" pos="4042">
          <p15:clr>
            <a:srgbClr val="F26B43"/>
          </p15:clr>
        </p15:guide>
        <p15:guide id="5" pos="370">
          <p15:clr>
            <a:srgbClr val="F26B43"/>
          </p15:clr>
        </p15:guide>
        <p15:guide id="6" orient="horz" pos="4088">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テキスト プレースホルダ 2"/>
          <p:cNvSpPr>
            <a:spLocks noGrp="1"/>
          </p:cNvSpPr>
          <p:nvPr>
            <p:ph type="body" idx="1"/>
          </p:nvPr>
        </p:nvSpPr>
        <p:spPr>
          <a:xfrm>
            <a:off x="395288" y="927498"/>
            <a:ext cx="8343651" cy="3696480"/>
          </a:xfrm>
          <a:prstGeom prst="rect">
            <a:avLst/>
          </a:prstGeom>
        </p:spPr>
        <p:txBody>
          <a:bodyPr vert="horz" lIns="0" tIns="34289" rIns="68555" bIns="34289" rtlCol="0">
            <a:normAutofit/>
          </a:bodyPr>
          <a:lstStyle/>
          <a:p>
            <a:pPr lvl="0"/>
            <a:r>
              <a:rPr kumimoji="1" lang="en-US" altLang="ja-JP"/>
              <a:t>Master text</a:t>
            </a:r>
            <a:endParaRPr kumimoji="1" lang="ja-JP" altLang="en-US"/>
          </a:p>
          <a:p>
            <a:pPr lvl="1"/>
            <a:r>
              <a:rPr kumimoji="1" lang="en-US" altLang="ja-JP"/>
              <a:t>Second level</a:t>
            </a:r>
            <a:endParaRPr kumimoji="1" lang="ja-JP" altLang="en-US"/>
          </a:p>
          <a:p>
            <a:pPr lvl="2"/>
            <a:r>
              <a:rPr kumimoji="1" lang="en-US" altLang="ja-JP"/>
              <a:t>Third</a:t>
            </a:r>
            <a:r>
              <a:rPr kumimoji="1" lang="ja-JP" altLang="en-US"/>
              <a:t> </a:t>
            </a:r>
            <a:r>
              <a:rPr kumimoji="1" lang="en-US" altLang="ja-JP"/>
              <a:t>level</a:t>
            </a:r>
            <a:endParaRPr kumimoji="1" lang="ja-JP" altLang="en-US"/>
          </a:p>
          <a:p>
            <a:pPr lvl="3"/>
            <a:r>
              <a:rPr kumimoji="1" lang="en-US" altLang="ja-JP"/>
              <a:t>Fourth level</a:t>
            </a:r>
            <a:endParaRPr kumimoji="1" lang="ja-JP" altLang="en-US"/>
          </a:p>
          <a:p>
            <a:pPr lvl="4"/>
            <a:r>
              <a:rPr kumimoji="1" lang="en-US" altLang="ja-JP"/>
              <a:t>Fifth level</a:t>
            </a:r>
            <a:endParaRPr kumimoji="1" lang="ja-JP" altLang="en-US"/>
          </a:p>
        </p:txBody>
      </p:sp>
      <p:sp>
        <p:nvSpPr>
          <p:cNvPr id="15" name="タイトル プレースホルダ 1"/>
          <p:cNvSpPr>
            <a:spLocks noGrp="1"/>
          </p:cNvSpPr>
          <p:nvPr>
            <p:ph type="title"/>
          </p:nvPr>
        </p:nvSpPr>
        <p:spPr>
          <a:xfrm>
            <a:off x="395289" y="99585"/>
            <a:ext cx="7357234" cy="527957"/>
          </a:xfrm>
          <a:prstGeom prst="rect">
            <a:avLst/>
          </a:prstGeom>
        </p:spPr>
        <p:txBody>
          <a:bodyPr vert="horz" lIns="0" tIns="34289" rIns="68555" bIns="0" rtlCol="0" anchor="b">
            <a:noAutofit/>
          </a:bodyPr>
          <a:lstStyle/>
          <a:p>
            <a:r>
              <a:rPr kumimoji="1" lang="en-US" altLang="ja-JP"/>
              <a:t>Master title</a:t>
            </a:r>
            <a:endParaRPr kumimoji="1" lang="ja-JP" altLang="en-US"/>
          </a:p>
        </p:txBody>
      </p:sp>
      <p:sp>
        <p:nvSpPr>
          <p:cNvPr id="11" name="Rectangle 6">
            <a:extLst>
              <a:ext uri="{FF2B5EF4-FFF2-40B4-BE49-F238E27FC236}">
                <a16:creationId xmlns="" xmlns:a16="http://schemas.microsoft.com/office/drawing/2014/main" id="{18D4B9FA-39D5-DC46-AEE9-0F3C6ECD9555}"/>
              </a:ext>
            </a:extLst>
          </p:cNvPr>
          <p:cNvSpPr/>
          <p:nvPr userDrawn="1"/>
        </p:nvSpPr>
        <p:spPr>
          <a:xfrm>
            <a:off x="0" y="101206"/>
            <a:ext cx="107504" cy="526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55" tIns="34289" rIns="68555" bIns="34289" anchor="ctr"/>
          <a:lstStyle/>
          <a:p>
            <a:pPr algn="ctr" defTabSz="685511"/>
            <a:endParaRPr lang="en-US" altLang="en-US" sz="1400">
              <a:solidFill>
                <a:srgbClr val="E1242A"/>
              </a:solidFill>
            </a:endParaRPr>
          </a:p>
        </p:txBody>
      </p:sp>
      <p:pic>
        <p:nvPicPr>
          <p:cNvPr id="8" name="Picture 12" descr="Takeda_Logo_Pos_RGB.emf">
            <a:extLst>
              <a:ext uri="{FF2B5EF4-FFF2-40B4-BE49-F238E27FC236}">
                <a16:creationId xmlns="" xmlns:a16="http://schemas.microsoft.com/office/drawing/2014/main" id="{61B6986B-A886-0F49-AE59-BDBDD9D1E920}"/>
              </a:ext>
            </a:extLst>
          </p:cNvPr>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bwMode="auto">
          <a:xfrm>
            <a:off x="7975658" y="233604"/>
            <a:ext cx="772806" cy="259904"/>
          </a:xfrm>
          <a:prstGeom prst="rect">
            <a:avLst/>
          </a:prstGeom>
          <a:noFill/>
          <a:ln w="9525">
            <a:noFill/>
            <a:miter lim="800000"/>
            <a:headEnd/>
            <a:tailEnd/>
          </a:ln>
        </p:spPr>
      </p:pic>
      <p:sp>
        <p:nvSpPr>
          <p:cNvPr id="10" name="Slide Number Placeholder 2">
            <a:extLst>
              <a:ext uri="{FF2B5EF4-FFF2-40B4-BE49-F238E27FC236}">
                <a16:creationId xmlns="" xmlns:a16="http://schemas.microsoft.com/office/drawing/2014/main" id="{41D27A7B-FAE7-B348-9F8F-C6040D0C8D42}"/>
              </a:ext>
            </a:extLst>
          </p:cNvPr>
          <p:cNvSpPr>
            <a:spLocks noGrp="1"/>
          </p:cNvSpPr>
          <p:nvPr>
            <p:ph type="sldNum" sz="quarter" idx="4"/>
          </p:nvPr>
        </p:nvSpPr>
        <p:spPr>
          <a:xfrm>
            <a:off x="0" y="4748438"/>
            <a:ext cx="339635" cy="292687"/>
          </a:xfrm>
          <a:prstGeom prst="rect">
            <a:avLst/>
          </a:prstGeom>
        </p:spPr>
        <p:txBody>
          <a:bodyPr lIns="68555" tIns="34289" rIns="0" bIns="34289" anchor="ctr" anchorCtr="0"/>
          <a:lstStyle>
            <a:lvl1pPr algn="r">
              <a:defRPr sz="800" b="0" i="0">
                <a:solidFill>
                  <a:schemeClr val="accent3"/>
                </a:solidFill>
                <a:latin typeface="Calibri" panose="020F0502020204030204" pitchFamily="34" charset="0"/>
                <a:cs typeface="Calibri" panose="020F0502020204030204" pitchFamily="34" charset="0"/>
              </a:defRPr>
            </a:lvl1pPr>
          </a:lstStyle>
          <a:p>
            <a:pPr defTabSz="685511"/>
            <a:fld id="{E9B57936-92EF-4126-AE48-1D9D36D15E98}" type="slidenum">
              <a:rPr lang="ja-JP" altLang="en-US" smtClean="0">
                <a:solidFill>
                  <a:srgbClr val="A1A4AC"/>
                </a:solidFill>
              </a:rPr>
              <a:pPr defTabSz="685511"/>
              <a:t>‹Nº›</a:t>
            </a:fld>
            <a:endParaRPr lang="ja-JP" altLang="en-US">
              <a:solidFill>
                <a:srgbClr val="A1A4AC"/>
              </a:solidFill>
            </a:endParaRPr>
          </a:p>
        </p:txBody>
      </p:sp>
      <p:pic>
        <p:nvPicPr>
          <p:cNvPr id="9" name="Picture 8">
            <a:extLst>
              <a:ext uri="{FF2B5EF4-FFF2-40B4-BE49-F238E27FC236}">
                <a16:creationId xmlns="" xmlns:a16="http://schemas.microsoft.com/office/drawing/2014/main" id="{9882863E-CAEA-FB4F-AA30-716CDF5EAB13}"/>
              </a:ext>
            </a:extLst>
          </p:cNvPr>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a:off x="7937746" y="4604928"/>
            <a:ext cx="1008126" cy="603504"/>
          </a:xfrm>
          <a:prstGeom prst="rect">
            <a:avLst/>
          </a:prstGeom>
        </p:spPr>
      </p:pic>
      <p:sp>
        <p:nvSpPr>
          <p:cNvPr id="2" name="Footer Placeholder 1">
            <a:extLst>
              <a:ext uri="{FF2B5EF4-FFF2-40B4-BE49-F238E27FC236}">
                <a16:creationId xmlns="" xmlns:a16="http://schemas.microsoft.com/office/drawing/2014/main" id="{F83C59BB-1B84-44DE-94F6-9C74ABA411BA}"/>
              </a:ext>
            </a:extLst>
          </p:cNvPr>
          <p:cNvSpPr>
            <a:spLocks noGrp="1"/>
          </p:cNvSpPr>
          <p:nvPr>
            <p:ph type="ftr" sz="quarter" idx="3"/>
          </p:nvPr>
        </p:nvSpPr>
        <p:spPr>
          <a:xfrm>
            <a:off x="395291" y="4749564"/>
            <a:ext cx="7443787" cy="272700"/>
          </a:xfrm>
          <a:prstGeom prst="rect">
            <a:avLst/>
          </a:prstGeom>
        </p:spPr>
        <p:txBody>
          <a:bodyPr vert="horz" lIns="68555" tIns="0" rIns="68555" bIns="0" rtlCol="0" anchor="ctr"/>
          <a:lstStyle>
            <a:lvl1pPr algn="l">
              <a:defRPr sz="800">
                <a:solidFill>
                  <a:schemeClr val="tx1">
                    <a:tint val="75000"/>
                  </a:schemeClr>
                </a:solidFill>
              </a:defRPr>
            </a:lvl1pPr>
          </a:lstStyle>
          <a:p>
            <a:pPr defTabSz="685511"/>
            <a:r>
              <a:rPr lang="en-GB" altLang="ja-JP" smtClean="0">
                <a:solidFill>
                  <a:srgbClr val="000000">
                    <a:tint val="75000"/>
                  </a:srgbClr>
                </a:solidFill>
              </a:rPr>
              <a:t>Long-term efficacy and safety of Takeda’s dengue vaccine candidate (TAK-003) after 4.5 years of follow-up | TBC | Approval </a:t>
            </a:r>
            <a:r>
              <a:rPr lang="en-US" altLang="ja-JP" smtClean="0">
                <a:solidFill>
                  <a:srgbClr val="000000">
                    <a:tint val="75000"/>
                  </a:srgbClr>
                </a:solidFill>
              </a:rPr>
              <a:t>date: March 2023</a:t>
            </a:r>
            <a:endParaRPr lang="ja-JP" altLang="en-US" sz="200">
              <a:solidFill>
                <a:srgbClr val="000000">
                  <a:tint val="75000"/>
                </a:srgbClr>
              </a:solidFill>
            </a:endParaRPr>
          </a:p>
        </p:txBody>
      </p:sp>
    </p:spTree>
    <p:extLst>
      <p:ext uri="{BB962C8B-B14F-4D97-AF65-F5344CB8AC3E}">
        <p14:creationId xmlns:p14="http://schemas.microsoft.com/office/powerpoint/2010/main" val="3968213037"/>
      </p:ext>
    </p:extLst>
  </p:cSld>
  <p:clrMap bg1="lt1" tx1="dk1" bg2="lt2" tx2="dk2" accent1="accent1" accent2="accent2" accent3="accent3" accent4="accent4" accent5="accent5" accent6="accent6" hlink="hlink" folHlink="folHlink"/>
  <p:sldLayoutIdLst>
    <p:sldLayoutId id="2147484322" r:id="rId1"/>
    <p:sldLayoutId id="2147484323" r:id="rId2"/>
    <p:sldLayoutId id="2147484324" r:id="rId3"/>
    <p:sldLayoutId id="2147484325" r:id="rId4"/>
    <p:sldLayoutId id="2147484326" r:id="rId5"/>
    <p:sldLayoutId id="2147484327" r:id="rId6"/>
    <p:sldLayoutId id="2147484328" r:id="rId7"/>
    <p:sldLayoutId id="2147484329" r:id="rId8"/>
    <p:sldLayoutId id="2147484330" r:id="rId9"/>
    <p:sldLayoutId id="2147484331" r:id="rId10"/>
    <p:sldLayoutId id="2147484332" r:id="rId11"/>
    <p:sldLayoutId id="2147484333" r:id="rId12"/>
    <p:sldLayoutId id="2147484334" r:id="rId13"/>
    <p:sldLayoutId id="2147484403" r:id="rId14"/>
    <p:sldLayoutId id="2147484404" r:id="rId15"/>
    <p:sldLayoutId id="2147484408" r:id="rId16"/>
    <p:sldLayoutId id="2147484409" r:id="rId17"/>
    <p:sldLayoutId id="2147484410" r:id="rId18"/>
    <p:sldLayoutId id="2147484411" r:id="rId19"/>
    <p:sldLayoutId id="2147484412" r:id="rId20"/>
  </p:sldLayoutIdLst>
  <p:hf hdr="0" dt="0"/>
  <p:txStyles>
    <p:titleStyle>
      <a:lvl1pPr algn="l" defTabSz="685511" rtl="0" eaLnBrk="1" latinLnBrk="0" hangingPunct="1">
        <a:spcBef>
          <a:spcPct val="0"/>
        </a:spcBef>
        <a:buNone/>
        <a:defRPr kumimoji="1" sz="2100" kern="1200" baseline="0">
          <a:solidFill>
            <a:schemeClr val="tx2"/>
          </a:solidFill>
          <a:latin typeface="Calibri" pitchFamily="34" charset="0"/>
          <a:ea typeface="メイリオ" pitchFamily="50" charset="-128"/>
          <a:cs typeface="Calibri" pitchFamily="34" charset="0"/>
        </a:defRPr>
      </a:lvl1pPr>
    </p:titleStyle>
    <p:bodyStyle>
      <a:lvl1pPr marL="342749" indent="-342749" algn="l" defTabSz="685511" rtl="0" eaLnBrk="1" latinLnBrk="0" hangingPunct="1">
        <a:spcBef>
          <a:spcPct val="20000"/>
        </a:spcBef>
        <a:buClr>
          <a:srgbClr val="4C4948"/>
        </a:buClr>
        <a:buFont typeface="Arial" panose="020B0604020202020204" pitchFamily="34" charset="0"/>
        <a:buChar char="•"/>
        <a:defRPr kumimoji="1" sz="2000" kern="1200" baseline="0">
          <a:solidFill>
            <a:schemeClr val="tx2"/>
          </a:solidFill>
          <a:latin typeface="Calibri" pitchFamily="34" charset="0"/>
          <a:ea typeface="メイリオ" pitchFamily="50" charset="-128"/>
          <a:cs typeface="Calibri" pitchFamily="34" charset="0"/>
        </a:defRPr>
      </a:lvl1pPr>
      <a:lvl2pPr marL="556975" indent="-214228" algn="l" defTabSz="685511" rtl="0" eaLnBrk="1" latinLnBrk="0" hangingPunct="1">
        <a:spcBef>
          <a:spcPct val="20000"/>
        </a:spcBef>
        <a:buClr>
          <a:srgbClr val="4C4948"/>
        </a:buClr>
        <a:buFont typeface="Arial" pitchFamily="34" charset="0"/>
        <a:buChar char="–"/>
        <a:defRPr kumimoji="1" sz="1800" kern="1200">
          <a:solidFill>
            <a:schemeClr val="tx2"/>
          </a:solidFill>
          <a:latin typeface="Calibri" pitchFamily="34" charset="0"/>
          <a:ea typeface="メイリオ" pitchFamily="50" charset="-128"/>
          <a:cs typeface="Calibri" pitchFamily="34" charset="0"/>
        </a:defRPr>
      </a:lvl2pPr>
      <a:lvl3pPr marL="856892" indent="-171382" algn="l" defTabSz="685511" rtl="0" eaLnBrk="1" latinLnBrk="0" hangingPunct="1">
        <a:spcBef>
          <a:spcPct val="20000"/>
        </a:spcBef>
        <a:buClr>
          <a:srgbClr val="4C4948"/>
        </a:buClr>
        <a:buFont typeface="Arial" pitchFamily="34" charset="0"/>
        <a:buChar char="•"/>
        <a:defRPr kumimoji="1" sz="1700" kern="1200" baseline="0">
          <a:solidFill>
            <a:schemeClr val="tx2"/>
          </a:solidFill>
          <a:latin typeface="Calibri" pitchFamily="34" charset="0"/>
          <a:ea typeface="メイリオ" pitchFamily="50" charset="-128"/>
          <a:cs typeface="Calibri" pitchFamily="34" charset="0"/>
        </a:defRPr>
      </a:lvl3pPr>
      <a:lvl4pPr marL="1199640" indent="-171382" algn="l" defTabSz="685511" rtl="0" eaLnBrk="1" latinLnBrk="0" hangingPunct="1">
        <a:spcBef>
          <a:spcPct val="20000"/>
        </a:spcBef>
        <a:buClr>
          <a:srgbClr val="4C4948"/>
        </a:buClr>
        <a:buFont typeface="Arial" pitchFamily="34" charset="0"/>
        <a:buChar char="–"/>
        <a:defRPr kumimoji="1" sz="1500" kern="1200" baseline="0">
          <a:solidFill>
            <a:schemeClr val="tx2"/>
          </a:solidFill>
          <a:latin typeface="Calibri" pitchFamily="34" charset="0"/>
          <a:ea typeface="メイリオ" pitchFamily="50" charset="-128"/>
          <a:cs typeface="Calibri" pitchFamily="34" charset="0"/>
        </a:defRPr>
      </a:lvl4pPr>
      <a:lvl5pPr marL="1542389" indent="-171382" algn="l" defTabSz="685511" rtl="0" eaLnBrk="1" latinLnBrk="0" hangingPunct="1">
        <a:spcBef>
          <a:spcPct val="20000"/>
        </a:spcBef>
        <a:buClr>
          <a:srgbClr val="4C4948"/>
        </a:buClr>
        <a:buFont typeface="Arial" pitchFamily="34" charset="0"/>
        <a:buChar char="»"/>
        <a:defRPr kumimoji="1" sz="1500" kern="1200" baseline="0">
          <a:solidFill>
            <a:schemeClr val="tx2"/>
          </a:solidFill>
          <a:latin typeface="Calibri" pitchFamily="34" charset="0"/>
          <a:ea typeface="メイリオ" pitchFamily="50" charset="-128"/>
          <a:cs typeface="Calibri" pitchFamily="34" charset="0"/>
        </a:defRPr>
      </a:lvl5pPr>
      <a:lvl6pPr marL="1885151" indent="-171382" algn="l" defTabSz="685511" rtl="0" eaLnBrk="1" latinLnBrk="0" hangingPunct="1">
        <a:spcBef>
          <a:spcPct val="20000"/>
        </a:spcBef>
        <a:buFont typeface="Arial" pitchFamily="34" charset="0"/>
        <a:buChar char="•"/>
        <a:defRPr kumimoji="1" sz="1500" kern="1200">
          <a:solidFill>
            <a:schemeClr val="tx1"/>
          </a:solidFill>
          <a:latin typeface="+mn-lt"/>
          <a:ea typeface="+mn-ea"/>
          <a:cs typeface="+mn-cs"/>
        </a:defRPr>
      </a:lvl6pPr>
      <a:lvl7pPr marL="2227907" indent="-171382" algn="l" defTabSz="685511" rtl="0" eaLnBrk="1" latinLnBrk="0" hangingPunct="1">
        <a:spcBef>
          <a:spcPct val="20000"/>
        </a:spcBef>
        <a:buFont typeface="Arial" pitchFamily="34" charset="0"/>
        <a:buChar char="•"/>
        <a:defRPr kumimoji="1" sz="1500" kern="1200">
          <a:solidFill>
            <a:schemeClr val="tx1"/>
          </a:solidFill>
          <a:latin typeface="+mn-lt"/>
          <a:ea typeface="+mn-ea"/>
          <a:cs typeface="+mn-cs"/>
        </a:defRPr>
      </a:lvl7pPr>
      <a:lvl8pPr marL="2570662" indent="-171382" algn="l" defTabSz="685511" rtl="0" eaLnBrk="1" latinLnBrk="0" hangingPunct="1">
        <a:spcBef>
          <a:spcPct val="20000"/>
        </a:spcBef>
        <a:buFont typeface="Arial" pitchFamily="34" charset="0"/>
        <a:buChar char="•"/>
        <a:defRPr kumimoji="1" sz="1500" kern="1200">
          <a:solidFill>
            <a:schemeClr val="tx1"/>
          </a:solidFill>
          <a:latin typeface="+mn-lt"/>
          <a:ea typeface="+mn-ea"/>
          <a:cs typeface="+mn-cs"/>
        </a:defRPr>
      </a:lvl8pPr>
      <a:lvl9pPr marL="2913425" indent="-171382" algn="l" defTabSz="685511" rtl="0" eaLnBrk="1" latinLnBrk="0" hangingPunct="1">
        <a:spcBef>
          <a:spcPct val="20000"/>
        </a:spcBef>
        <a:buFont typeface="Arial" pitchFamily="34" charset="0"/>
        <a:buChar char="•"/>
        <a:defRPr kumimoji="1" sz="1500" kern="1200">
          <a:solidFill>
            <a:schemeClr val="tx1"/>
          </a:solidFill>
          <a:latin typeface="+mn-lt"/>
          <a:ea typeface="+mn-ea"/>
          <a:cs typeface="+mn-cs"/>
        </a:defRPr>
      </a:lvl9pPr>
    </p:bodyStyle>
    <p:otherStyle>
      <a:defPPr>
        <a:defRPr lang="ja-JP"/>
      </a:defPPr>
      <a:lvl1pPr marL="0" algn="l" defTabSz="685511" rtl="0" eaLnBrk="1" latinLnBrk="0" hangingPunct="1">
        <a:defRPr kumimoji="1" sz="1400" kern="1200">
          <a:solidFill>
            <a:schemeClr val="tx1"/>
          </a:solidFill>
          <a:latin typeface="+mn-lt"/>
          <a:ea typeface="+mn-ea"/>
          <a:cs typeface="+mn-cs"/>
        </a:defRPr>
      </a:lvl1pPr>
      <a:lvl2pPr marL="342749" algn="l" defTabSz="685511" rtl="0" eaLnBrk="1" latinLnBrk="0" hangingPunct="1">
        <a:defRPr kumimoji="1" sz="1400" kern="1200">
          <a:solidFill>
            <a:schemeClr val="tx1"/>
          </a:solidFill>
          <a:latin typeface="+mn-lt"/>
          <a:ea typeface="+mn-ea"/>
          <a:cs typeface="+mn-cs"/>
        </a:defRPr>
      </a:lvl2pPr>
      <a:lvl3pPr marL="685511" algn="l" defTabSz="685511" rtl="0" eaLnBrk="1" latinLnBrk="0" hangingPunct="1">
        <a:defRPr kumimoji="1" sz="1400" kern="1200">
          <a:solidFill>
            <a:schemeClr val="tx1"/>
          </a:solidFill>
          <a:latin typeface="+mn-lt"/>
          <a:ea typeface="+mn-ea"/>
          <a:cs typeface="+mn-cs"/>
        </a:defRPr>
      </a:lvl3pPr>
      <a:lvl4pPr marL="1028267" algn="l" defTabSz="685511" rtl="0" eaLnBrk="1" latinLnBrk="0" hangingPunct="1">
        <a:defRPr kumimoji="1" sz="1400" kern="1200">
          <a:solidFill>
            <a:schemeClr val="tx1"/>
          </a:solidFill>
          <a:latin typeface="+mn-lt"/>
          <a:ea typeface="+mn-ea"/>
          <a:cs typeface="+mn-cs"/>
        </a:defRPr>
      </a:lvl4pPr>
      <a:lvl5pPr marL="1371022" algn="l" defTabSz="685511" rtl="0" eaLnBrk="1" latinLnBrk="0" hangingPunct="1">
        <a:defRPr kumimoji="1" sz="1400" kern="1200">
          <a:solidFill>
            <a:schemeClr val="tx1"/>
          </a:solidFill>
          <a:latin typeface="+mn-lt"/>
          <a:ea typeface="+mn-ea"/>
          <a:cs typeface="+mn-cs"/>
        </a:defRPr>
      </a:lvl5pPr>
      <a:lvl6pPr marL="1713785" algn="l" defTabSz="685511" rtl="0" eaLnBrk="1" latinLnBrk="0" hangingPunct="1">
        <a:defRPr kumimoji="1" sz="1400" kern="1200">
          <a:solidFill>
            <a:schemeClr val="tx1"/>
          </a:solidFill>
          <a:latin typeface="+mn-lt"/>
          <a:ea typeface="+mn-ea"/>
          <a:cs typeface="+mn-cs"/>
        </a:defRPr>
      </a:lvl6pPr>
      <a:lvl7pPr marL="2056532" algn="l" defTabSz="685511" rtl="0" eaLnBrk="1" latinLnBrk="0" hangingPunct="1">
        <a:defRPr kumimoji="1" sz="1400" kern="1200">
          <a:solidFill>
            <a:schemeClr val="tx1"/>
          </a:solidFill>
          <a:latin typeface="+mn-lt"/>
          <a:ea typeface="+mn-ea"/>
          <a:cs typeface="+mn-cs"/>
        </a:defRPr>
      </a:lvl7pPr>
      <a:lvl8pPr marL="2399280" algn="l" defTabSz="685511" rtl="0" eaLnBrk="1" latinLnBrk="0" hangingPunct="1">
        <a:defRPr kumimoji="1" sz="1400" kern="1200">
          <a:solidFill>
            <a:schemeClr val="tx1"/>
          </a:solidFill>
          <a:latin typeface="+mn-lt"/>
          <a:ea typeface="+mn-ea"/>
          <a:cs typeface="+mn-cs"/>
        </a:defRPr>
      </a:lvl8pPr>
      <a:lvl9pPr marL="2742029" algn="l" defTabSz="685511" rtl="0" eaLnBrk="1" latinLnBrk="0" hangingPunct="1">
        <a:defRPr kumimoji="1" sz="1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527">
          <p15:clr>
            <a:srgbClr val="F26B43"/>
          </p15:clr>
        </p15:guide>
        <p15:guide id="2" pos="325">
          <p15:clr>
            <a:srgbClr val="F26B43"/>
          </p15:clr>
        </p15:guide>
        <p15:guide id="3" orient="horz" pos="4020">
          <p15:clr>
            <a:srgbClr val="F26B43"/>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xmlns="" id="{F4B9C617-1E34-4D15-B429-183EDBD8D139}"/>
              </a:ext>
            </a:extLst>
          </p:cNvPr>
          <p:cNvGraphicFramePr>
            <a:graphicFrameLocks noChangeAspect="1"/>
          </p:cNvGraphicFramePr>
          <p:nvPr>
            <p:custDataLst>
              <p:tags r:id="rId16"/>
            </p:custDataLst>
            <p:extLst>
              <p:ext uri="{D42A27DB-BD31-4B8C-83A1-F6EECF244321}">
                <p14:modId xmlns:p14="http://schemas.microsoft.com/office/powerpoint/2010/main" val="1502689862"/>
              </p:ext>
            </p:extLst>
          </p:nvPr>
        </p:nvGraphicFramePr>
        <p:xfrm>
          <a:off x="1590" y="1193"/>
          <a:ext cx="1588" cy="1191"/>
        </p:xfrm>
        <a:graphic>
          <a:graphicData uri="http://schemas.openxmlformats.org/presentationml/2006/ole">
            <mc:AlternateContent xmlns:mc="http://schemas.openxmlformats.org/markup-compatibility/2006">
              <mc:Choice xmlns:v="urn:schemas-microsoft-com:vml" Requires="v">
                <p:oleObj spid="_x0000_s20547" name="Diapositiva de think-cell" r:id="rId18" imgW="360" imgH="360" progId="">
                  <p:embed/>
                </p:oleObj>
              </mc:Choice>
              <mc:Fallback>
                <p:oleObj name="Diapositiva de think-cell" r:id="rId18" imgW="360" imgH="360" progId="">
                  <p:embed/>
                  <p:pic>
                    <p:nvPicPr>
                      <p:cNvPr id="0" name=""/>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90" y="1193"/>
                        <a:ext cx="1588" cy="119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ángulo 1" hidden="1">
            <a:extLst>
              <a:ext uri="{FF2B5EF4-FFF2-40B4-BE49-F238E27FC236}">
                <a16:creationId xmlns:a16="http://schemas.microsoft.com/office/drawing/2014/main" xmlns="" id="{F89A844B-EE1E-4F09-874E-866C486F9B35}"/>
              </a:ext>
            </a:extLst>
          </p:cNvPr>
          <p:cNvSpPr/>
          <p:nvPr>
            <p:custDataLst>
              <p:tags r:id="rId17"/>
            </p:custDataLst>
          </p:nvPr>
        </p:nvSpPr>
        <p:spPr>
          <a:xfrm>
            <a:off x="1" y="72"/>
            <a:ext cx="158750"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895763"/>
            <a:endParaRPr lang="es-ES" sz="4400">
              <a:solidFill>
                <a:prstClr val="white"/>
              </a:solidFill>
              <a:sym typeface="Calibri" panose="020F0502020204030204" pitchFamily="34" charset="0"/>
            </a:endParaRPr>
          </a:p>
        </p:txBody>
      </p:sp>
      <p:sp>
        <p:nvSpPr>
          <p:cNvPr id="9218" name="1 Marcador de título"/>
          <p:cNvSpPr>
            <a:spLocks noGrp="1"/>
          </p:cNvSpPr>
          <p:nvPr>
            <p:ph type="title"/>
          </p:nvPr>
        </p:nvSpPr>
        <p:spPr bwMode="auto">
          <a:xfrm>
            <a:off x="457200" y="205979"/>
            <a:ext cx="8229600"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91" tIns="44795" rIns="89591" bIns="44795" numCol="1" anchor="ctr" anchorCtr="0" compatLnSpc="1">
            <a:prstTxWarp prst="textNoShape">
              <a:avLst/>
            </a:prstTxWarp>
          </a:bodyPr>
          <a:lstStyle/>
          <a:p>
            <a:pPr lvl="0"/>
            <a:r>
              <a:rPr lang="es-ES"/>
              <a:t>Haga clic para modificar el estilo de título del patrón</a:t>
            </a:r>
          </a:p>
        </p:txBody>
      </p:sp>
      <p:sp>
        <p:nvSpPr>
          <p:cNvPr id="9219" name="2 Marcador de texto"/>
          <p:cNvSpPr>
            <a:spLocks noGrp="1"/>
          </p:cNvSpPr>
          <p:nvPr>
            <p:ph type="body" idx="1"/>
          </p:nvPr>
        </p:nvSpPr>
        <p:spPr bwMode="auto">
          <a:xfrm>
            <a:off x="457200" y="1200157"/>
            <a:ext cx="8229600" cy="33944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91" tIns="44795" rIns="89591" bIns="44795" numCol="1" anchor="t" anchorCtr="0" compatLnSpc="1">
            <a:prstTxWarp prst="textNoShape">
              <a:avLst/>
            </a:prstTxWarp>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4 Marcador de pie de página"/>
          <p:cNvSpPr>
            <a:spLocks noGrp="1"/>
          </p:cNvSpPr>
          <p:nvPr>
            <p:ph type="ftr" sz="quarter" idx="3"/>
          </p:nvPr>
        </p:nvSpPr>
        <p:spPr>
          <a:xfrm>
            <a:off x="60263" y="4854462"/>
            <a:ext cx="5015895" cy="273844"/>
          </a:xfrm>
          <a:prstGeom prst="rect">
            <a:avLst/>
          </a:prstGeom>
        </p:spPr>
        <p:txBody>
          <a:bodyPr vert="horz" lIns="89591" tIns="44795" rIns="89591" bIns="44795" rtlCol="0" anchor="ctr"/>
          <a:lstStyle>
            <a:lvl1pPr algn="ctr" fontAlgn="auto">
              <a:spcBef>
                <a:spcPts val="0"/>
              </a:spcBef>
              <a:spcAft>
                <a:spcPts val="0"/>
              </a:spcAft>
              <a:defRPr sz="1200" b="0">
                <a:solidFill>
                  <a:prstClr val="black">
                    <a:tint val="75000"/>
                  </a:prstClr>
                </a:solidFill>
                <a:latin typeface="+mn-lt"/>
              </a:defRPr>
            </a:lvl1pPr>
          </a:lstStyle>
          <a:p>
            <a:pPr defTabSz="895763"/>
            <a:r>
              <a:rPr lang="es-AR" smtClean="0"/>
              <a:t>Presentación dirigida a profesionales de la salud - </a:t>
            </a:r>
            <a:r>
              <a:rPr lang="en-GB" smtClean="0"/>
              <a:t>SPAR.OTHE.20.04.0086 - 2.1</a:t>
            </a:r>
            <a:endParaRPr lang="es-AR"/>
          </a:p>
        </p:txBody>
      </p:sp>
      <p:sp>
        <p:nvSpPr>
          <p:cNvPr id="6" name="5 Marcador de número de diapositiva"/>
          <p:cNvSpPr>
            <a:spLocks noGrp="1"/>
          </p:cNvSpPr>
          <p:nvPr>
            <p:ph type="sldNum" sz="quarter" idx="4"/>
          </p:nvPr>
        </p:nvSpPr>
        <p:spPr>
          <a:xfrm>
            <a:off x="6553200" y="4767357"/>
            <a:ext cx="2133600" cy="273844"/>
          </a:xfrm>
          <a:prstGeom prst="rect">
            <a:avLst/>
          </a:prstGeom>
        </p:spPr>
        <p:txBody>
          <a:bodyPr vert="horz" lIns="89591" tIns="44795" rIns="89591" bIns="44795" rtlCol="0" anchor="ctr"/>
          <a:lstStyle>
            <a:lvl1pPr algn="r" fontAlgn="auto">
              <a:spcBef>
                <a:spcPts val="0"/>
              </a:spcBef>
              <a:spcAft>
                <a:spcPts val="0"/>
              </a:spcAft>
              <a:defRPr sz="1200" b="0">
                <a:solidFill>
                  <a:prstClr val="black">
                    <a:tint val="75000"/>
                  </a:prstClr>
                </a:solidFill>
                <a:latin typeface="+mn-lt"/>
              </a:defRPr>
            </a:lvl1pPr>
          </a:lstStyle>
          <a:p>
            <a:pPr defTabSz="895763">
              <a:defRPr/>
            </a:pPr>
            <a:fld id="{B9218D0A-897B-4B01-ADEC-21C8C3FD6E8C}" type="slidenum">
              <a:rPr lang="es-ES" smtClean="0"/>
              <a:pPr defTabSz="895763">
                <a:defRPr/>
              </a:pPr>
              <a:t>‹Nº›</a:t>
            </a:fld>
            <a:endParaRPr lang="es-ES"/>
          </a:p>
        </p:txBody>
      </p:sp>
    </p:spTree>
    <p:extLst>
      <p:ext uri="{BB962C8B-B14F-4D97-AF65-F5344CB8AC3E}">
        <p14:creationId xmlns:p14="http://schemas.microsoft.com/office/powerpoint/2010/main" val="129246430"/>
      </p:ext>
    </p:extLst>
  </p:cSld>
  <p:clrMap bg1="lt1" tx1="dk1" bg2="lt2" tx2="dk2" accent1="accent1" accent2="accent2" accent3="accent3" accent4="accent4" accent5="accent5" accent6="accent6" hlink="hlink" folHlink="folHlink"/>
  <p:sldLayoutIdLst>
    <p:sldLayoutId id="2147484336" r:id="rId1"/>
    <p:sldLayoutId id="2147484337" r:id="rId2"/>
    <p:sldLayoutId id="2147484338" r:id="rId3"/>
    <p:sldLayoutId id="2147484339" r:id="rId4"/>
    <p:sldLayoutId id="2147484340" r:id="rId5"/>
    <p:sldLayoutId id="2147484341" r:id="rId6"/>
    <p:sldLayoutId id="2147484342" r:id="rId7"/>
    <p:sldLayoutId id="2147484343" r:id="rId8"/>
    <p:sldLayoutId id="2147484344" r:id="rId9"/>
    <p:sldLayoutId id="2147484345" r:id="rId10"/>
    <p:sldLayoutId id="2147484346" r:id="rId11"/>
    <p:sldLayoutId id="2147484347" r:id="rId12"/>
    <p:sldLayoutId id="2147484348" r:id="rId13"/>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47904" algn="ctr" rtl="0" fontAlgn="base">
        <a:spcBef>
          <a:spcPct val="0"/>
        </a:spcBef>
        <a:spcAft>
          <a:spcPct val="0"/>
        </a:spcAft>
        <a:defRPr sz="4400">
          <a:solidFill>
            <a:schemeClr val="tx1"/>
          </a:solidFill>
          <a:latin typeface="Calibri" pitchFamily="34" charset="0"/>
        </a:defRPr>
      </a:lvl6pPr>
      <a:lvl7pPr marL="895763" algn="ctr" rtl="0" fontAlgn="base">
        <a:spcBef>
          <a:spcPct val="0"/>
        </a:spcBef>
        <a:spcAft>
          <a:spcPct val="0"/>
        </a:spcAft>
        <a:defRPr sz="4400">
          <a:solidFill>
            <a:schemeClr val="tx1"/>
          </a:solidFill>
          <a:latin typeface="Calibri" pitchFamily="34" charset="0"/>
        </a:defRPr>
      </a:lvl7pPr>
      <a:lvl8pPr marL="1343687" algn="ctr" rtl="0" fontAlgn="base">
        <a:spcBef>
          <a:spcPct val="0"/>
        </a:spcBef>
        <a:spcAft>
          <a:spcPct val="0"/>
        </a:spcAft>
        <a:defRPr sz="4400">
          <a:solidFill>
            <a:schemeClr val="tx1"/>
          </a:solidFill>
          <a:latin typeface="Calibri" pitchFamily="34" charset="0"/>
        </a:defRPr>
      </a:lvl8pPr>
      <a:lvl9pPr marL="1791534" algn="ctr" rtl="0" fontAlgn="base">
        <a:spcBef>
          <a:spcPct val="0"/>
        </a:spcBef>
        <a:spcAft>
          <a:spcPct val="0"/>
        </a:spcAft>
        <a:defRPr sz="4400">
          <a:solidFill>
            <a:schemeClr val="tx1"/>
          </a:solidFill>
          <a:latin typeface="Calibri" pitchFamily="34" charset="0"/>
        </a:defRPr>
      </a:lvl9pPr>
    </p:titleStyle>
    <p:bodyStyle>
      <a:lvl1pPr marL="335873" indent="-335873"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27834" indent="-279936"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19717" indent="-223919"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567622" indent="-223919"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15447" indent="-223919"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463376" indent="-223919" algn="l" defTabSz="8957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11295" indent="-223919" algn="l" defTabSz="8957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359139" indent="-223919" algn="l" defTabSz="8957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07040" indent="-223919" algn="l" defTabSz="8957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ES"/>
      </a:defPPr>
      <a:lvl1pPr marL="0" algn="l" defTabSz="895763" rtl="0" eaLnBrk="1" latinLnBrk="0" hangingPunct="1">
        <a:defRPr sz="1800" kern="1200">
          <a:solidFill>
            <a:schemeClr val="tx1"/>
          </a:solidFill>
          <a:latin typeface="+mn-lt"/>
          <a:ea typeface="+mn-ea"/>
          <a:cs typeface="+mn-cs"/>
        </a:defRPr>
      </a:lvl1pPr>
      <a:lvl2pPr marL="447904" algn="l" defTabSz="895763" rtl="0" eaLnBrk="1" latinLnBrk="0" hangingPunct="1">
        <a:defRPr sz="1800" kern="1200">
          <a:solidFill>
            <a:schemeClr val="tx1"/>
          </a:solidFill>
          <a:latin typeface="+mn-lt"/>
          <a:ea typeface="+mn-ea"/>
          <a:cs typeface="+mn-cs"/>
        </a:defRPr>
      </a:lvl2pPr>
      <a:lvl3pPr marL="895763" algn="l" defTabSz="895763" rtl="0" eaLnBrk="1" latinLnBrk="0" hangingPunct="1">
        <a:defRPr sz="1800" kern="1200">
          <a:solidFill>
            <a:schemeClr val="tx1"/>
          </a:solidFill>
          <a:latin typeface="+mn-lt"/>
          <a:ea typeface="+mn-ea"/>
          <a:cs typeface="+mn-cs"/>
        </a:defRPr>
      </a:lvl3pPr>
      <a:lvl4pPr marL="1343687" algn="l" defTabSz="895763" rtl="0" eaLnBrk="1" latinLnBrk="0" hangingPunct="1">
        <a:defRPr sz="1800" kern="1200">
          <a:solidFill>
            <a:schemeClr val="tx1"/>
          </a:solidFill>
          <a:latin typeface="+mn-lt"/>
          <a:ea typeface="+mn-ea"/>
          <a:cs typeface="+mn-cs"/>
        </a:defRPr>
      </a:lvl4pPr>
      <a:lvl5pPr marL="1791534" algn="l" defTabSz="895763" rtl="0" eaLnBrk="1" latinLnBrk="0" hangingPunct="1">
        <a:defRPr sz="1800" kern="1200">
          <a:solidFill>
            <a:schemeClr val="tx1"/>
          </a:solidFill>
          <a:latin typeface="+mn-lt"/>
          <a:ea typeface="+mn-ea"/>
          <a:cs typeface="+mn-cs"/>
        </a:defRPr>
      </a:lvl5pPr>
      <a:lvl6pPr marL="2239429" algn="l" defTabSz="895763" rtl="0" eaLnBrk="1" latinLnBrk="0" hangingPunct="1">
        <a:defRPr sz="1800" kern="1200">
          <a:solidFill>
            <a:schemeClr val="tx1"/>
          </a:solidFill>
          <a:latin typeface="+mn-lt"/>
          <a:ea typeface="+mn-ea"/>
          <a:cs typeface="+mn-cs"/>
        </a:defRPr>
      </a:lvl6pPr>
      <a:lvl7pPr marL="2687326" algn="l" defTabSz="895763" rtl="0" eaLnBrk="1" latinLnBrk="0" hangingPunct="1">
        <a:defRPr sz="1800" kern="1200">
          <a:solidFill>
            <a:schemeClr val="tx1"/>
          </a:solidFill>
          <a:latin typeface="+mn-lt"/>
          <a:ea typeface="+mn-ea"/>
          <a:cs typeface="+mn-cs"/>
        </a:defRPr>
      </a:lvl7pPr>
      <a:lvl8pPr marL="3135229" algn="l" defTabSz="895763" rtl="0" eaLnBrk="1" latinLnBrk="0" hangingPunct="1">
        <a:defRPr sz="1800" kern="1200">
          <a:solidFill>
            <a:schemeClr val="tx1"/>
          </a:solidFill>
          <a:latin typeface="+mn-lt"/>
          <a:ea typeface="+mn-ea"/>
          <a:cs typeface="+mn-cs"/>
        </a:defRPr>
      </a:lvl8pPr>
      <a:lvl9pPr marL="3583064" algn="l" defTabSz="8957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to 2" hidden="1">
            <a:extLst>
              <a:ext uri="{FF2B5EF4-FFF2-40B4-BE49-F238E27FC236}">
                <a16:creationId xmlns="" xmlns:a16="http://schemas.microsoft.com/office/drawing/2014/main" id="{F4B9C617-1E34-4D15-B429-183EDBD8D139}"/>
              </a:ext>
            </a:extLst>
          </p:cNvPr>
          <p:cNvGraphicFramePr>
            <a:graphicFrameLocks noChangeAspect="1"/>
          </p:cNvGraphicFramePr>
          <p:nvPr>
            <p:custDataLst>
              <p:tags r:id="rId15"/>
            </p:custDataLst>
            <p:extLst>
              <p:ext uri="{D42A27DB-BD31-4B8C-83A1-F6EECF244321}">
                <p14:modId xmlns:p14="http://schemas.microsoft.com/office/powerpoint/2010/main" val="226939058"/>
              </p:ext>
            </p:extLst>
          </p:nvPr>
        </p:nvGraphicFramePr>
        <p:xfrm>
          <a:off x="1588" y="1193"/>
          <a:ext cx="1588" cy="1191"/>
        </p:xfrm>
        <a:graphic>
          <a:graphicData uri="http://schemas.openxmlformats.org/presentationml/2006/ole">
            <mc:AlternateContent xmlns:mc="http://schemas.openxmlformats.org/markup-compatibility/2006">
              <mc:Choice xmlns:v="urn:schemas-microsoft-com:vml" Requires="v">
                <p:oleObj spid="_x0000_s14433" name="Diapositiva de think-cell" r:id="rId17" imgW="360" imgH="360" progId="">
                  <p:embed/>
                </p:oleObj>
              </mc:Choice>
              <mc:Fallback>
                <p:oleObj name="Diapositiva de think-cell" r:id="rId17" imgW="360" imgH="360" progId="">
                  <p:embed/>
                  <p:pic>
                    <p:nvPicPr>
                      <p:cNvPr id="3" name="Objeto 2" hidden="1">
                        <a:extLst>
                          <a:ext uri="{FF2B5EF4-FFF2-40B4-BE49-F238E27FC236}">
                            <a16:creationId xmlns="" xmlns:a16="http://schemas.microsoft.com/office/drawing/2014/main" id="{F4B9C617-1E34-4D15-B429-183EDBD8D139}"/>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8" y="1193"/>
                        <a:ext cx="1588" cy="119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ángulo 1" hidden="1">
            <a:extLst>
              <a:ext uri="{FF2B5EF4-FFF2-40B4-BE49-F238E27FC236}">
                <a16:creationId xmlns="" xmlns:a16="http://schemas.microsoft.com/office/drawing/2014/main" id="{F89A844B-EE1E-4F09-874E-866C486F9B35}"/>
              </a:ext>
            </a:extLst>
          </p:cNvPr>
          <p:cNvSpPr/>
          <p:nvPr>
            <p:custDataLst>
              <p:tags r:id="rId16"/>
            </p:custDataLst>
          </p:nvPr>
        </p:nvSpPr>
        <p:spPr>
          <a:xfrm>
            <a:off x="0" y="62"/>
            <a:ext cx="158750"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897136"/>
            <a:endParaRPr lang="es-ES" sz="4400">
              <a:solidFill>
                <a:prstClr val="white"/>
              </a:solidFill>
              <a:sym typeface="Calibri" panose="020F0502020204030204" pitchFamily="34" charset="0"/>
            </a:endParaRPr>
          </a:p>
        </p:txBody>
      </p:sp>
      <p:sp>
        <p:nvSpPr>
          <p:cNvPr id="9218" name="1 Marcador de título"/>
          <p:cNvSpPr>
            <a:spLocks noGrp="1"/>
          </p:cNvSpPr>
          <p:nvPr>
            <p:ph type="title"/>
          </p:nvPr>
        </p:nvSpPr>
        <p:spPr bwMode="auto">
          <a:xfrm>
            <a:off x="457200" y="205979"/>
            <a:ext cx="8229600"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713" tIns="44856" rIns="89713" bIns="44856" numCol="1" anchor="ctr" anchorCtr="0" compatLnSpc="1">
            <a:prstTxWarp prst="textNoShape">
              <a:avLst/>
            </a:prstTxWarp>
          </a:bodyPr>
          <a:lstStyle/>
          <a:p>
            <a:pPr lvl="0"/>
            <a:r>
              <a:rPr lang="es-ES"/>
              <a:t>Haga clic para modificar el estilo de título del patrón</a:t>
            </a:r>
          </a:p>
        </p:txBody>
      </p:sp>
      <p:sp>
        <p:nvSpPr>
          <p:cNvPr id="9219" name="2 Marcador de texto"/>
          <p:cNvSpPr>
            <a:spLocks noGrp="1"/>
          </p:cNvSpPr>
          <p:nvPr>
            <p:ph type="body" idx="1"/>
          </p:nvPr>
        </p:nvSpPr>
        <p:spPr bwMode="auto">
          <a:xfrm>
            <a:off x="457200" y="1200157"/>
            <a:ext cx="8229600" cy="33944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713" tIns="44856" rIns="89713" bIns="44856" numCol="1" anchor="t" anchorCtr="0" compatLnSpc="1">
            <a:prstTxWarp prst="textNoShape">
              <a:avLst/>
            </a:prstTxWarp>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4 Marcador de pie de página"/>
          <p:cNvSpPr>
            <a:spLocks noGrp="1"/>
          </p:cNvSpPr>
          <p:nvPr>
            <p:ph type="ftr" sz="quarter" idx="3"/>
          </p:nvPr>
        </p:nvSpPr>
        <p:spPr>
          <a:xfrm>
            <a:off x="60263" y="4854462"/>
            <a:ext cx="5015895" cy="273844"/>
          </a:xfrm>
          <a:prstGeom prst="rect">
            <a:avLst/>
          </a:prstGeom>
        </p:spPr>
        <p:txBody>
          <a:bodyPr vert="horz" lIns="89713" tIns="44856" rIns="89713" bIns="44856" rtlCol="0" anchor="ctr"/>
          <a:lstStyle>
            <a:lvl1pPr algn="ctr" fontAlgn="auto">
              <a:spcBef>
                <a:spcPts val="0"/>
              </a:spcBef>
              <a:spcAft>
                <a:spcPts val="0"/>
              </a:spcAft>
              <a:defRPr sz="1200" b="0">
                <a:solidFill>
                  <a:prstClr val="black">
                    <a:tint val="75000"/>
                  </a:prstClr>
                </a:solidFill>
                <a:latin typeface="+mn-lt"/>
              </a:defRPr>
            </a:lvl1pPr>
          </a:lstStyle>
          <a:p>
            <a:pPr defTabSz="897136"/>
            <a:r>
              <a:rPr lang="es-AR"/>
              <a:t>Presentación dirigida a profesionales de la salud - </a:t>
            </a:r>
            <a:r>
              <a:rPr lang="en-GB"/>
              <a:t>SPAR.OTHE.20.04.0086 - 2.1</a:t>
            </a:r>
            <a:endParaRPr lang="es-AR"/>
          </a:p>
        </p:txBody>
      </p:sp>
      <p:sp>
        <p:nvSpPr>
          <p:cNvPr id="6" name="5 Marcador de número de diapositiva"/>
          <p:cNvSpPr>
            <a:spLocks noGrp="1"/>
          </p:cNvSpPr>
          <p:nvPr>
            <p:ph type="sldNum" sz="quarter" idx="4"/>
          </p:nvPr>
        </p:nvSpPr>
        <p:spPr>
          <a:xfrm>
            <a:off x="6553200" y="4767357"/>
            <a:ext cx="2133600" cy="273844"/>
          </a:xfrm>
          <a:prstGeom prst="rect">
            <a:avLst/>
          </a:prstGeom>
        </p:spPr>
        <p:txBody>
          <a:bodyPr vert="horz" lIns="89713" tIns="44856" rIns="89713" bIns="44856" rtlCol="0" anchor="ctr"/>
          <a:lstStyle>
            <a:lvl1pPr algn="r" fontAlgn="auto">
              <a:spcBef>
                <a:spcPts val="0"/>
              </a:spcBef>
              <a:spcAft>
                <a:spcPts val="0"/>
              </a:spcAft>
              <a:defRPr sz="1200" b="0">
                <a:solidFill>
                  <a:prstClr val="black">
                    <a:tint val="75000"/>
                  </a:prstClr>
                </a:solidFill>
                <a:latin typeface="+mn-lt"/>
              </a:defRPr>
            </a:lvl1pPr>
          </a:lstStyle>
          <a:p>
            <a:pPr defTabSz="897136">
              <a:defRPr/>
            </a:pPr>
            <a:fld id="{B9218D0A-897B-4B01-ADEC-21C8C3FD6E8C}" type="slidenum">
              <a:rPr lang="es-ES"/>
              <a:pPr defTabSz="897136">
                <a:defRPr/>
              </a:pPr>
              <a:t>‹Nº›</a:t>
            </a:fld>
            <a:endParaRPr lang="es-ES"/>
          </a:p>
        </p:txBody>
      </p:sp>
    </p:spTree>
    <p:extLst>
      <p:ext uri="{BB962C8B-B14F-4D97-AF65-F5344CB8AC3E}">
        <p14:creationId xmlns:p14="http://schemas.microsoft.com/office/powerpoint/2010/main" val="1890568418"/>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0" r:id="rId10"/>
    <p:sldLayoutId id="2147483861" r:id="rId11"/>
    <p:sldLayoutId id="2147483862" r:id="rId12"/>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48575" algn="ctr" rtl="0" fontAlgn="base">
        <a:spcBef>
          <a:spcPct val="0"/>
        </a:spcBef>
        <a:spcAft>
          <a:spcPct val="0"/>
        </a:spcAft>
        <a:defRPr sz="4400">
          <a:solidFill>
            <a:schemeClr val="tx1"/>
          </a:solidFill>
          <a:latin typeface="Calibri" pitchFamily="34" charset="0"/>
        </a:defRPr>
      </a:lvl6pPr>
      <a:lvl7pPr marL="897136" algn="ctr" rtl="0" fontAlgn="base">
        <a:spcBef>
          <a:spcPct val="0"/>
        </a:spcBef>
        <a:spcAft>
          <a:spcPct val="0"/>
        </a:spcAft>
        <a:defRPr sz="4400">
          <a:solidFill>
            <a:schemeClr val="tx1"/>
          </a:solidFill>
          <a:latin typeface="Calibri" pitchFamily="34" charset="0"/>
        </a:defRPr>
      </a:lvl7pPr>
      <a:lvl8pPr marL="1345700" algn="ctr" rtl="0" fontAlgn="base">
        <a:spcBef>
          <a:spcPct val="0"/>
        </a:spcBef>
        <a:spcAft>
          <a:spcPct val="0"/>
        </a:spcAft>
        <a:defRPr sz="4400">
          <a:solidFill>
            <a:schemeClr val="tx1"/>
          </a:solidFill>
          <a:latin typeface="Calibri" pitchFamily="34" charset="0"/>
        </a:defRPr>
      </a:lvl8pPr>
      <a:lvl9pPr marL="1794279" algn="ctr" rtl="0" fontAlgn="base">
        <a:spcBef>
          <a:spcPct val="0"/>
        </a:spcBef>
        <a:spcAft>
          <a:spcPct val="0"/>
        </a:spcAft>
        <a:defRPr sz="4400">
          <a:solidFill>
            <a:schemeClr val="tx1"/>
          </a:solidFill>
          <a:latin typeface="Calibri" pitchFamily="34" charset="0"/>
        </a:defRPr>
      </a:lvl9pPr>
    </p:titleStyle>
    <p:bodyStyle>
      <a:lvl1pPr marL="336421" indent="-336421"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28932" indent="-280363"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21425" indent="-224283"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570001" indent="-224283"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18558" indent="-224283"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467127" indent="-224283" algn="l" defTabSz="89713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15697" indent="-224283" algn="l" defTabSz="89713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364263" indent="-224283" algn="l" defTabSz="89713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12835" indent="-224283" algn="l" defTabSz="89713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ES"/>
      </a:defPPr>
      <a:lvl1pPr marL="0" algn="l" defTabSz="897136" rtl="0" eaLnBrk="1" latinLnBrk="0" hangingPunct="1">
        <a:defRPr sz="1800" kern="1200">
          <a:solidFill>
            <a:schemeClr val="tx1"/>
          </a:solidFill>
          <a:latin typeface="+mn-lt"/>
          <a:ea typeface="+mn-ea"/>
          <a:cs typeface="+mn-cs"/>
        </a:defRPr>
      </a:lvl1pPr>
      <a:lvl2pPr marL="448575" algn="l" defTabSz="897136" rtl="0" eaLnBrk="1" latinLnBrk="0" hangingPunct="1">
        <a:defRPr sz="1800" kern="1200">
          <a:solidFill>
            <a:schemeClr val="tx1"/>
          </a:solidFill>
          <a:latin typeface="+mn-lt"/>
          <a:ea typeface="+mn-ea"/>
          <a:cs typeface="+mn-cs"/>
        </a:defRPr>
      </a:lvl2pPr>
      <a:lvl3pPr marL="897136" algn="l" defTabSz="897136" rtl="0" eaLnBrk="1" latinLnBrk="0" hangingPunct="1">
        <a:defRPr sz="1800" kern="1200">
          <a:solidFill>
            <a:schemeClr val="tx1"/>
          </a:solidFill>
          <a:latin typeface="+mn-lt"/>
          <a:ea typeface="+mn-ea"/>
          <a:cs typeface="+mn-cs"/>
        </a:defRPr>
      </a:lvl3pPr>
      <a:lvl4pPr marL="1345700" algn="l" defTabSz="897136" rtl="0" eaLnBrk="1" latinLnBrk="0" hangingPunct="1">
        <a:defRPr sz="1800" kern="1200">
          <a:solidFill>
            <a:schemeClr val="tx1"/>
          </a:solidFill>
          <a:latin typeface="+mn-lt"/>
          <a:ea typeface="+mn-ea"/>
          <a:cs typeface="+mn-cs"/>
        </a:defRPr>
      </a:lvl4pPr>
      <a:lvl5pPr marL="1794279" algn="l" defTabSz="897136" rtl="0" eaLnBrk="1" latinLnBrk="0" hangingPunct="1">
        <a:defRPr sz="1800" kern="1200">
          <a:solidFill>
            <a:schemeClr val="tx1"/>
          </a:solidFill>
          <a:latin typeface="+mn-lt"/>
          <a:ea typeface="+mn-ea"/>
          <a:cs typeface="+mn-cs"/>
        </a:defRPr>
      </a:lvl5pPr>
      <a:lvl6pPr marL="2242845" algn="l" defTabSz="897136" rtl="0" eaLnBrk="1" latinLnBrk="0" hangingPunct="1">
        <a:defRPr sz="1800" kern="1200">
          <a:solidFill>
            <a:schemeClr val="tx1"/>
          </a:solidFill>
          <a:latin typeface="+mn-lt"/>
          <a:ea typeface="+mn-ea"/>
          <a:cs typeface="+mn-cs"/>
        </a:defRPr>
      </a:lvl6pPr>
      <a:lvl7pPr marL="2691413" algn="l" defTabSz="897136" rtl="0" eaLnBrk="1" latinLnBrk="0" hangingPunct="1">
        <a:defRPr sz="1800" kern="1200">
          <a:solidFill>
            <a:schemeClr val="tx1"/>
          </a:solidFill>
          <a:latin typeface="+mn-lt"/>
          <a:ea typeface="+mn-ea"/>
          <a:cs typeface="+mn-cs"/>
        </a:defRPr>
      </a:lvl7pPr>
      <a:lvl8pPr marL="3139987" algn="l" defTabSz="897136" rtl="0" eaLnBrk="1" latinLnBrk="0" hangingPunct="1">
        <a:defRPr sz="1800" kern="1200">
          <a:solidFill>
            <a:schemeClr val="tx1"/>
          </a:solidFill>
          <a:latin typeface="+mn-lt"/>
          <a:ea typeface="+mn-ea"/>
          <a:cs typeface="+mn-cs"/>
        </a:defRPr>
      </a:lvl8pPr>
      <a:lvl9pPr marL="3588554" algn="l" defTabSz="897136"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1 Marcador de título"/>
          <p:cNvSpPr>
            <a:spLocks noGrp="1"/>
          </p:cNvSpPr>
          <p:nvPr>
            <p:ph type="title"/>
          </p:nvPr>
        </p:nvSpPr>
        <p:spPr bwMode="auto">
          <a:xfrm>
            <a:off x="457200" y="205979"/>
            <a:ext cx="8229600" cy="857250"/>
          </a:xfrm>
          <a:prstGeom prst="rect">
            <a:avLst/>
          </a:prstGeom>
          <a:noFill/>
          <a:ln w="9525">
            <a:noFill/>
            <a:miter lim="800000"/>
            <a:headEnd/>
            <a:tailEnd/>
          </a:ln>
        </p:spPr>
        <p:txBody>
          <a:bodyPr vert="horz" wrap="square" lIns="91318" tIns="45659" rIns="91318" bIns="45659" numCol="1" anchor="ctr" anchorCtr="0" compatLnSpc="1">
            <a:prstTxWarp prst="textNoShape">
              <a:avLst/>
            </a:prstTxWarp>
          </a:bodyPr>
          <a:lstStyle/>
          <a:p>
            <a:pPr lvl="0"/>
            <a:r>
              <a:rPr lang="es-ES"/>
              <a:t>Haga clic para modificar el estilo de título del patrón</a:t>
            </a:r>
          </a:p>
        </p:txBody>
      </p:sp>
      <p:sp>
        <p:nvSpPr>
          <p:cNvPr id="1027" name="2 Marcador de texto"/>
          <p:cNvSpPr>
            <a:spLocks noGrp="1"/>
          </p:cNvSpPr>
          <p:nvPr>
            <p:ph type="body" idx="1"/>
          </p:nvPr>
        </p:nvSpPr>
        <p:spPr bwMode="auto">
          <a:xfrm>
            <a:off x="457200" y="1200151"/>
            <a:ext cx="8229600" cy="3394472"/>
          </a:xfrm>
          <a:prstGeom prst="rect">
            <a:avLst/>
          </a:prstGeom>
          <a:noFill/>
          <a:ln w="9525">
            <a:noFill/>
            <a:miter lim="800000"/>
            <a:headEnd/>
            <a:tailEnd/>
          </a:ln>
        </p:spPr>
        <p:txBody>
          <a:bodyPr vert="horz" wrap="square" lIns="91318" tIns="45659" rIns="91318" bIns="45659" numCol="1" anchor="t" anchorCtr="0" compatLnSpc="1">
            <a:prstTxWarp prst="textNoShape">
              <a:avLst/>
            </a:prstTxWarp>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fecha"/>
          <p:cNvSpPr>
            <a:spLocks noGrp="1"/>
          </p:cNvSpPr>
          <p:nvPr>
            <p:ph type="dt" sz="half" idx="2"/>
          </p:nvPr>
        </p:nvSpPr>
        <p:spPr>
          <a:xfrm>
            <a:off x="457200" y="4767264"/>
            <a:ext cx="2133600" cy="273844"/>
          </a:xfrm>
          <a:prstGeom prst="rect">
            <a:avLst/>
          </a:prstGeom>
        </p:spPr>
        <p:txBody>
          <a:bodyPr vert="horz" lIns="91318" tIns="45659" rIns="91318" bIns="45659" rtlCol="0" anchor="ctr"/>
          <a:lstStyle>
            <a:lvl1pPr algn="l" fontAlgn="auto">
              <a:spcBef>
                <a:spcPts val="0"/>
              </a:spcBef>
              <a:spcAft>
                <a:spcPts val="0"/>
              </a:spcAft>
              <a:defRPr sz="1200" smtClean="0">
                <a:solidFill>
                  <a:schemeClr val="tx1">
                    <a:tint val="75000"/>
                  </a:schemeClr>
                </a:solidFill>
                <a:latin typeface="+mn-lt"/>
                <a:cs typeface="+mn-cs"/>
              </a:defRPr>
            </a:lvl1pPr>
          </a:lstStyle>
          <a:p>
            <a:pPr defTabSz="913028">
              <a:defRPr/>
            </a:pPr>
            <a:fld id="{33ACAE52-13C7-4441-A444-B489004C355C}" type="datetimeFigureOut">
              <a:rPr lang="es-ES">
                <a:solidFill>
                  <a:prstClr val="black">
                    <a:tint val="75000"/>
                  </a:prstClr>
                </a:solidFill>
              </a:rPr>
              <a:pPr defTabSz="913028">
                <a:defRPr/>
              </a:pPr>
              <a:t>07/08/2024</a:t>
            </a:fld>
            <a:endParaRPr lang="es-ES">
              <a:solidFill>
                <a:prstClr val="black">
                  <a:tint val="75000"/>
                </a:prstClr>
              </a:solidFill>
            </a:endParaRPr>
          </a:p>
        </p:txBody>
      </p:sp>
      <p:sp>
        <p:nvSpPr>
          <p:cNvPr id="5" name="4 Marcador de pie de página"/>
          <p:cNvSpPr>
            <a:spLocks noGrp="1"/>
          </p:cNvSpPr>
          <p:nvPr>
            <p:ph type="ftr" sz="quarter" idx="3"/>
          </p:nvPr>
        </p:nvSpPr>
        <p:spPr>
          <a:xfrm>
            <a:off x="3124200" y="4767264"/>
            <a:ext cx="2895600" cy="273844"/>
          </a:xfrm>
          <a:prstGeom prst="rect">
            <a:avLst/>
          </a:prstGeom>
        </p:spPr>
        <p:txBody>
          <a:bodyPr vert="horz" lIns="91318" tIns="45659" rIns="91318" bIns="45659" rtlCol="0" anchor="ctr"/>
          <a:lstStyle>
            <a:lvl1pPr algn="ctr" fontAlgn="auto">
              <a:spcBef>
                <a:spcPts val="0"/>
              </a:spcBef>
              <a:spcAft>
                <a:spcPts val="0"/>
              </a:spcAft>
              <a:defRPr sz="1200">
                <a:solidFill>
                  <a:schemeClr val="tx1">
                    <a:tint val="75000"/>
                  </a:schemeClr>
                </a:solidFill>
                <a:latin typeface="+mn-lt"/>
                <a:cs typeface="+mn-cs"/>
              </a:defRPr>
            </a:lvl1pPr>
          </a:lstStyle>
          <a:p>
            <a:pPr defTabSz="913028">
              <a:defRPr/>
            </a:pPr>
            <a:endParaRPr lang="es-ES">
              <a:solidFill>
                <a:prstClr val="black">
                  <a:tint val="75000"/>
                </a:prstClr>
              </a:solidFill>
            </a:endParaRPr>
          </a:p>
        </p:txBody>
      </p:sp>
      <p:sp>
        <p:nvSpPr>
          <p:cNvPr id="6" name="5 Marcador de número de diapositiva"/>
          <p:cNvSpPr>
            <a:spLocks noGrp="1"/>
          </p:cNvSpPr>
          <p:nvPr>
            <p:ph type="sldNum" sz="quarter" idx="4"/>
          </p:nvPr>
        </p:nvSpPr>
        <p:spPr>
          <a:xfrm>
            <a:off x="6553200" y="4767264"/>
            <a:ext cx="2133600" cy="273844"/>
          </a:xfrm>
          <a:prstGeom prst="rect">
            <a:avLst/>
          </a:prstGeom>
        </p:spPr>
        <p:txBody>
          <a:bodyPr vert="horz" lIns="91318" tIns="45659" rIns="91318" bIns="45659" rtlCol="0" anchor="ctr"/>
          <a:lstStyle>
            <a:lvl1pPr algn="r" fontAlgn="auto">
              <a:spcBef>
                <a:spcPts val="0"/>
              </a:spcBef>
              <a:spcAft>
                <a:spcPts val="0"/>
              </a:spcAft>
              <a:defRPr sz="1200" smtClean="0">
                <a:solidFill>
                  <a:schemeClr val="tx1">
                    <a:tint val="75000"/>
                  </a:schemeClr>
                </a:solidFill>
                <a:latin typeface="+mn-lt"/>
                <a:cs typeface="+mn-cs"/>
              </a:defRPr>
            </a:lvl1pPr>
          </a:lstStyle>
          <a:p>
            <a:pPr defTabSz="913028">
              <a:defRPr/>
            </a:pPr>
            <a:fld id="{4169B1C9-6A2A-4754-B3BB-2C64B99B1CFA}" type="slidenum">
              <a:rPr lang="es-ES">
                <a:solidFill>
                  <a:prstClr val="black">
                    <a:tint val="75000"/>
                  </a:prstClr>
                </a:solidFill>
              </a:rPr>
              <a:pPr defTabSz="913028">
                <a:defRPr/>
              </a:pPr>
              <a:t>‹Nº›</a:t>
            </a:fld>
            <a:endParaRPr lang="es-ES">
              <a:solidFill>
                <a:prstClr val="black">
                  <a:tint val="75000"/>
                </a:prstClr>
              </a:solidFill>
            </a:endParaRPr>
          </a:p>
        </p:txBody>
      </p:sp>
    </p:spTree>
    <p:extLst>
      <p:ext uri="{BB962C8B-B14F-4D97-AF65-F5344CB8AC3E}">
        <p14:creationId xmlns:p14="http://schemas.microsoft.com/office/powerpoint/2010/main" val="2036946549"/>
      </p:ext>
    </p:extLst>
  </p:cSld>
  <p:clrMap bg1="lt1" tx1="dk1" bg2="lt2" tx2="dk2" accent1="accent1" accent2="accent2" accent3="accent3" accent4="accent4" accent5="accent5" accent6="accent6" hlink="hlink" folHlink="folHlink"/>
  <p:sldLayoutIdLst>
    <p:sldLayoutId id="2147484350" r:id="rId1"/>
    <p:sldLayoutId id="2147484351" r:id="rId2"/>
    <p:sldLayoutId id="2147484352" r:id="rId3"/>
    <p:sldLayoutId id="2147484353" r:id="rId4"/>
    <p:sldLayoutId id="2147484354" r:id="rId5"/>
    <p:sldLayoutId id="2147484355" r:id="rId6"/>
    <p:sldLayoutId id="2147484356" r:id="rId7"/>
    <p:sldLayoutId id="2147484357" r:id="rId8"/>
    <p:sldLayoutId id="2147484358" r:id="rId9"/>
    <p:sldLayoutId id="2147484359" r:id="rId10"/>
    <p:sldLayoutId id="2147484360" r:id="rId11"/>
  </p:sldLayoutIdLst>
  <p:txStyles>
    <p:title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Calibri" pitchFamily="34" charset="0"/>
        </a:defRPr>
      </a:lvl2pPr>
      <a:lvl3pPr algn="ctr" rtl="0" fontAlgn="base">
        <a:spcBef>
          <a:spcPct val="0"/>
        </a:spcBef>
        <a:spcAft>
          <a:spcPct val="0"/>
        </a:spcAft>
        <a:defRPr sz="4400">
          <a:solidFill>
            <a:schemeClr val="tx1"/>
          </a:solidFill>
          <a:latin typeface="Calibri" pitchFamily="34" charset="0"/>
        </a:defRPr>
      </a:lvl3pPr>
      <a:lvl4pPr algn="ctr" rtl="0" fontAlgn="base">
        <a:spcBef>
          <a:spcPct val="0"/>
        </a:spcBef>
        <a:spcAft>
          <a:spcPct val="0"/>
        </a:spcAft>
        <a:defRPr sz="4400">
          <a:solidFill>
            <a:schemeClr val="tx1"/>
          </a:solidFill>
          <a:latin typeface="Calibri" pitchFamily="34" charset="0"/>
        </a:defRPr>
      </a:lvl4pPr>
      <a:lvl5pPr algn="ctr" rtl="0" fontAlgn="base">
        <a:spcBef>
          <a:spcPct val="0"/>
        </a:spcBef>
        <a:spcAft>
          <a:spcPct val="0"/>
        </a:spcAft>
        <a:defRPr sz="4400">
          <a:solidFill>
            <a:schemeClr val="tx1"/>
          </a:solidFill>
          <a:latin typeface="Calibri" pitchFamily="34" charset="0"/>
        </a:defRPr>
      </a:lvl5pPr>
      <a:lvl6pPr marL="456470" algn="ctr" rtl="0" fontAlgn="base">
        <a:spcBef>
          <a:spcPct val="0"/>
        </a:spcBef>
        <a:spcAft>
          <a:spcPct val="0"/>
        </a:spcAft>
        <a:defRPr sz="4400">
          <a:solidFill>
            <a:schemeClr val="tx1"/>
          </a:solidFill>
          <a:latin typeface="Calibri" pitchFamily="34" charset="0"/>
        </a:defRPr>
      </a:lvl6pPr>
      <a:lvl7pPr marL="913028" algn="ctr" rtl="0" fontAlgn="base">
        <a:spcBef>
          <a:spcPct val="0"/>
        </a:spcBef>
        <a:spcAft>
          <a:spcPct val="0"/>
        </a:spcAft>
        <a:defRPr sz="4400">
          <a:solidFill>
            <a:schemeClr val="tx1"/>
          </a:solidFill>
          <a:latin typeface="Calibri" pitchFamily="34" charset="0"/>
        </a:defRPr>
      </a:lvl7pPr>
      <a:lvl8pPr marL="1369526" algn="ctr" rtl="0" fontAlgn="base">
        <a:spcBef>
          <a:spcPct val="0"/>
        </a:spcBef>
        <a:spcAft>
          <a:spcPct val="0"/>
        </a:spcAft>
        <a:defRPr sz="4400">
          <a:solidFill>
            <a:schemeClr val="tx1"/>
          </a:solidFill>
          <a:latin typeface="Calibri" pitchFamily="34" charset="0"/>
        </a:defRPr>
      </a:lvl8pPr>
      <a:lvl9pPr marL="1826054" algn="ctr" rtl="0" fontAlgn="base">
        <a:spcBef>
          <a:spcPct val="0"/>
        </a:spcBef>
        <a:spcAft>
          <a:spcPct val="0"/>
        </a:spcAft>
        <a:defRPr sz="4400">
          <a:solidFill>
            <a:schemeClr val="tx1"/>
          </a:solidFill>
          <a:latin typeface="Calibri" pitchFamily="34" charset="0"/>
        </a:defRPr>
      </a:lvl9pPr>
    </p:titleStyle>
    <p:bodyStyle>
      <a:lvl1pPr marL="342353" indent="-342353" algn="l" rtl="0" fontAlgn="base">
        <a:spcBef>
          <a:spcPct val="20000"/>
        </a:spcBef>
        <a:spcAft>
          <a:spcPct val="0"/>
        </a:spcAft>
        <a:buFont typeface="Arial" charset="0"/>
        <a:buChar char="•"/>
        <a:defRPr sz="3200" kern="1200">
          <a:solidFill>
            <a:schemeClr val="tx1"/>
          </a:solidFill>
          <a:latin typeface="+mn-lt"/>
          <a:ea typeface="+mn-ea"/>
          <a:cs typeface="+mn-cs"/>
        </a:defRPr>
      </a:lvl1pPr>
      <a:lvl2pPr marL="741851" indent="-285323" algn="l" rtl="0" fontAlgn="base">
        <a:spcBef>
          <a:spcPct val="20000"/>
        </a:spcBef>
        <a:spcAft>
          <a:spcPct val="0"/>
        </a:spcAft>
        <a:buFont typeface="Arial" charset="0"/>
        <a:buChar char="–"/>
        <a:defRPr sz="2800" kern="1200">
          <a:solidFill>
            <a:schemeClr val="tx1"/>
          </a:solidFill>
          <a:latin typeface="+mn-lt"/>
          <a:ea typeface="+mn-ea"/>
          <a:cs typeface="+mn-cs"/>
        </a:defRPr>
      </a:lvl2pPr>
      <a:lvl3pPr marL="1141262" indent="-228234" algn="l" rtl="0" fontAlgn="base">
        <a:spcBef>
          <a:spcPct val="20000"/>
        </a:spcBef>
        <a:spcAft>
          <a:spcPct val="0"/>
        </a:spcAft>
        <a:buFont typeface="Arial" charset="0"/>
        <a:buChar char="•"/>
        <a:defRPr sz="2400" kern="1200">
          <a:solidFill>
            <a:schemeClr val="tx1"/>
          </a:solidFill>
          <a:latin typeface="+mn-lt"/>
          <a:ea typeface="+mn-ea"/>
          <a:cs typeface="+mn-cs"/>
        </a:defRPr>
      </a:lvl3pPr>
      <a:lvl4pPr marL="1597760" indent="-228234" algn="l" rtl="0" fontAlgn="base">
        <a:spcBef>
          <a:spcPct val="20000"/>
        </a:spcBef>
        <a:spcAft>
          <a:spcPct val="0"/>
        </a:spcAft>
        <a:buFont typeface="Arial" charset="0"/>
        <a:buChar char="–"/>
        <a:defRPr sz="2000" kern="1200">
          <a:solidFill>
            <a:schemeClr val="tx1"/>
          </a:solidFill>
          <a:latin typeface="+mn-lt"/>
          <a:ea typeface="+mn-ea"/>
          <a:cs typeface="+mn-cs"/>
        </a:defRPr>
      </a:lvl4pPr>
      <a:lvl5pPr marL="2054288" indent="-228234" algn="l" rtl="0" fontAlgn="base">
        <a:spcBef>
          <a:spcPct val="20000"/>
        </a:spcBef>
        <a:spcAft>
          <a:spcPct val="0"/>
        </a:spcAft>
        <a:buFont typeface="Arial" charset="0"/>
        <a:buChar char="»"/>
        <a:defRPr sz="2000" kern="1200">
          <a:solidFill>
            <a:schemeClr val="tx1"/>
          </a:solidFill>
          <a:latin typeface="+mn-lt"/>
          <a:ea typeface="+mn-ea"/>
          <a:cs typeface="+mn-cs"/>
        </a:defRPr>
      </a:lvl5pPr>
      <a:lvl6pPr marL="2510757" indent="-228234" algn="l" defTabSz="91302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7286" indent="-228234" algn="l" defTabSz="91302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3785" indent="-228234" algn="l" defTabSz="91302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0283" indent="-228234" algn="l" defTabSz="91302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ES"/>
      </a:defPPr>
      <a:lvl1pPr marL="0" algn="l" defTabSz="913028" rtl="0" eaLnBrk="1" latinLnBrk="0" hangingPunct="1">
        <a:defRPr sz="1800" kern="1200">
          <a:solidFill>
            <a:schemeClr val="tx1"/>
          </a:solidFill>
          <a:latin typeface="+mn-lt"/>
          <a:ea typeface="+mn-ea"/>
          <a:cs typeface="+mn-cs"/>
        </a:defRPr>
      </a:lvl1pPr>
      <a:lvl2pPr marL="456470" algn="l" defTabSz="913028" rtl="0" eaLnBrk="1" latinLnBrk="0" hangingPunct="1">
        <a:defRPr sz="1800" kern="1200">
          <a:solidFill>
            <a:schemeClr val="tx1"/>
          </a:solidFill>
          <a:latin typeface="+mn-lt"/>
          <a:ea typeface="+mn-ea"/>
          <a:cs typeface="+mn-cs"/>
        </a:defRPr>
      </a:lvl2pPr>
      <a:lvl3pPr marL="913028" algn="l" defTabSz="913028" rtl="0" eaLnBrk="1" latinLnBrk="0" hangingPunct="1">
        <a:defRPr sz="1800" kern="1200">
          <a:solidFill>
            <a:schemeClr val="tx1"/>
          </a:solidFill>
          <a:latin typeface="+mn-lt"/>
          <a:ea typeface="+mn-ea"/>
          <a:cs typeface="+mn-cs"/>
        </a:defRPr>
      </a:lvl3pPr>
      <a:lvl4pPr marL="1369526" algn="l" defTabSz="913028" rtl="0" eaLnBrk="1" latinLnBrk="0" hangingPunct="1">
        <a:defRPr sz="1800" kern="1200">
          <a:solidFill>
            <a:schemeClr val="tx1"/>
          </a:solidFill>
          <a:latin typeface="+mn-lt"/>
          <a:ea typeface="+mn-ea"/>
          <a:cs typeface="+mn-cs"/>
        </a:defRPr>
      </a:lvl4pPr>
      <a:lvl5pPr marL="1826054" algn="l" defTabSz="913028" rtl="0" eaLnBrk="1" latinLnBrk="0" hangingPunct="1">
        <a:defRPr sz="1800" kern="1200">
          <a:solidFill>
            <a:schemeClr val="tx1"/>
          </a:solidFill>
          <a:latin typeface="+mn-lt"/>
          <a:ea typeface="+mn-ea"/>
          <a:cs typeface="+mn-cs"/>
        </a:defRPr>
      </a:lvl5pPr>
      <a:lvl6pPr marL="2282523" algn="l" defTabSz="913028" rtl="0" eaLnBrk="1" latinLnBrk="0" hangingPunct="1">
        <a:defRPr sz="1800" kern="1200">
          <a:solidFill>
            <a:schemeClr val="tx1"/>
          </a:solidFill>
          <a:latin typeface="+mn-lt"/>
          <a:ea typeface="+mn-ea"/>
          <a:cs typeface="+mn-cs"/>
        </a:defRPr>
      </a:lvl6pPr>
      <a:lvl7pPr marL="2738993" algn="l" defTabSz="913028" rtl="0" eaLnBrk="1" latinLnBrk="0" hangingPunct="1">
        <a:defRPr sz="1800" kern="1200">
          <a:solidFill>
            <a:schemeClr val="tx1"/>
          </a:solidFill>
          <a:latin typeface="+mn-lt"/>
          <a:ea typeface="+mn-ea"/>
          <a:cs typeface="+mn-cs"/>
        </a:defRPr>
      </a:lvl7pPr>
      <a:lvl8pPr marL="3195520" algn="l" defTabSz="913028" rtl="0" eaLnBrk="1" latinLnBrk="0" hangingPunct="1">
        <a:defRPr sz="1800" kern="1200">
          <a:solidFill>
            <a:schemeClr val="tx1"/>
          </a:solidFill>
          <a:latin typeface="+mn-lt"/>
          <a:ea typeface="+mn-ea"/>
          <a:cs typeface="+mn-cs"/>
        </a:defRPr>
      </a:lvl8pPr>
      <a:lvl9pPr marL="3652035" algn="l" defTabSz="913028"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xmlns="" id="{F4B9C617-1E34-4D15-B429-183EDBD8D139}"/>
              </a:ext>
            </a:extLst>
          </p:cNvPr>
          <p:cNvGraphicFramePr>
            <a:graphicFrameLocks noChangeAspect="1"/>
          </p:cNvGraphicFramePr>
          <p:nvPr>
            <p:custDataLst>
              <p:tags r:id="rId17"/>
            </p:custDataLst>
            <p:extLst>
              <p:ext uri="{D42A27DB-BD31-4B8C-83A1-F6EECF244321}">
                <p14:modId xmlns:p14="http://schemas.microsoft.com/office/powerpoint/2010/main" val="1794026539"/>
              </p:ext>
            </p:extLst>
          </p:nvPr>
        </p:nvGraphicFramePr>
        <p:xfrm>
          <a:off x="1590" y="1193"/>
          <a:ext cx="1588" cy="1191"/>
        </p:xfrm>
        <a:graphic>
          <a:graphicData uri="http://schemas.openxmlformats.org/presentationml/2006/ole">
            <mc:AlternateContent xmlns:mc="http://schemas.openxmlformats.org/markup-compatibility/2006">
              <mc:Choice xmlns:v="urn:schemas-microsoft-com:vml" Requires="v">
                <p:oleObj spid="_x0000_s21572" name="Diapositiva de think-cell" r:id="rId19" imgW="360" imgH="360" progId="">
                  <p:embed/>
                </p:oleObj>
              </mc:Choice>
              <mc:Fallback>
                <p:oleObj name="Diapositiva de think-cell" r:id="rId19" imgW="360" imgH="360" progId="">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590" y="1193"/>
                        <a:ext cx="1588" cy="119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ángulo 1" hidden="1">
            <a:extLst>
              <a:ext uri="{FF2B5EF4-FFF2-40B4-BE49-F238E27FC236}">
                <a16:creationId xmlns:a16="http://schemas.microsoft.com/office/drawing/2014/main" xmlns="" id="{F89A844B-EE1E-4F09-874E-866C486F9B35}"/>
              </a:ext>
            </a:extLst>
          </p:cNvPr>
          <p:cNvSpPr/>
          <p:nvPr>
            <p:custDataLst>
              <p:tags r:id="rId18"/>
            </p:custDataLst>
          </p:nvPr>
        </p:nvSpPr>
        <p:spPr>
          <a:xfrm>
            <a:off x="1" y="72"/>
            <a:ext cx="158750"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895763"/>
            <a:endParaRPr lang="es-ES" sz="4400">
              <a:solidFill>
                <a:prstClr val="white"/>
              </a:solidFill>
              <a:sym typeface="Calibri" panose="020F0502020204030204" pitchFamily="34" charset="0"/>
            </a:endParaRPr>
          </a:p>
        </p:txBody>
      </p:sp>
      <p:sp>
        <p:nvSpPr>
          <p:cNvPr id="9218" name="1 Marcador de título"/>
          <p:cNvSpPr>
            <a:spLocks noGrp="1"/>
          </p:cNvSpPr>
          <p:nvPr>
            <p:ph type="title"/>
          </p:nvPr>
        </p:nvSpPr>
        <p:spPr bwMode="auto">
          <a:xfrm>
            <a:off x="457200" y="205979"/>
            <a:ext cx="8229600"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91" tIns="44795" rIns="89591" bIns="44795" numCol="1" anchor="ctr" anchorCtr="0" compatLnSpc="1">
            <a:prstTxWarp prst="textNoShape">
              <a:avLst/>
            </a:prstTxWarp>
          </a:bodyPr>
          <a:lstStyle/>
          <a:p>
            <a:pPr lvl="0"/>
            <a:r>
              <a:rPr lang="es-ES"/>
              <a:t>Haga clic para modificar el estilo de título del patrón</a:t>
            </a:r>
          </a:p>
        </p:txBody>
      </p:sp>
      <p:sp>
        <p:nvSpPr>
          <p:cNvPr id="9219" name="2 Marcador de texto"/>
          <p:cNvSpPr>
            <a:spLocks noGrp="1"/>
          </p:cNvSpPr>
          <p:nvPr>
            <p:ph type="body" idx="1"/>
          </p:nvPr>
        </p:nvSpPr>
        <p:spPr bwMode="auto">
          <a:xfrm>
            <a:off x="457200" y="1200157"/>
            <a:ext cx="8229600" cy="33944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91" tIns="44795" rIns="89591" bIns="44795" numCol="1" anchor="t" anchorCtr="0" compatLnSpc="1">
            <a:prstTxWarp prst="textNoShape">
              <a:avLst/>
            </a:prstTxWarp>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4 Marcador de pie de página"/>
          <p:cNvSpPr>
            <a:spLocks noGrp="1"/>
          </p:cNvSpPr>
          <p:nvPr>
            <p:ph type="ftr" sz="quarter" idx="3"/>
          </p:nvPr>
        </p:nvSpPr>
        <p:spPr>
          <a:xfrm>
            <a:off x="60263" y="4854462"/>
            <a:ext cx="5015895" cy="273844"/>
          </a:xfrm>
          <a:prstGeom prst="rect">
            <a:avLst/>
          </a:prstGeom>
        </p:spPr>
        <p:txBody>
          <a:bodyPr vert="horz" lIns="89591" tIns="44795" rIns="89591" bIns="44795" rtlCol="0" anchor="ctr"/>
          <a:lstStyle>
            <a:lvl1pPr algn="ctr" fontAlgn="auto">
              <a:spcBef>
                <a:spcPts val="0"/>
              </a:spcBef>
              <a:spcAft>
                <a:spcPts val="0"/>
              </a:spcAft>
              <a:defRPr sz="1200" b="0">
                <a:solidFill>
                  <a:prstClr val="black">
                    <a:tint val="75000"/>
                  </a:prstClr>
                </a:solidFill>
                <a:latin typeface="+mn-lt"/>
              </a:defRPr>
            </a:lvl1pPr>
          </a:lstStyle>
          <a:p>
            <a:pPr defTabSz="895763"/>
            <a:r>
              <a:rPr lang="es-AR" smtClean="0"/>
              <a:t>Presentación dirigida a profesionales de la salud - </a:t>
            </a:r>
            <a:r>
              <a:rPr lang="en-GB" smtClean="0"/>
              <a:t>SPAR.OTHE.20.04.0086 - 2.1</a:t>
            </a:r>
            <a:endParaRPr lang="es-AR"/>
          </a:p>
        </p:txBody>
      </p:sp>
      <p:sp>
        <p:nvSpPr>
          <p:cNvPr id="6" name="5 Marcador de número de diapositiva"/>
          <p:cNvSpPr>
            <a:spLocks noGrp="1"/>
          </p:cNvSpPr>
          <p:nvPr>
            <p:ph type="sldNum" sz="quarter" idx="4"/>
          </p:nvPr>
        </p:nvSpPr>
        <p:spPr>
          <a:xfrm>
            <a:off x="6553200" y="4767357"/>
            <a:ext cx="2133600" cy="273844"/>
          </a:xfrm>
          <a:prstGeom prst="rect">
            <a:avLst/>
          </a:prstGeom>
        </p:spPr>
        <p:txBody>
          <a:bodyPr vert="horz" lIns="89591" tIns="44795" rIns="89591" bIns="44795" rtlCol="0" anchor="ctr"/>
          <a:lstStyle>
            <a:lvl1pPr algn="r" fontAlgn="auto">
              <a:spcBef>
                <a:spcPts val="0"/>
              </a:spcBef>
              <a:spcAft>
                <a:spcPts val="0"/>
              </a:spcAft>
              <a:defRPr sz="1200" b="0">
                <a:solidFill>
                  <a:prstClr val="black">
                    <a:tint val="75000"/>
                  </a:prstClr>
                </a:solidFill>
                <a:latin typeface="+mn-lt"/>
              </a:defRPr>
            </a:lvl1pPr>
          </a:lstStyle>
          <a:p>
            <a:pPr defTabSz="895763">
              <a:defRPr/>
            </a:pPr>
            <a:fld id="{B9218D0A-897B-4B01-ADEC-21C8C3FD6E8C}" type="slidenum">
              <a:rPr lang="es-ES" smtClean="0"/>
              <a:pPr defTabSz="895763">
                <a:defRPr/>
              </a:pPr>
              <a:t>‹Nº›</a:t>
            </a:fld>
            <a:endParaRPr lang="es-ES"/>
          </a:p>
        </p:txBody>
      </p:sp>
    </p:spTree>
    <p:extLst>
      <p:ext uri="{BB962C8B-B14F-4D97-AF65-F5344CB8AC3E}">
        <p14:creationId xmlns:p14="http://schemas.microsoft.com/office/powerpoint/2010/main" val="137065925"/>
      </p:ext>
    </p:extLst>
  </p:cSld>
  <p:clrMap bg1="lt1" tx1="dk1" bg2="lt2" tx2="dk2" accent1="accent1" accent2="accent2" accent3="accent3" accent4="accent4" accent5="accent5" accent6="accent6" hlink="hlink" folHlink="folHlink"/>
  <p:sldLayoutIdLst>
    <p:sldLayoutId id="2147484362" r:id="rId1"/>
    <p:sldLayoutId id="2147484363" r:id="rId2"/>
    <p:sldLayoutId id="2147484364" r:id="rId3"/>
    <p:sldLayoutId id="2147484365" r:id="rId4"/>
    <p:sldLayoutId id="2147484366" r:id="rId5"/>
    <p:sldLayoutId id="2147484367" r:id="rId6"/>
    <p:sldLayoutId id="2147484368" r:id="rId7"/>
    <p:sldLayoutId id="2147484369" r:id="rId8"/>
    <p:sldLayoutId id="2147484370" r:id="rId9"/>
    <p:sldLayoutId id="2147484371" r:id="rId10"/>
    <p:sldLayoutId id="2147484372" r:id="rId11"/>
    <p:sldLayoutId id="2147484373" r:id="rId12"/>
    <p:sldLayoutId id="2147484374" r:id="rId13"/>
    <p:sldLayoutId id="2147484407" r:id="rId14"/>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47904" algn="ctr" rtl="0" fontAlgn="base">
        <a:spcBef>
          <a:spcPct val="0"/>
        </a:spcBef>
        <a:spcAft>
          <a:spcPct val="0"/>
        </a:spcAft>
        <a:defRPr sz="4400">
          <a:solidFill>
            <a:schemeClr val="tx1"/>
          </a:solidFill>
          <a:latin typeface="Calibri" pitchFamily="34" charset="0"/>
        </a:defRPr>
      </a:lvl6pPr>
      <a:lvl7pPr marL="895763" algn="ctr" rtl="0" fontAlgn="base">
        <a:spcBef>
          <a:spcPct val="0"/>
        </a:spcBef>
        <a:spcAft>
          <a:spcPct val="0"/>
        </a:spcAft>
        <a:defRPr sz="4400">
          <a:solidFill>
            <a:schemeClr val="tx1"/>
          </a:solidFill>
          <a:latin typeface="Calibri" pitchFamily="34" charset="0"/>
        </a:defRPr>
      </a:lvl7pPr>
      <a:lvl8pPr marL="1343687" algn="ctr" rtl="0" fontAlgn="base">
        <a:spcBef>
          <a:spcPct val="0"/>
        </a:spcBef>
        <a:spcAft>
          <a:spcPct val="0"/>
        </a:spcAft>
        <a:defRPr sz="4400">
          <a:solidFill>
            <a:schemeClr val="tx1"/>
          </a:solidFill>
          <a:latin typeface="Calibri" pitchFamily="34" charset="0"/>
        </a:defRPr>
      </a:lvl8pPr>
      <a:lvl9pPr marL="1791534" algn="ctr" rtl="0" fontAlgn="base">
        <a:spcBef>
          <a:spcPct val="0"/>
        </a:spcBef>
        <a:spcAft>
          <a:spcPct val="0"/>
        </a:spcAft>
        <a:defRPr sz="4400">
          <a:solidFill>
            <a:schemeClr val="tx1"/>
          </a:solidFill>
          <a:latin typeface="Calibri" pitchFamily="34" charset="0"/>
        </a:defRPr>
      </a:lvl9pPr>
    </p:titleStyle>
    <p:bodyStyle>
      <a:lvl1pPr marL="335873" indent="-335873"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27834" indent="-279936"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19717" indent="-223919"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567622" indent="-223919"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15447" indent="-223919"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463376" indent="-223919" algn="l" defTabSz="8957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11295" indent="-223919" algn="l" defTabSz="8957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359139" indent="-223919" algn="l" defTabSz="8957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07040" indent="-223919" algn="l" defTabSz="8957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ES"/>
      </a:defPPr>
      <a:lvl1pPr marL="0" algn="l" defTabSz="895763" rtl="0" eaLnBrk="1" latinLnBrk="0" hangingPunct="1">
        <a:defRPr sz="1800" kern="1200">
          <a:solidFill>
            <a:schemeClr val="tx1"/>
          </a:solidFill>
          <a:latin typeface="+mn-lt"/>
          <a:ea typeface="+mn-ea"/>
          <a:cs typeface="+mn-cs"/>
        </a:defRPr>
      </a:lvl1pPr>
      <a:lvl2pPr marL="447904" algn="l" defTabSz="895763" rtl="0" eaLnBrk="1" latinLnBrk="0" hangingPunct="1">
        <a:defRPr sz="1800" kern="1200">
          <a:solidFill>
            <a:schemeClr val="tx1"/>
          </a:solidFill>
          <a:latin typeface="+mn-lt"/>
          <a:ea typeface="+mn-ea"/>
          <a:cs typeface="+mn-cs"/>
        </a:defRPr>
      </a:lvl2pPr>
      <a:lvl3pPr marL="895763" algn="l" defTabSz="895763" rtl="0" eaLnBrk="1" latinLnBrk="0" hangingPunct="1">
        <a:defRPr sz="1800" kern="1200">
          <a:solidFill>
            <a:schemeClr val="tx1"/>
          </a:solidFill>
          <a:latin typeface="+mn-lt"/>
          <a:ea typeface="+mn-ea"/>
          <a:cs typeface="+mn-cs"/>
        </a:defRPr>
      </a:lvl3pPr>
      <a:lvl4pPr marL="1343687" algn="l" defTabSz="895763" rtl="0" eaLnBrk="1" latinLnBrk="0" hangingPunct="1">
        <a:defRPr sz="1800" kern="1200">
          <a:solidFill>
            <a:schemeClr val="tx1"/>
          </a:solidFill>
          <a:latin typeface="+mn-lt"/>
          <a:ea typeface="+mn-ea"/>
          <a:cs typeface="+mn-cs"/>
        </a:defRPr>
      </a:lvl4pPr>
      <a:lvl5pPr marL="1791534" algn="l" defTabSz="895763" rtl="0" eaLnBrk="1" latinLnBrk="0" hangingPunct="1">
        <a:defRPr sz="1800" kern="1200">
          <a:solidFill>
            <a:schemeClr val="tx1"/>
          </a:solidFill>
          <a:latin typeface="+mn-lt"/>
          <a:ea typeface="+mn-ea"/>
          <a:cs typeface="+mn-cs"/>
        </a:defRPr>
      </a:lvl5pPr>
      <a:lvl6pPr marL="2239429" algn="l" defTabSz="895763" rtl="0" eaLnBrk="1" latinLnBrk="0" hangingPunct="1">
        <a:defRPr sz="1800" kern="1200">
          <a:solidFill>
            <a:schemeClr val="tx1"/>
          </a:solidFill>
          <a:latin typeface="+mn-lt"/>
          <a:ea typeface="+mn-ea"/>
          <a:cs typeface="+mn-cs"/>
        </a:defRPr>
      </a:lvl6pPr>
      <a:lvl7pPr marL="2687326" algn="l" defTabSz="895763" rtl="0" eaLnBrk="1" latinLnBrk="0" hangingPunct="1">
        <a:defRPr sz="1800" kern="1200">
          <a:solidFill>
            <a:schemeClr val="tx1"/>
          </a:solidFill>
          <a:latin typeface="+mn-lt"/>
          <a:ea typeface="+mn-ea"/>
          <a:cs typeface="+mn-cs"/>
        </a:defRPr>
      </a:lvl7pPr>
      <a:lvl8pPr marL="3135229" algn="l" defTabSz="895763" rtl="0" eaLnBrk="1" latinLnBrk="0" hangingPunct="1">
        <a:defRPr sz="1800" kern="1200">
          <a:solidFill>
            <a:schemeClr val="tx1"/>
          </a:solidFill>
          <a:latin typeface="+mn-lt"/>
          <a:ea typeface="+mn-ea"/>
          <a:cs typeface="+mn-cs"/>
        </a:defRPr>
      </a:lvl8pPr>
      <a:lvl9pPr marL="3583064" algn="l" defTabSz="895763"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to 2" hidden="1">
            <a:extLst>
              <a:ext uri="{FF2B5EF4-FFF2-40B4-BE49-F238E27FC236}">
                <a16:creationId xmlns:a16="http://schemas.microsoft.com/office/drawing/2014/main" xmlns="" id="{F4B9C617-1E34-4D15-B429-183EDBD8D139}"/>
              </a:ext>
            </a:extLst>
          </p:cNvPr>
          <p:cNvGraphicFramePr>
            <a:graphicFrameLocks noChangeAspect="1"/>
          </p:cNvGraphicFramePr>
          <p:nvPr>
            <p:custDataLst>
              <p:tags r:id="rId17"/>
            </p:custDataLst>
            <p:extLst>
              <p:ext uri="{D42A27DB-BD31-4B8C-83A1-F6EECF244321}">
                <p14:modId xmlns:p14="http://schemas.microsoft.com/office/powerpoint/2010/main" val="619436937"/>
              </p:ext>
            </p:extLst>
          </p:nvPr>
        </p:nvGraphicFramePr>
        <p:xfrm>
          <a:off x="1590" y="1193"/>
          <a:ext cx="1588" cy="1191"/>
        </p:xfrm>
        <a:graphic>
          <a:graphicData uri="http://schemas.openxmlformats.org/presentationml/2006/ole">
            <mc:AlternateContent xmlns:mc="http://schemas.openxmlformats.org/markup-compatibility/2006">
              <mc:Choice xmlns:v="urn:schemas-microsoft-com:vml" Requires="v">
                <p:oleObj spid="_x0000_s22596" name="Diapositiva de think-cell" r:id="rId19" imgW="360" imgH="360" progId="">
                  <p:embed/>
                </p:oleObj>
              </mc:Choice>
              <mc:Fallback>
                <p:oleObj name="Diapositiva de think-cell" r:id="rId19" imgW="360" imgH="360" progId="">
                  <p:embed/>
                  <p:pic>
                    <p:nvPicPr>
                      <p:cNvPr id="0" name=""/>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590" y="1193"/>
                        <a:ext cx="1588" cy="119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ángulo 1" hidden="1">
            <a:extLst>
              <a:ext uri="{FF2B5EF4-FFF2-40B4-BE49-F238E27FC236}">
                <a16:creationId xmlns:a16="http://schemas.microsoft.com/office/drawing/2014/main" xmlns="" id="{F89A844B-EE1E-4F09-874E-866C486F9B35}"/>
              </a:ext>
            </a:extLst>
          </p:cNvPr>
          <p:cNvSpPr/>
          <p:nvPr>
            <p:custDataLst>
              <p:tags r:id="rId18"/>
            </p:custDataLst>
          </p:nvPr>
        </p:nvSpPr>
        <p:spPr>
          <a:xfrm>
            <a:off x="1" y="72"/>
            <a:ext cx="158750"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895763"/>
            <a:endParaRPr lang="es-ES" sz="4400">
              <a:solidFill>
                <a:prstClr val="white"/>
              </a:solidFill>
              <a:sym typeface="Calibri" panose="020F0502020204030204" pitchFamily="34" charset="0"/>
            </a:endParaRPr>
          </a:p>
        </p:txBody>
      </p:sp>
      <p:sp>
        <p:nvSpPr>
          <p:cNvPr id="9218" name="1 Marcador de título"/>
          <p:cNvSpPr>
            <a:spLocks noGrp="1"/>
          </p:cNvSpPr>
          <p:nvPr>
            <p:ph type="title"/>
          </p:nvPr>
        </p:nvSpPr>
        <p:spPr bwMode="auto">
          <a:xfrm>
            <a:off x="457200" y="205979"/>
            <a:ext cx="8229600"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91" tIns="44795" rIns="89591" bIns="44795" numCol="1" anchor="ctr" anchorCtr="0" compatLnSpc="1">
            <a:prstTxWarp prst="textNoShape">
              <a:avLst/>
            </a:prstTxWarp>
          </a:bodyPr>
          <a:lstStyle/>
          <a:p>
            <a:pPr lvl="0"/>
            <a:r>
              <a:rPr lang="es-ES"/>
              <a:t>Haga clic para modificar el estilo de título del patrón</a:t>
            </a:r>
          </a:p>
        </p:txBody>
      </p:sp>
      <p:sp>
        <p:nvSpPr>
          <p:cNvPr id="9219" name="2 Marcador de texto"/>
          <p:cNvSpPr>
            <a:spLocks noGrp="1"/>
          </p:cNvSpPr>
          <p:nvPr>
            <p:ph type="body" idx="1"/>
          </p:nvPr>
        </p:nvSpPr>
        <p:spPr bwMode="auto">
          <a:xfrm>
            <a:off x="457200" y="1200157"/>
            <a:ext cx="8229600" cy="33944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591" tIns="44795" rIns="89591" bIns="44795" numCol="1" anchor="t" anchorCtr="0" compatLnSpc="1">
            <a:prstTxWarp prst="textNoShape">
              <a:avLst/>
            </a:prstTxWarp>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4 Marcador de pie de página"/>
          <p:cNvSpPr>
            <a:spLocks noGrp="1"/>
          </p:cNvSpPr>
          <p:nvPr>
            <p:ph type="ftr" sz="quarter" idx="3"/>
          </p:nvPr>
        </p:nvSpPr>
        <p:spPr>
          <a:xfrm>
            <a:off x="60263" y="4854462"/>
            <a:ext cx="5015895" cy="273844"/>
          </a:xfrm>
          <a:prstGeom prst="rect">
            <a:avLst/>
          </a:prstGeom>
        </p:spPr>
        <p:txBody>
          <a:bodyPr vert="horz" lIns="89591" tIns="44795" rIns="89591" bIns="44795" rtlCol="0" anchor="ctr"/>
          <a:lstStyle>
            <a:lvl1pPr algn="ctr" fontAlgn="auto">
              <a:spcBef>
                <a:spcPts val="0"/>
              </a:spcBef>
              <a:spcAft>
                <a:spcPts val="0"/>
              </a:spcAft>
              <a:defRPr sz="1200" b="0">
                <a:solidFill>
                  <a:prstClr val="black">
                    <a:tint val="75000"/>
                  </a:prstClr>
                </a:solidFill>
                <a:latin typeface="+mn-lt"/>
              </a:defRPr>
            </a:lvl1pPr>
          </a:lstStyle>
          <a:p>
            <a:pPr defTabSz="895763"/>
            <a:r>
              <a:rPr lang="es-AR" smtClean="0"/>
              <a:t>Presentación dirigida a profesionales de la salud - </a:t>
            </a:r>
            <a:r>
              <a:rPr lang="en-GB" smtClean="0"/>
              <a:t>SPAR.OTHE.20.04.0086 - 2.1</a:t>
            </a:r>
            <a:endParaRPr lang="es-AR"/>
          </a:p>
        </p:txBody>
      </p:sp>
      <p:sp>
        <p:nvSpPr>
          <p:cNvPr id="6" name="5 Marcador de número de diapositiva"/>
          <p:cNvSpPr>
            <a:spLocks noGrp="1"/>
          </p:cNvSpPr>
          <p:nvPr>
            <p:ph type="sldNum" sz="quarter" idx="4"/>
          </p:nvPr>
        </p:nvSpPr>
        <p:spPr>
          <a:xfrm>
            <a:off x="6553200" y="4767357"/>
            <a:ext cx="2133600" cy="273844"/>
          </a:xfrm>
          <a:prstGeom prst="rect">
            <a:avLst/>
          </a:prstGeom>
        </p:spPr>
        <p:txBody>
          <a:bodyPr vert="horz" lIns="89591" tIns="44795" rIns="89591" bIns="44795" rtlCol="0" anchor="ctr"/>
          <a:lstStyle>
            <a:lvl1pPr algn="r" fontAlgn="auto">
              <a:spcBef>
                <a:spcPts val="0"/>
              </a:spcBef>
              <a:spcAft>
                <a:spcPts val="0"/>
              </a:spcAft>
              <a:defRPr sz="1200" b="0">
                <a:solidFill>
                  <a:prstClr val="black">
                    <a:tint val="75000"/>
                  </a:prstClr>
                </a:solidFill>
                <a:latin typeface="+mn-lt"/>
              </a:defRPr>
            </a:lvl1pPr>
          </a:lstStyle>
          <a:p>
            <a:pPr defTabSz="895763">
              <a:defRPr/>
            </a:pPr>
            <a:fld id="{B9218D0A-897B-4B01-ADEC-21C8C3FD6E8C}" type="slidenum">
              <a:rPr lang="es-ES" smtClean="0"/>
              <a:pPr defTabSz="895763">
                <a:defRPr/>
              </a:pPr>
              <a:t>‹Nº›</a:t>
            </a:fld>
            <a:endParaRPr lang="es-ES"/>
          </a:p>
        </p:txBody>
      </p:sp>
    </p:spTree>
    <p:extLst>
      <p:ext uri="{BB962C8B-B14F-4D97-AF65-F5344CB8AC3E}">
        <p14:creationId xmlns:p14="http://schemas.microsoft.com/office/powerpoint/2010/main" val="1466003123"/>
      </p:ext>
    </p:extLst>
  </p:cSld>
  <p:clrMap bg1="lt1" tx1="dk1" bg2="lt2" tx2="dk2" accent1="accent1" accent2="accent2" accent3="accent3" accent4="accent4" accent5="accent5" accent6="accent6" hlink="hlink" folHlink="folHlink"/>
  <p:sldLayoutIdLst>
    <p:sldLayoutId id="2147484376" r:id="rId1"/>
    <p:sldLayoutId id="2147484377" r:id="rId2"/>
    <p:sldLayoutId id="2147484378" r:id="rId3"/>
    <p:sldLayoutId id="2147484379" r:id="rId4"/>
    <p:sldLayoutId id="2147484380" r:id="rId5"/>
    <p:sldLayoutId id="2147484381" r:id="rId6"/>
    <p:sldLayoutId id="2147484382" r:id="rId7"/>
    <p:sldLayoutId id="2147484383" r:id="rId8"/>
    <p:sldLayoutId id="2147484384" r:id="rId9"/>
    <p:sldLayoutId id="2147484385" r:id="rId10"/>
    <p:sldLayoutId id="2147484386" r:id="rId11"/>
    <p:sldLayoutId id="2147484387" r:id="rId12"/>
    <p:sldLayoutId id="2147484388" r:id="rId13"/>
    <p:sldLayoutId id="2147484406" r:id="rId14"/>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47904" algn="ctr" rtl="0" fontAlgn="base">
        <a:spcBef>
          <a:spcPct val="0"/>
        </a:spcBef>
        <a:spcAft>
          <a:spcPct val="0"/>
        </a:spcAft>
        <a:defRPr sz="4400">
          <a:solidFill>
            <a:schemeClr val="tx1"/>
          </a:solidFill>
          <a:latin typeface="Calibri" pitchFamily="34" charset="0"/>
        </a:defRPr>
      </a:lvl6pPr>
      <a:lvl7pPr marL="895763" algn="ctr" rtl="0" fontAlgn="base">
        <a:spcBef>
          <a:spcPct val="0"/>
        </a:spcBef>
        <a:spcAft>
          <a:spcPct val="0"/>
        </a:spcAft>
        <a:defRPr sz="4400">
          <a:solidFill>
            <a:schemeClr val="tx1"/>
          </a:solidFill>
          <a:latin typeface="Calibri" pitchFamily="34" charset="0"/>
        </a:defRPr>
      </a:lvl7pPr>
      <a:lvl8pPr marL="1343687" algn="ctr" rtl="0" fontAlgn="base">
        <a:spcBef>
          <a:spcPct val="0"/>
        </a:spcBef>
        <a:spcAft>
          <a:spcPct val="0"/>
        </a:spcAft>
        <a:defRPr sz="4400">
          <a:solidFill>
            <a:schemeClr val="tx1"/>
          </a:solidFill>
          <a:latin typeface="Calibri" pitchFamily="34" charset="0"/>
        </a:defRPr>
      </a:lvl8pPr>
      <a:lvl9pPr marL="1791534" algn="ctr" rtl="0" fontAlgn="base">
        <a:spcBef>
          <a:spcPct val="0"/>
        </a:spcBef>
        <a:spcAft>
          <a:spcPct val="0"/>
        </a:spcAft>
        <a:defRPr sz="4400">
          <a:solidFill>
            <a:schemeClr val="tx1"/>
          </a:solidFill>
          <a:latin typeface="Calibri" pitchFamily="34" charset="0"/>
        </a:defRPr>
      </a:lvl9pPr>
    </p:titleStyle>
    <p:bodyStyle>
      <a:lvl1pPr marL="335873" indent="-335873"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27834" indent="-279936"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19717" indent="-223919"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567622" indent="-223919"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15447" indent="-223919"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463376" indent="-223919" algn="l" defTabSz="8957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11295" indent="-223919" algn="l" defTabSz="8957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359139" indent="-223919" algn="l" defTabSz="8957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07040" indent="-223919" algn="l" defTabSz="8957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ES"/>
      </a:defPPr>
      <a:lvl1pPr marL="0" algn="l" defTabSz="895763" rtl="0" eaLnBrk="1" latinLnBrk="0" hangingPunct="1">
        <a:defRPr sz="1800" kern="1200">
          <a:solidFill>
            <a:schemeClr val="tx1"/>
          </a:solidFill>
          <a:latin typeface="+mn-lt"/>
          <a:ea typeface="+mn-ea"/>
          <a:cs typeface="+mn-cs"/>
        </a:defRPr>
      </a:lvl1pPr>
      <a:lvl2pPr marL="447904" algn="l" defTabSz="895763" rtl="0" eaLnBrk="1" latinLnBrk="0" hangingPunct="1">
        <a:defRPr sz="1800" kern="1200">
          <a:solidFill>
            <a:schemeClr val="tx1"/>
          </a:solidFill>
          <a:latin typeface="+mn-lt"/>
          <a:ea typeface="+mn-ea"/>
          <a:cs typeface="+mn-cs"/>
        </a:defRPr>
      </a:lvl2pPr>
      <a:lvl3pPr marL="895763" algn="l" defTabSz="895763" rtl="0" eaLnBrk="1" latinLnBrk="0" hangingPunct="1">
        <a:defRPr sz="1800" kern="1200">
          <a:solidFill>
            <a:schemeClr val="tx1"/>
          </a:solidFill>
          <a:latin typeface="+mn-lt"/>
          <a:ea typeface="+mn-ea"/>
          <a:cs typeface="+mn-cs"/>
        </a:defRPr>
      </a:lvl3pPr>
      <a:lvl4pPr marL="1343687" algn="l" defTabSz="895763" rtl="0" eaLnBrk="1" latinLnBrk="0" hangingPunct="1">
        <a:defRPr sz="1800" kern="1200">
          <a:solidFill>
            <a:schemeClr val="tx1"/>
          </a:solidFill>
          <a:latin typeface="+mn-lt"/>
          <a:ea typeface="+mn-ea"/>
          <a:cs typeface="+mn-cs"/>
        </a:defRPr>
      </a:lvl4pPr>
      <a:lvl5pPr marL="1791534" algn="l" defTabSz="895763" rtl="0" eaLnBrk="1" latinLnBrk="0" hangingPunct="1">
        <a:defRPr sz="1800" kern="1200">
          <a:solidFill>
            <a:schemeClr val="tx1"/>
          </a:solidFill>
          <a:latin typeface="+mn-lt"/>
          <a:ea typeface="+mn-ea"/>
          <a:cs typeface="+mn-cs"/>
        </a:defRPr>
      </a:lvl5pPr>
      <a:lvl6pPr marL="2239429" algn="l" defTabSz="895763" rtl="0" eaLnBrk="1" latinLnBrk="0" hangingPunct="1">
        <a:defRPr sz="1800" kern="1200">
          <a:solidFill>
            <a:schemeClr val="tx1"/>
          </a:solidFill>
          <a:latin typeface="+mn-lt"/>
          <a:ea typeface="+mn-ea"/>
          <a:cs typeface="+mn-cs"/>
        </a:defRPr>
      </a:lvl6pPr>
      <a:lvl7pPr marL="2687326" algn="l" defTabSz="895763" rtl="0" eaLnBrk="1" latinLnBrk="0" hangingPunct="1">
        <a:defRPr sz="1800" kern="1200">
          <a:solidFill>
            <a:schemeClr val="tx1"/>
          </a:solidFill>
          <a:latin typeface="+mn-lt"/>
          <a:ea typeface="+mn-ea"/>
          <a:cs typeface="+mn-cs"/>
        </a:defRPr>
      </a:lvl7pPr>
      <a:lvl8pPr marL="3135229" algn="l" defTabSz="895763" rtl="0" eaLnBrk="1" latinLnBrk="0" hangingPunct="1">
        <a:defRPr sz="1800" kern="1200">
          <a:solidFill>
            <a:schemeClr val="tx1"/>
          </a:solidFill>
          <a:latin typeface="+mn-lt"/>
          <a:ea typeface="+mn-ea"/>
          <a:cs typeface="+mn-cs"/>
        </a:defRPr>
      </a:lvl8pPr>
      <a:lvl9pPr marL="3583064" algn="l" defTabSz="895763"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título"/>
          <p:cNvSpPr>
            <a:spLocks noGrp="1"/>
          </p:cNvSpPr>
          <p:nvPr>
            <p:ph type="title"/>
          </p:nvPr>
        </p:nvSpPr>
        <p:spPr>
          <a:xfrm>
            <a:off x="457200" y="205979"/>
            <a:ext cx="8229600" cy="857250"/>
          </a:xfrm>
          <a:prstGeom prst="rect">
            <a:avLst/>
          </a:prstGeom>
        </p:spPr>
        <p:txBody>
          <a:bodyPr vert="horz" lIns="91318" tIns="45659" rIns="91318" bIns="45659" rtlCol="0" anchor="ctr">
            <a:normAutofit/>
          </a:bodyPr>
          <a:lstStyle/>
          <a:p>
            <a:r>
              <a:rPr lang="es-ES" smtClean="0"/>
              <a:t>Haga clic para modificar el estilo de título del patrón</a:t>
            </a:r>
            <a:endParaRPr lang="es-AR"/>
          </a:p>
        </p:txBody>
      </p:sp>
      <p:sp>
        <p:nvSpPr>
          <p:cNvPr id="3" name="2 Marcador de texto"/>
          <p:cNvSpPr>
            <a:spLocks noGrp="1"/>
          </p:cNvSpPr>
          <p:nvPr>
            <p:ph type="body" idx="1"/>
          </p:nvPr>
        </p:nvSpPr>
        <p:spPr>
          <a:xfrm>
            <a:off x="457200" y="1200151"/>
            <a:ext cx="8229600" cy="3394472"/>
          </a:xfrm>
          <a:prstGeom prst="rect">
            <a:avLst/>
          </a:prstGeom>
        </p:spPr>
        <p:txBody>
          <a:bodyPr vert="horz" lIns="91318" tIns="45659" rIns="91318" bIns="45659" rtlCol="0">
            <a:normAutofit/>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AR"/>
          </a:p>
        </p:txBody>
      </p:sp>
      <p:sp>
        <p:nvSpPr>
          <p:cNvPr id="4" name="3 Marcador de fecha"/>
          <p:cNvSpPr>
            <a:spLocks noGrp="1"/>
          </p:cNvSpPr>
          <p:nvPr>
            <p:ph type="dt" sz="half" idx="2"/>
          </p:nvPr>
        </p:nvSpPr>
        <p:spPr>
          <a:xfrm>
            <a:off x="457200" y="4767264"/>
            <a:ext cx="2133600" cy="273844"/>
          </a:xfrm>
          <a:prstGeom prst="rect">
            <a:avLst/>
          </a:prstGeom>
        </p:spPr>
        <p:txBody>
          <a:bodyPr vert="horz" lIns="91318" tIns="45659" rIns="91318" bIns="45659" rtlCol="0" anchor="ctr"/>
          <a:lstStyle>
            <a:lvl1pPr algn="l">
              <a:defRPr sz="1200">
                <a:solidFill>
                  <a:schemeClr val="tx1">
                    <a:tint val="75000"/>
                  </a:schemeClr>
                </a:solidFill>
              </a:defRPr>
            </a:lvl1pPr>
          </a:lstStyle>
          <a:p>
            <a:pPr defTabSz="913028"/>
            <a:fld id="{0725BAA1-FBBD-4E70-A359-A09EE94F66E3}" type="datetimeFigureOut">
              <a:rPr lang="es-AR" smtClean="0">
                <a:solidFill>
                  <a:prstClr val="black">
                    <a:tint val="75000"/>
                  </a:prstClr>
                </a:solidFill>
              </a:rPr>
              <a:pPr defTabSz="913028"/>
              <a:t>7/8/2024</a:t>
            </a:fld>
            <a:endParaRPr lang="es-AR">
              <a:solidFill>
                <a:prstClr val="black">
                  <a:tint val="75000"/>
                </a:prstClr>
              </a:solidFill>
            </a:endParaRPr>
          </a:p>
        </p:txBody>
      </p:sp>
      <p:sp>
        <p:nvSpPr>
          <p:cNvPr id="5" name="4 Marcador de pie de página"/>
          <p:cNvSpPr>
            <a:spLocks noGrp="1"/>
          </p:cNvSpPr>
          <p:nvPr>
            <p:ph type="ftr" sz="quarter" idx="3"/>
          </p:nvPr>
        </p:nvSpPr>
        <p:spPr>
          <a:xfrm>
            <a:off x="3124200" y="4767264"/>
            <a:ext cx="2895600" cy="273844"/>
          </a:xfrm>
          <a:prstGeom prst="rect">
            <a:avLst/>
          </a:prstGeom>
        </p:spPr>
        <p:txBody>
          <a:bodyPr vert="horz" lIns="91318" tIns="45659" rIns="91318" bIns="45659" rtlCol="0" anchor="ctr"/>
          <a:lstStyle>
            <a:lvl1pPr algn="ctr">
              <a:defRPr sz="1200">
                <a:solidFill>
                  <a:schemeClr val="tx1">
                    <a:tint val="75000"/>
                  </a:schemeClr>
                </a:solidFill>
              </a:defRPr>
            </a:lvl1pPr>
          </a:lstStyle>
          <a:p>
            <a:pPr defTabSz="913028"/>
            <a:endParaRPr lang="es-AR">
              <a:solidFill>
                <a:prstClr val="black">
                  <a:tint val="75000"/>
                </a:prstClr>
              </a:solidFill>
            </a:endParaRPr>
          </a:p>
        </p:txBody>
      </p:sp>
      <p:sp>
        <p:nvSpPr>
          <p:cNvPr id="6" name="5 Marcador de número de diapositiva"/>
          <p:cNvSpPr>
            <a:spLocks noGrp="1"/>
          </p:cNvSpPr>
          <p:nvPr>
            <p:ph type="sldNum" sz="quarter" idx="4"/>
          </p:nvPr>
        </p:nvSpPr>
        <p:spPr>
          <a:xfrm>
            <a:off x="6553200" y="4767264"/>
            <a:ext cx="2133600" cy="273844"/>
          </a:xfrm>
          <a:prstGeom prst="rect">
            <a:avLst/>
          </a:prstGeom>
        </p:spPr>
        <p:txBody>
          <a:bodyPr vert="horz" lIns="91318" tIns="45659" rIns="91318" bIns="45659" rtlCol="0" anchor="ctr"/>
          <a:lstStyle>
            <a:lvl1pPr algn="r">
              <a:defRPr sz="1200">
                <a:solidFill>
                  <a:schemeClr val="tx1">
                    <a:tint val="75000"/>
                  </a:schemeClr>
                </a:solidFill>
              </a:defRPr>
            </a:lvl1pPr>
          </a:lstStyle>
          <a:p>
            <a:pPr defTabSz="913028"/>
            <a:fld id="{59E1C38B-2DCA-4AC1-8602-45EA13F687CD}" type="slidenum">
              <a:rPr lang="es-AR" smtClean="0">
                <a:solidFill>
                  <a:prstClr val="black">
                    <a:tint val="75000"/>
                  </a:prstClr>
                </a:solidFill>
              </a:rPr>
              <a:pPr defTabSz="913028"/>
              <a:t>‹Nº›</a:t>
            </a:fld>
            <a:endParaRPr lang="es-AR">
              <a:solidFill>
                <a:prstClr val="black">
                  <a:tint val="75000"/>
                </a:prstClr>
              </a:solidFill>
            </a:endParaRPr>
          </a:p>
        </p:txBody>
      </p:sp>
    </p:spTree>
    <p:extLst>
      <p:ext uri="{BB962C8B-B14F-4D97-AF65-F5344CB8AC3E}">
        <p14:creationId xmlns:p14="http://schemas.microsoft.com/office/powerpoint/2010/main" val="971682810"/>
      </p:ext>
    </p:extLst>
  </p:cSld>
  <p:clrMap bg1="lt1" tx1="dk1" bg2="lt2" tx2="dk2" accent1="accent1" accent2="accent2" accent3="accent3" accent4="accent4" accent5="accent5" accent6="accent6" hlink="hlink" folHlink="folHlink"/>
  <p:sldLayoutIdLst>
    <p:sldLayoutId id="2147484390" r:id="rId1"/>
    <p:sldLayoutId id="2147484391" r:id="rId2"/>
    <p:sldLayoutId id="2147484392" r:id="rId3"/>
    <p:sldLayoutId id="2147484393" r:id="rId4"/>
    <p:sldLayoutId id="2147484394" r:id="rId5"/>
    <p:sldLayoutId id="2147484395" r:id="rId6"/>
    <p:sldLayoutId id="2147484396" r:id="rId7"/>
    <p:sldLayoutId id="2147484397" r:id="rId8"/>
    <p:sldLayoutId id="2147484398" r:id="rId9"/>
    <p:sldLayoutId id="2147484399" r:id="rId10"/>
    <p:sldLayoutId id="2147484400" r:id="rId11"/>
    <p:sldLayoutId id="2147484401" r:id="rId12"/>
  </p:sldLayoutIdLst>
  <p:txStyles>
    <p:titleStyle>
      <a:lvl1pPr algn="ctr" defTabSz="913028" rtl="0" eaLnBrk="1" latinLnBrk="0" hangingPunct="1">
        <a:spcBef>
          <a:spcPct val="0"/>
        </a:spcBef>
        <a:buNone/>
        <a:defRPr sz="4400" kern="1200">
          <a:solidFill>
            <a:schemeClr val="tx1"/>
          </a:solidFill>
          <a:latin typeface="+mj-lt"/>
          <a:ea typeface="+mj-ea"/>
          <a:cs typeface="+mj-cs"/>
        </a:defRPr>
      </a:lvl1pPr>
    </p:titleStyle>
    <p:bodyStyle>
      <a:lvl1pPr marL="342353" indent="-342353" algn="l" defTabSz="913028"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1851" indent="-285323" algn="l" defTabSz="913028"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1262" indent="-228234" algn="l" defTabSz="913028"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597760" indent="-228234" algn="l" defTabSz="913028"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4288" indent="-228234" algn="l" defTabSz="913028"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0757" indent="-228234" algn="l" defTabSz="91302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7286" indent="-228234" algn="l" defTabSz="91302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3785" indent="-228234" algn="l" defTabSz="91302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0283" indent="-228234" algn="l" defTabSz="91302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AR"/>
      </a:defPPr>
      <a:lvl1pPr marL="0" algn="l" defTabSz="913028" rtl="0" eaLnBrk="1" latinLnBrk="0" hangingPunct="1">
        <a:defRPr sz="1800" kern="1200">
          <a:solidFill>
            <a:schemeClr val="tx1"/>
          </a:solidFill>
          <a:latin typeface="+mn-lt"/>
          <a:ea typeface="+mn-ea"/>
          <a:cs typeface="+mn-cs"/>
        </a:defRPr>
      </a:lvl1pPr>
      <a:lvl2pPr marL="456470" algn="l" defTabSz="913028" rtl="0" eaLnBrk="1" latinLnBrk="0" hangingPunct="1">
        <a:defRPr sz="1800" kern="1200">
          <a:solidFill>
            <a:schemeClr val="tx1"/>
          </a:solidFill>
          <a:latin typeface="+mn-lt"/>
          <a:ea typeface="+mn-ea"/>
          <a:cs typeface="+mn-cs"/>
        </a:defRPr>
      </a:lvl2pPr>
      <a:lvl3pPr marL="913028" algn="l" defTabSz="913028" rtl="0" eaLnBrk="1" latinLnBrk="0" hangingPunct="1">
        <a:defRPr sz="1800" kern="1200">
          <a:solidFill>
            <a:schemeClr val="tx1"/>
          </a:solidFill>
          <a:latin typeface="+mn-lt"/>
          <a:ea typeface="+mn-ea"/>
          <a:cs typeface="+mn-cs"/>
        </a:defRPr>
      </a:lvl3pPr>
      <a:lvl4pPr marL="1369526" algn="l" defTabSz="913028" rtl="0" eaLnBrk="1" latinLnBrk="0" hangingPunct="1">
        <a:defRPr sz="1800" kern="1200">
          <a:solidFill>
            <a:schemeClr val="tx1"/>
          </a:solidFill>
          <a:latin typeface="+mn-lt"/>
          <a:ea typeface="+mn-ea"/>
          <a:cs typeface="+mn-cs"/>
        </a:defRPr>
      </a:lvl4pPr>
      <a:lvl5pPr marL="1826054" algn="l" defTabSz="913028" rtl="0" eaLnBrk="1" latinLnBrk="0" hangingPunct="1">
        <a:defRPr sz="1800" kern="1200">
          <a:solidFill>
            <a:schemeClr val="tx1"/>
          </a:solidFill>
          <a:latin typeface="+mn-lt"/>
          <a:ea typeface="+mn-ea"/>
          <a:cs typeface="+mn-cs"/>
        </a:defRPr>
      </a:lvl5pPr>
      <a:lvl6pPr marL="2282523" algn="l" defTabSz="913028" rtl="0" eaLnBrk="1" latinLnBrk="0" hangingPunct="1">
        <a:defRPr sz="1800" kern="1200">
          <a:solidFill>
            <a:schemeClr val="tx1"/>
          </a:solidFill>
          <a:latin typeface="+mn-lt"/>
          <a:ea typeface="+mn-ea"/>
          <a:cs typeface="+mn-cs"/>
        </a:defRPr>
      </a:lvl6pPr>
      <a:lvl7pPr marL="2738993" algn="l" defTabSz="913028" rtl="0" eaLnBrk="1" latinLnBrk="0" hangingPunct="1">
        <a:defRPr sz="1800" kern="1200">
          <a:solidFill>
            <a:schemeClr val="tx1"/>
          </a:solidFill>
          <a:latin typeface="+mn-lt"/>
          <a:ea typeface="+mn-ea"/>
          <a:cs typeface="+mn-cs"/>
        </a:defRPr>
      </a:lvl7pPr>
      <a:lvl8pPr marL="3195520" algn="l" defTabSz="913028" rtl="0" eaLnBrk="1" latinLnBrk="0" hangingPunct="1">
        <a:defRPr sz="1800" kern="1200">
          <a:solidFill>
            <a:schemeClr val="tx1"/>
          </a:solidFill>
          <a:latin typeface="+mn-lt"/>
          <a:ea typeface="+mn-ea"/>
          <a:cs typeface="+mn-cs"/>
        </a:defRPr>
      </a:lvl8pPr>
      <a:lvl9pPr marL="3652035" algn="l" defTabSz="913028"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5125" y="891699"/>
            <a:ext cx="8414246" cy="349933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4"/>
          </p:nvPr>
        </p:nvSpPr>
        <p:spPr>
          <a:xfrm>
            <a:off x="8445385" y="4827993"/>
            <a:ext cx="352249" cy="273844"/>
          </a:xfrm>
          <a:prstGeom prst="rect">
            <a:avLst/>
          </a:prstGeom>
        </p:spPr>
        <p:txBody>
          <a:bodyPr vert="horz" lIns="72000" tIns="0" rIns="0" bIns="0" rtlCol="0" anchor="t" anchorCtr="0"/>
          <a:lstStyle>
            <a:lvl1pPr algn="r">
              <a:defRPr sz="600">
                <a:solidFill>
                  <a:schemeClr val="tx2"/>
                </a:solidFill>
              </a:defRPr>
            </a:lvl1pPr>
          </a:lstStyle>
          <a:p>
            <a:fld id="{9F9F533D-B52E-4A2F-BF72-0ADD2D94BD75}" type="slidenum">
              <a:rPr lang="en-GB" smtClean="0">
                <a:solidFill>
                  <a:srgbClr val="9A8B7D"/>
                </a:solidFill>
              </a:rPr>
              <a:pPr/>
              <a:t>‹Nº›</a:t>
            </a:fld>
            <a:endParaRPr lang="en-GB">
              <a:solidFill>
                <a:srgbClr val="9A8B7D"/>
              </a:solidFill>
            </a:endParaRPr>
          </a:p>
        </p:txBody>
      </p:sp>
      <p:sp>
        <p:nvSpPr>
          <p:cNvPr id="4" name="Title Placeholder 3"/>
          <p:cNvSpPr>
            <a:spLocks noGrp="1"/>
          </p:cNvSpPr>
          <p:nvPr>
            <p:ph type="title"/>
          </p:nvPr>
        </p:nvSpPr>
        <p:spPr>
          <a:xfrm>
            <a:off x="365133" y="221107"/>
            <a:ext cx="7577139" cy="253916"/>
          </a:xfrm>
          <a:prstGeom prst="rect">
            <a:avLst/>
          </a:prstGeom>
        </p:spPr>
        <p:txBody>
          <a:bodyPr vert="horz" lIns="0" tIns="0" rIns="0" bIns="0" rtlCol="0" anchor="t" anchorCtr="0">
            <a:spAutoFit/>
          </a:bodyPr>
          <a:lstStyle/>
          <a:p>
            <a:r>
              <a:rPr lang="en-US"/>
              <a:t>Click to edit Master title style</a:t>
            </a:r>
            <a:endParaRPr lang="en-GB"/>
          </a:p>
        </p:txBody>
      </p:sp>
      <p:cxnSp>
        <p:nvCxnSpPr>
          <p:cNvPr id="10" name="Straight Connector 9"/>
          <p:cNvCxnSpPr/>
          <p:nvPr/>
        </p:nvCxnSpPr>
        <p:spPr>
          <a:xfrm>
            <a:off x="374651" y="4742467"/>
            <a:ext cx="8416225"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374651" y="806650"/>
            <a:ext cx="8416225" cy="0"/>
          </a:xfrm>
          <a:prstGeom prst="line">
            <a:avLst/>
          </a:prstGeom>
          <a:ln w="12700"/>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8232645" y="270085"/>
            <a:ext cx="554400" cy="357152"/>
          </a:xfrm>
          <a:prstGeom prst="rect">
            <a:avLst/>
          </a:prstGeom>
        </p:spPr>
      </p:pic>
    </p:spTree>
    <p:extLst>
      <p:ext uri="{BB962C8B-B14F-4D97-AF65-F5344CB8AC3E}">
        <p14:creationId xmlns:p14="http://schemas.microsoft.com/office/powerpoint/2010/main" val="3647572141"/>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 id="2147483880" r:id="rId17"/>
    <p:sldLayoutId id="2147483881" r:id="rId18"/>
    <p:sldLayoutId id="2147483882" r:id="rId19"/>
    <p:sldLayoutId id="2147483883" r:id="rId20"/>
    <p:sldLayoutId id="2147483884" r:id="rId21"/>
    <p:sldLayoutId id="2147483885" r:id="rId22"/>
    <p:sldLayoutId id="2147483886" r:id="rId23"/>
    <p:sldLayoutId id="2147483887" r:id="rId24"/>
    <p:sldLayoutId id="2147483888" r:id="rId25"/>
    <p:sldLayoutId id="2147483889" r:id="rId26"/>
  </p:sldLayoutIdLst>
  <p:hf hdr="0" ftr="0" dt="0"/>
  <p:txStyles>
    <p:titleStyle>
      <a:lvl1pPr algn="l" defTabSz="685800" rtl="0" eaLnBrk="1" latinLnBrk="0" hangingPunct="1">
        <a:lnSpc>
          <a:spcPct val="100000"/>
        </a:lnSpc>
        <a:spcBef>
          <a:spcPct val="0"/>
        </a:spcBef>
        <a:buNone/>
        <a:defRPr sz="1650" b="1" kern="1200">
          <a:solidFill>
            <a:schemeClr val="bg2"/>
          </a:solidFill>
          <a:latin typeface="+mj-lt"/>
          <a:ea typeface="+mj-ea"/>
          <a:cs typeface="+mj-cs"/>
        </a:defRPr>
      </a:lvl1pPr>
    </p:titleStyle>
    <p:bodyStyle>
      <a:lvl1pPr marL="202500" indent="-202500" algn="l" defTabSz="685800" rtl="0" eaLnBrk="1" latinLnBrk="0" hangingPunct="1">
        <a:spcBef>
          <a:spcPts val="0"/>
        </a:spcBef>
        <a:spcAft>
          <a:spcPts val="450"/>
        </a:spcAft>
        <a:buClr>
          <a:schemeClr val="tx1"/>
        </a:buClr>
        <a:buFont typeface="Arial" pitchFamily="34" charset="0"/>
        <a:buChar char="–"/>
        <a:defRPr sz="1200" kern="1200">
          <a:solidFill>
            <a:schemeClr val="tx1"/>
          </a:solidFill>
          <a:latin typeface="+mn-lt"/>
          <a:ea typeface="+mn-ea"/>
          <a:cs typeface="+mn-cs"/>
        </a:defRPr>
      </a:lvl1pPr>
      <a:lvl2pPr marL="403622" indent="-202500" algn="l" defTabSz="685800" rtl="0" eaLnBrk="1" latinLnBrk="0" hangingPunct="1">
        <a:spcBef>
          <a:spcPts val="0"/>
        </a:spcBef>
        <a:spcAft>
          <a:spcPts val="450"/>
        </a:spcAft>
        <a:buFont typeface="Arial" pitchFamily="34" charset="0"/>
        <a:buChar char="–"/>
        <a:defRPr sz="1050" kern="1200">
          <a:solidFill>
            <a:schemeClr val="tx1"/>
          </a:solidFill>
          <a:latin typeface="+mn-lt"/>
          <a:ea typeface="+mn-ea"/>
          <a:cs typeface="+mn-cs"/>
        </a:defRPr>
      </a:lvl2pPr>
      <a:lvl3pPr marL="607500" indent="-202500" algn="l" defTabSz="685800" rtl="0" eaLnBrk="1" latinLnBrk="0" hangingPunct="1">
        <a:spcBef>
          <a:spcPts val="0"/>
        </a:spcBef>
        <a:spcAft>
          <a:spcPts val="450"/>
        </a:spcAft>
        <a:buFont typeface="Arial" pitchFamily="34" charset="0"/>
        <a:buChar char="–"/>
        <a:defRPr sz="900" kern="1200">
          <a:solidFill>
            <a:schemeClr val="tx1"/>
          </a:solidFill>
          <a:latin typeface="+mn-lt"/>
          <a:ea typeface="+mn-ea"/>
          <a:cs typeface="+mn-cs"/>
        </a:defRPr>
      </a:lvl3pPr>
      <a:lvl4pPr marL="810816" indent="-202500" algn="l" defTabSz="685800" rtl="0" eaLnBrk="1" latinLnBrk="0" hangingPunct="1">
        <a:spcBef>
          <a:spcPts val="0"/>
        </a:spcBef>
        <a:spcAft>
          <a:spcPts val="450"/>
        </a:spcAft>
        <a:buFont typeface="Arial" pitchFamily="34" charset="0"/>
        <a:buChar char="–"/>
        <a:defRPr sz="900" kern="1200">
          <a:solidFill>
            <a:schemeClr val="tx1"/>
          </a:solidFill>
          <a:latin typeface="+mn-lt"/>
          <a:ea typeface="+mn-ea"/>
          <a:cs typeface="+mn-cs"/>
        </a:defRPr>
      </a:lvl4pPr>
      <a:lvl5pPr marL="1012500" indent="-202500" algn="l" defTabSz="685800" rtl="0" eaLnBrk="1" latinLnBrk="0" hangingPunct="1">
        <a:spcBef>
          <a:spcPts val="0"/>
        </a:spcBef>
        <a:spcAft>
          <a:spcPts val="450"/>
        </a:spcAft>
        <a:buFont typeface="Arial" pitchFamily="34" charset="0"/>
        <a:buChar char="–"/>
        <a:defRPr sz="900" b="0" kern="1200">
          <a:solidFill>
            <a:schemeClr val="tx1"/>
          </a:solidFill>
          <a:latin typeface="+mn-lt"/>
          <a:ea typeface="+mn-ea"/>
          <a:cs typeface="+mn-cs"/>
        </a:defRPr>
      </a:lvl5pPr>
      <a:lvl6pPr marL="1215000" indent="-202500" algn="l" defTabSz="685800" rtl="0" eaLnBrk="1" latinLnBrk="0" hangingPunct="1">
        <a:spcBef>
          <a:spcPts val="0"/>
        </a:spcBef>
        <a:spcAft>
          <a:spcPts val="450"/>
        </a:spcAft>
        <a:buFont typeface="Arial" pitchFamily="34" charset="0"/>
        <a:buChar char="–"/>
        <a:defRPr sz="900" kern="1200">
          <a:solidFill>
            <a:schemeClr val="tx1"/>
          </a:solidFill>
          <a:latin typeface="+mn-lt"/>
          <a:ea typeface="+mn-ea"/>
          <a:cs typeface="+mn-cs"/>
        </a:defRPr>
      </a:lvl6pPr>
      <a:lvl7pPr marL="1350000" indent="-202500" algn="l" defTabSz="685800" rtl="0" eaLnBrk="1" latinLnBrk="0" hangingPunct="1">
        <a:spcBef>
          <a:spcPts val="0"/>
        </a:spcBef>
        <a:spcAft>
          <a:spcPts val="450"/>
        </a:spcAft>
        <a:buFont typeface="Arial" pitchFamily="34" charset="0"/>
        <a:buChar char="–"/>
        <a:defRPr sz="900" kern="1200">
          <a:solidFill>
            <a:schemeClr val="tx1"/>
          </a:solidFill>
          <a:latin typeface="+mn-lt"/>
          <a:ea typeface="+mn-ea"/>
          <a:cs typeface="+mn-cs"/>
        </a:defRPr>
      </a:lvl7pPr>
      <a:lvl8pPr marL="1552500" indent="-202500" algn="l" defTabSz="685800" rtl="0" eaLnBrk="1" latinLnBrk="0" hangingPunct="1">
        <a:spcBef>
          <a:spcPts val="0"/>
        </a:spcBef>
        <a:spcAft>
          <a:spcPts val="450"/>
        </a:spcAft>
        <a:buFont typeface="Arial" pitchFamily="34" charset="0"/>
        <a:buChar char="–"/>
        <a:defRPr sz="900" kern="1200">
          <a:solidFill>
            <a:schemeClr val="tx1"/>
          </a:solidFill>
          <a:latin typeface="+mn-lt"/>
          <a:ea typeface="+mn-ea"/>
          <a:cs typeface="+mn-cs"/>
        </a:defRPr>
      </a:lvl8pPr>
      <a:lvl9pPr marL="1755000" indent="-202500" algn="l" defTabSz="685800" rtl="0" eaLnBrk="1" latinLnBrk="0" hangingPunct="1">
        <a:spcBef>
          <a:spcPts val="0"/>
        </a:spcBef>
        <a:spcAft>
          <a:spcPts val="450"/>
        </a:spcAft>
        <a:buFont typeface="Arial" pitchFamily="34" charset="0"/>
        <a:buChar char="–"/>
        <a:defRPr sz="9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351">
          <p15:clr>
            <a:srgbClr val="F26B43"/>
          </p15:clr>
        </p15:guide>
        <p15:guide id="4" pos="226">
          <p15:clr>
            <a:srgbClr val="F26B43"/>
          </p15:clr>
        </p15:guide>
        <p15:guide id="5" pos="553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4904" y="884682"/>
            <a:ext cx="8414246" cy="3499330"/>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4"/>
          </p:nvPr>
        </p:nvSpPr>
        <p:spPr>
          <a:xfrm>
            <a:off x="7955113" y="4827987"/>
            <a:ext cx="830123" cy="273844"/>
          </a:xfrm>
          <a:prstGeom prst="rect">
            <a:avLst/>
          </a:prstGeom>
        </p:spPr>
        <p:txBody>
          <a:bodyPr vert="horz" lIns="0" tIns="0" rIns="0" bIns="0" rtlCol="0" anchor="t" anchorCtr="0"/>
          <a:lstStyle>
            <a:lvl1pPr algn="r">
              <a:defRPr sz="600">
                <a:solidFill>
                  <a:schemeClr val="accent2"/>
                </a:solidFill>
              </a:defRPr>
            </a:lvl1pPr>
          </a:lstStyle>
          <a:p>
            <a:fld id="{9F9F533D-B52E-4A2F-BF72-0ADD2D94BD75}" type="slidenum">
              <a:rPr lang="en-GB" smtClean="0"/>
              <a:pPr/>
              <a:t>‹Nº›</a:t>
            </a:fld>
            <a:endParaRPr lang="en-GB"/>
          </a:p>
        </p:txBody>
      </p:sp>
      <p:sp>
        <p:nvSpPr>
          <p:cNvPr id="4" name="Title Placeholder 3"/>
          <p:cNvSpPr>
            <a:spLocks noGrp="1"/>
          </p:cNvSpPr>
          <p:nvPr>
            <p:ph type="title"/>
          </p:nvPr>
        </p:nvSpPr>
        <p:spPr>
          <a:xfrm>
            <a:off x="374920" y="221107"/>
            <a:ext cx="7577139" cy="253916"/>
          </a:xfrm>
          <a:prstGeom prst="rect">
            <a:avLst/>
          </a:prstGeom>
        </p:spPr>
        <p:txBody>
          <a:bodyPr vert="horz" lIns="0" tIns="0" rIns="0" bIns="0" rtlCol="0" anchor="t" anchorCtr="0">
            <a:spAutoFit/>
          </a:bodyPr>
          <a:lstStyle/>
          <a:p>
            <a:r>
              <a:rPr lang="en-US"/>
              <a:t>Click to edit Master heading style</a:t>
            </a:r>
            <a:endParaRPr lang="en-GB"/>
          </a:p>
        </p:txBody>
      </p:sp>
      <p:cxnSp>
        <p:nvCxnSpPr>
          <p:cNvPr id="10" name="Straight Connector 9"/>
          <p:cNvCxnSpPr/>
          <p:nvPr userDrawn="1"/>
        </p:nvCxnSpPr>
        <p:spPr>
          <a:xfrm>
            <a:off x="374651" y="4742467"/>
            <a:ext cx="8416225"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74651" y="806650"/>
            <a:ext cx="8416225"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136824" y="182430"/>
            <a:ext cx="743164" cy="534923"/>
          </a:xfrm>
          <a:prstGeom prst="rect">
            <a:avLst/>
          </a:prstGeom>
        </p:spPr>
      </p:pic>
    </p:spTree>
    <p:extLst>
      <p:ext uri="{BB962C8B-B14F-4D97-AF65-F5344CB8AC3E}">
        <p14:creationId xmlns:p14="http://schemas.microsoft.com/office/powerpoint/2010/main" val="3800990030"/>
      </p:ext>
    </p:extLst>
  </p:cSld>
  <p:clrMap bg1="lt1" tx1="dk1" bg2="lt2" tx2="dk2" accent1="accent1" accent2="accent2" accent3="accent3" accent4="accent4" accent5="accent5" accent6="accent6" hlink="hlink" folHlink="folHlink"/>
  <p:sldLayoutIdLst>
    <p:sldLayoutId id="2147483892" r:id="rId1"/>
    <p:sldLayoutId id="2147483893" r:id="rId2"/>
    <p:sldLayoutId id="2147483894" r:id="rId3"/>
    <p:sldLayoutId id="2147483895" r:id="rId4"/>
    <p:sldLayoutId id="2147483896" r:id="rId5"/>
    <p:sldLayoutId id="2147483897" r:id="rId6"/>
    <p:sldLayoutId id="2147483898" r:id="rId7"/>
    <p:sldLayoutId id="2147483900" r:id="rId8"/>
    <p:sldLayoutId id="2147483901" r:id="rId9"/>
    <p:sldLayoutId id="2147483902" r:id="rId10"/>
  </p:sldLayoutIdLst>
  <p:hf hdr="0" ftr="0" dt="0"/>
  <p:txStyles>
    <p:titleStyle>
      <a:lvl1pPr algn="l" defTabSz="685800" rtl="0" eaLnBrk="1" latinLnBrk="0" hangingPunct="1">
        <a:lnSpc>
          <a:spcPct val="100000"/>
        </a:lnSpc>
        <a:spcBef>
          <a:spcPct val="0"/>
        </a:spcBef>
        <a:buNone/>
        <a:defRPr sz="1650" b="1" kern="1200">
          <a:solidFill>
            <a:schemeClr val="bg2"/>
          </a:solidFill>
          <a:latin typeface="+mj-lt"/>
          <a:ea typeface="+mj-ea"/>
          <a:cs typeface="+mj-cs"/>
        </a:defRPr>
      </a:lvl1pPr>
    </p:titleStyle>
    <p:bodyStyle>
      <a:lvl1pPr marL="202500" indent="-202500" algn="l" defTabSz="685800" rtl="0" eaLnBrk="1" latinLnBrk="0" hangingPunct="1">
        <a:spcBef>
          <a:spcPts val="0"/>
        </a:spcBef>
        <a:spcAft>
          <a:spcPts val="450"/>
        </a:spcAft>
        <a:buClr>
          <a:schemeClr val="accent2"/>
        </a:buClr>
        <a:buFont typeface="Arial" pitchFamily="34" charset="0"/>
        <a:buChar char="–"/>
        <a:defRPr sz="1200" kern="1200">
          <a:solidFill>
            <a:schemeClr val="accent2"/>
          </a:solidFill>
          <a:latin typeface="+mn-lt"/>
          <a:ea typeface="+mn-ea"/>
          <a:cs typeface="+mn-cs"/>
        </a:defRPr>
      </a:lvl1pPr>
      <a:lvl2pPr marL="403622" indent="-202500" algn="l" defTabSz="685800" rtl="0" eaLnBrk="1" latinLnBrk="0" hangingPunct="1">
        <a:spcBef>
          <a:spcPts val="0"/>
        </a:spcBef>
        <a:spcAft>
          <a:spcPts val="450"/>
        </a:spcAft>
        <a:buFont typeface="Arial" pitchFamily="34" charset="0"/>
        <a:buChar char="–"/>
        <a:defRPr sz="1050" kern="1200">
          <a:solidFill>
            <a:schemeClr val="accent2"/>
          </a:solidFill>
          <a:latin typeface="+mn-lt"/>
          <a:ea typeface="+mn-ea"/>
          <a:cs typeface="+mn-cs"/>
        </a:defRPr>
      </a:lvl2pPr>
      <a:lvl3pPr marL="607500" indent="-202500" algn="l" defTabSz="685800" rtl="0" eaLnBrk="1" latinLnBrk="0" hangingPunct="1">
        <a:spcBef>
          <a:spcPts val="0"/>
        </a:spcBef>
        <a:spcAft>
          <a:spcPts val="450"/>
        </a:spcAft>
        <a:buFont typeface="Arial" pitchFamily="34" charset="0"/>
        <a:buChar char="–"/>
        <a:defRPr sz="900" kern="1200">
          <a:solidFill>
            <a:schemeClr val="accent2"/>
          </a:solidFill>
          <a:latin typeface="+mn-lt"/>
          <a:ea typeface="+mn-ea"/>
          <a:cs typeface="+mn-cs"/>
        </a:defRPr>
      </a:lvl3pPr>
      <a:lvl4pPr marL="810816" indent="-202500" algn="l" defTabSz="685800" rtl="0" eaLnBrk="1" latinLnBrk="0" hangingPunct="1">
        <a:spcBef>
          <a:spcPts val="0"/>
        </a:spcBef>
        <a:spcAft>
          <a:spcPts val="450"/>
        </a:spcAft>
        <a:buFont typeface="Arial" pitchFamily="34" charset="0"/>
        <a:buChar char="–"/>
        <a:defRPr sz="900" kern="1200">
          <a:solidFill>
            <a:schemeClr val="accent2"/>
          </a:solidFill>
          <a:latin typeface="+mn-lt"/>
          <a:ea typeface="+mn-ea"/>
          <a:cs typeface="+mn-cs"/>
        </a:defRPr>
      </a:lvl4pPr>
      <a:lvl5pPr marL="1012500" indent="-202500" algn="l" defTabSz="685800" rtl="0" eaLnBrk="1" latinLnBrk="0" hangingPunct="1">
        <a:spcBef>
          <a:spcPts val="0"/>
        </a:spcBef>
        <a:spcAft>
          <a:spcPts val="450"/>
        </a:spcAft>
        <a:buFont typeface="Arial" pitchFamily="34" charset="0"/>
        <a:buChar char="–"/>
        <a:defRPr sz="900" b="0" kern="1200">
          <a:solidFill>
            <a:schemeClr val="accent2"/>
          </a:solidFill>
          <a:latin typeface="+mn-lt"/>
          <a:ea typeface="+mn-ea"/>
          <a:cs typeface="+mn-cs"/>
        </a:defRPr>
      </a:lvl5pPr>
      <a:lvl6pPr marL="1215000" indent="-202500" algn="l" defTabSz="685800" rtl="0" eaLnBrk="1" latinLnBrk="0" hangingPunct="1">
        <a:spcBef>
          <a:spcPts val="0"/>
        </a:spcBef>
        <a:spcAft>
          <a:spcPts val="450"/>
        </a:spcAft>
        <a:buFont typeface="Arial" pitchFamily="34" charset="0"/>
        <a:buChar char="–"/>
        <a:defRPr sz="900" kern="1200">
          <a:solidFill>
            <a:schemeClr val="tx1"/>
          </a:solidFill>
          <a:latin typeface="+mn-lt"/>
          <a:ea typeface="+mn-ea"/>
          <a:cs typeface="+mn-cs"/>
        </a:defRPr>
      </a:lvl6pPr>
      <a:lvl7pPr marL="1350000" indent="-202500" algn="l" defTabSz="685800" rtl="0" eaLnBrk="1" latinLnBrk="0" hangingPunct="1">
        <a:spcBef>
          <a:spcPts val="0"/>
        </a:spcBef>
        <a:spcAft>
          <a:spcPts val="450"/>
        </a:spcAft>
        <a:buFont typeface="Arial" pitchFamily="34" charset="0"/>
        <a:buChar char="–"/>
        <a:defRPr sz="900" kern="1200">
          <a:solidFill>
            <a:schemeClr val="tx1"/>
          </a:solidFill>
          <a:latin typeface="+mn-lt"/>
          <a:ea typeface="+mn-ea"/>
          <a:cs typeface="+mn-cs"/>
        </a:defRPr>
      </a:lvl7pPr>
      <a:lvl8pPr marL="1552500" indent="-202500" algn="l" defTabSz="685800" rtl="0" eaLnBrk="1" latinLnBrk="0" hangingPunct="1">
        <a:spcBef>
          <a:spcPts val="0"/>
        </a:spcBef>
        <a:spcAft>
          <a:spcPts val="450"/>
        </a:spcAft>
        <a:buFont typeface="Arial" pitchFamily="34" charset="0"/>
        <a:buChar char="–"/>
        <a:defRPr sz="900" kern="1200">
          <a:solidFill>
            <a:schemeClr val="tx1"/>
          </a:solidFill>
          <a:latin typeface="+mn-lt"/>
          <a:ea typeface="+mn-ea"/>
          <a:cs typeface="+mn-cs"/>
        </a:defRPr>
      </a:lvl8pPr>
      <a:lvl9pPr marL="1755000" indent="-202500" algn="l" defTabSz="685800" rtl="0" eaLnBrk="1" latinLnBrk="0" hangingPunct="1">
        <a:spcBef>
          <a:spcPts val="0"/>
        </a:spcBef>
        <a:spcAft>
          <a:spcPts val="450"/>
        </a:spcAft>
        <a:buFont typeface="Arial" pitchFamily="34" charset="0"/>
        <a:buChar char="–"/>
        <a:defRPr sz="9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pos="237">
          <p15:clr>
            <a:srgbClr val="F26B43"/>
          </p15:clr>
        </p15:guide>
        <p15:guide id="4" pos="5540">
          <p15:clr>
            <a:srgbClr val="F26B43"/>
          </p15:clr>
        </p15:guide>
        <p15:guide id="5" orient="horz" pos="734">
          <p15:clr>
            <a:srgbClr val="F26B43"/>
          </p15:clr>
        </p15:guide>
        <p15:guide id="7" orient="horz" pos="35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1 Marcador de título"/>
          <p:cNvSpPr>
            <a:spLocks noGrp="1"/>
          </p:cNvSpPr>
          <p:nvPr>
            <p:ph type="title"/>
          </p:nvPr>
        </p:nvSpPr>
        <p:spPr bwMode="auto">
          <a:xfrm>
            <a:off x="457200" y="205979"/>
            <a:ext cx="8229600" cy="8572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s-ES"/>
              <a:t>Haga clic para modificar el estilo de título del patrón</a:t>
            </a:r>
          </a:p>
        </p:txBody>
      </p:sp>
      <p:sp>
        <p:nvSpPr>
          <p:cNvPr id="1027" name="2 Marcador de texto"/>
          <p:cNvSpPr>
            <a:spLocks noGrp="1"/>
          </p:cNvSpPr>
          <p:nvPr>
            <p:ph type="body" idx="1"/>
          </p:nvPr>
        </p:nvSpPr>
        <p:spPr bwMode="auto">
          <a:xfrm>
            <a:off x="457200" y="1200151"/>
            <a:ext cx="8229600" cy="339447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3 Marcador de fecha"/>
          <p:cNvSpPr>
            <a:spLocks noGrp="1"/>
          </p:cNvSpPr>
          <p:nvPr>
            <p:ph type="dt" sz="half" idx="2"/>
          </p:nvPr>
        </p:nvSpPr>
        <p:spPr>
          <a:xfrm>
            <a:off x="457200" y="4767264"/>
            <a:ext cx="2133600" cy="273844"/>
          </a:xfrm>
          <a:prstGeom prst="rect">
            <a:avLst/>
          </a:prstGeom>
        </p:spPr>
        <p:txBody>
          <a:bodyPr vert="horz" lIns="91440" tIns="45720" rIns="91440" bIns="45720" rtlCol="0" anchor="ctr"/>
          <a:lstStyle>
            <a:lvl1pPr algn="l" fontAlgn="auto">
              <a:spcBef>
                <a:spcPts val="0"/>
              </a:spcBef>
              <a:spcAft>
                <a:spcPts val="0"/>
              </a:spcAft>
              <a:defRPr sz="1200" smtClean="0">
                <a:solidFill>
                  <a:schemeClr val="tx1">
                    <a:tint val="75000"/>
                  </a:schemeClr>
                </a:solidFill>
                <a:latin typeface="+mn-lt"/>
                <a:cs typeface="+mn-cs"/>
              </a:defRPr>
            </a:lvl1pPr>
          </a:lstStyle>
          <a:p>
            <a:pPr defTabSz="914400">
              <a:defRPr/>
            </a:pPr>
            <a:fld id="{33ACAE52-13C7-4441-A444-B489004C355C}" type="datetimeFigureOut">
              <a:rPr lang="es-ES">
                <a:solidFill>
                  <a:prstClr val="black">
                    <a:tint val="75000"/>
                  </a:prstClr>
                </a:solidFill>
              </a:rPr>
              <a:pPr defTabSz="914400">
                <a:defRPr/>
              </a:pPr>
              <a:t>07/08/2024</a:t>
            </a:fld>
            <a:endParaRPr lang="es-ES">
              <a:solidFill>
                <a:prstClr val="black">
                  <a:tint val="75000"/>
                </a:prstClr>
              </a:solidFill>
            </a:endParaRPr>
          </a:p>
        </p:txBody>
      </p:sp>
      <p:sp>
        <p:nvSpPr>
          <p:cNvPr id="5" name="4 Marcador de pie de página"/>
          <p:cNvSpPr>
            <a:spLocks noGrp="1"/>
          </p:cNvSpPr>
          <p:nvPr>
            <p:ph type="ftr" sz="quarter" idx="3"/>
          </p:nvPr>
        </p:nvSpPr>
        <p:spPr>
          <a:xfrm>
            <a:off x="3124200" y="4767264"/>
            <a:ext cx="2895600" cy="273844"/>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cs typeface="+mn-cs"/>
              </a:defRPr>
            </a:lvl1pPr>
          </a:lstStyle>
          <a:p>
            <a:pPr defTabSz="914400">
              <a:defRPr/>
            </a:pPr>
            <a:endParaRPr lang="es-ES">
              <a:solidFill>
                <a:prstClr val="black">
                  <a:tint val="75000"/>
                </a:prstClr>
              </a:solidFill>
            </a:endParaRPr>
          </a:p>
        </p:txBody>
      </p:sp>
      <p:sp>
        <p:nvSpPr>
          <p:cNvPr id="6" name="5 Marcador de número de diapositiva"/>
          <p:cNvSpPr>
            <a:spLocks noGrp="1"/>
          </p:cNvSpPr>
          <p:nvPr>
            <p:ph type="sldNum" sz="quarter" idx="4"/>
          </p:nvPr>
        </p:nvSpPr>
        <p:spPr>
          <a:xfrm>
            <a:off x="6553200" y="4767264"/>
            <a:ext cx="2133600" cy="273844"/>
          </a:xfrm>
          <a:prstGeom prst="rect">
            <a:avLst/>
          </a:prstGeom>
        </p:spPr>
        <p:txBody>
          <a:bodyPr vert="horz" lIns="91440" tIns="45720" rIns="91440" bIns="45720" rtlCol="0" anchor="ctr"/>
          <a:lstStyle>
            <a:lvl1pPr algn="r" fontAlgn="auto">
              <a:spcBef>
                <a:spcPts val="0"/>
              </a:spcBef>
              <a:spcAft>
                <a:spcPts val="0"/>
              </a:spcAft>
              <a:defRPr sz="1200" smtClean="0">
                <a:solidFill>
                  <a:schemeClr val="tx1">
                    <a:tint val="75000"/>
                  </a:schemeClr>
                </a:solidFill>
                <a:latin typeface="+mn-lt"/>
                <a:cs typeface="+mn-cs"/>
              </a:defRPr>
            </a:lvl1pPr>
          </a:lstStyle>
          <a:p>
            <a:pPr defTabSz="914400">
              <a:defRPr/>
            </a:pPr>
            <a:fld id="{4169B1C9-6A2A-4754-B3BB-2C64B99B1CFA}" type="slidenum">
              <a:rPr lang="es-ES">
                <a:solidFill>
                  <a:prstClr val="black">
                    <a:tint val="75000"/>
                  </a:prstClr>
                </a:solidFill>
              </a:rPr>
              <a:pPr defTabSz="914400">
                <a:defRPr/>
              </a:pPr>
              <a:t>‹Nº›</a:t>
            </a:fld>
            <a:endParaRPr lang="es-ES">
              <a:solidFill>
                <a:prstClr val="black">
                  <a:tint val="75000"/>
                </a:prstClr>
              </a:solidFill>
            </a:endParaRPr>
          </a:p>
        </p:txBody>
      </p:sp>
    </p:spTree>
    <p:extLst>
      <p:ext uri="{BB962C8B-B14F-4D97-AF65-F5344CB8AC3E}">
        <p14:creationId xmlns:p14="http://schemas.microsoft.com/office/powerpoint/2010/main" val="1402951118"/>
      </p:ext>
    </p:extLst>
  </p:cSld>
  <p:clrMap bg1="lt1" tx1="dk1" bg2="lt2" tx2="dk2" accent1="accent1" accent2="accent2" accent3="accent3" accent4="accent4" accent5="accent5" accent6="accent6" hlink="hlink" folHlink="folHlink"/>
  <p:sldLayoutIdLst>
    <p:sldLayoutId id="2147483917" r:id="rId1"/>
    <p:sldLayoutId id="2147483918" r:id="rId2"/>
    <p:sldLayoutId id="2147483919" r:id="rId3"/>
    <p:sldLayoutId id="2147483920" r:id="rId4"/>
    <p:sldLayoutId id="2147483921" r:id="rId5"/>
    <p:sldLayoutId id="2147483922" r:id="rId6"/>
    <p:sldLayoutId id="2147483923" r:id="rId7"/>
    <p:sldLayoutId id="2147483924" r:id="rId8"/>
    <p:sldLayoutId id="2147483925" r:id="rId9"/>
    <p:sldLayoutId id="2147483926" r:id="rId10"/>
    <p:sldLayoutId id="2147483927" r:id="rId11"/>
    <p:sldLayoutId id="2147483928" r:id="rId12"/>
    <p:sldLayoutId id="2147484402" r:id="rId13"/>
  </p:sldLayoutIdLst>
  <p:txStyles>
    <p:title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Calibri" pitchFamily="34" charset="0"/>
        </a:defRPr>
      </a:lvl2pPr>
      <a:lvl3pPr algn="ctr" rtl="0" fontAlgn="base">
        <a:spcBef>
          <a:spcPct val="0"/>
        </a:spcBef>
        <a:spcAft>
          <a:spcPct val="0"/>
        </a:spcAft>
        <a:defRPr sz="4400">
          <a:solidFill>
            <a:schemeClr val="tx1"/>
          </a:solidFill>
          <a:latin typeface="Calibri" pitchFamily="34" charset="0"/>
        </a:defRPr>
      </a:lvl3pPr>
      <a:lvl4pPr algn="ctr" rtl="0" fontAlgn="base">
        <a:spcBef>
          <a:spcPct val="0"/>
        </a:spcBef>
        <a:spcAft>
          <a:spcPct val="0"/>
        </a:spcAft>
        <a:defRPr sz="4400">
          <a:solidFill>
            <a:schemeClr val="tx1"/>
          </a:solidFill>
          <a:latin typeface="Calibri" pitchFamily="34" charset="0"/>
        </a:defRPr>
      </a:lvl4pPr>
      <a:lvl5pPr algn="ctr" rtl="0" fontAlgn="base">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fontAlgn="base">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fontAlgn="base">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fontAlgn="base">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fontAlgn="base">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fontAlgn="base">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2" y="4800600"/>
            <a:ext cx="9144001" cy="342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2" y="4750798"/>
            <a:ext cx="9144001" cy="494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822960" y="214953"/>
            <a:ext cx="7543800" cy="1088068"/>
          </a:xfrm>
          <a:prstGeom prst="rect">
            <a:avLst/>
          </a:prstGeom>
        </p:spPr>
        <p:txBody>
          <a:bodyPr vert="horz" lIns="91440" tIns="45720" rIns="91440" bIns="45720" rtlCol="0" anchor="b">
            <a:normAutofit/>
          </a:bodyPr>
          <a:lstStyle/>
          <a:p>
            <a:r>
              <a:rPr lang="es-ES"/>
              <a:t>Haga clic para modificar el estilo de título del patrón</a:t>
            </a:r>
            <a:endParaRPr lang="en-US" dirty="0"/>
          </a:p>
        </p:txBody>
      </p:sp>
      <p:sp>
        <p:nvSpPr>
          <p:cNvPr id="3" name="Text Placeholder 2"/>
          <p:cNvSpPr>
            <a:spLocks noGrp="1"/>
          </p:cNvSpPr>
          <p:nvPr>
            <p:ph type="body" idx="1"/>
          </p:nvPr>
        </p:nvSpPr>
        <p:spPr>
          <a:xfrm>
            <a:off x="822959" y="1384301"/>
            <a:ext cx="7543801" cy="3017520"/>
          </a:xfrm>
          <a:prstGeom prst="rect">
            <a:avLst/>
          </a:prstGeom>
        </p:spPr>
        <p:txBody>
          <a:bodyPr vert="horz" lIns="0" tIns="45720" rIns="0" bIns="45720" rtlCol="0">
            <a:normAutofit/>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4" name="Date Placeholder 3"/>
          <p:cNvSpPr>
            <a:spLocks noGrp="1"/>
          </p:cNvSpPr>
          <p:nvPr>
            <p:ph type="dt" sz="half" idx="2"/>
          </p:nvPr>
        </p:nvSpPr>
        <p:spPr>
          <a:xfrm>
            <a:off x="822992" y="4844841"/>
            <a:ext cx="1854203" cy="273844"/>
          </a:xfrm>
          <a:prstGeom prst="rect">
            <a:avLst/>
          </a:prstGeom>
        </p:spPr>
        <p:txBody>
          <a:bodyPr vert="horz" lIns="91440" tIns="45720" rIns="91440" bIns="45720" rtlCol="0" anchor="ctr"/>
          <a:lstStyle>
            <a:lvl1pPr algn="l">
              <a:defRPr sz="900">
                <a:solidFill>
                  <a:srgbClr val="FFFFFF"/>
                </a:solidFill>
              </a:defRPr>
            </a:lvl1pPr>
          </a:lstStyle>
          <a:p>
            <a:pPr defTabSz="914400"/>
            <a:fld id="{21D7186D-3466-4F04-A6B4-9E5805661A51}" type="datetime1">
              <a:rPr lang="es-AR" smtClean="0"/>
              <a:pPr defTabSz="914400"/>
              <a:t>7/8/2024</a:t>
            </a:fld>
            <a:endParaRPr lang="es-AR"/>
          </a:p>
        </p:txBody>
      </p:sp>
      <p:sp>
        <p:nvSpPr>
          <p:cNvPr id="5" name="Footer Placeholder 4"/>
          <p:cNvSpPr>
            <a:spLocks noGrp="1"/>
          </p:cNvSpPr>
          <p:nvPr>
            <p:ph type="ftr" sz="quarter" idx="3"/>
          </p:nvPr>
        </p:nvSpPr>
        <p:spPr>
          <a:xfrm>
            <a:off x="2764648" y="4844841"/>
            <a:ext cx="3617103" cy="273844"/>
          </a:xfrm>
          <a:prstGeom prst="rect">
            <a:avLst/>
          </a:prstGeom>
        </p:spPr>
        <p:txBody>
          <a:bodyPr vert="horz" lIns="91440" tIns="45720" rIns="91440" bIns="45720" rtlCol="0" anchor="ctr"/>
          <a:lstStyle>
            <a:lvl1pPr algn="ctr">
              <a:defRPr sz="900" cap="all" baseline="0">
                <a:solidFill>
                  <a:srgbClr val="FFFFFF"/>
                </a:solidFill>
              </a:defRPr>
            </a:lvl1pPr>
          </a:lstStyle>
          <a:p>
            <a:pPr defTabSz="914400"/>
            <a:endParaRPr lang="es-AR"/>
          </a:p>
        </p:txBody>
      </p:sp>
      <p:sp>
        <p:nvSpPr>
          <p:cNvPr id="6" name="Slide Number Placeholder 5"/>
          <p:cNvSpPr>
            <a:spLocks noGrp="1"/>
          </p:cNvSpPr>
          <p:nvPr>
            <p:ph type="sldNum" sz="quarter" idx="4"/>
          </p:nvPr>
        </p:nvSpPr>
        <p:spPr>
          <a:xfrm>
            <a:off x="7425348" y="4844841"/>
            <a:ext cx="984019" cy="273844"/>
          </a:xfrm>
          <a:prstGeom prst="rect">
            <a:avLst/>
          </a:prstGeom>
        </p:spPr>
        <p:txBody>
          <a:bodyPr vert="horz" lIns="91440" tIns="45720" rIns="91440" bIns="45720" rtlCol="0" anchor="ctr"/>
          <a:lstStyle>
            <a:lvl1pPr algn="r">
              <a:defRPr sz="1050">
                <a:solidFill>
                  <a:srgbClr val="FFFFFF"/>
                </a:solidFill>
              </a:defRPr>
            </a:lvl1pPr>
          </a:lstStyle>
          <a:p>
            <a:pPr defTabSz="914400"/>
            <a:fld id="{1BFC3D50-7FDF-4D36-BDF7-EB78C1A28823}" type="slidenum">
              <a:rPr lang="es-AR" smtClean="0"/>
              <a:pPr defTabSz="914400"/>
              <a:t>‹Nº›</a:t>
            </a:fld>
            <a:endParaRPr lang="es-AR"/>
          </a:p>
        </p:txBody>
      </p:sp>
      <p:cxnSp>
        <p:nvCxnSpPr>
          <p:cNvPr id="10" name="Straight Connector 9"/>
          <p:cNvCxnSpPr/>
          <p:nvPr/>
        </p:nvCxnSpPr>
        <p:spPr>
          <a:xfrm>
            <a:off x="895149" y="1303384"/>
            <a:ext cx="74752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1214940"/>
      </p:ext>
    </p:extLst>
  </p:cSld>
  <p:clrMap bg1="lt1" tx1="dk1" bg2="lt2" tx2="dk2" accent1="accent1" accent2="accent2" accent3="accent3" accent4="accent4" accent5="accent5" accent6="accent6" hlink="hlink" folHlink="folHlink"/>
  <p:sldLayoutIdLst>
    <p:sldLayoutId id="2147483932" r:id="rId1"/>
    <p:sldLayoutId id="2147483933" r:id="rId2"/>
    <p:sldLayoutId id="2147483934" r:id="rId3"/>
    <p:sldLayoutId id="2147483935" r:id="rId4"/>
    <p:sldLayoutId id="2147483936" r:id="rId5"/>
    <p:sldLayoutId id="2147483937" r:id="rId6"/>
    <p:sldLayoutId id="2147483938" r:id="rId7"/>
    <p:sldLayoutId id="2147483939" r:id="rId8"/>
    <p:sldLayoutId id="2147483940" r:id="rId9"/>
    <p:sldLayoutId id="2147483941" r:id="rId10"/>
    <p:sldLayoutId id="2147483942" r:id="rId11"/>
  </p:sldLayoutIdLst>
  <p:hf sldNum="0" hdr="0" dt="0"/>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título"/>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s-ES" smtClean="0"/>
              <a:t>Haga clic para modificar el estilo de título del patrón</a:t>
            </a:r>
            <a:endParaRPr lang="es-AR"/>
          </a:p>
        </p:txBody>
      </p:sp>
      <p:sp>
        <p:nvSpPr>
          <p:cNvPr id="3" name="2 Marcador de texto"/>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AR"/>
          </a:p>
        </p:txBody>
      </p:sp>
      <p:sp>
        <p:nvSpPr>
          <p:cNvPr id="4" name="3 Marcador de fecha"/>
          <p:cNvSpPr>
            <a:spLocks noGrp="1"/>
          </p:cNvSpPr>
          <p:nvPr>
            <p:ph type="dt" sz="half" idx="2"/>
          </p:nvPr>
        </p:nvSpPr>
        <p:spPr>
          <a:xfrm>
            <a:off x="457200" y="4767263"/>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a:fld id="{0725BAA1-FBBD-4E70-A359-A09EE94F66E3}" type="datetimeFigureOut">
              <a:rPr lang="es-AR" smtClean="0">
                <a:solidFill>
                  <a:prstClr val="black">
                    <a:tint val="75000"/>
                  </a:prstClr>
                </a:solidFill>
              </a:rPr>
              <a:pPr defTabSz="914400"/>
              <a:t>7/8/2024</a:t>
            </a:fld>
            <a:endParaRPr lang="es-AR">
              <a:solidFill>
                <a:prstClr val="black">
                  <a:tint val="75000"/>
                </a:prstClr>
              </a:solidFill>
            </a:endParaRPr>
          </a:p>
        </p:txBody>
      </p:sp>
      <p:sp>
        <p:nvSpPr>
          <p:cNvPr id="5" name="4 Marcador de pie de página"/>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a:endParaRPr lang="es-AR">
              <a:solidFill>
                <a:prstClr val="black">
                  <a:tint val="75000"/>
                </a:prstClr>
              </a:solidFill>
            </a:endParaRPr>
          </a:p>
        </p:txBody>
      </p:sp>
      <p:sp>
        <p:nvSpPr>
          <p:cNvPr id="6" name="5 Marcador de número de diapositiva"/>
          <p:cNvSpPr>
            <a:spLocks noGrp="1"/>
          </p:cNvSpPr>
          <p:nvPr>
            <p:ph type="sldNum" sz="quarter" idx="4"/>
          </p:nvPr>
        </p:nvSpPr>
        <p:spPr>
          <a:xfrm>
            <a:off x="6553200" y="4767263"/>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59E1C38B-2DCA-4AC1-8602-45EA13F687CD}" type="slidenum">
              <a:rPr lang="es-AR" smtClean="0">
                <a:solidFill>
                  <a:prstClr val="black">
                    <a:tint val="75000"/>
                  </a:prstClr>
                </a:solidFill>
              </a:rPr>
              <a:pPr defTabSz="914400"/>
              <a:t>‹Nº›</a:t>
            </a:fld>
            <a:endParaRPr lang="es-AR">
              <a:solidFill>
                <a:prstClr val="black">
                  <a:tint val="75000"/>
                </a:prstClr>
              </a:solidFill>
            </a:endParaRPr>
          </a:p>
        </p:txBody>
      </p:sp>
    </p:spTree>
    <p:extLst>
      <p:ext uri="{BB962C8B-B14F-4D97-AF65-F5344CB8AC3E}">
        <p14:creationId xmlns:p14="http://schemas.microsoft.com/office/powerpoint/2010/main" val="2178362406"/>
      </p:ext>
    </p:extLst>
  </p:cSld>
  <p:clrMap bg1="lt1" tx1="dk1" bg2="lt2" tx2="dk2" accent1="accent1" accent2="accent2" accent3="accent3" accent4="accent4" accent5="accent5" accent6="accent6" hlink="hlink" folHlink="folHlink"/>
  <p:sldLayoutIdLst>
    <p:sldLayoutId id="2147484074" r:id="rId1"/>
    <p:sldLayoutId id="2147484075" r:id="rId2"/>
    <p:sldLayoutId id="2147484076" r:id="rId3"/>
    <p:sldLayoutId id="2147484077" r:id="rId4"/>
    <p:sldLayoutId id="2147484078" r:id="rId5"/>
    <p:sldLayoutId id="2147484079" r:id="rId6"/>
    <p:sldLayoutId id="2147484080" r:id="rId7"/>
    <p:sldLayoutId id="2147484081" r:id="rId8"/>
    <p:sldLayoutId id="2147484082" r:id="rId9"/>
    <p:sldLayoutId id="2147484083" r:id="rId10"/>
    <p:sldLayoutId id="2147484084" r:id="rId11"/>
    <p:sldLayoutId id="2147484085"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A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テキスト プレースホルダ 2"/>
          <p:cNvSpPr>
            <a:spLocks noGrp="1"/>
          </p:cNvSpPr>
          <p:nvPr>
            <p:ph type="body" idx="1"/>
          </p:nvPr>
        </p:nvSpPr>
        <p:spPr>
          <a:xfrm>
            <a:off x="395288" y="927498"/>
            <a:ext cx="8343651" cy="3696480"/>
          </a:xfrm>
          <a:prstGeom prst="rect">
            <a:avLst/>
          </a:prstGeom>
        </p:spPr>
        <p:txBody>
          <a:bodyPr vert="horz" lIns="0" tIns="34289" rIns="68507" bIns="34289" rtlCol="0">
            <a:normAutofit/>
          </a:bodyPr>
          <a:lstStyle/>
          <a:p>
            <a:pPr lvl="0"/>
            <a:r>
              <a:rPr kumimoji="1" lang="en-US" altLang="ja-JP"/>
              <a:t>Master text</a:t>
            </a:r>
            <a:endParaRPr kumimoji="1" lang="ja-JP" altLang="en-US"/>
          </a:p>
          <a:p>
            <a:pPr lvl="1"/>
            <a:r>
              <a:rPr kumimoji="1" lang="en-US" altLang="ja-JP"/>
              <a:t>Second level</a:t>
            </a:r>
            <a:endParaRPr kumimoji="1" lang="ja-JP" altLang="en-US"/>
          </a:p>
          <a:p>
            <a:pPr lvl="2"/>
            <a:r>
              <a:rPr kumimoji="1" lang="en-US" altLang="ja-JP"/>
              <a:t>Third</a:t>
            </a:r>
            <a:r>
              <a:rPr kumimoji="1" lang="ja-JP" altLang="en-US"/>
              <a:t> </a:t>
            </a:r>
            <a:r>
              <a:rPr kumimoji="1" lang="en-US" altLang="ja-JP"/>
              <a:t>level</a:t>
            </a:r>
            <a:endParaRPr kumimoji="1" lang="ja-JP" altLang="en-US"/>
          </a:p>
          <a:p>
            <a:pPr lvl="3"/>
            <a:r>
              <a:rPr kumimoji="1" lang="en-US" altLang="ja-JP"/>
              <a:t>Fourth level</a:t>
            </a:r>
            <a:endParaRPr kumimoji="1" lang="ja-JP" altLang="en-US"/>
          </a:p>
          <a:p>
            <a:pPr lvl="4"/>
            <a:r>
              <a:rPr kumimoji="1" lang="en-US" altLang="ja-JP"/>
              <a:t>Fifth level</a:t>
            </a:r>
            <a:endParaRPr kumimoji="1" lang="ja-JP" altLang="en-US"/>
          </a:p>
        </p:txBody>
      </p:sp>
      <p:sp>
        <p:nvSpPr>
          <p:cNvPr id="15" name="タイトル プレースホルダ 1"/>
          <p:cNvSpPr>
            <a:spLocks noGrp="1"/>
          </p:cNvSpPr>
          <p:nvPr>
            <p:ph type="title"/>
          </p:nvPr>
        </p:nvSpPr>
        <p:spPr>
          <a:xfrm>
            <a:off x="395289" y="99585"/>
            <a:ext cx="7357234" cy="527957"/>
          </a:xfrm>
          <a:prstGeom prst="rect">
            <a:avLst/>
          </a:prstGeom>
        </p:spPr>
        <p:txBody>
          <a:bodyPr vert="horz" lIns="0" tIns="34289" rIns="68507" bIns="0" rtlCol="0" anchor="b">
            <a:noAutofit/>
          </a:bodyPr>
          <a:lstStyle/>
          <a:p>
            <a:r>
              <a:rPr kumimoji="1" lang="en-US" altLang="ja-JP"/>
              <a:t>Master title</a:t>
            </a:r>
            <a:endParaRPr kumimoji="1" lang="ja-JP" altLang="en-US"/>
          </a:p>
        </p:txBody>
      </p:sp>
      <p:sp>
        <p:nvSpPr>
          <p:cNvPr id="11" name="Rectangle 6">
            <a:extLst>
              <a:ext uri="{FF2B5EF4-FFF2-40B4-BE49-F238E27FC236}">
                <a16:creationId xmlns="" xmlns:a16="http://schemas.microsoft.com/office/drawing/2014/main" id="{18D4B9FA-39D5-DC46-AEE9-0F3C6ECD9555}"/>
              </a:ext>
            </a:extLst>
          </p:cNvPr>
          <p:cNvSpPr/>
          <p:nvPr userDrawn="1"/>
        </p:nvSpPr>
        <p:spPr>
          <a:xfrm>
            <a:off x="0" y="101206"/>
            <a:ext cx="107504" cy="5262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07" tIns="34289" rIns="68507" bIns="34289" anchor="ctr"/>
          <a:lstStyle/>
          <a:p>
            <a:pPr algn="ctr" defTabSz="684967"/>
            <a:endParaRPr lang="en-US" altLang="en-US" sz="1400">
              <a:solidFill>
                <a:srgbClr val="E1242A"/>
              </a:solidFill>
            </a:endParaRPr>
          </a:p>
        </p:txBody>
      </p:sp>
      <p:pic>
        <p:nvPicPr>
          <p:cNvPr id="8" name="Picture 12" descr="Takeda_Logo_Pos_RGB.emf">
            <a:extLst>
              <a:ext uri="{FF2B5EF4-FFF2-40B4-BE49-F238E27FC236}">
                <a16:creationId xmlns="" xmlns:a16="http://schemas.microsoft.com/office/drawing/2014/main" id="{61B6986B-A886-0F49-AE59-BDBDD9D1E920}"/>
              </a:ext>
            </a:extLst>
          </p:cNvPr>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bwMode="auto">
          <a:xfrm>
            <a:off x="7975658" y="233604"/>
            <a:ext cx="772806" cy="259904"/>
          </a:xfrm>
          <a:prstGeom prst="rect">
            <a:avLst/>
          </a:prstGeom>
          <a:noFill/>
          <a:ln w="9525">
            <a:noFill/>
            <a:miter lim="800000"/>
            <a:headEnd/>
            <a:tailEnd/>
          </a:ln>
        </p:spPr>
      </p:pic>
      <p:sp>
        <p:nvSpPr>
          <p:cNvPr id="10" name="Slide Number Placeholder 2">
            <a:extLst>
              <a:ext uri="{FF2B5EF4-FFF2-40B4-BE49-F238E27FC236}">
                <a16:creationId xmlns="" xmlns:a16="http://schemas.microsoft.com/office/drawing/2014/main" id="{41D27A7B-FAE7-B348-9F8F-C6040D0C8D42}"/>
              </a:ext>
            </a:extLst>
          </p:cNvPr>
          <p:cNvSpPr>
            <a:spLocks noGrp="1"/>
          </p:cNvSpPr>
          <p:nvPr>
            <p:ph type="sldNum" sz="quarter" idx="4"/>
          </p:nvPr>
        </p:nvSpPr>
        <p:spPr>
          <a:xfrm>
            <a:off x="0" y="4748470"/>
            <a:ext cx="339635" cy="292687"/>
          </a:xfrm>
          <a:prstGeom prst="rect">
            <a:avLst/>
          </a:prstGeom>
        </p:spPr>
        <p:txBody>
          <a:bodyPr lIns="68507" tIns="34289" rIns="0" bIns="34289" anchor="ctr" anchorCtr="0"/>
          <a:lstStyle>
            <a:lvl1pPr algn="r">
              <a:defRPr sz="800" b="0" i="0">
                <a:solidFill>
                  <a:schemeClr val="accent3"/>
                </a:solidFill>
                <a:latin typeface="Calibri" panose="020F0502020204030204" pitchFamily="34" charset="0"/>
                <a:cs typeface="Calibri" panose="020F0502020204030204" pitchFamily="34" charset="0"/>
              </a:defRPr>
            </a:lvl1pPr>
          </a:lstStyle>
          <a:p>
            <a:pPr defTabSz="684967"/>
            <a:fld id="{E9B57936-92EF-4126-AE48-1D9D36D15E98}" type="slidenum">
              <a:rPr lang="ja-JP" altLang="en-US" smtClean="0">
                <a:solidFill>
                  <a:srgbClr val="A1A4AC"/>
                </a:solidFill>
              </a:rPr>
              <a:pPr defTabSz="684967"/>
              <a:t>‹Nº›</a:t>
            </a:fld>
            <a:endParaRPr lang="ja-JP" altLang="en-US">
              <a:solidFill>
                <a:srgbClr val="A1A4AC"/>
              </a:solidFill>
            </a:endParaRPr>
          </a:p>
        </p:txBody>
      </p:sp>
      <p:pic>
        <p:nvPicPr>
          <p:cNvPr id="9" name="Picture 8">
            <a:extLst>
              <a:ext uri="{FF2B5EF4-FFF2-40B4-BE49-F238E27FC236}">
                <a16:creationId xmlns="" xmlns:a16="http://schemas.microsoft.com/office/drawing/2014/main" id="{9882863E-CAEA-FB4F-AA30-716CDF5EAB13}"/>
              </a:ext>
            </a:extLst>
          </p:cNvPr>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a:off x="7937746" y="4604928"/>
            <a:ext cx="1008126" cy="603504"/>
          </a:xfrm>
          <a:prstGeom prst="rect">
            <a:avLst/>
          </a:prstGeom>
        </p:spPr>
      </p:pic>
      <p:sp>
        <p:nvSpPr>
          <p:cNvPr id="2" name="Footer Placeholder 1">
            <a:extLst>
              <a:ext uri="{FF2B5EF4-FFF2-40B4-BE49-F238E27FC236}">
                <a16:creationId xmlns="" xmlns:a16="http://schemas.microsoft.com/office/drawing/2014/main" id="{F83C59BB-1B84-44DE-94F6-9C74ABA411BA}"/>
              </a:ext>
            </a:extLst>
          </p:cNvPr>
          <p:cNvSpPr>
            <a:spLocks noGrp="1"/>
          </p:cNvSpPr>
          <p:nvPr>
            <p:ph type="ftr" sz="quarter" idx="3"/>
          </p:nvPr>
        </p:nvSpPr>
        <p:spPr>
          <a:xfrm>
            <a:off x="395291" y="4749564"/>
            <a:ext cx="7443787" cy="272700"/>
          </a:xfrm>
          <a:prstGeom prst="rect">
            <a:avLst/>
          </a:prstGeom>
        </p:spPr>
        <p:txBody>
          <a:bodyPr vert="horz" lIns="68507" tIns="0" rIns="68507" bIns="0" rtlCol="0" anchor="ctr"/>
          <a:lstStyle>
            <a:lvl1pPr algn="l">
              <a:defRPr sz="800">
                <a:solidFill>
                  <a:schemeClr val="tx1">
                    <a:tint val="75000"/>
                  </a:schemeClr>
                </a:solidFill>
              </a:defRPr>
            </a:lvl1pPr>
          </a:lstStyle>
          <a:p>
            <a:pPr defTabSz="684967"/>
            <a:r>
              <a:rPr lang="en-GB" altLang="ja-JP" smtClean="0">
                <a:solidFill>
                  <a:srgbClr val="000000">
                    <a:tint val="75000"/>
                  </a:srgbClr>
                </a:solidFill>
              </a:rPr>
              <a:t>Long-term efficacy and safety of Takeda’s dengue vaccine candidate (TAK-003) after 4.5 years of follow-up | TBC | Approval </a:t>
            </a:r>
            <a:r>
              <a:rPr lang="en-US" altLang="ja-JP" smtClean="0">
                <a:solidFill>
                  <a:srgbClr val="000000">
                    <a:tint val="75000"/>
                  </a:srgbClr>
                </a:solidFill>
              </a:rPr>
              <a:t>date: March 2023</a:t>
            </a:r>
            <a:endParaRPr lang="ja-JP" altLang="en-US" sz="200">
              <a:solidFill>
                <a:srgbClr val="000000">
                  <a:tint val="75000"/>
                </a:srgbClr>
              </a:solidFill>
            </a:endParaRPr>
          </a:p>
        </p:txBody>
      </p:sp>
    </p:spTree>
    <p:extLst>
      <p:ext uri="{BB962C8B-B14F-4D97-AF65-F5344CB8AC3E}">
        <p14:creationId xmlns:p14="http://schemas.microsoft.com/office/powerpoint/2010/main" val="3775105335"/>
      </p:ext>
    </p:extLst>
  </p:cSld>
  <p:clrMap bg1="lt1" tx1="dk1" bg2="lt2" tx2="dk2" accent1="accent1" accent2="accent2" accent3="accent3" accent4="accent4" accent5="accent5" accent6="accent6" hlink="hlink" folHlink="folHlink"/>
  <p:sldLayoutIdLst>
    <p:sldLayoutId id="2147484087" r:id="rId1"/>
    <p:sldLayoutId id="2147484088" r:id="rId2"/>
    <p:sldLayoutId id="2147484089" r:id="rId3"/>
    <p:sldLayoutId id="2147484090" r:id="rId4"/>
    <p:sldLayoutId id="2147484091" r:id="rId5"/>
    <p:sldLayoutId id="2147484092" r:id="rId6"/>
    <p:sldLayoutId id="2147484093" r:id="rId7"/>
    <p:sldLayoutId id="2147484094" r:id="rId8"/>
    <p:sldLayoutId id="2147484095" r:id="rId9"/>
    <p:sldLayoutId id="2147484096" r:id="rId10"/>
  </p:sldLayoutIdLst>
  <p:hf hdr="0" dt="0"/>
  <p:txStyles>
    <p:titleStyle>
      <a:lvl1pPr algn="l" defTabSz="684967" rtl="0" eaLnBrk="1" latinLnBrk="0" hangingPunct="1">
        <a:spcBef>
          <a:spcPct val="0"/>
        </a:spcBef>
        <a:buNone/>
        <a:defRPr kumimoji="1" sz="2100" kern="1200" baseline="0">
          <a:solidFill>
            <a:schemeClr val="tx2"/>
          </a:solidFill>
          <a:latin typeface="Calibri" pitchFamily="34" charset="0"/>
          <a:ea typeface="メイリオ" pitchFamily="50" charset="-128"/>
          <a:cs typeface="Calibri" pitchFamily="34" charset="0"/>
        </a:defRPr>
      </a:lvl1pPr>
    </p:titleStyle>
    <p:bodyStyle>
      <a:lvl1pPr marL="342461" indent="-342461" algn="l" defTabSz="684967" rtl="0" eaLnBrk="1" latinLnBrk="0" hangingPunct="1">
        <a:spcBef>
          <a:spcPct val="20000"/>
        </a:spcBef>
        <a:buClr>
          <a:srgbClr val="4C4948"/>
        </a:buClr>
        <a:buFont typeface="Arial" panose="020B0604020202020204" pitchFamily="34" charset="0"/>
        <a:buChar char="•"/>
        <a:defRPr kumimoji="1" sz="2000" kern="1200" baseline="0">
          <a:solidFill>
            <a:schemeClr val="tx2"/>
          </a:solidFill>
          <a:latin typeface="Calibri" pitchFamily="34" charset="0"/>
          <a:ea typeface="メイリオ" pitchFamily="50" charset="-128"/>
          <a:cs typeface="Calibri" pitchFamily="34" charset="0"/>
        </a:defRPr>
      </a:lvl1pPr>
      <a:lvl2pPr marL="556527" indent="-214068" algn="l" defTabSz="684967" rtl="0" eaLnBrk="1" latinLnBrk="0" hangingPunct="1">
        <a:spcBef>
          <a:spcPct val="20000"/>
        </a:spcBef>
        <a:buClr>
          <a:srgbClr val="4C4948"/>
        </a:buClr>
        <a:buFont typeface="Arial" pitchFamily="34" charset="0"/>
        <a:buChar char="–"/>
        <a:defRPr kumimoji="1" sz="1800" kern="1200">
          <a:solidFill>
            <a:schemeClr val="tx2"/>
          </a:solidFill>
          <a:latin typeface="Calibri" pitchFamily="34" charset="0"/>
          <a:ea typeface="メイリオ" pitchFamily="50" charset="-128"/>
          <a:cs typeface="Calibri" pitchFamily="34" charset="0"/>
        </a:defRPr>
      </a:lvl2pPr>
      <a:lvl3pPr marL="856220" indent="-171254" algn="l" defTabSz="684967" rtl="0" eaLnBrk="1" latinLnBrk="0" hangingPunct="1">
        <a:spcBef>
          <a:spcPct val="20000"/>
        </a:spcBef>
        <a:buClr>
          <a:srgbClr val="4C4948"/>
        </a:buClr>
        <a:buFont typeface="Arial" pitchFamily="34" charset="0"/>
        <a:buChar char="•"/>
        <a:defRPr kumimoji="1" sz="1700" kern="1200" baseline="0">
          <a:solidFill>
            <a:schemeClr val="tx2"/>
          </a:solidFill>
          <a:latin typeface="Calibri" pitchFamily="34" charset="0"/>
          <a:ea typeface="メイリオ" pitchFamily="50" charset="-128"/>
          <a:cs typeface="Calibri" pitchFamily="34" charset="0"/>
        </a:defRPr>
      </a:lvl3pPr>
      <a:lvl4pPr marL="1198680" indent="-171254" algn="l" defTabSz="684967" rtl="0" eaLnBrk="1" latinLnBrk="0" hangingPunct="1">
        <a:spcBef>
          <a:spcPct val="20000"/>
        </a:spcBef>
        <a:buClr>
          <a:srgbClr val="4C4948"/>
        </a:buClr>
        <a:buFont typeface="Arial" pitchFamily="34" charset="0"/>
        <a:buChar char="–"/>
        <a:defRPr kumimoji="1" sz="1500" kern="1200" baseline="0">
          <a:solidFill>
            <a:schemeClr val="tx2"/>
          </a:solidFill>
          <a:latin typeface="Calibri" pitchFamily="34" charset="0"/>
          <a:ea typeface="メイリオ" pitchFamily="50" charset="-128"/>
          <a:cs typeface="Calibri" pitchFamily="34" charset="0"/>
        </a:defRPr>
      </a:lvl4pPr>
      <a:lvl5pPr marL="1541141" indent="-171254" algn="l" defTabSz="684967" rtl="0" eaLnBrk="1" latinLnBrk="0" hangingPunct="1">
        <a:spcBef>
          <a:spcPct val="20000"/>
        </a:spcBef>
        <a:buClr>
          <a:srgbClr val="4C4948"/>
        </a:buClr>
        <a:buFont typeface="Arial" pitchFamily="34" charset="0"/>
        <a:buChar char="»"/>
        <a:defRPr kumimoji="1" sz="1500" kern="1200" baseline="0">
          <a:solidFill>
            <a:schemeClr val="tx2"/>
          </a:solidFill>
          <a:latin typeface="Calibri" pitchFamily="34" charset="0"/>
          <a:ea typeface="メイリオ" pitchFamily="50" charset="-128"/>
          <a:cs typeface="Calibri" pitchFamily="34" charset="0"/>
        </a:defRPr>
      </a:lvl5pPr>
      <a:lvl6pPr marL="1883647" indent="-171254" algn="l" defTabSz="684967" rtl="0" eaLnBrk="1" latinLnBrk="0" hangingPunct="1">
        <a:spcBef>
          <a:spcPct val="20000"/>
        </a:spcBef>
        <a:buFont typeface="Arial" pitchFamily="34" charset="0"/>
        <a:buChar char="•"/>
        <a:defRPr kumimoji="1" sz="1500" kern="1200">
          <a:solidFill>
            <a:schemeClr val="tx1"/>
          </a:solidFill>
          <a:latin typeface="+mn-lt"/>
          <a:ea typeface="+mn-ea"/>
          <a:cs typeface="+mn-cs"/>
        </a:defRPr>
      </a:lvl6pPr>
      <a:lvl7pPr marL="2226131" indent="-171254" algn="l" defTabSz="684967" rtl="0" eaLnBrk="1" latinLnBrk="0" hangingPunct="1">
        <a:spcBef>
          <a:spcPct val="20000"/>
        </a:spcBef>
        <a:buFont typeface="Arial" pitchFamily="34" charset="0"/>
        <a:buChar char="•"/>
        <a:defRPr kumimoji="1" sz="1500" kern="1200">
          <a:solidFill>
            <a:schemeClr val="tx1"/>
          </a:solidFill>
          <a:latin typeface="+mn-lt"/>
          <a:ea typeface="+mn-ea"/>
          <a:cs typeface="+mn-cs"/>
        </a:defRPr>
      </a:lvl7pPr>
      <a:lvl8pPr marL="2568614" indent="-171254" algn="l" defTabSz="684967" rtl="0" eaLnBrk="1" latinLnBrk="0" hangingPunct="1">
        <a:spcBef>
          <a:spcPct val="20000"/>
        </a:spcBef>
        <a:buFont typeface="Arial" pitchFamily="34" charset="0"/>
        <a:buChar char="•"/>
        <a:defRPr kumimoji="1" sz="1500" kern="1200">
          <a:solidFill>
            <a:schemeClr val="tx1"/>
          </a:solidFill>
          <a:latin typeface="+mn-lt"/>
          <a:ea typeface="+mn-ea"/>
          <a:cs typeface="+mn-cs"/>
        </a:defRPr>
      </a:lvl8pPr>
      <a:lvl9pPr marL="2911121" indent="-171254" algn="l" defTabSz="684967" rtl="0" eaLnBrk="1" latinLnBrk="0" hangingPunct="1">
        <a:spcBef>
          <a:spcPct val="20000"/>
        </a:spcBef>
        <a:buFont typeface="Arial" pitchFamily="34" charset="0"/>
        <a:buChar char="•"/>
        <a:defRPr kumimoji="1" sz="1500" kern="1200">
          <a:solidFill>
            <a:schemeClr val="tx1"/>
          </a:solidFill>
          <a:latin typeface="+mn-lt"/>
          <a:ea typeface="+mn-ea"/>
          <a:cs typeface="+mn-cs"/>
        </a:defRPr>
      </a:lvl9pPr>
    </p:bodyStyle>
    <p:otherStyle>
      <a:defPPr>
        <a:defRPr lang="ja-JP"/>
      </a:defPPr>
      <a:lvl1pPr marL="0" algn="l" defTabSz="684967" rtl="0" eaLnBrk="1" latinLnBrk="0" hangingPunct="1">
        <a:defRPr kumimoji="1" sz="1400" kern="1200">
          <a:solidFill>
            <a:schemeClr val="tx1"/>
          </a:solidFill>
          <a:latin typeface="+mn-lt"/>
          <a:ea typeface="+mn-ea"/>
          <a:cs typeface="+mn-cs"/>
        </a:defRPr>
      </a:lvl1pPr>
      <a:lvl2pPr marL="342461" algn="l" defTabSz="684967" rtl="0" eaLnBrk="1" latinLnBrk="0" hangingPunct="1">
        <a:defRPr kumimoji="1" sz="1400" kern="1200">
          <a:solidFill>
            <a:schemeClr val="tx1"/>
          </a:solidFill>
          <a:latin typeface="+mn-lt"/>
          <a:ea typeface="+mn-ea"/>
          <a:cs typeface="+mn-cs"/>
        </a:defRPr>
      </a:lvl2pPr>
      <a:lvl3pPr marL="684967" algn="l" defTabSz="684967" rtl="0" eaLnBrk="1" latinLnBrk="0" hangingPunct="1">
        <a:defRPr kumimoji="1" sz="1400" kern="1200">
          <a:solidFill>
            <a:schemeClr val="tx1"/>
          </a:solidFill>
          <a:latin typeface="+mn-lt"/>
          <a:ea typeface="+mn-ea"/>
          <a:cs typeface="+mn-cs"/>
        </a:defRPr>
      </a:lvl3pPr>
      <a:lvl4pPr marL="1027451" algn="l" defTabSz="684967" rtl="0" eaLnBrk="1" latinLnBrk="0" hangingPunct="1">
        <a:defRPr kumimoji="1" sz="1400" kern="1200">
          <a:solidFill>
            <a:schemeClr val="tx1"/>
          </a:solidFill>
          <a:latin typeface="+mn-lt"/>
          <a:ea typeface="+mn-ea"/>
          <a:cs typeface="+mn-cs"/>
        </a:defRPr>
      </a:lvl4pPr>
      <a:lvl5pPr marL="1369934" algn="l" defTabSz="684967" rtl="0" eaLnBrk="1" latinLnBrk="0" hangingPunct="1">
        <a:defRPr kumimoji="1" sz="1400" kern="1200">
          <a:solidFill>
            <a:schemeClr val="tx1"/>
          </a:solidFill>
          <a:latin typeface="+mn-lt"/>
          <a:ea typeface="+mn-ea"/>
          <a:cs typeface="+mn-cs"/>
        </a:defRPr>
      </a:lvl5pPr>
      <a:lvl6pPr marL="1712441" algn="l" defTabSz="684967" rtl="0" eaLnBrk="1" latinLnBrk="0" hangingPunct="1">
        <a:defRPr kumimoji="1" sz="1400" kern="1200">
          <a:solidFill>
            <a:schemeClr val="tx1"/>
          </a:solidFill>
          <a:latin typeface="+mn-lt"/>
          <a:ea typeface="+mn-ea"/>
          <a:cs typeface="+mn-cs"/>
        </a:defRPr>
      </a:lvl6pPr>
      <a:lvl7pPr marL="2054900" algn="l" defTabSz="684967" rtl="0" eaLnBrk="1" latinLnBrk="0" hangingPunct="1">
        <a:defRPr kumimoji="1" sz="1400" kern="1200">
          <a:solidFill>
            <a:schemeClr val="tx1"/>
          </a:solidFill>
          <a:latin typeface="+mn-lt"/>
          <a:ea typeface="+mn-ea"/>
          <a:cs typeface="+mn-cs"/>
        </a:defRPr>
      </a:lvl7pPr>
      <a:lvl8pPr marL="2397360" algn="l" defTabSz="684967" rtl="0" eaLnBrk="1" latinLnBrk="0" hangingPunct="1">
        <a:defRPr kumimoji="1" sz="1400" kern="1200">
          <a:solidFill>
            <a:schemeClr val="tx1"/>
          </a:solidFill>
          <a:latin typeface="+mn-lt"/>
          <a:ea typeface="+mn-ea"/>
          <a:cs typeface="+mn-cs"/>
        </a:defRPr>
      </a:lvl8pPr>
      <a:lvl9pPr marL="2739821" algn="l" defTabSz="684967" rtl="0" eaLnBrk="1" latinLnBrk="0" hangingPunct="1">
        <a:defRPr kumimoji="1" sz="1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527">
          <p15:clr>
            <a:srgbClr val="F26B43"/>
          </p15:clr>
        </p15:guide>
        <p15:guide id="2" pos="325">
          <p15:clr>
            <a:srgbClr val="F26B43"/>
          </p15:clr>
        </p15:guide>
        <p15:guide id="3" orient="horz" pos="402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D283D300-2124-42DF-B73B-3D3D4C546EC6}"/>
              </a:ext>
            </a:extLst>
          </p:cNvPr>
          <p:cNvGraphicFramePr>
            <a:graphicFrameLocks noChangeAspect="1"/>
          </p:cNvGraphicFramePr>
          <p:nvPr userDrawn="1">
            <p:custDataLst>
              <p:tags r:id="rId32"/>
            </p:custDataLst>
            <p:extLst>
              <p:ext uri="{D42A27DB-BD31-4B8C-83A1-F6EECF244321}">
                <p14:modId xmlns:p14="http://schemas.microsoft.com/office/powerpoint/2010/main" val="2091414008"/>
              </p:ext>
            </p:ext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spid="_x0000_s15428" name="Diapositiva de think-cell" r:id="rId34" imgW="395" imgH="394" progId="TCLayout.ActiveDocument.1">
                  <p:embed/>
                </p:oleObj>
              </mc:Choice>
              <mc:Fallback>
                <p:oleObj name="Diapositiva de think-cell" r:id="rId34" imgW="395" imgH="394" progId="TCLayout.ActiveDocument.1">
                  <p:embed/>
                  <p:pic>
                    <p:nvPicPr>
                      <p:cNvPr id="0" name=""/>
                      <p:cNvPicPr/>
                      <p:nvPr/>
                    </p:nvPicPr>
                    <p:blipFill>
                      <a:blip r:embed="rId35"/>
                      <a:stretch>
                        <a:fillRect/>
                      </a:stretch>
                    </p:blipFill>
                    <p:spPr>
                      <a:xfrm>
                        <a:off x="1193" y="1193"/>
                        <a:ext cx="1191" cy="1191"/>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4B895B28-7064-4AD0-A15D-88F99BCA9BAD}"/>
              </a:ext>
            </a:extLst>
          </p:cNvPr>
          <p:cNvSpPr/>
          <p:nvPr userDrawn="1">
            <p:custDataLst>
              <p:tags r:id="rId33"/>
            </p:custDataLst>
          </p:nvPr>
        </p:nvSpPr>
        <p:spPr>
          <a:xfrm>
            <a:off x="3" y="24"/>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84950"/>
            <a:endParaRPr kumimoji="1" lang="en-US" altLang="ja-JP" sz="2100">
              <a:solidFill>
                <a:srgbClr val="FFFFFF"/>
              </a:solidFill>
              <a:cs typeface="Calibri" panose="020F0502020204030204" pitchFamily="34" charset="0"/>
              <a:sym typeface="Calibri" panose="020F0502020204030204" pitchFamily="34" charset="0"/>
            </a:endParaRPr>
          </a:p>
        </p:txBody>
      </p:sp>
      <p:sp>
        <p:nvSpPr>
          <p:cNvPr id="3" name="テキスト プレースホルダ 2"/>
          <p:cNvSpPr>
            <a:spLocks noGrp="1"/>
          </p:cNvSpPr>
          <p:nvPr>
            <p:ph type="body" idx="1"/>
          </p:nvPr>
        </p:nvSpPr>
        <p:spPr>
          <a:xfrm>
            <a:off x="233363" y="925117"/>
            <a:ext cx="8677275" cy="3887390"/>
          </a:xfrm>
          <a:prstGeom prst="rect">
            <a:avLst/>
          </a:prstGeom>
        </p:spPr>
        <p:txBody>
          <a:bodyPr vert="horz" lIns="0" tIns="34283" rIns="68490" bIns="34283" rtlCol="0">
            <a:normAutofit/>
          </a:bodyPr>
          <a:lstStyle/>
          <a:p>
            <a:pPr lvl="0"/>
            <a:r>
              <a:rPr kumimoji="1" lang="en-US" altLang="ja-JP"/>
              <a:t>Master text</a:t>
            </a:r>
            <a:endParaRPr kumimoji="1" lang="ja-JP" altLang="en-US"/>
          </a:p>
        </p:txBody>
      </p:sp>
      <p:sp>
        <p:nvSpPr>
          <p:cNvPr id="9" name="タイトル プレースホルダ 1">
            <a:extLst>
              <a:ext uri="{FF2B5EF4-FFF2-40B4-BE49-F238E27FC236}">
                <a16:creationId xmlns="" xmlns:a16="http://schemas.microsoft.com/office/drawing/2014/main" id="{D7981A12-E00B-604C-B863-7CBF31AA6408}"/>
              </a:ext>
            </a:extLst>
          </p:cNvPr>
          <p:cNvSpPr>
            <a:spLocks noGrp="1"/>
          </p:cNvSpPr>
          <p:nvPr>
            <p:ph type="title"/>
          </p:nvPr>
        </p:nvSpPr>
        <p:spPr>
          <a:xfrm>
            <a:off x="454558" y="121208"/>
            <a:ext cx="7421313" cy="514351"/>
          </a:xfrm>
          <a:prstGeom prst="rect">
            <a:avLst/>
          </a:prstGeom>
        </p:spPr>
        <p:txBody>
          <a:bodyPr vert="horz" lIns="0" tIns="0" rIns="0" bIns="0" rtlCol="0" anchor="ctr">
            <a:normAutofit/>
          </a:bodyPr>
          <a:lstStyle/>
          <a:p>
            <a:r>
              <a:rPr kumimoji="1" lang="en-US" altLang="ja-JP"/>
              <a:t>Master title</a:t>
            </a:r>
            <a:endParaRPr kumimoji="1" lang="ja-JP" altLang="en-US"/>
          </a:p>
        </p:txBody>
      </p:sp>
      <p:sp>
        <p:nvSpPr>
          <p:cNvPr id="13" name="スライド番号プレースホルダ 5">
            <a:extLst>
              <a:ext uri="{FF2B5EF4-FFF2-40B4-BE49-F238E27FC236}">
                <a16:creationId xmlns="" xmlns:a16="http://schemas.microsoft.com/office/drawing/2014/main" id="{C7AA5A17-3F2F-B94B-9342-A137057B898D}"/>
              </a:ext>
            </a:extLst>
          </p:cNvPr>
          <p:cNvSpPr>
            <a:spLocks noGrp="1"/>
          </p:cNvSpPr>
          <p:nvPr>
            <p:ph type="sldNum" sz="quarter" idx="4"/>
          </p:nvPr>
        </p:nvSpPr>
        <p:spPr>
          <a:xfrm>
            <a:off x="233363" y="4867276"/>
            <a:ext cx="442392" cy="172074"/>
          </a:xfrm>
          <a:prstGeom prst="rect">
            <a:avLst/>
          </a:prstGeom>
        </p:spPr>
        <p:txBody>
          <a:bodyPr vert="horz" lIns="0" tIns="34283" rIns="0" bIns="34283" rtlCol="0" anchor="ctr"/>
          <a:lstStyle>
            <a:lvl1pPr algn="l">
              <a:defRPr sz="6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912983"/>
            <a:fld id="{E9B57936-92EF-4126-AE48-1D9D36D15E98}" type="slidenum">
              <a:rPr lang="ja-JP" altLang="en-US" smtClean="0">
                <a:solidFill>
                  <a:srgbClr val="34373F"/>
                </a:solidFill>
              </a:rPr>
              <a:pPr defTabSz="912983"/>
              <a:t>‹Nº›</a:t>
            </a:fld>
            <a:endParaRPr lang="ja-JP" altLang="en-US">
              <a:solidFill>
                <a:srgbClr val="34373F"/>
              </a:solidFill>
            </a:endParaRPr>
          </a:p>
        </p:txBody>
      </p:sp>
    </p:spTree>
    <p:extLst>
      <p:ext uri="{BB962C8B-B14F-4D97-AF65-F5344CB8AC3E}">
        <p14:creationId xmlns:p14="http://schemas.microsoft.com/office/powerpoint/2010/main" val="1816449947"/>
      </p:ext>
    </p:extLst>
  </p:cSld>
  <p:clrMap bg1="lt1" tx1="dk1" bg2="lt2" tx2="dk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 id="2147484108" r:id="rId11"/>
    <p:sldLayoutId id="2147484109" r:id="rId12"/>
    <p:sldLayoutId id="2147484110" r:id="rId13"/>
    <p:sldLayoutId id="2147484111" r:id="rId14"/>
    <p:sldLayoutId id="2147484112" r:id="rId15"/>
    <p:sldLayoutId id="2147484113" r:id="rId16"/>
    <p:sldLayoutId id="2147484114" r:id="rId17"/>
    <p:sldLayoutId id="2147484115" r:id="rId18"/>
    <p:sldLayoutId id="2147484116" r:id="rId19"/>
    <p:sldLayoutId id="2147484117" r:id="rId20"/>
    <p:sldLayoutId id="2147484118" r:id="rId21"/>
    <p:sldLayoutId id="2147484119" r:id="rId22"/>
    <p:sldLayoutId id="2147484120" r:id="rId23"/>
    <p:sldLayoutId id="2147484121" r:id="rId24"/>
    <p:sldLayoutId id="2147484122" r:id="rId25"/>
    <p:sldLayoutId id="2147484123" r:id="rId26"/>
    <p:sldLayoutId id="2147484124" r:id="rId27"/>
    <p:sldLayoutId id="2147484125" r:id="rId28"/>
    <p:sldLayoutId id="2147484405" r:id="rId29"/>
  </p:sldLayoutIdLst>
  <p:transition spd="slow">
    <p:push dir="u"/>
  </p:transition>
  <p:hf hdr="0"/>
  <p:txStyles>
    <p:titleStyle>
      <a:lvl1pPr algn="l" defTabSz="684763" rtl="0" eaLnBrk="1" latinLnBrk="0" hangingPunct="1">
        <a:lnSpc>
          <a:spcPts val="2100"/>
        </a:lnSpc>
        <a:spcBef>
          <a:spcPct val="0"/>
        </a:spcBef>
        <a:buNone/>
        <a:defRPr kumimoji="1" sz="2100" b="1" i="0" kern="1200" baseline="0">
          <a:solidFill>
            <a:schemeClr val="tx1"/>
          </a:solidFill>
          <a:latin typeface="Calibri" panose="020F0502020204030204" pitchFamily="34" charset="0"/>
          <a:ea typeface="メイリオ" pitchFamily="50" charset="-128"/>
          <a:cs typeface="Calibri" pitchFamily="34" charset="0"/>
        </a:defRPr>
      </a:lvl1pPr>
    </p:titleStyle>
    <p:bodyStyle>
      <a:lvl1pPr marL="342353" indent="-342353" algn="l" defTabSz="684763" rtl="0" eaLnBrk="1" latinLnBrk="0" hangingPunct="1">
        <a:spcBef>
          <a:spcPct val="20000"/>
        </a:spcBef>
        <a:buClr>
          <a:srgbClr val="4C4948"/>
        </a:buClr>
        <a:buFont typeface="Arial" panose="020B0604020202020204" pitchFamily="34" charset="0"/>
        <a:buChar char="•"/>
        <a:defRPr kumimoji="1" sz="1500" b="0" i="0" kern="1200" baseline="0">
          <a:solidFill>
            <a:schemeClr val="tx1"/>
          </a:solidFill>
          <a:latin typeface="Calibri" panose="020F0502020204030204" pitchFamily="34" charset="0"/>
          <a:ea typeface="メイリオ" pitchFamily="50" charset="-128"/>
          <a:cs typeface="Calibri" pitchFamily="34" charset="0"/>
        </a:defRPr>
      </a:lvl1pPr>
      <a:lvl2pPr marL="556359" indent="-214008" algn="l" defTabSz="684763" rtl="0" eaLnBrk="1" latinLnBrk="0" hangingPunct="1">
        <a:spcBef>
          <a:spcPct val="20000"/>
        </a:spcBef>
        <a:buClr>
          <a:srgbClr val="4C4948"/>
        </a:buClr>
        <a:buFont typeface="Arial" pitchFamily="34" charset="0"/>
        <a:buChar char="–"/>
        <a:defRPr kumimoji="1" sz="1500" b="0" i="0" kern="1200">
          <a:solidFill>
            <a:schemeClr val="tx1"/>
          </a:solidFill>
          <a:latin typeface="Calibri" panose="020F0502020204030204" pitchFamily="34" charset="0"/>
          <a:ea typeface="メイリオ" pitchFamily="50" charset="-128"/>
          <a:cs typeface="Calibri" pitchFamily="34" charset="0"/>
        </a:defRPr>
      </a:lvl2pPr>
      <a:lvl3pPr marL="855968" indent="-171206" algn="l" defTabSz="684763" rtl="0" eaLnBrk="1" latinLnBrk="0" hangingPunct="1">
        <a:spcBef>
          <a:spcPct val="20000"/>
        </a:spcBef>
        <a:buClr>
          <a:srgbClr val="4C4948"/>
        </a:buClr>
        <a:buFont typeface="Arial" pitchFamily="34" charset="0"/>
        <a:buChar char="•"/>
        <a:defRPr kumimoji="1" sz="1500" b="0" i="0" kern="1200" baseline="0">
          <a:solidFill>
            <a:schemeClr val="tx1"/>
          </a:solidFill>
          <a:latin typeface="Calibri" panose="020F0502020204030204" pitchFamily="34" charset="0"/>
          <a:ea typeface="メイリオ" pitchFamily="50" charset="-128"/>
          <a:cs typeface="Calibri" pitchFamily="34" charset="0"/>
        </a:defRPr>
      </a:lvl3pPr>
      <a:lvl4pPr marL="1198320" indent="-171206" algn="l" defTabSz="684763" rtl="0" eaLnBrk="1" latinLnBrk="0" hangingPunct="1">
        <a:spcBef>
          <a:spcPct val="20000"/>
        </a:spcBef>
        <a:buClr>
          <a:srgbClr val="4C4948"/>
        </a:buClr>
        <a:buFont typeface="Arial" pitchFamily="34" charset="0"/>
        <a:buChar char="–"/>
        <a:defRPr kumimoji="1" sz="1500" b="0" i="0" kern="1200" baseline="0">
          <a:solidFill>
            <a:schemeClr val="tx1"/>
          </a:solidFill>
          <a:latin typeface="Calibri" panose="020F0502020204030204" pitchFamily="34" charset="0"/>
          <a:ea typeface="メイリオ" pitchFamily="50" charset="-128"/>
          <a:cs typeface="Calibri" pitchFamily="34" charset="0"/>
        </a:defRPr>
      </a:lvl4pPr>
      <a:lvl5pPr marL="1540673" indent="-171206" algn="l" defTabSz="684763" rtl="0" eaLnBrk="1" latinLnBrk="0" hangingPunct="1">
        <a:spcBef>
          <a:spcPct val="20000"/>
        </a:spcBef>
        <a:buClr>
          <a:srgbClr val="4C4948"/>
        </a:buClr>
        <a:buFont typeface="Arial" pitchFamily="34" charset="0"/>
        <a:buChar char="»"/>
        <a:defRPr kumimoji="1" sz="1500" b="0" i="0" kern="1200" baseline="0">
          <a:solidFill>
            <a:schemeClr val="tx1"/>
          </a:solidFill>
          <a:latin typeface="Calibri" panose="020F0502020204030204" pitchFamily="34" charset="0"/>
          <a:ea typeface="メイリオ" pitchFamily="50" charset="-128"/>
          <a:cs typeface="Calibri" pitchFamily="34" charset="0"/>
        </a:defRPr>
      </a:lvl5pPr>
      <a:lvl6pPr marL="1883083" indent="-171206" algn="l" defTabSz="684763" rtl="0" eaLnBrk="1" latinLnBrk="0" hangingPunct="1">
        <a:spcBef>
          <a:spcPct val="20000"/>
        </a:spcBef>
        <a:buFont typeface="Arial" pitchFamily="34" charset="0"/>
        <a:buChar char="•"/>
        <a:defRPr kumimoji="1" sz="1500" kern="1200">
          <a:solidFill>
            <a:schemeClr val="tx1"/>
          </a:solidFill>
          <a:latin typeface="+mn-lt"/>
          <a:ea typeface="+mn-ea"/>
          <a:cs typeface="+mn-cs"/>
        </a:defRPr>
      </a:lvl6pPr>
      <a:lvl7pPr marL="2225465" indent="-171206" algn="l" defTabSz="684763" rtl="0" eaLnBrk="1" latinLnBrk="0" hangingPunct="1">
        <a:spcBef>
          <a:spcPct val="20000"/>
        </a:spcBef>
        <a:buFont typeface="Arial" pitchFamily="34" charset="0"/>
        <a:buChar char="•"/>
        <a:defRPr kumimoji="1" sz="1500" kern="1200">
          <a:solidFill>
            <a:schemeClr val="tx1"/>
          </a:solidFill>
          <a:latin typeface="+mn-lt"/>
          <a:ea typeface="+mn-ea"/>
          <a:cs typeface="+mn-cs"/>
        </a:defRPr>
      </a:lvl7pPr>
      <a:lvl8pPr marL="2567846" indent="-171206" algn="l" defTabSz="684763" rtl="0" eaLnBrk="1" latinLnBrk="0" hangingPunct="1">
        <a:spcBef>
          <a:spcPct val="20000"/>
        </a:spcBef>
        <a:buFont typeface="Arial" pitchFamily="34" charset="0"/>
        <a:buChar char="•"/>
        <a:defRPr kumimoji="1" sz="1500" kern="1200">
          <a:solidFill>
            <a:schemeClr val="tx1"/>
          </a:solidFill>
          <a:latin typeface="+mn-lt"/>
          <a:ea typeface="+mn-ea"/>
          <a:cs typeface="+mn-cs"/>
        </a:defRPr>
      </a:lvl8pPr>
      <a:lvl9pPr marL="2910257" indent="-171206" algn="l" defTabSz="684763" rtl="0" eaLnBrk="1" latinLnBrk="0" hangingPunct="1">
        <a:spcBef>
          <a:spcPct val="20000"/>
        </a:spcBef>
        <a:buFont typeface="Arial" pitchFamily="34" charset="0"/>
        <a:buChar char="•"/>
        <a:defRPr kumimoji="1" sz="1500" kern="1200">
          <a:solidFill>
            <a:schemeClr val="tx1"/>
          </a:solidFill>
          <a:latin typeface="+mn-lt"/>
          <a:ea typeface="+mn-ea"/>
          <a:cs typeface="+mn-cs"/>
        </a:defRPr>
      </a:lvl9pPr>
    </p:bodyStyle>
    <p:otherStyle>
      <a:defPPr>
        <a:defRPr lang="ja-JP"/>
      </a:defPPr>
      <a:lvl1pPr marL="0" algn="l" defTabSz="684763" rtl="0" eaLnBrk="1" latinLnBrk="0" hangingPunct="1">
        <a:defRPr kumimoji="1" sz="1400" kern="1200">
          <a:solidFill>
            <a:schemeClr val="tx1"/>
          </a:solidFill>
          <a:latin typeface="+mn-lt"/>
          <a:ea typeface="+mn-ea"/>
          <a:cs typeface="+mn-cs"/>
        </a:defRPr>
      </a:lvl1pPr>
      <a:lvl2pPr marL="342353" algn="l" defTabSz="684763" rtl="0" eaLnBrk="1" latinLnBrk="0" hangingPunct="1">
        <a:defRPr kumimoji="1" sz="1400" kern="1200">
          <a:solidFill>
            <a:schemeClr val="tx1"/>
          </a:solidFill>
          <a:latin typeface="+mn-lt"/>
          <a:ea typeface="+mn-ea"/>
          <a:cs typeface="+mn-cs"/>
        </a:defRPr>
      </a:lvl2pPr>
      <a:lvl3pPr marL="684763" algn="l" defTabSz="684763" rtl="0" eaLnBrk="1" latinLnBrk="0" hangingPunct="1">
        <a:defRPr kumimoji="1" sz="1400" kern="1200">
          <a:solidFill>
            <a:schemeClr val="tx1"/>
          </a:solidFill>
          <a:latin typeface="+mn-lt"/>
          <a:ea typeface="+mn-ea"/>
          <a:cs typeface="+mn-cs"/>
        </a:defRPr>
      </a:lvl3pPr>
      <a:lvl4pPr marL="1027145" algn="l" defTabSz="684763" rtl="0" eaLnBrk="1" latinLnBrk="0" hangingPunct="1">
        <a:defRPr kumimoji="1" sz="1400" kern="1200">
          <a:solidFill>
            <a:schemeClr val="tx1"/>
          </a:solidFill>
          <a:latin typeface="+mn-lt"/>
          <a:ea typeface="+mn-ea"/>
          <a:cs typeface="+mn-cs"/>
        </a:defRPr>
      </a:lvl4pPr>
      <a:lvl5pPr marL="1369526" algn="l" defTabSz="684763" rtl="0" eaLnBrk="1" latinLnBrk="0" hangingPunct="1">
        <a:defRPr kumimoji="1" sz="1400" kern="1200">
          <a:solidFill>
            <a:schemeClr val="tx1"/>
          </a:solidFill>
          <a:latin typeface="+mn-lt"/>
          <a:ea typeface="+mn-ea"/>
          <a:cs typeface="+mn-cs"/>
        </a:defRPr>
      </a:lvl5pPr>
      <a:lvl6pPr marL="1711937" algn="l" defTabSz="684763" rtl="0" eaLnBrk="1" latinLnBrk="0" hangingPunct="1">
        <a:defRPr kumimoji="1" sz="1400" kern="1200">
          <a:solidFill>
            <a:schemeClr val="tx1"/>
          </a:solidFill>
          <a:latin typeface="+mn-lt"/>
          <a:ea typeface="+mn-ea"/>
          <a:cs typeface="+mn-cs"/>
        </a:defRPr>
      </a:lvl6pPr>
      <a:lvl7pPr marL="2054288" algn="l" defTabSz="684763" rtl="0" eaLnBrk="1" latinLnBrk="0" hangingPunct="1">
        <a:defRPr kumimoji="1" sz="1400" kern="1200">
          <a:solidFill>
            <a:schemeClr val="tx1"/>
          </a:solidFill>
          <a:latin typeface="+mn-lt"/>
          <a:ea typeface="+mn-ea"/>
          <a:cs typeface="+mn-cs"/>
        </a:defRPr>
      </a:lvl7pPr>
      <a:lvl8pPr marL="2396640" algn="l" defTabSz="684763" rtl="0" eaLnBrk="1" latinLnBrk="0" hangingPunct="1">
        <a:defRPr kumimoji="1" sz="1400" kern="1200">
          <a:solidFill>
            <a:schemeClr val="tx1"/>
          </a:solidFill>
          <a:latin typeface="+mn-lt"/>
          <a:ea typeface="+mn-ea"/>
          <a:cs typeface="+mn-cs"/>
        </a:defRPr>
      </a:lvl8pPr>
      <a:lvl9pPr marL="2738993" algn="l" defTabSz="684763" rtl="0" eaLnBrk="1" latinLnBrk="0" hangingPunct="1">
        <a:defRPr kumimoji="1" sz="1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777">
          <p15:clr>
            <a:srgbClr val="F26B43"/>
          </p15:clr>
        </p15:guide>
        <p15:guide id="2" pos="189">
          <p15:clr>
            <a:srgbClr val="F26B43"/>
          </p15:clr>
        </p15:guide>
        <p15:guide id="3" pos="7491">
          <p15:clr>
            <a:srgbClr val="F26B43"/>
          </p15:clr>
        </p15:guide>
        <p15:guide id="4" orient="horz" pos="4042">
          <p15:clr>
            <a:srgbClr val="F26B43"/>
          </p15:clr>
        </p15:guide>
        <p15:guide id="5" pos="370">
          <p15:clr>
            <a:srgbClr val="F26B43"/>
          </p15:clr>
        </p15:guide>
        <p15:guide id="6" orient="horz" pos="40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20.xml"/><Relationship Id="rId4" Type="http://schemas.openxmlformats.org/officeDocument/2006/relationships/image" Target="../media/image35.jpeg"/></Relationships>
</file>

<file path=ppt/slides/_rels/slide10.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63.xml"/></Relationships>
</file>

<file path=ppt/slides/_rels/slide1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jpeg"/><Relationship Id="rId1" Type="http://schemas.openxmlformats.org/officeDocument/2006/relationships/slideLayout" Target="../slideLayouts/slideLayout63.xml"/></Relationships>
</file>

<file path=ppt/slides/_rels/slide12.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47.jpeg"/><Relationship Id="rId1" Type="http://schemas.openxmlformats.org/officeDocument/2006/relationships/slideLayout" Target="../slideLayouts/slideLayout63.xml"/><Relationship Id="rId4" Type="http://schemas.openxmlformats.org/officeDocument/2006/relationships/image" Target="../media/image49.jpeg"/></Relationships>
</file>

<file path=ppt/slides/_rels/slide13.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6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15.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image" Target="../media/image51.png"/><Relationship Id="rId1" Type="http://schemas.openxmlformats.org/officeDocument/2006/relationships/slideLayout" Target="../slideLayouts/slideLayout63.xml"/><Relationship Id="rId4" Type="http://schemas.openxmlformats.org/officeDocument/2006/relationships/image" Target="../media/image53.png"/></Relationships>
</file>

<file path=ppt/slides/_rels/slide1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7.xml"/><Relationship Id="rId1" Type="http://schemas.openxmlformats.org/officeDocument/2006/relationships/slideLayout" Target="../slideLayouts/slideLayout15.xml"/><Relationship Id="rId4" Type="http://schemas.openxmlformats.org/officeDocument/2006/relationships/image" Target="../media/image55.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18.xml.rels><?xml version="1.0" encoding="UTF-8" standalone="yes"?>
<Relationships xmlns="http://schemas.openxmlformats.org/package/2006/relationships"><Relationship Id="rId8" Type="http://schemas.openxmlformats.org/officeDocument/2006/relationships/hyperlink" Target="https://www.argentina.gob.ar/salud/epidemiologia/fichas" TargetMode="External"/><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8.xml"/><Relationship Id="rId1" Type="http://schemas.openxmlformats.org/officeDocument/2006/relationships/slideLayout" Target="../slideLayouts/slideLayout63.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9.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73.xml"/></Relationships>
</file>

<file path=ppt/slides/_rels/slide2.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63.xml"/></Relationships>
</file>

<file path=ppt/slides/_rels/slide2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73.xml"/></Relationships>
</file>

<file path=ppt/slides/_rels/slide2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73.xml"/></Relationships>
</file>

<file path=ppt/slides/_rels/slide23.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73.xml"/></Relationships>
</file>

<file path=ppt/slides/_rels/slide24.xml.rels><?xml version="1.0" encoding="UTF-8" standalone="yes"?>
<Relationships xmlns="http://schemas.openxmlformats.org/package/2006/relationships"><Relationship Id="rId3" Type="http://schemas.openxmlformats.org/officeDocument/2006/relationships/hyperlink" Target="https://na01.safelinks.protection.outlook.com/?url=https://www.argentina.gob.ar/sites/default/files/2024/04/ben-699-se14.pdf.&amp;data=05|02||61d21247f2674b43a1c508dc5c8a6655|84df9e7fe9f640afb435aaaaaaaaaaaa|1|0|638486996702187969|Unknown|TWFpbGZsb3d8eyJWIjoiMC4wLjAwMDAiLCJQIjoiV2luMzIiLCJBTiI6Ik1haWwiLCJXVCI6Mn0=|0|||&amp;sdata=0wpgKMj0EUjyc4RWrejwaZB9TewaM6JOrbal11sQWDQ=&amp;reserved=0" TargetMode="External"/><Relationship Id="rId2" Type="http://schemas.openxmlformats.org/officeDocument/2006/relationships/notesSlide" Target="../notesSlides/notesSlide9.xml"/><Relationship Id="rId1" Type="http://schemas.openxmlformats.org/officeDocument/2006/relationships/slideLayout" Target="../slideLayouts/slideLayout73.xml"/><Relationship Id="rId4" Type="http://schemas.openxmlformats.org/officeDocument/2006/relationships/image" Target="../media/image61.png"/></Relationships>
</file>

<file path=ppt/slides/_rels/slide2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0.xml"/><Relationship Id="rId1" Type="http://schemas.openxmlformats.org/officeDocument/2006/relationships/slideLayout" Target="../slideLayouts/slideLayout63.xml"/><Relationship Id="rId5" Type="http://schemas.openxmlformats.org/officeDocument/2006/relationships/hyperlink" Target="https://na01.safelinks.protection.outlook.com/?url=https://www.argentina.gob.ar/sites/default/files/2024/04/ben-699-se14.pdf.&amp;data=05|02||61d21247f2674b43a1c508dc5c8a6655|84df9e7fe9f640afb435aaaaaaaaaaaa|1|0|638486996702187969|Unknown|TWFpbGZsb3d8eyJWIjoiMC4wLjAwMDAiLCJQIjoiV2luMzIiLCJBTiI6Ik1haWwiLCJXVCI6Mn0=|0|||&amp;sdata=0wpgKMj0EUjyc4RWrejwaZB9TewaM6JOrbal11sQWDQ=&amp;reserved=0" TargetMode="External"/><Relationship Id="rId4" Type="http://schemas.openxmlformats.org/officeDocument/2006/relationships/image" Target="../media/image63.png"/></Relationships>
</file>

<file path=ppt/slides/_rels/slide26.xml.rels><?xml version="1.0" encoding="UTF-8" standalone="yes"?>
<Relationships xmlns="http://schemas.openxmlformats.org/package/2006/relationships"><Relationship Id="rId3" Type="http://schemas.openxmlformats.org/officeDocument/2006/relationships/hyperlink" Target="https://na01.safelinks.protection.outlook.com/?url=https://www.argentina.gob.ar/sites/default/files/2024/04/ben-699-se14.pdf.&amp;data=05|02||61d21247f2674b43a1c508dc5c8a6655|84df9e7fe9f640afb435aaaaaaaaaaaa|1|0|638486996702187969|Unknown|TWFpbGZsb3d8eyJWIjoiMC4wLjAwMDAiLCJQIjoiV2luMzIiLCJBTiI6Ik1haWwiLCJXVCI6Mn0=|0|||&amp;sdata=0wpgKMj0EUjyc4RWrejwaZB9TewaM6JOrbal11sQWDQ=&amp;reserved=0" TargetMode="External"/><Relationship Id="rId2" Type="http://schemas.openxmlformats.org/officeDocument/2006/relationships/notesSlide" Target="../notesSlides/notesSlide11.xml"/><Relationship Id="rId1" Type="http://schemas.openxmlformats.org/officeDocument/2006/relationships/slideLayout" Target="../slideLayouts/slideLayout63.xml"/><Relationship Id="rId5" Type="http://schemas.openxmlformats.org/officeDocument/2006/relationships/image" Target="../media/image65.png"/><Relationship Id="rId4" Type="http://schemas.openxmlformats.org/officeDocument/2006/relationships/image" Target="../media/image64.png"/></Relationships>
</file>

<file path=ppt/slides/_rels/slide27.xml.rels><?xml version="1.0" encoding="UTF-8" standalone="yes"?>
<Relationships xmlns="http://schemas.openxmlformats.org/package/2006/relationships"><Relationship Id="rId3" Type="http://schemas.openxmlformats.org/officeDocument/2006/relationships/hyperlink" Target="https://na01.safelinks.protection.outlook.com/?url=https://www.argentina.gob.ar/sites/default/files/2024/04/ben-699-se14.pdf.&amp;data=05|02||61d21247f2674b43a1c508dc5c8a6655|84df9e7fe9f640afb435aaaaaaaaaaaa|1|0|638486996702187969|Unknown|TWFpbGZsb3d8eyJWIjoiMC4wLjAwMDAiLCJQIjoiV2luMzIiLCJBTiI6Ik1haWwiLCJXVCI6Mn0=|0|||&amp;sdata=0wpgKMj0EUjyc4RWrejwaZB9TewaM6JOrbal11sQWDQ=&amp;reserved=0" TargetMode="External"/><Relationship Id="rId2" Type="http://schemas.openxmlformats.org/officeDocument/2006/relationships/notesSlide" Target="../notesSlides/notesSlide12.xml"/><Relationship Id="rId1" Type="http://schemas.openxmlformats.org/officeDocument/2006/relationships/slideLayout" Target="../slideLayouts/slideLayout63.xml"/><Relationship Id="rId4" Type="http://schemas.openxmlformats.org/officeDocument/2006/relationships/image" Target="../media/image66.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29.xml.rels><?xml version="1.0" encoding="UTF-8" standalone="yes"?>
<Relationships xmlns="http://schemas.openxmlformats.org/package/2006/relationships"><Relationship Id="rId2" Type="http://schemas.openxmlformats.org/officeDocument/2006/relationships/image" Target="../media/image67.emf"/><Relationship Id="rId1" Type="http://schemas.openxmlformats.org/officeDocument/2006/relationships/slideLayout" Target="../slideLayouts/slideLayout74.xml"/></Relationships>
</file>

<file path=ppt/slides/_rels/slide3.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9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hyperlink" Target="https://www.who.int/es/news-room/fact-sheets/detail/dengue-and-severe-dengue" TargetMode="External"/></Relationships>
</file>

<file path=ppt/slides/_rels/slide30.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3.xml"/><Relationship Id="rId1" Type="http://schemas.openxmlformats.org/officeDocument/2006/relationships/slideLayout" Target="../slideLayouts/slideLayout355.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31.xml.rels><?xml version="1.0" encoding="UTF-8" standalone="yes"?>
<Relationships xmlns="http://schemas.openxmlformats.org/package/2006/relationships"><Relationship Id="rId8" Type="http://schemas.openxmlformats.org/officeDocument/2006/relationships/hyperlink" Target="https://www.argentina.gob.ar/noticias/la-anmat-aprobo-el-uso-de-la-vacuna-del-laboratorio-takeda-contra-el-dengue" TargetMode="External"/><Relationship Id="rId13" Type="http://schemas.openxmlformats.org/officeDocument/2006/relationships/image" Target="../media/image70.png"/><Relationship Id="rId18" Type="http://schemas.openxmlformats.org/officeDocument/2006/relationships/image" Target="../media/image75.png"/><Relationship Id="rId3" Type="http://schemas.openxmlformats.org/officeDocument/2006/relationships/hyperlink" Target="https://www.gob.mx/cofepris/es/articulos/el-cmn-informa-los-resultados-de-votacion-para-la-opinion-de-las-vacunas-contra-el-dengue-dengvaxia-y-qdenga?idiom=es" TargetMode="External"/><Relationship Id="rId7" Type="http://schemas.openxmlformats.org/officeDocument/2006/relationships/hyperlink" Target="https://www.gov.br/anvisa/pt-br/assuntos/noticias-anvisa/2023/anvisa-aprova-nova-vacina-para-a-dengue" TargetMode="External"/><Relationship Id="rId12" Type="http://schemas.openxmlformats.org/officeDocument/2006/relationships/image" Target="../media/image69.png"/><Relationship Id="rId17" Type="http://schemas.openxmlformats.org/officeDocument/2006/relationships/image" Target="../media/image74.png"/><Relationship Id="rId2" Type="http://schemas.openxmlformats.org/officeDocument/2006/relationships/notesSlide" Target="../notesSlides/notesSlide14.xml"/><Relationship Id="rId16" Type="http://schemas.openxmlformats.org/officeDocument/2006/relationships/image" Target="../media/image73.png"/><Relationship Id="rId20" Type="http://schemas.openxmlformats.org/officeDocument/2006/relationships/image" Target="../media/image77.png"/><Relationship Id="rId1" Type="http://schemas.openxmlformats.org/officeDocument/2006/relationships/slideLayout" Target="../slideLayouts/slideLayout351.xml"/><Relationship Id="rId6" Type="http://schemas.openxmlformats.org/officeDocument/2006/relationships/hyperlink" Target="https://mhraproducts4853.blob.core.windows.net/docs/5295b9c11a012400b1cc24780c69ecd3fd918bc4" TargetMode="External"/><Relationship Id="rId11" Type="http://schemas.openxmlformats.org/officeDocument/2006/relationships/image" Target="../media/image68.png"/><Relationship Id="rId5" Type="http://schemas.openxmlformats.org/officeDocument/2006/relationships/hyperlink" Target="https://www.ema.europa.eu/en/medicines/human/EPAR/qdenga" TargetMode="External"/><Relationship Id="rId15" Type="http://schemas.openxmlformats.org/officeDocument/2006/relationships/image" Target="../media/image72.png"/><Relationship Id="rId10" Type="http://schemas.openxmlformats.org/officeDocument/2006/relationships/hyperlink" Target="https://www.takeda.com/newsroom/statements/2023/takeda-announces-voluntary-withdrawal-of-US-biologics-license-application-for-dengue-vaccine-candidate-TAK-003/" TargetMode="External"/><Relationship Id="rId19" Type="http://schemas.openxmlformats.org/officeDocument/2006/relationships/image" Target="../media/image76.png"/><Relationship Id="rId4" Type="http://schemas.openxmlformats.org/officeDocument/2006/relationships/hyperlink" Target="https://www.takeda.com/newsroom/newsreleases/2022/takedas-qdenga-dengue-tetravalent-vaccine-live-attenuated-approved-in-indonesia-for-use-regardless-of-prior-dengue-exposure/" TargetMode="External"/><Relationship Id="rId9" Type="http://schemas.openxmlformats.org/officeDocument/2006/relationships/hyperlink" Target="https://pertento.fda.moph.go.th/FDA_SEARCH_DRUG/SEARCH_DRUG/pop-up_drug_ex.aspx?Newcode=U1DR2C1072660000411C" TargetMode="External"/><Relationship Id="rId14" Type="http://schemas.openxmlformats.org/officeDocument/2006/relationships/image" Target="../media/image71.png"/></Relationships>
</file>

<file path=ppt/slides/_rels/slide3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5.xml"/><Relationship Id="rId1" Type="http://schemas.openxmlformats.org/officeDocument/2006/relationships/slideLayout" Target="../slideLayouts/slideLayout101.xml"/><Relationship Id="rId4" Type="http://schemas.openxmlformats.org/officeDocument/2006/relationships/image" Target="../media/image79.svg"/></Relationships>
</file>

<file path=ppt/slides/_rels/slide3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6.xml"/><Relationship Id="rId1" Type="http://schemas.openxmlformats.org/officeDocument/2006/relationships/slideLayout" Target="../slideLayouts/slideLayout127.xml"/></Relationships>
</file>

<file path=ppt/slides/_rels/slide34.xml.rels><?xml version="1.0" encoding="UTF-8" standalone="yes"?>
<Relationships xmlns="http://schemas.openxmlformats.org/package/2006/relationships"><Relationship Id="rId3" Type="http://schemas.openxmlformats.org/officeDocument/2006/relationships/hyperlink" Target="http://www.clinicaltrials.gov/" TargetMode="External"/><Relationship Id="rId2" Type="http://schemas.openxmlformats.org/officeDocument/2006/relationships/notesSlide" Target="../notesSlides/notesSlide17.xml"/><Relationship Id="rId1" Type="http://schemas.openxmlformats.org/officeDocument/2006/relationships/slideLayout" Target="../slideLayouts/slideLayout136.xml"/></Relationships>
</file>

<file path=ppt/slides/_rels/slide35.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129.xml"/></Relationships>
</file>

<file path=ppt/slides/_rels/slide36.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8.xml"/><Relationship Id="rId1" Type="http://schemas.openxmlformats.org/officeDocument/2006/relationships/slideLayout" Target="../slideLayouts/slideLayout129.xml"/></Relationships>
</file>

<file path=ppt/slides/_rels/slide37.xml.rels><?xml version="1.0" encoding="UTF-8" standalone="yes"?>
<Relationships xmlns="http://schemas.openxmlformats.org/package/2006/relationships"><Relationship Id="rId2" Type="http://schemas.openxmlformats.org/officeDocument/2006/relationships/hyperlink" Target="https://www.takedavaccines.com/news/release/takedas-dengue-vaccine-candidate-meets-primary-endpoint-in-pivotal-phase-3-efficacy-trial/" TargetMode="External"/><Relationship Id="rId1" Type="http://schemas.openxmlformats.org/officeDocument/2006/relationships/slideLayout" Target="../slideLayouts/slideLayout177.xml"/></Relationships>
</file>

<file path=ppt/slides/_rels/slide38.xml.rels><?xml version="1.0" encoding="UTF-8" standalone="yes"?>
<Relationships xmlns="http://schemas.openxmlformats.org/package/2006/relationships"><Relationship Id="rId2" Type="http://schemas.openxmlformats.org/officeDocument/2006/relationships/hyperlink" Target="https://www.takedavaccines.com/news/release/takedas-dengue-vaccine-candidate-meets-primary-endpoint-in-pivotal-phase-3-efficacy-trial/" TargetMode="External"/><Relationship Id="rId1" Type="http://schemas.openxmlformats.org/officeDocument/2006/relationships/slideLayout" Target="../slideLayouts/slideLayout189.xml"/></Relationships>
</file>

<file path=ppt/slides/_rels/slide39.xml.rels><?xml version="1.0" encoding="UTF-8" standalone="yes"?>
<Relationships xmlns="http://schemas.openxmlformats.org/package/2006/relationships"><Relationship Id="rId117" Type="http://schemas.openxmlformats.org/officeDocument/2006/relationships/tags" Target="../tags/tag212.xml"/><Relationship Id="rId299" Type="http://schemas.openxmlformats.org/officeDocument/2006/relationships/tags" Target="../tags/tag394.xml"/><Relationship Id="rId21" Type="http://schemas.openxmlformats.org/officeDocument/2006/relationships/tags" Target="../tags/tag116.xml"/><Relationship Id="rId63" Type="http://schemas.openxmlformats.org/officeDocument/2006/relationships/tags" Target="../tags/tag158.xml"/><Relationship Id="rId159" Type="http://schemas.openxmlformats.org/officeDocument/2006/relationships/tags" Target="../tags/tag254.xml"/><Relationship Id="rId324" Type="http://schemas.openxmlformats.org/officeDocument/2006/relationships/tags" Target="../tags/tag419.xml"/><Relationship Id="rId366" Type="http://schemas.openxmlformats.org/officeDocument/2006/relationships/tags" Target="../tags/tag461.xml"/><Relationship Id="rId170" Type="http://schemas.openxmlformats.org/officeDocument/2006/relationships/tags" Target="../tags/tag265.xml"/><Relationship Id="rId226" Type="http://schemas.openxmlformats.org/officeDocument/2006/relationships/tags" Target="../tags/tag321.xml"/><Relationship Id="rId268" Type="http://schemas.openxmlformats.org/officeDocument/2006/relationships/tags" Target="../tags/tag363.xml"/><Relationship Id="rId32" Type="http://schemas.openxmlformats.org/officeDocument/2006/relationships/tags" Target="../tags/tag127.xml"/><Relationship Id="rId74" Type="http://schemas.openxmlformats.org/officeDocument/2006/relationships/tags" Target="../tags/tag169.xml"/><Relationship Id="rId128" Type="http://schemas.openxmlformats.org/officeDocument/2006/relationships/tags" Target="../tags/tag223.xml"/><Relationship Id="rId335" Type="http://schemas.openxmlformats.org/officeDocument/2006/relationships/tags" Target="../tags/tag430.xml"/><Relationship Id="rId377" Type="http://schemas.openxmlformats.org/officeDocument/2006/relationships/tags" Target="../tags/tag472.xml"/><Relationship Id="rId5" Type="http://schemas.openxmlformats.org/officeDocument/2006/relationships/tags" Target="../tags/tag100.xml"/><Relationship Id="rId181" Type="http://schemas.openxmlformats.org/officeDocument/2006/relationships/tags" Target="../tags/tag276.xml"/><Relationship Id="rId237" Type="http://schemas.openxmlformats.org/officeDocument/2006/relationships/tags" Target="../tags/tag332.xml"/><Relationship Id="rId279" Type="http://schemas.openxmlformats.org/officeDocument/2006/relationships/tags" Target="../tags/tag374.xml"/><Relationship Id="rId43" Type="http://schemas.openxmlformats.org/officeDocument/2006/relationships/tags" Target="../tags/tag138.xml"/><Relationship Id="rId139" Type="http://schemas.openxmlformats.org/officeDocument/2006/relationships/tags" Target="../tags/tag234.xml"/><Relationship Id="rId290" Type="http://schemas.openxmlformats.org/officeDocument/2006/relationships/tags" Target="../tags/tag385.xml"/><Relationship Id="rId304" Type="http://schemas.openxmlformats.org/officeDocument/2006/relationships/tags" Target="../tags/tag399.xml"/><Relationship Id="rId346" Type="http://schemas.openxmlformats.org/officeDocument/2006/relationships/tags" Target="../tags/tag441.xml"/><Relationship Id="rId85" Type="http://schemas.openxmlformats.org/officeDocument/2006/relationships/tags" Target="../tags/tag180.xml"/><Relationship Id="rId150" Type="http://schemas.openxmlformats.org/officeDocument/2006/relationships/tags" Target="../tags/tag245.xml"/><Relationship Id="rId192" Type="http://schemas.openxmlformats.org/officeDocument/2006/relationships/tags" Target="../tags/tag287.xml"/><Relationship Id="rId206" Type="http://schemas.openxmlformats.org/officeDocument/2006/relationships/tags" Target="../tags/tag301.xml"/><Relationship Id="rId248" Type="http://schemas.openxmlformats.org/officeDocument/2006/relationships/tags" Target="../tags/tag343.xml"/><Relationship Id="rId12" Type="http://schemas.openxmlformats.org/officeDocument/2006/relationships/tags" Target="../tags/tag107.xml"/><Relationship Id="rId108" Type="http://schemas.openxmlformats.org/officeDocument/2006/relationships/tags" Target="../tags/tag203.xml"/><Relationship Id="rId315" Type="http://schemas.openxmlformats.org/officeDocument/2006/relationships/tags" Target="../tags/tag410.xml"/><Relationship Id="rId357" Type="http://schemas.openxmlformats.org/officeDocument/2006/relationships/tags" Target="../tags/tag452.xml"/><Relationship Id="rId54" Type="http://schemas.openxmlformats.org/officeDocument/2006/relationships/tags" Target="../tags/tag149.xml"/><Relationship Id="rId96" Type="http://schemas.openxmlformats.org/officeDocument/2006/relationships/tags" Target="../tags/tag191.xml"/><Relationship Id="rId161" Type="http://schemas.openxmlformats.org/officeDocument/2006/relationships/tags" Target="../tags/tag256.xml"/><Relationship Id="rId217" Type="http://schemas.openxmlformats.org/officeDocument/2006/relationships/tags" Target="../tags/tag312.xml"/><Relationship Id="rId259" Type="http://schemas.openxmlformats.org/officeDocument/2006/relationships/tags" Target="../tags/tag354.xml"/><Relationship Id="rId23" Type="http://schemas.openxmlformats.org/officeDocument/2006/relationships/tags" Target="../tags/tag118.xml"/><Relationship Id="rId119" Type="http://schemas.openxmlformats.org/officeDocument/2006/relationships/tags" Target="../tags/tag214.xml"/><Relationship Id="rId270" Type="http://schemas.openxmlformats.org/officeDocument/2006/relationships/tags" Target="../tags/tag365.xml"/><Relationship Id="rId326" Type="http://schemas.openxmlformats.org/officeDocument/2006/relationships/tags" Target="../tags/tag421.xml"/><Relationship Id="rId65" Type="http://schemas.openxmlformats.org/officeDocument/2006/relationships/tags" Target="../tags/tag160.xml"/><Relationship Id="rId130" Type="http://schemas.openxmlformats.org/officeDocument/2006/relationships/tags" Target="../tags/tag225.xml"/><Relationship Id="rId368" Type="http://schemas.openxmlformats.org/officeDocument/2006/relationships/tags" Target="../tags/tag463.xml"/><Relationship Id="rId172" Type="http://schemas.openxmlformats.org/officeDocument/2006/relationships/tags" Target="../tags/tag267.xml"/><Relationship Id="rId228" Type="http://schemas.openxmlformats.org/officeDocument/2006/relationships/tags" Target="../tags/tag323.xml"/><Relationship Id="rId281" Type="http://schemas.openxmlformats.org/officeDocument/2006/relationships/tags" Target="../tags/tag376.xml"/><Relationship Id="rId337" Type="http://schemas.openxmlformats.org/officeDocument/2006/relationships/tags" Target="../tags/tag432.xml"/><Relationship Id="rId34" Type="http://schemas.openxmlformats.org/officeDocument/2006/relationships/tags" Target="../tags/tag129.xml"/><Relationship Id="rId76" Type="http://schemas.openxmlformats.org/officeDocument/2006/relationships/tags" Target="../tags/tag171.xml"/><Relationship Id="rId141" Type="http://schemas.openxmlformats.org/officeDocument/2006/relationships/tags" Target="../tags/tag236.xml"/><Relationship Id="rId379" Type="http://schemas.openxmlformats.org/officeDocument/2006/relationships/tags" Target="../tags/tag474.xml"/><Relationship Id="rId7" Type="http://schemas.openxmlformats.org/officeDocument/2006/relationships/tags" Target="../tags/tag102.xml"/><Relationship Id="rId183" Type="http://schemas.openxmlformats.org/officeDocument/2006/relationships/tags" Target="../tags/tag278.xml"/><Relationship Id="rId239" Type="http://schemas.openxmlformats.org/officeDocument/2006/relationships/tags" Target="../tags/tag334.xml"/><Relationship Id="rId250" Type="http://schemas.openxmlformats.org/officeDocument/2006/relationships/tags" Target="../tags/tag345.xml"/><Relationship Id="rId292" Type="http://schemas.openxmlformats.org/officeDocument/2006/relationships/tags" Target="../tags/tag387.xml"/><Relationship Id="rId306" Type="http://schemas.openxmlformats.org/officeDocument/2006/relationships/tags" Target="../tags/tag401.xml"/><Relationship Id="rId45" Type="http://schemas.openxmlformats.org/officeDocument/2006/relationships/tags" Target="../tags/tag140.xml"/><Relationship Id="rId87" Type="http://schemas.openxmlformats.org/officeDocument/2006/relationships/tags" Target="../tags/tag182.xml"/><Relationship Id="rId110" Type="http://schemas.openxmlformats.org/officeDocument/2006/relationships/tags" Target="../tags/tag205.xml"/><Relationship Id="rId348" Type="http://schemas.openxmlformats.org/officeDocument/2006/relationships/tags" Target="../tags/tag443.xml"/><Relationship Id="rId152" Type="http://schemas.openxmlformats.org/officeDocument/2006/relationships/tags" Target="../tags/tag247.xml"/><Relationship Id="rId194" Type="http://schemas.openxmlformats.org/officeDocument/2006/relationships/tags" Target="../tags/tag289.xml"/><Relationship Id="rId208" Type="http://schemas.openxmlformats.org/officeDocument/2006/relationships/tags" Target="../tags/tag303.xml"/><Relationship Id="rId261" Type="http://schemas.openxmlformats.org/officeDocument/2006/relationships/tags" Target="../tags/tag356.xml"/><Relationship Id="rId14" Type="http://schemas.openxmlformats.org/officeDocument/2006/relationships/tags" Target="../tags/tag109.xml"/><Relationship Id="rId56" Type="http://schemas.openxmlformats.org/officeDocument/2006/relationships/tags" Target="../tags/tag151.xml"/><Relationship Id="rId317" Type="http://schemas.openxmlformats.org/officeDocument/2006/relationships/tags" Target="../tags/tag412.xml"/><Relationship Id="rId359" Type="http://schemas.openxmlformats.org/officeDocument/2006/relationships/tags" Target="../tags/tag454.xml"/><Relationship Id="rId98" Type="http://schemas.openxmlformats.org/officeDocument/2006/relationships/tags" Target="../tags/tag193.xml"/><Relationship Id="rId121" Type="http://schemas.openxmlformats.org/officeDocument/2006/relationships/tags" Target="../tags/tag216.xml"/><Relationship Id="rId163" Type="http://schemas.openxmlformats.org/officeDocument/2006/relationships/tags" Target="../tags/tag258.xml"/><Relationship Id="rId219" Type="http://schemas.openxmlformats.org/officeDocument/2006/relationships/tags" Target="../tags/tag314.xml"/><Relationship Id="rId370" Type="http://schemas.openxmlformats.org/officeDocument/2006/relationships/tags" Target="../tags/tag465.xml"/><Relationship Id="rId230" Type="http://schemas.openxmlformats.org/officeDocument/2006/relationships/tags" Target="../tags/tag325.xml"/><Relationship Id="rId25" Type="http://schemas.openxmlformats.org/officeDocument/2006/relationships/tags" Target="../tags/tag120.xml"/><Relationship Id="rId67" Type="http://schemas.openxmlformats.org/officeDocument/2006/relationships/tags" Target="../tags/tag162.xml"/><Relationship Id="rId272" Type="http://schemas.openxmlformats.org/officeDocument/2006/relationships/tags" Target="../tags/tag367.xml"/><Relationship Id="rId328" Type="http://schemas.openxmlformats.org/officeDocument/2006/relationships/tags" Target="../tags/tag423.xml"/><Relationship Id="rId132" Type="http://schemas.openxmlformats.org/officeDocument/2006/relationships/tags" Target="../tags/tag227.xml"/><Relationship Id="rId174" Type="http://schemas.openxmlformats.org/officeDocument/2006/relationships/tags" Target="../tags/tag269.xml"/><Relationship Id="rId381" Type="http://schemas.openxmlformats.org/officeDocument/2006/relationships/slideLayout" Target="../slideLayouts/slideLayout203.xml"/><Relationship Id="rId241" Type="http://schemas.openxmlformats.org/officeDocument/2006/relationships/tags" Target="../tags/tag336.xml"/><Relationship Id="rId36" Type="http://schemas.openxmlformats.org/officeDocument/2006/relationships/tags" Target="../tags/tag131.xml"/><Relationship Id="rId283" Type="http://schemas.openxmlformats.org/officeDocument/2006/relationships/tags" Target="../tags/tag378.xml"/><Relationship Id="rId339" Type="http://schemas.openxmlformats.org/officeDocument/2006/relationships/tags" Target="../tags/tag434.xml"/><Relationship Id="rId78" Type="http://schemas.openxmlformats.org/officeDocument/2006/relationships/tags" Target="../tags/tag173.xml"/><Relationship Id="rId101" Type="http://schemas.openxmlformats.org/officeDocument/2006/relationships/tags" Target="../tags/tag196.xml"/><Relationship Id="rId143" Type="http://schemas.openxmlformats.org/officeDocument/2006/relationships/tags" Target="../tags/tag238.xml"/><Relationship Id="rId185" Type="http://schemas.openxmlformats.org/officeDocument/2006/relationships/tags" Target="../tags/tag280.xml"/><Relationship Id="rId350" Type="http://schemas.openxmlformats.org/officeDocument/2006/relationships/tags" Target="../tags/tag445.xml"/><Relationship Id="rId9" Type="http://schemas.openxmlformats.org/officeDocument/2006/relationships/tags" Target="../tags/tag104.xml"/><Relationship Id="rId210" Type="http://schemas.openxmlformats.org/officeDocument/2006/relationships/tags" Target="../tags/tag305.xml"/><Relationship Id="rId26" Type="http://schemas.openxmlformats.org/officeDocument/2006/relationships/tags" Target="../tags/tag121.xml"/><Relationship Id="rId231" Type="http://schemas.openxmlformats.org/officeDocument/2006/relationships/tags" Target="../tags/tag326.xml"/><Relationship Id="rId252" Type="http://schemas.openxmlformats.org/officeDocument/2006/relationships/tags" Target="../tags/tag347.xml"/><Relationship Id="rId273" Type="http://schemas.openxmlformats.org/officeDocument/2006/relationships/tags" Target="../tags/tag368.xml"/><Relationship Id="rId294" Type="http://schemas.openxmlformats.org/officeDocument/2006/relationships/tags" Target="../tags/tag389.xml"/><Relationship Id="rId308" Type="http://schemas.openxmlformats.org/officeDocument/2006/relationships/tags" Target="../tags/tag403.xml"/><Relationship Id="rId329" Type="http://schemas.openxmlformats.org/officeDocument/2006/relationships/tags" Target="../tags/tag424.xml"/><Relationship Id="rId47" Type="http://schemas.openxmlformats.org/officeDocument/2006/relationships/tags" Target="../tags/tag142.xml"/><Relationship Id="rId68" Type="http://schemas.openxmlformats.org/officeDocument/2006/relationships/tags" Target="../tags/tag163.xml"/><Relationship Id="rId89" Type="http://schemas.openxmlformats.org/officeDocument/2006/relationships/tags" Target="../tags/tag184.xml"/><Relationship Id="rId112" Type="http://schemas.openxmlformats.org/officeDocument/2006/relationships/tags" Target="../tags/tag207.xml"/><Relationship Id="rId133" Type="http://schemas.openxmlformats.org/officeDocument/2006/relationships/tags" Target="../tags/tag228.xml"/><Relationship Id="rId154" Type="http://schemas.openxmlformats.org/officeDocument/2006/relationships/tags" Target="../tags/tag249.xml"/><Relationship Id="rId175" Type="http://schemas.openxmlformats.org/officeDocument/2006/relationships/tags" Target="../tags/tag270.xml"/><Relationship Id="rId340" Type="http://schemas.openxmlformats.org/officeDocument/2006/relationships/tags" Target="../tags/tag435.xml"/><Relationship Id="rId361" Type="http://schemas.openxmlformats.org/officeDocument/2006/relationships/tags" Target="../tags/tag456.xml"/><Relationship Id="rId196" Type="http://schemas.openxmlformats.org/officeDocument/2006/relationships/tags" Target="../tags/tag291.xml"/><Relationship Id="rId200" Type="http://schemas.openxmlformats.org/officeDocument/2006/relationships/tags" Target="../tags/tag295.xml"/><Relationship Id="rId382" Type="http://schemas.openxmlformats.org/officeDocument/2006/relationships/notesSlide" Target="../notesSlides/notesSlide19.xml"/><Relationship Id="rId16" Type="http://schemas.openxmlformats.org/officeDocument/2006/relationships/tags" Target="../tags/tag111.xml"/><Relationship Id="rId221" Type="http://schemas.openxmlformats.org/officeDocument/2006/relationships/tags" Target="../tags/tag316.xml"/><Relationship Id="rId242" Type="http://schemas.openxmlformats.org/officeDocument/2006/relationships/tags" Target="../tags/tag337.xml"/><Relationship Id="rId263" Type="http://schemas.openxmlformats.org/officeDocument/2006/relationships/tags" Target="../tags/tag358.xml"/><Relationship Id="rId284" Type="http://schemas.openxmlformats.org/officeDocument/2006/relationships/tags" Target="../tags/tag379.xml"/><Relationship Id="rId319" Type="http://schemas.openxmlformats.org/officeDocument/2006/relationships/tags" Target="../tags/tag414.xml"/><Relationship Id="rId37" Type="http://schemas.openxmlformats.org/officeDocument/2006/relationships/tags" Target="../tags/tag132.xml"/><Relationship Id="rId58" Type="http://schemas.openxmlformats.org/officeDocument/2006/relationships/tags" Target="../tags/tag153.xml"/><Relationship Id="rId79" Type="http://schemas.openxmlformats.org/officeDocument/2006/relationships/tags" Target="../tags/tag174.xml"/><Relationship Id="rId102" Type="http://schemas.openxmlformats.org/officeDocument/2006/relationships/tags" Target="../tags/tag197.xml"/><Relationship Id="rId123" Type="http://schemas.openxmlformats.org/officeDocument/2006/relationships/tags" Target="../tags/tag218.xml"/><Relationship Id="rId144" Type="http://schemas.openxmlformats.org/officeDocument/2006/relationships/tags" Target="../tags/tag239.xml"/><Relationship Id="rId330" Type="http://schemas.openxmlformats.org/officeDocument/2006/relationships/tags" Target="../tags/tag425.xml"/><Relationship Id="rId90" Type="http://schemas.openxmlformats.org/officeDocument/2006/relationships/tags" Target="../tags/tag185.xml"/><Relationship Id="rId165" Type="http://schemas.openxmlformats.org/officeDocument/2006/relationships/tags" Target="../tags/tag260.xml"/><Relationship Id="rId186" Type="http://schemas.openxmlformats.org/officeDocument/2006/relationships/tags" Target="../tags/tag281.xml"/><Relationship Id="rId351" Type="http://schemas.openxmlformats.org/officeDocument/2006/relationships/tags" Target="../tags/tag446.xml"/><Relationship Id="rId372" Type="http://schemas.openxmlformats.org/officeDocument/2006/relationships/tags" Target="../tags/tag467.xml"/><Relationship Id="rId211" Type="http://schemas.openxmlformats.org/officeDocument/2006/relationships/tags" Target="../tags/tag306.xml"/><Relationship Id="rId232" Type="http://schemas.openxmlformats.org/officeDocument/2006/relationships/tags" Target="../tags/tag327.xml"/><Relationship Id="rId253" Type="http://schemas.openxmlformats.org/officeDocument/2006/relationships/tags" Target="../tags/tag348.xml"/><Relationship Id="rId274" Type="http://schemas.openxmlformats.org/officeDocument/2006/relationships/tags" Target="../tags/tag369.xml"/><Relationship Id="rId295" Type="http://schemas.openxmlformats.org/officeDocument/2006/relationships/tags" Target="../tags/tag390.xml"/><Relationship Id="rId309" Type="http://schemas.openxmlformats.org/officeDocument/2006/relationships/tags" Target="../tags/tag404.xml"/><Relationship Id="rId27" Type="http://schemas.openxmlformats.org/officeDocument/2006/relationships/tags" Target="../tags/tag122.xml"/><Relationship Id="rId48" Type="http://schemas.openxmlformats.org/officeDocument/2006/relationships/tags" Target="../tags/tag143.xml"/><Relationship Id="rId69" Type="http://schemas.openxmlformats.org/officeDocument/2006/relationships/tags" Target="../tags/tag164.xml"/><Relationship Id="rId113" Type="http://schemas.openxmlformats.org/officeDocument/2006/relationships/tags" Target="../tags/tag208.xml"/><Relationship Id="rId134" Type="http://schemas.openxmlformats.org/officeDocument/2006/relationships/tags" Target="../tags/tag229.xml"/><Relationship Id="rId320" Type="http://schemas.openxmlformats.org/officeDocument/2006/relationships/tags" Target="../tags/tag415.xml"/><Relationship Id="rId80" Type="http://schemas.openxmlformats.org/officeDocument/2006/relationships/tags" Target="../tags/tag175.xml"/><Relationship Id="rId155" Type="http://schemas.openxmlformats.org/officeDocument/2006/relationships/tags" Target="../tags/tag250.xml"/><Relationship Id="rId176" Type="http://schemas.openxmlformats.org/officeDocument/2006/relationships/tags" Target="../tags/tag271.xml"/><Relationship Id="rId197" Type="http://schemas.openxmlformats.org/officeDocument/2006/relationships/tags" Target="../tags/tag292.xml"/><Relationship Id="rId341" Type="http://schemas.openxmlformats.org/officeDocument/2006/relationships/tags" Target="../tags/tag436.xml"/><Relationship Id="rId362" Type="http://schemas.openxmlformats.org/officeDocument/2006/relationships/tags" Target="../tags/tag457.xml"/><Relationship Id="rId383" Type="http://schemas.openxmlformats.org/officeDocument/2006/relationships/hyperlink" Target="https://www.adva.asia/5th-asia-dengue-summit-recordings/" TargetMode="External"/><Relationship Id="rId201" Type="http://schemas.openxmlformats.org/officeDocument/2006/relationships/tags" Target="../tags/tag296.xml"/><Relationship Id="rId222" Type="http://schemas.openxmlformats.org/officeDocument/2006/relationships/tags" Target="../tags/tag317.xml"/><Relationship Id="rId243" Type="http://schemas.openxmlformats.org/officeDocument/2006/relationships/tags" Target="../tags/tag338.xml"/><Relationship Id="rId264" Type="http://schemas.openxmlformats.org/officeDocument/2006/relationships/tags" Target="../tags/tag359.xml"/><Relationship Id="rId285" Type="http://schemas.openxmlformats.org/officeDocument/2006/relationships/tags" Target="../tags/tag380.xml"/><Relationship Id="rId17" Type="http://schemas.openxmlformats.org/officeDocument/2006/relationships/tags" Target="../tags/tag112.xml"/><Relationship Id="rId38" Type="http://schemas.openxmlformats.org/officeDocument/2006/relationships/tags" Target="../tags/tag133.xml"/><Relationship Id="rId59" Type="http://schemas.openxmlformats.org/officeDocument/2006/relationships/tags" Target="../tags/tag154.xml"/><Relationship Id="rId103" Type="http://schemas.openxmlformats.org/officeDocument/2006/relationships/tags" Target="../tags/tag198.xml"/><Relationship Id="rId124" Type="http://schemas.openxmlformats.org/officeDocument/2006/relationships/tags" Target="../tags/tag219.xml"/><Relationship Id="rId310" Type="http://schemas.openxmlformats.org/officeDocument/2006/relationships/tags" Target="../tags/tag405.xml"/><Relationship Id="rId70" Type="http://schemas.openxmlformats.org/officeDocument/2006/relationships/tags" Target="../tags/tag165.xml"/><Relationship Id="rId91" Type="http://schemas.openxmlformats.org/officeDocument/2006/relationships/tags" Target="../tags/tag186.xml"/><Relationship Id="rId145" Type="http://schemas.openxmlformats.org/officeDocument/2006/relationships/tags" Target="../tags/tag240.xml"/><Relationship Id="rId166" Type="http://schemas.openxmlformats.org/officeDocument/2006/relationships/tags" Target="../tags/tag261.xml"/><Relationship Id="rId187" Type="http://schemas.openxmlformats.org/officeDocument/2006/relationships/tags" Target="../tags/tag282.xml"/><Relationship Id="rId331" Type="http://schemas.openxmlformats.org/officeDocument/2006/relationships/tags" Target="../tags/tag426.xml"/><Relationship Id="rId352" Type="http://schemas.openxmlformats.org/officeDocument/2006/relationships/tags" Target="../tags/tag447.xml"/><Relationship Id="rId373" Type="http://schemas.openxmlformats.org/officeDocument/2006/relationships/tags" Target="../tags/tag468.xml"/><Relationship Id="rId1" Type="http://schemas.openxmlformats.org/officeDocument/2006/relationships/tags" Target="../tags/tag96.xml"/><Relationship Id="rId212" Type="http://schemas.openxmlformats.org/officeDocument/2006/relationships/tags" Target="../tags/tag307.xml"/><Relationship Id="rId233" Type="http://schemas.openxmlformats.org/officeDocument/2006/relationships/tags" Target="../tags/tag328.xml"/><Relationship Id="rId254" Type="http://schemas.openxmlformats.org/officeDocument/2006/relationships/tags" Target="../tags/tag349.xml"/><Relationship Id="rId28" Type="http://schemas.openxmlformats.org/officeDocument/2006/relationships/tags" Target="../tags/tag123.xml"/><Relationship Id="rId49" Type="http://schemas.openxmlformats.org/officeDocument/2006/relationships/tags" Target="../tags/tag144.xml"/><Relationship Id="rId114" Type="http://schemas.openxmlformats.org/officeDocument/2006/relationships/tags" Target="../tags/tag209.xml"/><Relationship Id="rId275" Type="http://schemas.openxmlformats.org/officeDocument/2006/relationships/tags" Target="../tags/tag370.xml"/><Relationship Id="rId296" Type="http://schemas.openxmlformats.org/officeDocument/2006/relationships/tags" Target="../tags/tag391.xml"/><Relationship Id="rId300" Type="http://schemas.openxmlformats.org/officeDocument/2006/relationships/tags" Target="../tags/tag395.xml"/><Relationship Id="rId60" Type="http://schemas.openxmlformats.org/officeDocument/2006/relationships/tags" Target="../tags/tag155.xml"/><Relationship Id="rId81" Type="http://schemas.openxmlformats.org/officeDocument/2006/relationships/tags" Target="../tags/tag176.xml"/><Relationship Id="rId135" Type="http://schemas.openxmlformats.org/officeDocument/2006/relationships/tags" Target="../tags/tag230.xml"/><Relationship Id="rId156" Type="http://schemas.openxmlformats.org/officeDocument/2006/relationships/tags" Target="../tags/tag251.xml"/><Relationship Id="rId177" Type="http://schemas.openxmlformats.org/officeDocument/2006/relationships/tags" Target="../tags/tag272.xml"/><Relationship Id="rId198" Type="http://schemas.openxmlformats.org/officeDocument/2006/relationships/tags" Target="../tags/tag293.xml"/><Relationship Id="rId321" Type="http://schemas.openxmlformats.org/officeDocument/2006/relationships/tags" Target="../tags/tag416.xml"/><Relationship Id="rId342" Type="http://schemas.openxmlformats.org/officeDocument/2006/relationships/tags" Target="../tags/tag437.xml"/><Relationship Id="rId363" Type="http://schemas.openxmlformats.org/officeDocument/2006/relationships/tags" Target="../tags/tag458.xml"/><Relationship Id="rId202" Type="http://schemas.openxmlformats.org/officeDocument/2006/relationships/tags" Target="../tags/tag297.xml"/><Relationship Id="rId223" Type="http://schemas.openxmlformats.org/officeDocument/2006/relationships/tags" Target="../tags/tag318.xml"/><Relationship Id="rId244" Type="http://schemas.openxmlformats.org/officeDocument/2006/relationships/tags" Target="../tags/tag339.xml"/><Relationship Id="rId18" Type="http://schemas.openxmlformats.org/officeDocument/2006/relationships/tags" Target="../tags/tag113.xml"/><Relationship Id="rId39" Type="http://schemas.openxmlformats.org/officeDocument/2006/relationships/tags" Target="../tags/tag134.xml"/><Relationship Id="rId265" Type="http://schemas.openxmlformats.org/officeDocument/2006/relationships/tags" Target="../tags/tag360.xml"/><Relationship Id="rId286" Type="http://schemas.openxmlformats.org/officeDocument/2006/relationships/tags" Target="../tags/tag381.xml"/><Relationship Id="rId50" Type="http://schemas.openxmlformats.org/officeDocument/2006/relationships/tags" Target="../tags/tag145.xml"/><Relationship Id="rId104" Type="http://schemas.openxmlformats.org/officeDocument/2006/relationships/tags" Target="../tags/tag199.xml"/><Relationship Id="rId125" Type="http://schemas.openxmlformats.org/officeDocument/2006/relationships/tags" Target="../tags/tag220.xml"/><Relationship Id="rId146" Type="http://schemas.openxmlformats.org/officeDocument/2006/relationships/tags" Target="../tags/tag241.xml"/><Relationship Id="rId167" Type="http://schemas.openxmlformats.org/officeDocument/2006/relationships/tags" Target="../tags/tag262.xml"/><Relationship Id="rId188" Type="http://schemas.openxmlformats.org/officeDocument/2006/relationships/tags" Target="../tags/tag283.xml"/><Relationship Id="rId311" Type="http://schemas.openxmlformats.org/officeDocument/2006/relationships/tags" Target="../tags/tag406.xml"/><Relationship Id="rId332" Type="http://schemas.openxmlformats.org/officeDocument/2006/relationships/tags" Target="../tags/tag427.xml"/><Relationship Id="rId353" Type="http://schemas.openxmlformats.org/officeDocument/2006/relationships/tags" Target="../tags/tag448.xml"/><Relationship Id="rId374" Type="http://schemas.openxmlformats.org/officeDocument/2006/relationships/tags" Target="../tags/tag469.xml"/><Relationship Id="rId71" Type="http://schemas.openxmlformats.org/officeDocument/2006/relationships/tags" Target="../tags/tag166.xml"/><Relationship Id="rId92" Type="http://schemas.openxmlformats.org/officeDocument/2006/relationships/tags" Target="../tags/tag187.xml"/><Relationship Id="rId213" Type="http://schemas.openxmlformats.org/officeDocument/2006/relationships/tags" Target="../tags/tag308.xml"/><Relationship Id="rId234" Type="http://schemas.openxmlformats.org/officeDocument/2006/relationships/tags" Target="../tags/tag329.xml"/><Relationship Id="rId2" Type="http://schemas.openxmlformats.org/officeDocument/2006/relationships/tags" Target="../tags/tag97.xml"/><Relationship Id="rId29" Type="http://schemas.openxmlformats.org/officeDocument/2006/relationships/tags" Target="../tags/tag124.xml"/><Relationship Id="rId255" Type="http://schemas.openxmlformats.org/officeDocument/2006/relationships/tags" Target="../tags/tag350.xml"/><Relationship Id="rId276" Type="http://schemas.openxmlformats.org/officeDocument/2006/relationships/tags" Target="../tags/tag371.xml"/><Relationship Id="rId297" Type="http://schemas.openxmlformats.org/officeDocument/2006/relationships/tags" Target="../tags/tag392.xml"/><Relationship Id="rId40" Type="http://schemas.openxmlformats.org/officeDocument/2006/relationships/tags" Target="../tags/tag135.xml"/><Relationship Id="rId115" Type="http://schemas.openxmlformats.org/officeDocument/2006/relationships/tags" Target="../tags/tag210.xml"/><Relationship Id="rId136" Type="http://schemas.openxmlformats.org/officeDocument/2006/relationships/tags" Target="../tags/tag231.xml"/><Relationship Id="rId157" Type="http://schemas.openxmlformats.org/officeDocument/2006/relationships/tags" Target="../tags/tag252.xml"/><Relationship Id="rId178" Type="http://schemas.openxmlformats.org/officeDocument/2006/relationships/tags" Target="../tags/tag273.xml"/><Relationship Id="rId301" Type="http://schemas.openxmlformats.org/officeDocument/2006/relationships/tags" Target="../tags/tag396.xml"/><Relationship Id="rId322" Type="http://schemas.openxmlformats.org/officeDocument/2006/relationships/tags" Target="../tags/tag417.xml"/><Relationship Id="rId343" Type="http://schemas.openxmlformats.org/officeDocument/2006/relationships/tags" Target="../tags/tag438.xml"/><Relationship Id="rId364" Type="http://schemas.openxmlformats.org/officeDocument/2006/relationships/tags" Target="../tags/tag459.xml"/><Relationship Id="rId61" Type="http://schemas.openxmlformats.org/officeDocument/2006/relationships/tags" Target="../tags/tag156.xml"/><Relationship Id="rId82" Type="http://schemas.openxmlformats.org/officeDocument/2006/relationships/tags" Target="../tags/tag177.xml"/><Relationship Id="rId199" Type="http://schemas.openxmlformats.org/officeDocument/2006/relationships/tags" Target="../tags/tag294.xml"/><Relationship Id="rId203" Type="http://schemas.openxmlformats.org/officeDocument/2006/relationships/tags" Target="../tags/tag298.xml"/><Relationship Id="rId19" Type="http://schemas.openxmlformats.org/officeDocument/2006/relationships/tags" Target="../tags/tag114.xml"/><Relationship Id="rId224" Type="http://schemas.openxmlformats.org/officeDocument/2006/relationships/tags" Target="../tags/tag319.xml"/><Relationship Id="rId245" Type="http://schemas.openxmlformats.org/officeDocument/2006/relationships/tags" Target="../tags/tag340.xml"/><Relationship Id="rId266" Type="http://schemas.openxmlformats.org/officeDocument/2006/relationships/tags" Target="../tags/tag361.xml"/><Relationship Id="rId287" Type="http://schemas.openxmlformats.org/officeDocument/2006/relationships/tags" Target="../tags/tag382.xml"/><Relationship Id="rId30" Type="http://schemas.openxmlformats.org/officeDocument/2006/relationships/tags" Target="../tags/tag125.xml"/><Relationship Id="rId105" Type="http://schemas.openxmlformats.org/officeDocument/2006/relationships/tags" Target="../tags/tag200.xml"/><Relationship Id="rId126" Type="http://schemas.openxmlformats.org/officeDocument/2006/relationships/tags" Target="../tags/tag221.xml"/><Relationship Id="rId147" Type="http://schemas.openxmlformats.org/officeDocument/2006/relationships/tags" Target="../tags/tag242.xml"/><Relationship Id="rId168" Type="http://schemas.openxmlformats.org/officeDocument/2006/relationships/tags" Target="../tags/tag263.xml"/><Relationship Id="rId312" Type="http://schemas.openxmlformats.org/officeDocument/2006/relationships/tags" Target="../tags/tag407.xml"/><Relationship Id="rId333" Type="http://schemas.openxmlformats.org/officeDocument/2006/relationships/tags" Target="../tags/tag428.xml"/><Relationship Id="rId354" Type="http://schemas.openxmlformats.org/officeDocument/2006/relationships/tags" Target="../tags/tag449.xml"/><Relationship Id="rId51" Type="http://schemas.openxmlformats.org/officeDocument/2006/relationships/tags" Target="../tags/tag146.xml"/><Relationship Id="rId72" Type="http://schemas.openxmlformats.org/officeDocument/2006/relationships/tags" Target="../tags/tag167.xml"/><Relationship Id="rId93" Type="http://schemas.openxmlformats.org/officeDocument/2006/relationships/tags" Target="../tags/tag188.xml"/><Relationship Id="rId189" Type="http://schemas.openxmlformats.org/officeDocument/2006/relationships/tags" Target="../tags/tag284.xml"/><Relationship Id="rId375" Type="http://schemas.openxmlformats.org/officeDocument/2006/relationships/tags" Target="../tags/tag470.xml"/><Relationship Id="rId3" Type="http://schemas.openxmlformats.org/officeDocument/2006/relationships/tags" Target="../tags/tag98.xml"/><Relationship Id="rId214" Type="http://schemas.openxmlformats.org/officeDocument/2006/relationships/tags" Target="../tags/tag309.xml"/><Relationship Id="rId235" Type="http://schemas.openxmlformats.org/officeDocument/2006/relationships/tags" Target="../tags/tag330.xml"/><Relationship Id="rId256" Type="http://schemas.openxmlformats.org/officeDocument/2006/relationships/tags" Target="../tags/tag351.xml"/><Relationship Id="rId277" Type="http://schemas.openxmlformats.org/officeDocument/2006/relationships/tags" Target="../tags/tag372.xml"/><Relationship Id="rId298" Type="http://schemas.openxmlformats.org/officeDocument/2006/relationships/tags" Target="../tags/tag393.xml"/><Relationship Id="rId116" Type="http://schemas.openxmlformats.org/officeDocument/2006/relationships/tags" Target="../tags/tag211.xml"/><Relationship Id="rId137" Type="http://schemas.openxmlformats.org/officeDocument/2006/relationships/tags" Target="../tags/tag232.xml"/><Relationship Id="rId158" Type="http://schemas.openxmlformats.org/officeDocument/2006/relationships/tags" Target="../tags/tag253.xml"/><Relationship Id="rId302" Type="http://schemas.openxmlformats.org/officeDocument/2006/relationships/tags" Target="../tags/tag397.xml"/><Relationship Id="rId323" Type="http://schemas.openxmlformats.org/officeDocument/2006/relationships/tags" Target="../tags/tag418.xml"/><Relationship Id="rId344" Type="http://schemas.openxmlformats.org/officeDocument/2006/relationships/tags" Target="../tags/tag439.xml"/><Relationship Id="rId20" Type="http://schemas.openxmlformats.org/officeDocument/2006/relationships/tags" Target="../tags/tag115.xml"/><Relationship Id="rId41" Type="http://schemas.openxmlformats.org/officeDocument/2006/relationships/tags" Target="../tags/tag136.xml"/><Relationship Id="rId62" Type="http://schemas.openxmlformats.org/officeDocument/2006/relationships/tags" Target="../tags/tag157.xml"/><Relationship Id="rId83" Type="http://schemas.openxmlformats.org/officeDocument/2006/relationships/tags" Target="../tags/tag178.xml"/><Relationship Id="rId179" Type="http://schemas.openxmlformats.org/officeDocument/2006/relationships/tags" Target="../tags/tag274.xml"/><Relationship Id="rId365" Type="http://schemas.openxmlformats.org/officeDocument/2006/relationships/tags" Target="../tags/tag460.xml"/><Relationship Id="rId190" Type="http://schemas.openxmlformats.org/officeDocument/2006/relationships/tags" Target="../tags/tag285.xml"/><Relationship Id="rId204" Type="http://schemas.openxmlformats.org/officeDocument/2006/relationships/tags" Target="../tags/tag299.xml"/><Relationship Id="rId225" Type="http://schemas.openxmlformats.org/officeDocument/2006/relationships/tags" Target="../tags/tag320.xml"/><Relationship Id="rId246" Type="http://schemas.openxmlformats.org/officeDocument/2006/relationships/tags" Target="../tags/tag341.xml"/><Relationship Id="rId267" Type="http://schemas.openxmlformats.org/officeDocument/2006/relationships/tags" Target="../tags/tag362.xml"/><Relationship Id="rId288" Type="http://schemas.openxmlformats.org/officeDocument/2006/relationships/tags" Target="../tags/tag383.xml"/><Relationship Id="rId106" Type="http://schemas.openxmlformats.org/officeDocument/2006/relationships/tags" Target="../tags/tag201.xml"/><Relationship Id="rId127" Type="http://schemas.openxmlformats.org/officeDocument/2006/relationships/tags" Target="../tags/tag222.xml"/><Relationship Id="rId313" Type="http://schemas.openxmlformats.org/officeDocument/2006/relationships/tags" Target="../tags/tag408.xml"/><Relationship Id="rId10" Type="http://schemas.openxmlformats.org/officeDocument/2006/relationships/tags" Target="../tags/tag105.xml"/><Relationship Id="rId31" Type="http://schemas.openxmlformats.org/officeDocument/2006/relationships/tags" Target="../tags/tag126.xml"/><Relationship Id="rId52" Type="http://schemas.openxmlformats.org/officeDocument/2006/relationships/tags" Target="../tags/tag147.xml"/><Relationship Id="rId73" Type="http://schemas.openxmlformats.org/officeDocument/2006/relationships/tags" Target="../tags/tag168.xml"/><Relationship Id="rId94" Type="http://schemas.openxmlformats.org/officeDocument/2006/relationships/tags" Target="../tags/tag189.xml"/><Relationship Id="rId148" Type="http://schemas.openxmlformats.org/officeDocument/2006/relationships/tags" Target="../tags/tag243.xml"/><Relationship Id="rId169" Type="http://schemas.openxmlformats.org/officeDocument/2006/relationships/tags" Target="../tags/tag264.xml"/><Relationship Id="rId334" Type="http://schemas.openxmlformats.org/officeDocument/2006/relationships/tags" Target="../tags/tag429.xml"/><Relationship Id="rId355" Type="http://schemas.openxmlformats.org/officeDocument/2006/relationships/tags" Target="../tags/tag450.xml"/><Relationship Id="rId376" Type="http://schemas.openxmlformats.org/officeDocument/2006/relationships/tags" Target="../tags/tag471.xml"/><Relationship Id="rId4" Type="http://schemas.openxmlformats.org/officeDocument/2006/relationships/tags" Target="../tags/tag99.xml"/><Relationship Id="rId180" Type="http://schemas.openxmlformats.org/officeDocument/2006/relationships/tags" Target="../tags/tag275.xml"/><Relationship Id="rId215" Type="http://schemas.openxmlformats.org/officeDocument/2006/relationships/tags" Target="../tags/tag310.xml"/><Relationship Id="rId236" Type="http://schemas.openxmlformats.org/officeDocument/2006/relationships/tags" Target="../tags/tag331.xml"/><Relationship Id="rId257" Type="http://schemas.openxmlformats.org/officeDocument/2006/relationships/tags" Target="../tags/tag352.xml"/><Relationship Id="rId278" Type="http://schemas.openxmlformats.org/officeDocument/2006/relationships/tags" Target="../tags/tag373.xml"/><Relationship Id="rId303" Type="http://schemas.openxmlformats.org/officeDocument/2006/relationships/tags" Target="../tags/tag398.xml"/><Relationship Id="rId42" Type="http://schemas.openxmlformats.org/officeDocument/2006/relationships/tags" Target="../tags/tag137.xml"/><Relationship Id="rId84" Type="http://schemas.openxmlformats.org/officeDocument/2006/relationships/tags" Target="../tags/tag179.xml"/><Relationship Id="rId138" Type="http://schemas.openxmlformats.org/officeDocument/2006/relationships/tags" Target="../tags/tag233.xml"/><Relationship Id="rId345" Type="http://schemas.openxmlformats.org/officeDocument/2006/relationships/tags" Target="../tags/tag440.xml"/><Relationship Id="rId191" Type="http://schemas.openxmlformats.org/officeDocument/2006/relationships/tags" Target="../tags/tag286.xml"/><Relationship Id="rId205" Type="http://schemas.openxmlformats.org/officeDocument/2006/relationships/tags" Target="../tags/tag300.xml"/><Relationship Id="rId247" Type="http://schemas.openxmlformats.org/officeDocument/2006/relationships/tags" Target="../tags/tag342.xml"/><Relationship Id="rId107" Type="http://schemas.openxmlformats.org/officeDocument/2006/relationships/tags" Target="../tags/tag202.xml"/><Relationship Id="rId289" Type="http://schemas.openxmlformats.org/officeDocument/2006/relationships/tags" Target="../tags/tag384.xml"/><Relationship Id="rId11" Type="http://schemas.openxmlformats.org/officeDocument/2006/relationships/tags" Target="../tags/tag106.xml"/><Relationship Id="rId53" Type="http://schemas.openxmlformats.org/officeDocument/2006/relationships/tags" Target="../tags/tag148.xml"/><Relationship Id="rId149" Type="http://schemas.openxmlformats.org/officeDocument/2006/relationships/tags" Target="../tags/tag244.xml"/><Relationship Id="rId314" Type="http://schemas.openxmlformats.org/officeDocument/2006/relationships/tags" Target="../tags/tag409.xml"/><Relationship Id="rId356" Type="http://schemas.openxmlformats.org/officeDocument/2006/relationships/tags" Target="../tags/tag451.xml"/><Relationship Id="rId95" Type="http://schemas.openxmlformats.org/officeDocument/2006/relationships/tags" Target="../tags/tag190.xml"/><Relationship Id="rId160" Type="http://schemas.openxmlformats.org/officeDocument/2006/relationships/tags" Target="../tags/tag255.xml"/><Relationship Id="rId216" Type="http://schemas.openxmlformats.org/officeDocument/2006/relationships/tags" Target="../tags/tag311.xml"/><Relationship Id="rId258" Type="http://schemas.openxmlformats.org/officeDocument/2006/relationships/tags" Target="../tags/tag353.xml"/><Relationship Id="rId22" Type="http://schemas.openxmlformats.org/officeDocument/2006/relationships/tags" Target="../tags/tag117.xml"/><Relationship Id="rId64" Type="http://schemas.openxmlformats.org/officeDocument/2006/relationships/tags" Target="../tags/tag159.xml"/><Relationship Id="rId118" Type="http://schemas.openxmlformats.org/officeDocument/2006/relationships/tags" Target="../tags/tag213.xml"/><Relationship Id="rId325" Type="http://schemas.openxmlformats.org/officeDocument/2006/relationships/tags" Target="../tags/tag420.xml"/><Relationship Id="rId367" Type="http://schemas.openxmlformats.org/officeDocument/2006/relationships/tags" Target="../tags/tag462.xml"/><Relationship Id="rId171" Type="http://schemas.openxmlformats.org/officeDocument/2006/relationships/tags" Target="../tags/tag266.xml"/><Relationship Id="rId227" Type="http://schemas.openxmlformats.org/officeDocument/2006/relationships/tags" Target="../tags/tag322.xml"/><Relationship Id="rId269" Type="http://schemas.openxmlformats.org/officeDocument/2006/relationships/tags" Target="../tags/tag364.xml"/><Relationship Id="rId33" Type="http://schemas.openxmlformats.org/officeDocument/2006/relationships/tags" Target="../tags/tag128.xml"/><Relationship Id="rId129" Type="http://schemas.openxmlformats.org/officeDocument/2006/relationships/tags" Target="../tags/tag224.xml"/><Relationship Id="rId280" Type="http://schemas.openxmlformats.org/officeDocument/2006/relationships/tags" Target="../tags/tag375.xml"/><Relationship Id="rId336" Type="http://schemas.openxmlformats.org/officeDocument/2006/relationships/tags" Target="../tags/tag431.xml"/><Relationship Id="rId75" Type="http://schemas.openxmlformats.org/officeDocument/2006/relationships/tags" Target="../tags/tag170.xml"/><Relationship Id="rId140" Type="http://schemas.openxmlformats.org/officeDocument/2006/relationships/tags" Target="../tags/tag235.xml"/><Relationship Id="rId182" Type="http://schemas.openxmlformats.org/officeDocument/2006/relationships/tags" Target="../tags/tag277.xml"/><Relationship Id="rId378" Type="http://schemas.openxmlformats.org/officeDocument/2006/relationships/tags" Target="../tags/tag473.xml"/><Relationship Id="rId6" Type="http://schemas.openxmlformats.org/officeDocument/2006/relationships/tags" Target="../tags/tag101.xml"/><Relationship Id="rId238" Type="http://schemas.openxmlformats.org/officeDocument/2006/relationships/tags" Target="../tags/tag333.xml"/><Relationship Id="rId291" Type="http://schemas.openxmlformats.org/officeDocument/2006/relationships/tags" Target="../tags/tag386.xml"/><Relationship Id="rId305" Type="http://schemas.openxmlformats.org/officeDocument/2006/relationships/tags" Target="../tags/tag400.xml"/><Relationship Id="rId347" Type="http://schemas.openxmlformats.org/officeDocument/2006/relationships/tags" Target="../tags/tag442.xml"/><Relationship Id="rId44" Type="http://schemas.openxmlformats.org/officeDocument/2006/relationships/tags" Target="../tags/tag139.xml"/><Relationship Id="rId86" Type="http://schemas.openxmlformats.org/officeDocument/2006/relationships/tags" Target="../tags/tag181.xml"/><Relationship Id="rId151" Type="http://schemas.openxmlformats.org/officeDocument/2006/relationships/tags" Target="../tags/tag246.xml"/><Relationship Id="rId193" Type="http://schemas.openxmlformats.org/officeDocument/2006/relationships/tags" Target="../tags/tag288.xml"/><Relationship Id="rId207" Type="http://schemas.openxmlformats.org/officeDocument/2006/relationships/tags" Target="../tags/tag302.xml"/><Relationship Id="rId249" Type="http://schemas.openxmlformats.org/officeDocument/2006/relationships/tags" Target="../tags/tag344.xml"/><Relationship Id="rId13" Type="http://schemas.openxmlformats.org/officeDocument/2006/relationships/tags" Target="../tags/tag108.xml"/><Relationship Id="rId109" Type="http://schemas.openxmlformats.org/officeDocument/2006/relationships/tags" Target="../tags/tag204.xml"/><Relationship Id="rId260" Type="http://schemas.openxmlformats.org/officeDocument/2006/relationships/tags" Target="../tags/tag355.xml"/><Relationship Id="rId316" Type="http://schemas.openxmlformats.org/officeDocument/2006/relationships/tags" Target="../tags/tag411.xml"/><Relationship Id="rId55" Type="http://schemas.openxmlformats.org/officeDocument/2006/relationships/tags" Target="../tags/tag150.xml"/><Relationship Id="rId97" Type="http://schemas.openxmlformats.org/officeDocument/2006/relationships/tags" Target="../tags/tag192.xml"/><Relationship Id="rId120" Type="http://schemas.openxmlformats.org/officeDocument/2006/relationships/tags" Target="../tags/tag215.xml"/><Relationship Id="rId358" Type="http://schemas.openxmlformats.org/officeDocument/2006/relationships/tags" Target="../tags/tag453.xml"/><Relationship Id="rId162" Type="http://schemas.openxmlformats.org/officeDocument/2006/relationships/tags" Target="../tags/tag257.xml"/><Relationship Id="rId218" Type="http://schemas.openxmlformats.org/officeDocument/2006/relationships/tags" Target="../tags/tag313.xml"/><Relationship Id="rId271" Type="http://schemas.openxmlformats.org/officeDocument/2006/relationships/tags" Target="../tags/tag366.xml"/><Relationship Id="rId24" Type="http://schemas.openxmlformats.org/officeDocument/2006/relationships/tags" Target="../tags/tag119.xml"/><Relationship Id="rId66" Type="http://schemas.openxmlformats.org/officeDocument/2006/relationships/tags" Target="../tags/tag161.xml"/><Relationship Id="rId131" Type="http://schemas.openxmlformats.org/officeDocument/2006/relationships/tags" Target="../tags/tag226.xml"/><Relationship Id="rId327" Type="http://schemas.openxmlformats.org/officeDocument/2006/relationships/tags" Target="../tags/tag422.xml"/><Relationship Id="rId369" Type="http://schemas.openxmlformats.org/officeDocument/2006/relationships/tags" Target="../tags/tag464.xml"/><Relationship Id="rId173" Type="http://schemas.openxmlformats.org/officeDocument/2006/relationships/tags" Target="../tags/tag268.xml"/><Relationship Id="rId229" Type="http://schemas.openxmlformats.org/officeDocument/2006/relationships/tags" Target="../tags/tag324.xml"/><Relationship Id="rId380" Type="http://schemas.openxmlformats.org/officeDocument/2006/relationships/tags" Target="../tags/tag475.xml"/><Relationship Id="rId240" Type="http://schemas.openxmlformats.org/officeDocument/2006/relationships/tags" Target="../tags/tag335.xml"/><Relationship Id="rId35" Type="http://schemas.openxmlformats.org/officeDocument/2006/relationships/tags" Target="../tags/tag130.xml"/><Relationship Id="rId77" Type="http://schemas.openxmlformats.org/officeDocument/2006/relationships/tags" Target="../tags/tag172.xml"/><Relationship Id="rId100" Type="http://schemas.openxmlformats.org/officeDocument/2006/relationships/tags" Target="../tags/tag195.xml"/><Relationship Id="rId282" Type="http://schemas.openxmlformats.org/officeDocument/2006/relationships/tags" Target="../tags/tag377.xml"/><Relationship Id="rId338" Type="http://schemas.openxmlformats.org/officeDocument/2006/relationships/tags" Target="../tags/tag433.xml"/><Relationship Id="rId8" Type="http://schemas.openxmlformats.org/officeDocument/2006/relationships/tags" Target="../tags/tag103.xml"/><Relationship Id="rId142" Type="http://schemas.openxmlformats.org/officeDocument/2006/relationships/tags" Target="../tags/tag237.xml"/><Relationship Id="rId184" Type="http://schemas.openxmlformats.org/officeDocument/2006/relationships/tags" Target="../tags/tag279.xml"/><Relationship Id="rId251" Type="http://schemas.openxmlformats.org/officeDocument/2006/relationships/tags" Target="../tags/tag346.xml"/><Relationship Id="rId46" Type="http://schemas.openxmlformats.org/officeDocument/2006/relationships/tags" Target="../tags/tag141.xml"/><Relationship Id="rId293" Type="http://schemas.openxmlformats.org/officeDocument/2006/relationships/tags" Target="../tags/tag388.xml"/><Relationship Id="rId307" Type="http://schemas.openxmlformats.org/officeDocument/2006/relationships/tags" Target="../tags/tag402.xml"/><Relationship Id="rId349" Type="http://schemas.openxmlformats.org/officeDocument/2006/relationships/tags" Target="../tags/tag444.xml"/><Relationship Id="rId88" Type="http://schemas.openxmlformats.org/officeDocument/2006/relationships/tags" Target="../tags/tag183.xml"/><Relationship Id="rId111" Type="http://schemas.openxmlformats.org/officeDocument/2006/relationships/tags" Target="../tags/tag206.xml"/><Relationship Id="rId153" Type="http://schemas.openxmlformats.org/officeDocument/2006/relationships/tags" Target="../tags/tag248.xml"/><Relationship Id="rId195" Type="http://schemas.openxmlformats.org/officeDocument/2006/relationships/tags" Target="../tags/tag290.xml"/><Relationship Id="rId209" Type="http://schemas.openxmlformats.org/officeDocument/2006/relationships/tags" Target="../tags/tag304.xml"/><Relationship Id="rId360" Type="http://schemas.openxmlformats.org/officeDocument/2006/relationships/tags" Target="../tags/tag455.xml"/><Relationship Id="rId220" Type="http://schemas.openxmlformats.org/officeDocument/2006/relationships/tags" Target="../tags/tag315.xml"/><Relationship Id="rId15" Type="http://schemas.openxmlformats.org/officeDocument/2006/relationships/tags" Target="../tags/tag110.xml"/><Relationship Id="rId57" Type="http://schemas.openxmlformats.org/officeDocument/2006/relationships/tags" Target="../tags/tag152.xml"/><Relationship Id="rId262" Type="http://schemas.openxmlformats.org/officeDocument/2006/relationships/tags" Target="../tags/tag357.xml"/><Relationship Id="rId318" Type="http://schemas.openxmlformats.org/officeDocument/2006/relationships/tags" Target="../tags/tag413.xml"/><Relationship Id="rId99" Type="http://schemas.openxmlformats.org/officeDocument/2006/relationships/tags" Target="../tags/tag194.xml"/><Relationship Id="rId122" Type="http://schemas.openxmlformats.org/officeDocument/2006/relationships/tags" Target="../tags/tag217.xml"/><Relationship Id="rId164" Type="http://schemas.openxmlformats.org/officeDocument/2006/relationships/tags" Target="../tags/tag259.xml"/><Relationship Id="rId371" Type="http://schemas.openxmlformats.org/officeDocument/2006/relationships/tags" Target="../tags/tag466.xml"/></Relationships>
</file>

<file path=ppt/slides/_rels/slide4.xml.rels><?xml version="1.0" encoding="UTF-8" standalone="yes"?>
<Relationships xmlns="http://schemas.openxmlformats.org/package/2006/relationships"><Relationship Id="rId8" Type="http://schemas.openxmlformats.org/officeDocument/2006/relationships/hyperlink" Target="https://www.who.int/es/news-room/fact-sheets/detail/dengue-and-severe-dengue" TargetMode="External"/><Relationship Id="rId13" Type="http://schemas.microsoft.com/office/2007/relationships/diagramDrawing" Target="../diagrams/drawing3.xml"/><Relationship Id="rId3" Type="http://schemas.openxmlformats.org/officeDocument/2006/relationships/diagramData" Target="../diagrams/data2.xml"/><Relationship Id="rId7" Type="http://schemas.microsoft.com/office/2007/relationships/diagramDrawing" Target="../diagrams/drawing2.xml"/><Relationship Id="rId12" Type="http://schemas.openxmlformats.org/officeDocument/2006/relationships/diagramColors" Target="../diagrams/colors3.xml"/><Relationship Id="rId2" Type="http://schemas.openxmlformats.org/officeDocument/2006/relationships/notesSlide" Target="../notesSlides/notesSlide2.xml"/><Relationship Id="rId1" Type="http://schemas.openxmlformats.org/officeDocument/2006/relationships/slideLayout" Target="../slideLayouts/slideLayout91.xml"/><Relationship Id="rId6" Type="http://schemas.openxmlformats.org/officeDocument/2006/relationships/diagramColors" Target="../diagrams/colors2.xml"/><Relationship Id="rId11" Type="http://schemas.openxmlformats.org/officeDocument/2006/relationships/diagramQuickStyle" Target="../diagrams/quickStyle3.xml"/><Relationship Id="rId5" Type="http://schemas.openxmlformats.org/officeDocument/2006/relationships/diagramQuickStyle" Target="../diagrams/quickStyle2.xml"/><Relationship Id="rId10" Type="http://schemas.openxmlformats.org/officeDocument/2006/relationships/diagramLayout" Target="../diagrams/layout3.xml"/><Relationship Id="rId4" Type="http://schemas.openxmlformats.org/officeDocument/2006/relationships/diagramLayout" Target="../diagrams/layout2.xml"/><Relationship Id="rId9" Type="http://schemas.openxmlformats.org/officeDocument/2006/relationships/diagramData" Target="../diagrams/data3.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28.xml"/><Relationship Id="rId1" Type="http://schemas.openxmlformats.org/officeDocument/2006/relationships/tags" Target="../tags/tag476.xml"/><Relationship Id="rId6" Type="http://schemas.openxmlformats.org/officeDocument/2006/relationships/image" Target="../media/image82.png"/><Relationship Id="rId5" Type="http://schemas.openxmlformats.org/officeDocument/2006/relationships/chart" Target="../charts/chart2.xml"/><Relationship Id="rId4" Type="http://schemas.openxmlformats.org/officeDocument/2006/relationships/chart" Target="../charts/chart1.xml"/></Relationships>
</file>

<file path=ppt/slides/_rels/slide41.xml.rels><?xml version="1.0" encoding="UTF-8" standalone="yes"?>
<Relationships xmlns="http://schemas.openxmlformats.org/package/2006/relationships"><Relationship Id="rId8" Type="http://schemas.openxmlformats.org/officeDocument/2006/relationships/diagramQuickStyle" Target="../diagrams/quickStyle7.xml"/><Relationship Id="rId3" Type="http://schemas.openxmlformats.org/officeDocument/2006/relationships/notesSlide" Target="../notesSlides/notesSlide21.xml"/><Relationship Id="rId7" Type="http://schemas.openxmlformats.org/officeDocument/2006/relationships/diagramLayout" Target="../diagrams/layout7.xml"/><Relationship Id="rId2" Type="http://schemas.openxmlformats.org/officeDocument/2006/relationships/slideLayout" Target="../slideLayouts/slideLayout249.xml"/><Relationship Id="rId1" Type="http://schemas.openxmlformats.org/officeDocument/2006/relationships/tags" Target="../tags/tag477.xml"/><Relationship Id="rId6" Type="http://schemas.openxmlformats.org/officeDocument/2006/relationships/diagramData" Target="../diagrams/data7.xml"/><Relationship Id="rId5" Type="http://schemas.openxmlformats.org/officeDocument/2006/relationships/chart" Target="../charts/chart4.xml"/><Relationship Id="rId10" Type="http://schemas.microsoft.com/office/2007/relationships/diagramDrawing" Target="../diagrams/drawing7.xml"/><Relationship Id="rId4" Type="http://schemas.openxmlformats.org/officeDocument/2006/relationships/chart" Target="../charts/chart3.xml"/><Relationship Id="rId9" Type="http://schemas.openxmlformats.org/officeDocument/2006/relationships/diagramColors" Target="../diagrams/colors7.xml"/></Relationships>
</file>

<file path=ppt/slides/_rels/slide42.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slideLayout" Target="../slideLayouts/slideLayout274.xml"/><Relationship Id="rId7" Type="http://schemas.openxmlformats.org/officeDocument/2006/relationships/image" Target="../media/image84.emf"/><Relationship Id="rId2" Type="http://schemas.openxmlformats.org/officeDocument/2006/relationships/tags" Target="../tags/tag478.xml"/><Relationship Id="rId1" Type="http://schemas.openxmlformats.org/officeDocument/2006/relationships/vmlDrawing" Target="../drawings/vmlDrawing23.vml"/><Relationship Id="rId6" Type="http://schemas.openxmlformats.org/officeDocument/2006/relationships/image" Target="../media/image83.emf"/><Relationship Id="rId11" Type="http://schemas.openxmlformats.org/officeDocument/2006/relationships/image" Target="../media/image90.svg"/><Relationship Id="rId5" Type="http://schemas.openxmlformats.org/officeDocument/2006/relationships/oleObject" Target="../embeddings/oleObject23.bin"/><Relationship Id="rId10" Type="http://schemas.openxmlformats.org/officeDocument/2006/relationships/image" Target="../media/image86.png"/><Relationship Id="rId4" Type="http://schemas.openxmlformats.org/officeDocument/2006/relationships/notesSlide" Target="../notesSlides/notesSlide22.xml"/><Relationship Id="rId9" Type="http://schemas.openxmlformats.org/officeDocument/2006/relationships/image" Target="../media/image88.svg"/></Relationships>
</file>

<file path=ppt/slides/_rels/slide43.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slideLayout" Target="../slideLayouts/slideLayout288.xml"/><Relationship Id="rId7" Type="http://schemas.openxmlformats.org/officeDocument/2006/relationships/image" Target="../media/image92.svg"/><Relationship Id="rId2" Type="http://schemas.openxmlformats.org/officeDocument/2006/relationships/tags" Target="../tags/tag479.xml"/><Relationship Id="rId1" Type="http://schemas.openxmlformats.org/officeDocument/2006/relationships/vmlDrawing" Target="../drawings/vmlDrawing24.vml"/><Relationship Id="rId6" Type="http://schemas.openxmlformats.org/officeDocument/2006/relationships/image" Target="../media/image87.png"/><Relationship Id="rId5" Type="http://schemas.openxmlformats.org/officeDocument/2006/relationships/image" Target="../media/image83.emf"/><Relationship Id="rId4" Type="http://schemas.openxmlformats.org/officeDocument/2006/relationships/oleObject" Target="../embeddings/oleObject24.bin"/><Relationship Id="rId9" Type="http://schemas.openxmlformats.org/officeDocument/2006/relationships/image" Target="../media/image94.svg"/></Relationships>
</file>

<file path=ppt/slides/_rels/slide44.xml.rels><?xml version="1.0" encoding="UTF-8" standalone="yes"?>
<Relationships xmlns="http://schemas.openxmlformats.org/package/2006/relationships"><Relationship Id="rId3" Type="http://schemas.openxmlformats.org/officeDocument/2006/relationships/hyperlink" Target="https://www.adva.asia/5th-asia-dengue-summit-recordings/" TargetMode="External"/><Relationship Id="rId2" Type="http://schemas.openxmlformats.org/officeDocument/2006/relationships/notesSlide" Target="../notesSlides/notesSlide23.xml"/><Relationship Id="rId1" Type="http://schemas.openxmlformats.org/officeDocument/2006/relationships/slideLayout" Target="../slideLayouts/slideLayout281.xml"/></Relationships>
</file>

<file path=ppt/slides/_rels/slide45.xml.rels><?xml version="1.0" encoding="UTF-8" standalone="yes"?>
<Relationships xmlns="http://schemas.openxmlformats.org/package/2006/relationships"><Relationship Id="rId3" Type="http://schemas.openxmlformats.org/officeDocument/2006/relationships/hyperlink" Target="https://www.adva.asia/5th-asia-dengue-summit-recordings/" TargetMode="External"/><Relationship Id="rId2" Type="http://schemas.openxmlformats.org/officeDocument/2006/relationships/notesSlide" Target="../notesSlides/notesSlide24.xml"/><Relationship Id="rId1" Type="http://schemas.openxmlformats.org/officeDocument/2006/relationships/slideLayout" Target="../slideLayouts/slideLayout281.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289.xml"/><Relationship Id="rId2" Type="http://schemas.openxmlformats.org/officeDocument/2006/relationships/tags" Target="../tags/tag480.xml"/><Relationship Id="rId1" Type="http://schemas.openxmlformats.org/officeDocument/2006/relationships/vmlDrawing" Target="../drawings/vmlDrawing25.vml"/><Relationship Id="rId6" Type="http://schemas.openxmlformats.org/officeDocument/2006/relationships/image" Target="../media/image89.emf"/><Relationship Id="rId5" Type="http://schemas.openxmlformats.org/officeDocument/2006/relationships/oleObject" Target="../embeddings/oleObject25.bin"/><Relationship Id="rId4" Type="http://schemas.openxmlformats.org/officeDocument/2006/relationships/notesSlide" Target="../notesSlides/notesSlide25.xml"/></Relationships>
</file>

<file path=ppt/slides/_rels/slide47.xml.rels><?xml version="1.0" encoding="UTF-8" standalone="yes"?>
<Relationships xmlns="http://schemas.openxmlformats.org/package/2006/relationships"><Relationship Id="rId3" Type="http://schemas.openxmlformats.org/officeDocument/2006/relationships/hyperlink" Target="https://www.adva.asia/5th-asia-dengue-summit-recordings/" TargetMode="External"/><Relationship Id="rId2" Type="http://schemas.openxmlformats.org/officeDocument/2006/relationships/notesSlide" Target="../notesSlides/notesSlide26.xml"/><Relationship Id="rId1" Type="http://schemas.openxmlformats.org/officeDocument/2006/relationships/slideLayout" Target="../slideLayouts/slideLayout28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16.xml"/></Relationships>
</file>

<file path=ppt/slides/_rels/slide49.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313.xml"/></Relationships>
</file>

<file path=ppt/slides/_rels/slide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xml"/><Relationship Id="rId1" Type="http://schemas.openxmlformats.org/officeDocument/2006/relationships/slideLayout" Target="../slideLayouts/slideLayout20.xml"/><Relationship Id="rId5" Type="http://schemas.openxmlformats.org/officeDocument/2006/relationships/image" Target="../media/image36.jpeg"/><Relationship Id="rId4" Type="http://schemas.openxmlformats.org/officeDocument/2006/relationships/hyperlink" Target="https://www.paho.org/col/dmdocuments/PROTOCOLO_VIGILANCIA_DENGUE.PDF" TargetMode="External"/></Relationships>
</file>

<file path=ppt/slides/_rels/slide50.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299.xml"/></Relationships>
</file>

<file path=ppt/slides/_rels/slide51.xml.rels><?xml version="1.0" encoding="UTF-8" standalone="yes"?>
<Relationships xmlns="http://schemas.openxmlformats.org/package/2006/relationships"><Relationship Id="rId3" Type="http://schemas.openxmlformats.org/officeDocument/2006/relationships/hyperlink" Target="http://journals.plos.org/plosmedicine/article?id=10.1371/journal.pmed.1002181" TargetMode="External"/><Relationship Id="rId2" Type="http://schemas.openxmlformats.org/officeDocument/2006/relationships/image" Target="../media/image93.png"/><Relationship Id="rId1" Type="http://schemas.openxmlformats.org/officeDocument/2006/relationships/slideLayout" Target="../slideLayouts/slideLayout317.xml"/><Relationship Id="rId4" Type="http://schemas.openxmlformats.org/officeDocument/2006/relationships/image" Target="../media/image94.pn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2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35.xml"/></Relationships>
</file>

<file path=ppt/slides/_rels/slide54.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335.xml"/></Relationships>
</file>

<file path=ppt/slides/_rels/slide55.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27.xml"/><Relationship Id="rId1" Type="http://schemas.openxmlformats.org/officeDocument/2006/relationships/slideLayout" Target="../slideLayouts/slideLayout292.xml"/></Relationships>
</file>

<file path=ppt/slides/_rels/slide56.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hyperlink" Target="https://www.ema.europa.eu/en/medicines/human/EPAR/qdenga" TargetMode="External"/><Relationship Id="rId7" Type="http://schemas.openxmlformats.org/officeDocument/2006/relationships/image" Target="../media/image145.svg"/><Relationship Id="rId2" Type="http://schemas.openxmlformats.org/officeDocument/2006/relationships/notesSlide" Target="../notesSlides/notesSlide28.xml"/><Relationship Id="rId1" Type="http://schemas.openxmlformats.org/officeDocument/2006/relationships/slideLayout" Target="../slideLayouts/slideLayout291.xml"/><Relationship Id="rId6" Type="http://schemas.openxmlformats.org/officeDocument/2006/relationships/image" Target="../media/image98.png"/><Relationship Id="rId5" Type="http://schemas.openxmlformats.org/officeDocument/2006/relationships/image" Target="../media/image143.svg"/><Relationship Id="rId10" Type="http://schemas.openxmlformats.org/officeDocument/2006/relationships/image" Target="../media/image100.png"/><Relationship Id="rId4" Type="http://schemas.openxmlformats.org/officeDocument/2006/relationships/image" Target="../media/image97.png"/><Relationship Id="rId9" Type="http://schemas.openxmlformats.org/officeDocument/2006/relationships/image" Target="../media/image147.svg"/></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90.xml"/></Relationships>
</file>

<file path=ppt/slides/_rels/slide58.xml.rels><?xml version="1.0" encoding="UTF-8" standalone="yes"?>
<Relationships xmlns="http://schemas.openxmlformats.org/package/2006/relationships"><Relationship Id="rId3" Type="http://schemas.openxmlformats.org/officeDocument/2006/relationships/image" Target="../media/image102.jpeg"/><Relationship Id="rId2" Type="http://schemas.openxmlformats.org/officeDocument/2006/relationships/image" Target="../media/image101.png"/><Relationship Id="rId1" Type="http://schemas.openxmlformats.org/officeDocument/2006/relationships/slideLayout" Target="../slideLayouts/slideLayout293.xml"/></Relationships>
</file>

<file path=ppt/slides/_rels/slide59.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png"/><Relationship Id="rId1" Type="http://schemas.openxmlformats.org/officeDocument/2006/relationships/slideLayout" Target="../slideLayouts/slideLayout294.xml"/></Relationships>
</file>

<file path=ppt/slides/_rels/slide6.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60.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295.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90.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96.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97.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97.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1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31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31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1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312.xml"/></Relationships>
</file>

<file path=ppt/slides/_rels/slide7.xml.rels><?xml version="1.0" encoding="UTF-8" standalone="yes"?>
<Relationships xmlns="http://schemas.openxmlformats.org/package/2006/relationships"><Relationship Id="rId8" Type="http://schemas.openxmlformats.org/officeDocument/2006/relationships/image" Target="../media/image42.jpeg"/><Relationship Id="rId3" Type="http://schemas.openxmlformats.org/officeDocument/2006/relationships/diagramLayout" Target="../diagrams/layout4.xml"/><Relationship Id="rId7" Type="http://schemas.openxmlformats.org/officeDocument/2006/relationships/image" Target="../media/image41.jpeg"/><Relationship Id="rId2" Type="http://schemas.openxmlformats.org/officeDocument/2006/relationships/diagramData" Target="../diagrams/data4.xml"/><Relationship Id="rId1" Type="http://schemas.openxmlformats.org/officeDocument/2006/relationships/slideLayout" Target="../slideLayouts/slideLayout63.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1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31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31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12.xml"/></Relationships>
</file>

<file path=ppt/slides/_rels/slide74.xml.rels><?xml version="1.0" encoding="UTF-8" standalone="yes"?>
<Relationships xmlns="http://schemas.openxmlformats.org/package/2006/relationships"><Relationship Id="rId3" Type="http://schemas.openxmlformats.org/officeDocument/2006/relationships/image" Target="../media/image107.jpeg"/><Relationship Id="rId2" Type="http://schemas.openxmlformats.org/officeDocument/2006/relationships/image" Target="../media/image106.png"/><Relationship Id="rId1" Type="http://schemas.openxmlformats.org/officeDocument/2006/relationships/slideLayout" Target="../slideLayouts/slideLayout342.xml"/></Relationships>
</file>

<file path=ppt/slides/_rels/slide75.xml.rels><?xml version="1.0" encoding="UTF-8" standalone="yes"?>
<Relationships xmlns="http://schemas.openxmlformats.org/package/2006/relationships"><Relationship Id="rId3" Type="http://schemas.openxmlformats.org/officeDocument/2006/relationships/image" Target="../media/image108.jpg"/><Relationship Id="rId7" Type="http://schemas.openxmlformats.org/officeDocument/2006/relationships/image" Target="../media/image76.png"/><Relationship Id="rId2" Type="http://schemas.openxmlformats.org/officeDocument/2006/relationships/notesSlide" Target="../notesSlides/notesSlide29.xml"/><Relationship Id="rId1" Type="http://schemas.openxmlformats.org/officeDocument/2006/relationships/slideLayout" Target="../slideLayouts/slideLayout312.xml"/><Relationship Id="rId6" Type="http://schemas.openxmlformats.org/officeDocument/2006/relationships/hyperlink" Target="about:blank" TargetMode="External"/><Relationship Id="rId5" Type="http://schemas.openxmlformats.org/officeDocument/2006/relationships/hyperlink" Target="https://www.takeda.com/newsroom/newsreleases/2023/Takeda-Dengue-Vaccine-Recommended-by-World-Health-Organization-Advisory-Group-for-Introduction-in-High-Dengue-Burden-and-Transmission-Areas-in-Children-Ages-Six-to-16-Years/" TargetMode="External"/><Relationship Id="rId4" Type="http://schemas.openxmlformats.org/officeDocument/2006/relationships/image" Target="../media/image109.png"/></Relationships>
</file>

<file path=ppt/slides/_rels/slide76.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png"/><Relationship Id="rId1" Type="http://schemas.openxmlformats.org/officeDocument/2006/relationships/slideLayout" Target="../slideLayouts/slideLayout348.xml"/></Relationships>
</file>

<file path=ppt/slides/_rels/slide77.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30.xml"/><Relationship Id="rId1" Type="http://schemas.openxmlformats.org/officeDocument/2006/relationships/slideLayout" Target="../slideLayouts/slideLayout349.xml"/></Relationships>
</file>

<file path=ppt/slides/_rels/slide78.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31.xml"/><Relationship Id="rId1" Type="http://schemas.openxmlformats.org/officeDocument/2006/relationships/slideLayout" Target="../slideLayouts/slideLayout349.xml"/><Relationship Id="rId5" Type="http://schemas.openxmlformats.org/officeDocument/2006/relationships/image" Target="../media/image115.png"/><Relationship Id="rId4" Type="http://schemas.openxmlformats.org/officeDocument/2006/relationships/image" Target="../media/image114.png"/></Relationships>
</file>

<file path=ppt/slides/_rels/slide79.xml.rels><?xml version="1.0" encoding="UTF-8" standalone="yes"?>
<Relationships xmlns="http://schemas.openxmlformats.org/package/2006/relationships"><Relationship Id="rId8" Type="http://schemas.openxmlformats.org/officeDocument/2006/relationships/image" Target="../media/image121.png"/><Relationship Id="rId3" Type="http://schemas.openxmlformats.org/officeDocument/2006/relationships/image" Target="../media/image116.png"/><Relationship Id="rId7" Type="http://schemas.openxmlformats.org/officeDocument/2006/relationships/image" Target="../media/image120.png"/><Relationship Id="rId2" Type="http://schemas.openxmlformats.org/officeDocument/2006/relationships/notesSlide" Target="../notesSlides/notesSlide32.xml"/><Relationship Id="rId1" Type="http://schemas.openxmlformats.org/officeDocument/2006/relationships/slideLayout" Target="../slideLayouts/slideLayout171.xml"/><Relationship Id="rId6" Type="http://schemas.openxmlformats.org/officeDocument/2006/relationships/image" Target="../media/image119.png"/><Relationship Id="rId5" Type="http://schemas.openxmlformats.org/officeDocument/2006/relationships/image" Target="../media/image118.png"/><Relationship Id="rId4" Type="http://schemas.openxmlformats.org/officeDocument/2006/relationships/image" Target="../media/image117.png"/></Relationships>
</file>

<file path=ppt/slides/_rels/slide8.xml.rels><?xml version="1.0" encoding="UTF-8" standalone="yes"?>
<Relationships xmlns="http://schemas.openxmlformats.org/package/2006/relationships"><Relationship Id="rId3" Type="http://schemas.openxmlformats.org/officeDocument/2006/relationships/hyperlink" Target="http://www.msal.gob.ar/images/stories/bes/graficos/0000001045cnt-2013-09_participacion-social-prevencion-dengue.pdf" TargetMode="External"/><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1"/>
          <p:cNvSpPr/>
          <p:nvPr/>
        </p:nvSpPr>
        <p:spPr>
          <a:xfrm>
            <a:off x="1317072" y="373565"/>
            <a:ext cx="6262381" cy="1077218"/>
          </a:xfrm>
          <a:prstGeom prst="rect">
            <a:avLst/>
          </a:prstGeom>
        </p:spPr>
        <p:txBody>
          <a:bodyPr wrap="square">
            <a:spAutoFit/>
          </a:bodyPr>
          <a:lstStyle/>
          <a:p>
            <a:pPr algn="ctr"/>
            <a:r>
              <a:rPr lang="es-ES" sz="3200" b="1" dirty="0" smtClean="0"/>
              <a:t>Dengue: </a:t>
            </a:r>
            <a:r>
              <a:rPr lang="es-ES" sz="3200" b="1" dirty="0"/>
              <a:t>situación epidemiológica de </a:t>
            </a:r>
            <a:r>
              <a:rPr lang="es-ES" sz="3200" b="1" dirty="0" smtClean="0"/>
              <a:t>dengue y </a:t>
            </a:r>
            <a:r>
              <a:rPr lang="es-ES" sz="3200" b="1" dirty="0"/>
              <a:t>su </a:t>
            </a:r>
            <a:r>
              <a:rPr lang="es-ES" sz="3200" b="1" dirty="0" smtClean="0"/>
              <a:t>prevención</a:t>
            </a:r>
            <a:endParaRPr lang="es-AR" sz="3200" b="1" dirty="0"/>
          </a:p>
        </p:txBody>
      </p:sp>
      <p:sp>
        <p:nvSpPr>
          <p:cNvPr id="3" name="Rectángulo 2"/>
          <p:cNvSpPr/>
          <p:nvPr/>
        </p:nvSpPr>
        <p:spPr>
          <a:xfrm>
            <a:off x="1442907" y="2054612"/>
            <a:ext cx="6201639" cy="1785104"/>
          </a:xfrm>
          <a:prstGeom prst="rect">
            <a:avLst/>
          </a:prstGeom>
        </p:spPr>
        <p:txBody>
          <a:bodyPr wrap="square">
            <a:spAutoFit/>
          </a:bodyPr>
          <a:lstStyle/>
          <a:p>
            <a:pPr algn="ctr"/>
            <a:r>
              <a:rPr lang="es-ES" sz="2000" b="1" dirty="0" smtClean="0"/>
              <a:t>Dra. Vanesa Castellano</a:t>
            </a:r>
          </a:p>
          <a:p>
            <a:pPr algn="ctr"/>
            <a:r>
              <a:rPr lang="es-ES" dirty="0" smtClean="0"/>
              <a:t>Médica Especialista en Pediatría</a:t>
            </a:r>
          </a:p>
          <a:p>
            <a:pPr algn="ctr"/>
            <a:r>
              <a:rPr lang="es-ES" dirty="0" smtClean="0"/>
              <a:t>Diplomada en Vacunología y Salud Pública</a:t>
            </a:r>
          </a:p>
          <a:p>
            <a:pPr algn="ctr"/>
            <a:endParaRPr lang="es-ES" dirty="0" smtClean="0"/>
          </a:p>
          <a:p>
            <a:pPr algn="ctr"/>
            <a:r>
              <a:rPr lang="es-ES" dirty="0" smtClean="0"/>
              <a:t>Epidemiología, Hospital de Niños Ricardo Gutiérrez</a:t>
            </a:r>
          </a:p>
          <a:p>
            <a:pPr algn="ctr"/>
            <a:r>
              <a:rPr lang="es-ES" dirty="0" smtClean="0"/>
              <a:t>Departamento Científico, Fundación Vacunar</a:t>
            </a:r>
            <a:endParaRPr lang="es-ES" dirty="0"/>
          </a:p>
        </p:txBody>
      </p:sp>
      <p:pic>
        <p:nvPicPr>
          <p:cNvPr id="4" name="Picture 20"/>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02297" y="4083084"/>
            <a:ext cx="3498209" cy="749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Google Shape;94;p1"/>
          <p:cNvPicPr preferRelativeResize="0"/>
          <p:nvPr/>
        </p:nvPicPr>
        <p:blipFill rotWithShape="1">
          <a:blip r:embed="rId3">
            <a:alphaModFix/>
          </a:blip>
          <a:srcRect/>
          <a:stretch/>
        </p:blipFill>
        <p:spPr>
          <a:xfrm>
            <a:off x="5545123" y="4160939"/>
            <a:ext cx="1824687" cy="610029"/>
          </a:xfrm>
          <a:prstGeom prst="rect">
            <a:avLst/>
          </a:prstGeom>
          <a:noFill/>
          <a:ln>
            <a:noFill/>
          </a:ln>
        </p:spPr>
      </p:pic>
      <p:pic>
        <p:nvPicPr>
          <p:cNvPr id="6" name="Picture 2" descr="mosquito tigre - dengue fotografías e imágenes de stock"/>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781539" y="1576438"/>
            <a:ext cx="1726014" cy="11450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890121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8802" name="Rectangle 2"/>
          <p:cNvSpPr>
            <a:spLocks noGrp="1" noChangeArrowheads="1"/>
          </p:cNvSpPr>
          <p:nvPr>
            <p:ph type="title"/>
          </p:nvPr>
        </p:nvSpPr>
        <p:spPr bwMode="auto">
          <a:xfrm>
            <a:off x="-562832" y="127329"/>
            <a:ext cx="8842787" cy="857656"/>
          </a:xfrm>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r>
              <a:rPr lang="es-ES" sz="3200" b="1" dirty="0" smtClean="0"/>
              <a:t>Dengue, enfermedad urbana: </a:t>
            </a:r>
            <a:r>
              <a:rPr lang="es-ES" sz="3200" b="1" i="1" dirty="0" smtClean="0"/>
              <a:t>Aedes </a:t>
            </a:r>
            <a:r>
              <a:rPr lang="es-ES" sz="3200" b="1" i="1" dirty="0" err="1"/>
              <a:t>aegypti</a:t>
            </a:r>
            <a:endParaRPr lang="es-ES" sz="3200" b="1" i="1" dirty="0"/>
          </a:p>
        </p:txBody>
      </p:sp>
      <p:sp>
        <p:nvSpPr>
          <p:cNvPr id="588803" name="Rectangle 3"/>
          <p:cNvSpPr>
            <a:spLocks noGrp="1" noChangeArrowheads="1"/>
          </p:cNvSpPr>
          <p:nvPr>
            <p:ph type="body" idx="1"/>
          </p:nvPr>
        </p:nvSpPr>
        <p:spPr bwMode="auto">
          <a:xfrm>
            <a:off x="132465" y="758646"/>
            <a:ext cx="6956234" cy="2881189"/>
          </a:xfrm>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a:lnSpc>
                <a:spcPct val="80000"/>
              </a:lnSpc>
            </a:pPr>
            <a:endParaRPr lang="es-ES" sz="2800" dirty="0"/>
          </a:p>
          <a:p>
            <a:pPr>
              <a:lnSpc>
                <a:spcPct val="80000"/>
              </a:lnSpc>
            </a:pPr>
            <a:r>
              <a:rPr lang="es-ES" sz="2000" dirty="0"/>
              <a:t>Es de hábitos domésticos, sigue al hombre en sus desplazamientos. </a:t>
            </a:r>
          </a:p>
          <a:p>
            <a:pPr>
              <a:lnSpc>
                <a:spcPct val="80000"/>
              </a:lnSpc>
              <a:buFont typeface="Monotype Sorts" pitchFamily="2" charset="2"/>
              <a:buNone/>
            </a:pPr>
            <a:endParaRPr lang="es-ES" sz="2000" dirty="0"/>
          </a:p>
          <a:p>
            <a:pPr>
              <a:lnSpc>
                <a:spcPct val="80000"/>
              </a:lnSpc>
            </a:pPr>
            <a:r>
              <a:rPr lang="es-ES" sz="2000" dirty="0"/>
              <a:t>Elige los interiores o exteriores de las viviendas con lugares frescos y oscuros. </a:t>
            </a:r>
          </a:p>
          <a:p>
            <a:pPr>
              <a:lnSpc>
                <a:spcPct val="80000"/>
              </a:lnSpc>
              <a:buFont typeface="Monotype Sorts" pitchFamily="2" charset="2"/>
              <a:buNone/>
            </a:pPr>
            <a:endParaRPr lang="es-ES" sz="2000" dirty="0"/>
          </a:p>
          <a:p>
            <a:pPr>
              <a:lnSpc>
                <a:spcPct val="80000"/>
              </a:lnSpc>
            </a:pPr>
            <a:r>
              <a:rPr lang="es-ES" sz="2000" dirty="0"/>
              <a:t>Se alimentan durante el </a:t>
            </a:r>
            <a:r>
              <a:rPr lang="es-ES" sz="2000" dirty="0" smtClean="0"/>
              <a:t>día</a:t>
            </a:r>
            <a:r>
              <a:rPr lang="es-ES" sz="2000" dirty="0"/>
              <a:t> </a:t>
            </a:r>
            <a:r>
              <a:rPr lang="es-ES" sz="2000" dirty="0" smtClean="0"/>
              <a:t>(especialmente </a:t>
            </a:r>
            <a:r>
              <a:rPr lang="es-ES" sz="2000" dirty="0"/>
              <a:t>primeras horas de la mañana y la tarde</a:t>
            </a:r>
            <a:r>
              <a:rPr lang="es-ES" sz="2000" dirty="0" smtClean="0"/>
              <a:t>).</a:t>
            </a:r>
          </a:p>
          <a:p>
            <a:pPr>
              <a:lnSpc>
                <a:spcPct val="80000"/>
              </a:lnSpc>
            </a:pPr>
            <a:endParaRPr lang="es-ES" sz="2000" dirty="0"/>
          </a:p>
        </p:txBody>
      </p:sp>
      <p:pic>
        <p:nvPicPr>
          <p:cNvPr id="30722" name="Picture 2" descr="video thumbnail"/>
          <p:cNvPicPr>
            <a:picLocks noChangeAspect="1" noChangeArrowheads="1"/>
          </p:cNvPicPr>
          <p:nvPr/>
        </p:nvPicPr>
        <p:blipFill rotWithShape="1">
          <a:blip r:embed="rId2">
            <a:extLst>
              <a:ext uri="{28A0092B-C50C-407E-A947-70E740481C1C}">
                <a14:useLocalDpi xmlns:a14="http://schemas.microsoft.com/office/drawing/2010/main" val="0"/>
              </a:ext>
            </a:extLst>
          </a:blip>
          <a:srcRect l="49742" t="6420" b="17005"/>
          <a:stretch/>
        </p:blipFill>
        <p:spPr bwMode="auto">
          <a:xfrm>
            <a:off x="6946084" y="984985"/>
            <a:ext cx="1842273" cy="15788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33670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4946" name="Rectangle 2"/>
          <p:cNvSpPr>
            <a:spLocks noGrp="1" noChangeArrowheads="1"/>
          </p:cNvSpPr>
          <p:nvPr>
            <p:ph type="title"/>
          </p:nvPr>
        </p:nvSpPr>
        <p:spPr bwMode="auto">
          <a:xfrm>
            <a:off x="-1979228" y="76995"/>
            <a:ext cx="8229023" cy="857656"/>
          </a:xfrm>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r>
              <a:rPr lang="es-ES" sz="3200" b="1" i="1" dirty="0"/>
              <a:t>Aedes </a:t>
            </a:r>
            <a:r>
              <a:rPr lang="es-ES" sz="3200" b="1" i="1" dirty="0" err="1"/>
              <a:t>aegypti</a:t>
            </a:r>
            <a:r>
              <a:rPr lang="es-ES" sz="5400" b="1" i="1" dirty="0"/>
              <a:t/>
            </a:r>
            <a:br>
              <a:rPr lang="es-ES" sz="5400" b="1" i="1" dirty="0"/>
            </a:br>
            <a:endParaRPr lang="es-ES" sz="5400" b="1" i="1" dirty="0"/>
          </a:p>
        </p:txBody>
      </p:sp>
      <p:sp>
        <p:nvSpPr>
          <p:cNvPr id="594947" name="Rectangle 3"/>
          <p:cNvSpPr>
            <a:spLocks noGrp="1" noChangeArrowheads="1"/>
          </p:cNvSpPr>
          <p:nvPr>
            <p:ph type="body" idx="1"/>
          </p:nvPr>
        </p:nvSpPr>
        <p:spPr bwMode="auto">
          <a:xfrm>
            <a:off x="1" y="825594"/>
            <a:ext cx="6535024" cy="3394076"/>
          </a:xfrm>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a:lnSpc>
                <a:spcPct val="90000"/>
              </a:lnSpc>
            </a:pPr>
            <a:r>
              <a:rPr lang="es-ES" sz="2000" dirty="0"/>
              <a:t>El mosquito adulto vive aproximadamente dos </a:t>
            </a:r>
            <a:r>
              <a:rPr lang="es-ES" sz="2000" dirty="0" smtClean="0"/>
              <a:t>a tres semanas </a:t>
            </a:r>
            <a:endParaRPr lang="es-ES" sz="2000" dirty="0"/>
          </a:p>
          <a:p>
            <a:pPr>
              <a:lnSpc>
                <a:spcPct val="90000"/>
              </a:lnSpc>
            </a:pPr>
            <a:r>
              <a:rPr lang="es-ES" sz="2000" dirty="0"/>
              <a:t>Cerca de dos días después de su aparición, los mosquitos adultos se aparean,  </a:t>
            </a:r>
            <a:r>
              <a:rPr lang="es-ES" sz="2000" dirty="0" smtClean="0"/>
              <a:t>la picadura de la hembra se relaciona con la reproducción (requiere de sangre cuando esta por poner huevos), entre picadura y puesta de huevos dos días.</a:t>
            </a:r>
          </a:p>
          <a:p>
            <a:pPr>
              <a:lnSpc>
                <a:spcPct val="90000"/>
              </a:lnSpc>
            </a:pPr>
            <a:r>
              <a:rPr lang="es-ES" sz="2000" dirty="0" smtClean="0"/>
              <a:t>Antes de succionar la hembra inyecta saliva que contiene sustancias anticoagulantes (Momento de trasmisión de la enfermedad) .</a:t>
            </a:r>
            <a:endParaRPr lang="es-ES" sz="2000" dirty="0"/>
          </a:p>
          <a:p>
            <a:pPr>
              <a:lnSpc>
                <a:spcPct val="90000"/>
              </a:lnSpc>
            </a:pPr>
            <a:endParaRPr lang="es-ES" sz="2400" dirty="0"/>
          </a:p>
        </p:txBody>
      </p:sp>
      <p:pic>
        <p:nvPicPr>
          <p:cNvPr id="32770" name="Picture 2" descr="video thumbnail"/>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754251" y="3656610"/>
            <a:ext cx="2389749" cy="134423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81222" y="934651"/>
            <a:ext cx="2762778" cy="19443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301319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9827" name="Rectangle 3"/>
          <p:cNvSpPr>
            <a:spLocks noGrp="1" noChangeArrowheads="1"/>
          </p:cNvSpPr>
          <p:nvPr>
            <p:ph type="body" idx="1"/>
          </p:nvPr>
        </p:nvSpPr>
        <p:spPr bwMode="auto">
          <a:xfrm>
            <a:off x="0" y="791673"/>
            <a:ext cx="6467912" cy="2840938"/>
          </a:xfrm>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a:lnSpc>
                <a:spcPct val="80000"/>
              </a:lnSpc>
            </a:pPr>
            <a:r>
              <a:rPr lang="es-ES" sz="2000" dirty="0"/>
              <a:t>Utiliza recipientes con agua </a:t>
            </a:r>
            <a:r>
              <a:rPr lang="es-ES" sz="2000" b="1" dirty="0"/>
              <a:t>"limpia"  para depositar sus huevos próximos a la superficie, adheridos a la parte interna de los recipientes artificiales o naturales (criaderos ). </a:t>
            </a:r>
            <a:endParaRPr lang="es-ES" sz="2000" b="1" dirty="0" smtClean="0"/>
          </a:p>
          <a:p>
            <a:pPr marL="0" indent="0">
              <a:lnSpc>
                <a:spcPct val="80000"/>
              </a:lnSpc>
              <a:buNone/>
            </a:pPr>
            <a:endParaRPr lang="es-ES" sz="2000" b="1" dirty="0"/>
          </a:p>
          <a:p>
            <a:pPr>
              <a:lnSpc>
                <a:spcPct val="80000"/>
              </a:lnSpc>
            </a:pPr>
            <a:r>
              <a:rPr lang="es-ES" sz="2000" dirty="0"/>
              <a:t>Eclosionan en 2-3 días convirtiéndose en larvas en condiciones favorables de temperatura y humedad. Los huevos constituyen la fase de resistencia del ciclo, pueden mantener vivo el embrión hasta 10-12 meses</a:t>
            </a:r>
            <a:r>
              <a:rPr lang="es-ES" sz="2000" dirty="0" smtClean="0"/>
              <a:t>.</a:t>
            </a:r>
          </a:p>
          <a:p>
            <a:pPr marL="0" indent="0">
              <a:lnSpc>
                <a:spcPct val="80000"/>
              </a:lnSpc>
              <a:buNone/>
            </a:pPr>
            <a:endParaRPr lang="es-ES" sz="2000" dirty="0"/>
          </a:p>
          <a:p>
            <a:pPr>
              <a:lnSpc>
                <a:spcPct val="80000"/>
              </a:lnSpc>
            </a:pPr>
            <a:r>
              <a:rPr lang="es-ES" sz="2000" dirty="0"/>
              <a:t>Las larvas están provistas de gran movilidad, no toleran elevadas concentraciones de materia orgánica. </a:t>
            </a:r>
          </a:p>
        </p:txBody>
      </p:sp>
      <p:pic>
        <p:nvPicPr>
          <p:cNvPr id="33794" name="Picture 2" descr="mosquito larvae - larva del mosquito fotografías e imágenes de stock"/>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648656" y="397677"/>
            <a:ext cx="2385770" cy="1590514"/>
          </a:xfrm>
          <a:prstGeom prst="rect">
            <a:avLst/>
          </a:prstGeom>
          <a:noFill/>
          <a:extLst>
            <a:ext uri="{909E8E84-426E-40DD-AFC4-6F175D3DCCD1}">
              <a14:hiddenFill xmlns:a14="http://schemas.microsoft.com/office/drawing/2010/main">
                <a:solidFill>
                  <a:srgbClr val="FFFFFF"/>
                </a:solidFill>
              </a14:hiddenFill>
            </a:ext>
          </a:extLst>
        </p:spPr>
      </p:pic>
      <p:pic>
        <p:nvPicPr>
          <p:cNvPr id="33796" name="Picture 4" descr="utiliza los neumáticos podría almacenar estancado agua y los estornudos y los mosquitos raza - larva del mosquito fotografías e imágenes de stock"/>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73822" y="2056283"/>
            <a:ext cx="2437575" cy="1625051"/>
          </a:xfrm>
          <a:prstGeom prst="rect">
            <a:avLst/>
          </a:prstGeom>
          <a:noFill/>
          <a:extLst>
            <a:ext uri="{909E8E84-426E-40DD-AFC4-6F175D3DCCD1}">
              <a14:hiddenFill xmlns:a14="http://schemas.microsoft.com/office/drawing/2010/main">
                <a:solidFill>
                  <a:srgbClr val="FFFFFF"/>
                </a:solidFill>
              </a14:hiddenFill>
            </a:ext>
          </a:extLst>
        </p:spPr>
      </p:pic>
      <p:pic>
        <p:nvPicPr>
          <p:cNvPr id="33798" name="Picture 6" descr="rosa peonies sobre fondo blanco - floreros fotografías e imágenes de stock"/>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229192" y="3681334"/>
            <a:ext cx="1224697" cy="1400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905645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0" y="0"/>
            <a:ext cx="8229600" cy="857250"/>
          </a:xfrm>
        </p:spPr>
        <p:txBody>
          <a:bodyPr/>
          <a:lstStyle/>
          <a:p>
            <a:r>
              <a:rPr lang="es-ES" sz="3200" b="1" i="1" dirty="0"/>
              <a:t>Aedes </a:t>
            </a:r>
            <a:r>
              <a:rPr lang="es-ES" sz="3200" b="1" i="1" dirty="0" err="1"/>
              <a:t>aegypti</a:t>
            </a:r>
            <a:r>
              <a:rPr lang="es-ES" sz="3200" b="1" dirty="0"/>
              <a:t>: vida en el entorno domiciliario</a:t>
            </a:r>
            <a:endParaRPr lang="es-AR" sz="3200" b="1" dirty="0"/>
          </a:p>
        </p:txBody>
      </p:sp>
      <p:sp>
        <p:nvSpPr>
          <p:cNvPr id="3" name="2 Marcador de contenido"/>
          <p:cNvSpPr>
            <a:spLocks noGrp="1"/>
          </p:cNvSpPr>
          <p:nvPr>
            <p:ph idx="1"/>
          </p:nvPr>
        </p:nvSpPr>
        <p:spPr>
          <a:xfrm>
            <a:off x="113251" y="857250"/>
            <a:ext cx="5934749" cy="3394472"/>
          </a:xfrm>
        </p:spPr>
        <p:txBody>
          <a:bodyPr/>
          <a:lstStyle/>
          <a:p>
            <a:r>
              <a:rPr lang="es-ES_tradnl" sz="2000" dirty="0" smtClean="0"/>
              <a:t>Depredadores naturales o competidores son escasos o no existen.</a:t>
            </a:r>
          </a:p>
          <a:p>
            <a:r>
              <a:rPr lang="es-ES_tradnl" sz="2000" dirty="0" smtClean="0"/>
              <a:t>Murciélagos o algunos insectos (alguaciles) depredadores del mosquito adulto pero con poca presencia en viviendas</a:t>
            </a:r>
          </a:p>
          <a:p>
            <a:r>
              <a:rPr lang="es-ES_tradnl" sz="2000" dirty="0" smtClean="0"/>
              <a:t>Peces </a:t>
            </a:r>
            <a:r>
              <a:rPr lang="es-ES_tradnl" sz="2000" dirty="0" err="1" smtClean="0"/>
              <a:t>larvífagos</a:t>
            </a:r>
            <a:r>
              <a:rPr lang="es-ES_tradnl" sz="2000" dirty="0" smtClean="0"/>
              <a:t>, insectos acuáticos como escarabajos o ciertas especies de pequeños crustáceos depredadores de larvas pero con presencia en lagunas y no en viviendas (recipientes que sirven de criaderos) </a:t>
            </a:r>
            <a:endParaRPr lang="es-AR" sz="2000" dirty="0"/>
          </a:p>
        </p:txBody>
      </p:sp>
      <p:pic>
        <p:nvPicPr>
          <p:cNvPr id="34818" name="Picture 2" descr="sin identificar hombre senegal en ropa de color negro con gafas de sol camina por la calle. - casa pobre consutrccion fotografías e imágenes de stock"/>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28536" y="1714500"/>
            <a:ext cx="2795295" cy="18589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1460611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247475" y="80144"/>
            <a:ext cx="9391475" cy="857250"/>
          </a:xfrm>
        </p:spPr>
        <p:txBody>
          <a:bodyPr/>
          <a:lstStyle/>
          <a:p>
            <a:r>
              <a:rPr lang="es-ES_tradnl" sz="3200" dirty="0" smtClean="0"/>
              <a:t>El A</a:t>
            </a:r>
            <a:r>
              <a:rPr lang="es-ES_tradnl" sz="3200" i="1" dirty="0" smtClean="0"/>
              <a:t>edes</a:t>
            </a:r>
            <a:r>
              <a:rPr lang="es-ES_tradnl" sz="3200" dirty="0" smtClean="0"/>
              <a:t> requiere de lugares sombríos y húmedos: </a:t>
            </a:r>
            <a:r>
              <a:rPr lang="es-ES_tradnl" sz="3200" b="1" dirty="0" smtClean="0"/>
              <a:t> </a:t>
            </a:r>
            <a:r>
              <a:rPr lang="es-ES_tradnl" sz="3200" b="1" dirty="0"/>
              <a:t>Microambientes </a:t>
            </a:r>
            <a:endParaRPr lang="es-AR" sz="3200" dirty="0"/>
          </a:p>
        </p:txBody>
      </p:sp>
      <p:sp>
        <p:nvSpPr>
          <p:cNvPr id="3" name="2 Marcador de contenido"/>
          <p:cNvSpPr>
            <a:spLocks noGrp="1"/>
          </p:cNvSpPr>
          <p:nvPr>
            <p:ph idx="1"/>
          </p:nvPr>
        </p:nvSpPr>
        <p:spPr>
          <a:xfrm>
            <a:off x="145269" y="1105200"/>
            <a:ext cx="8856118" cy="3394472"/>
          </a:xfrm>
        </p:spPr>
        <p:txBody>
          <a:bodyPr/>
          <a:lstStyle/>
          <a:p>
            <a:r>
              <a:rPr lang="es-ES_tradnl" sz="2200" dirty="0" smtClean="0"/>
              <a:t>El agua de los recipientes no puede sobrepasar temperaturas de 40° o mas: letales para formas inmaduras</a:t>
            </a:r>
          </a:p>
          <a:p>
            <a:r>
              <a:rPr lang="es-ES_tradnl" sz="2200" dirty="0" smtClean="0"/>
              <a:t>Los entornos con vegetación regulan el agua en los recipientes y proporcionan humedad. Con humedad relativa elevada sobreviven tiempos mayores. (baños, rejillas y </a:t>
            </a:r>
            <a:r>
              <a:rPr lang="es-ES_tradnl" sz="2200" dirty="0" err="1" smtClean="0"/>
              <a:t>desagues</a:t>
            </a:r>
            <a:r>
              <a:rPr lang="es-ES_tradnl" sz="2200" dirty="0" smtClean="0"/>
              <a:t> pluviales)</a:t>
            </a:r>
          </a:p>
          <a:p>
            <a:pPr marL="0" indent="0">
              <a:buNone/>
            </a:pPr>
            <a:r>
              <a:rPr lang="es-ES_tradnl" sz="2400" dirty="0" smtClean="0"/>
              <a:t> </a:t>
            </a:r>
          </a:p>
          <a:p>
            <a:pPr marL="0" indent="0" algn="ctr">
              <a:buNone/>
            </a:pPr>
            <a:r>
              <a:rPr lang="es-ES_tradnl" sz="2400" b="1" dirty="0" smtClean="0">
                <a:solidFill>
                  <a:schemeClr val="tx2"/>
                </a:solidFill>
              </a:rPr>
              <a:t>Desmalezado y mantenimiento del césped corto </a:t>
            </a:r>
          </a:p>
          <a:p>
            <a:pPr marL="0" indent="0" algn="ctr">
              <a:buNone/>
            </a:pPr>
            <a:r>
              <a:rPr lang="es-ES_tradnl" sz="2400" b="1" dirty="0" smtClean="0">
                <a:solidFill>
                  <a:schemeClr val="tx2"/>
                </a:solidFill>
              </a:rPr>
              <a:t>Agua hirviendo en lugares de difícil acceso : minimiza la viabilidad de los huevos y destruye larvas.</a:t>
            </a:r>
          </a:p>
          <a:p>
            <a:pPr marL="0" indent="0">
              <a:buNone/>
            </a:pPr>
            <a:r>
              <a:rPr lang="es-ES_tradnl" sz="2400" dirty="0" smtClean="0"/>
              <a:t>                  </a:t>
            </a:r>
            <a:endParaRPr lang="es-AR" sz="2400" b="1" dirty="0">
              <a:solidFill>
                <a:schemeClr val="tx2"/>
              </a:solidFill>
            </a:endParaRPr>
          </a:p>
        </p:txBody>
      </p:sp>
    </p:spTree>
    <p:extLst>
      <p:ext uri="{BB962C8B-B14F-4D97-AF65-F5344CB8AC3E}">
        <p14:creationId xmlns:p14="http://schemas.microsoft.com/office/powerpoint/2010/main" val="1822560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Título"/>
          <p:cNvSpPr>
            <a:spLocks noGrp="1"/>
          </p:cNvSpPr>
          <p:nvPr>
            <p:ph type="title"/>
          </p:nvPr>
        </p:nvSpPr>
        <p:spPr>
          <a:xfrm>
            <a:off x="395536" y="0"/>
            <a:ext cx="8229600" cy="857250"/>
          </a:xfrm>
        </p:spPr>
        <p:txBody>
          <a:bodyPr/>
          <a:lstStyle/>
          <a:p>
            <a:r>
              <a:rPr lang="es-ES_tradnl" sz="3200" b="1" dirty="0" smtClean="0"/>
              <a:t>Rol de la temperatura en la distribución geográfica del A</a:t>
            </a:r>
            <a:r>
              <a:rPr lang="es-ES_tradnl" sz="3200" b="1" i="1" dirty="0" smtClean="0"/>
              <a:t>edes</a:t>
            </a:r>
            <a:endParaRPr lang="es-AR" sz="3200" b="1" i="1" dirty="0"/>
          </a:p>
        </p:txBody>
      </p:sp>
      <p:sp>
        <p:nvSpPr>
          <p:cNvPr id="4" name="2 Marcador de contenido"/>
          <p:cNvSpPr txBox="1">
            <a:spLocks/>
          </p:cNvSpPr>
          <p:nvPr/>
        </p:nvSpPr>
        <p:spPr bwMode="auto">
          <a:xfrm>
            <a:off x="5402432" y="1329612"/>
            <a:ext cx="3603743" cy="27003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fontAlgn="base">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fontAlgn="base">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fontAlgn="base">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fontAlgn="base">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fontAlgn="base">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es-ES_tradnl" sz="2400" b="1" dirty="0" smtClean="0">
                <a:solidFill>
                  <a:srgbClr val="1F497D"/>
                </a:solidFill>
              </a:rPr>
              <a:t>La temperatura es el factor predictor ambiental mas importante que marca la distribución geográfica del </a:t>
            </a:r>
            <a:r>
              <a:rPr lang="es-ES_tradnl" sz="2400" b="1" i="1" dirty="0" smtClean="0">
                <a:solidFill>
                  <a:srgbClr val="1F497D"/>
                </a:solidFill>
              </a:rPr>
              <a:t>Aedes </a:t>
            </a:r>
            <a:r>
              <a:rPr lang="es-ES_tradnl" sz="2400" b="1" dirty="0" smtClean="0">
                <a:solidFill>
                  <a:srgbClr val="1F497D"/>
                </a:solidFill>
              </a:rPr>
              <a:t>(</a:t>
            </a:r>
            <a:r>
              <a:rPr lang="es-ES_tradnl" sz="2400" b="1" dirty="0" err="1" smtClean="0">
                <a:solidFill>
                  <a:srgbClr val="1F497D"/>
                </a:solidFill>
              </a:rPr>
              <a:t>temp</a:t>
            </a:r>
            <a:r>
              <a:rPr lang="es-ES_tradnl" sz="2400" b="1" dirty="0" smtClean="0">
                <a:solidFill>
                  <a:srgbClr val="1F497D"/>
                </a:solidFill>
              </a:rPr>
              <a:t>. media anual de 15°) </a:t>
            </a:r>
            <a:endParaRPr lang="es-AR" sz="2400" b="1" dirty="0">
              <a:solidFill>
                <a:srgbClr val="1F497D"/>
              </a:solidFill>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609" y="965263"/>
            <a:ext cx="5360823" cy="30646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1" name="Picture 3"/>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54668" y="3137482"/>
            <a:ext cx="4968552" cy="16558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2"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44008" y="3816991"/>
            <a:ext cx="4499992" cy="13010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806030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Rectangle 2"/>
          <p:cNvSpPr>
            <a:spLocks noGrp="1" noChangeArrowheads="1"/>
          </p:cNvSpPr>
          <p:nvPr>
            <p:ph type="title"/>
          </p:nvPr>
        </p:nvSpPr>
        <p:spPr>
          <a:xfrm>
            <a:off x="68159" y="840"/>
            <a:ext cx="7674879" cy="857250"/>
          </a:xfrm>
        </p:spPr>
        <p:txBody>
          <a:bodyPr anchor="t">
            <a:normAutofit/>
          </a:bodyPr>
          <a:lstStyle/>
          <a:p>
            <a:r>
              <a:rPr lang="es-ES_tradnl" sz="3200" b="1" dirty="0"/>
              <a:t>Escenarios de riesgo: Rol de la temperatura </a:t>
            </a:r>
            <a:endParaRPr lang="es-ES" sz="3200" b="1" dirty="0"/>
          </a:p>
        </p:txBody>
      </p:sp>
      <p:sp>
        <p:nvSpPr>
          <p:cNvPr id="3" name="2 CuadroTexto"/>
          <p:cNvSpPr txBox="1"/>
          <p:nvPr/>
        </p:nvSpPr>
        <p:spPr>
          <a:xfrm>
            <a:off x="5023370" y="842141"/>
            <a:ext cx="4053334" cy="3877985"/>
          </a:xfrm>
          <a:prstGeom prst="rect">
            <a:avLst/>
          </a:prstGeom>
          <a:noFill/>
        </p:spPr>
        <p:txBody>
          <a:bodyPr wrap="square" rtlCol="0">
            <a:spAutoFit/>
          </a:bodyPr>
          <a:lstStyle/>
          <a:p>
            <a:pPr marL="214313" indent="-214313">
              <a:buFont typeface="Arial" pitchFamily="34" charset="0"/>
              <a:buChar char="•"/>
            </a:pPr>
            <a:r>
              <a:rPr lang="es-ES" dirty="0"/>
              <a:t>La </a:t>
            </a:r>
            <a:r>
              <a:rPr lang="es-ES" b="1" dirty="0"/>
              <a:t>temperatura es el factor predictor ambiental mas importante que marca la distribución geográfica del </a:t>
            </a:r>
            <a:r>
              <a:rPr lang="es-ES" b="1" i="1" dirty="0"/>
              <a:t>Aedes</a:t>
            </a:r>
            <a:r>
              <a:rPr lang="es-ES" b="1" dirty="0"/>
              <a:t> </a:t>
            </a:r>
            <a:r>
              <a:rPr lang="es-ES" dirty="0"/>
              <a:t>(temperatura media anual de 15°).</a:t>
            </a:r>
          </a:p>
          <a:p>
            <a:pPr marL="214313" indent="-214313">
              <a:buFont typeface="Arial" pitchFamily="34" charset="0"/>
              <a:buChar char="•"/>
            </a:pPr>
            <a:r>
              <a:rPr lang="pt-BR" b="1" dirty="0"/>
              <a:t>Temporada cálida: </a:t>
            </a:r>
            <a:r>
              <a:rPr lang="pt-BR" dirty="0"/>
              <a:t>presencia de mosquito adulto. </a:t>
            </a:r>
          </a:p>
          <a:p>
            <a:pPr marL="214313" indent="-214313">
              <a:buFont typeface="Arial" pitchFamily="34" charset="0"/>
              <a:buChar char="•"/>
            </a:pPr>
            <a:r>
              <a:rPr lang="es-ES" b="1" dirty="0"/>
              <a:t>Temporada fría: </a:t>
            </a:r>
            <a:r>
              <a:rPr lang="es-ES" dirty="0"/>
              <a:t>escasa presencia de mosquito adulto, la población esta representada por huevos los cuales originaran mosquitos adultos en la siguiente temporada.</a:t>
            </a:r>
          </a:p>
          <a:p>
            <a:pPr marL="214313" indent="-214313">
              <a:buFont typeface="Arial" pitchFamily="34" charset="0"/>
              <a:buChar char="•"/>
            </a:pPr>
            <a:r>
              <a:rPr lang="es-ES_tradnl" b="1" dirty="0">
                <a:solidFill>
                  <a:srgbClr val="C00000"/>
                </a:solidFill>
              </a:rPr>
              <a:t>El control debe iniciar meses antes de la temporada estival.</a:t>
            </a:r>
          </a:p>
          <a:p>
            <a:pPr marL="214313" indent="-214313">
              <a:buFont typeface="Arial" pitchFamily="34" charset="0"/>
              <a:buChar char="•"/>
            </a:pPr>
            <a:endParaRPr lang="es-AR" sz="1200" dirty="0"/>
          </a:p>
        </p:txBody>
      </p:sp>
      <p:grpSp>
        <p:nvGrpSpPr>
          <p:cNvPr id="8" name="Group 48"/>
          <p:cNvGrpSpPr>
            <a:grpSpLocks/>
          </p:cNvGrpSpPr>
          <p:nvPr/>
        </p:nvGrpSpPr>
        <p:grpSpPr bwMode="auto">
          <a:xfrm>
            <a:off x="372138" y="814484"/>
            <a:ext cx="4183084" cy="2291307"/>
            <a:chOff x="972915" y="1647321"/>
            <a:chExt cx="7373379" cy="3610479"/>
          </a:xfrm>
        </p:grpSpPr>
        <p:pic>
          <p:nvPicPr>
            <p:cNvPr id="9" name="Picture 3"/>
            <p:cNvPicPr>
              <a:picLocks noChangeAspect="1"/>
            </p:cNvPicPr>
            <p:nvPr/>
          </p:nvPicPr>
          <p:blipFill>
            <a:blip r:embed="rId3"/>
            <a:srcRect/>
            <a:stretch>
              <a:fillRect/>
            </a:stretch>
          </p:blipFill>
          <p:spPr bwMode="auto">
            <a:xfrm>
              <a:off x="972915" y="1647321"/>
              <a:ext cx="7373379" cy="3610479"/>
            </a:xfrm>
            <a:prstGeom prst="rect">
              <a:avLst/>
            </a:prstGeom>
            <a:noFill/>
            <a:ln w="9525">
              <a:noFill/>
              <a:miter lim="800000"/>
              <a:headEnd/>
              <a:tailEnd/>
            </a:ln>
          </p:spPr>
        </p:pic>
        <p:grpSp>
          <p:nvGrpSpPr>
            <p:cNvPr id="10" name="Group 18"/>
            <p:cNvGrpSpPr>
              <a:grpSpLocks/>
            </p:cNvGrpSpPr>
            <p:nvPr/>
          </p:nvGrpSpPr>
          <p:grpSpPr bwMode="auto">
            <a:xfrm>
              <a:off x="1502569" y="2666463"/>
              <a:ext cx="6448425" cy="319101"/>
              <a:chOff x="1502569" y="2765646"/>
              <a:chExt cx="6448425" cy="319101"/>
            </a:xfrm>
          </p:grpSpPr>
          <p:sp>
            <p:nvSpPr>
              <p:cNvPr id="15" name="Freeform 16"/>
              <p:cNvSpPr/>
              <p:nvPr/>
            </p:nvSpPr>
            <p:spPr>
              <a:xfrm>
                <a:off x="1503258" y="2766331"/>
                <a:ext cx="3409102" cy="286776"/>
              </a:xfrm>
              <a:custGeom>
                <a:avLst/>
                <a:gdLst>
                  <a:gd name="connsiteX0" fmla="*/ 0 w 3409950"/>
                  <a:gd name="connsiteY0" fmla="*/ 215679 h 287291"/>
                  <a:gd name="connsiteX1" fmla="*/ 166687 w 3409950"/>
                  <a:gd name="connsiteY1" fmla="*/ 187104 h 287291"/>
                  <a:gd name="connsiteX2" fmla="*/ 421481 w 3409950"/>
                  <a:gd name="connsiteY2" fmla="*/ 184723 h 287291"/>
                  <a:gd name="connsiteX3" fmla="*/ 519112 w 3409950"/>
                  <a:gd name="connsiteY3" fmla="*/ 194248 h 287291"/>
                  <a:gd name="connsiteX4" fmla="*/ 833437 w 3409950"/>
                  <a:gd name="connsiteY4" fmla="*/ 268067 h 287291"/>
                  <a:gd name="connsiteX5" fmla="*/ 1216819 w 3409950"/>
                  <a:gd name="connsiteY5" fmla="*/ 287117 h 287291"/>
                  <a:gd name="connsiteX6" fmla="*/ 1459706 w 3409950"/>
                  <a:gd name="connsiteY6" fmla="*/ 260923 h 287291"/>
                  <a:gd name="connsiteX7" fmla="*/ 1700212 w 3409950"/>
                  <a:gd name="connsiteY7" fmla="*/ 199010 h 287291"/>
                  <a:gd name="connsiteX8" fmla="*/ 1940719 w 3409950"/>
                  <a:gd name="connsiteY8" fmla="*/ 115667 h 287291"/>
                  <a:gd name="connsiteX9" fmla="*/ 2124075 w 3409950"/>
                  <a:gd name="connsiteY9" fmla="*/ 51373 h 287291"/>
                  <a:gd name="connsiteX10" fmla="*/ 2397919 w 3409950"/>
                  <a:gd name="connsiteY10" fmla="*/ 6129 h 287291"/>
                  <a:gd name="connsiteX11" fmla="*/ 2728912 w 3409950"/>
                  <a:gd name="connsiteY11" fmla="*/ 3748 h 287291"/>
                  <a:gd name="connsiteX12" fmla="*/ 3048000 w 3409950"/>
                  <a:gd name="connsiteY12" fmla="*/ 37085 h 287291"/>
                  <a:gd name="connsiteX13" fmla="*/ 3409950 w 3409950"/>
                  <a:gd name="connsiteY13" fmla="*/ 84710 h 287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09950" h="287291">
                    <a:moveTo>
                      <a:pt x="0" y="215679"/>
                    </a:moveTo>
                    <a:cubicBezTo>
                      <a:pt x="48220" y="203971"/>
                      <a:pt x="96440" y="192263"/>
                      <a:pt x="166687" y="187104"/>
                    </a:cubicBezTo>
                    <a:cubicBezTo>
                      <a:pt x="236934" y="181945"/>
                      <a:pt x="362744" y="183532"/>
                      <a:pt x="421481" y="184723"/>
                    </a:cubicBezTo>
                    <a:cubicBezTo>
                      <a:pt x="480218" y="185914"/>
                      <a:pt x="450453" y="180357"/>
                      <a:pt x="519112" y="194248"/>
                    </a:cubicBezTo>
                    <a:cubicBezTo>
                      <a:pt x="587771" y="208139"/>
                      <a:pt x="717153" y="252589"/>
                      <a:pt x="833437" y="268067"/>
                    </a:cubicBezTo>
                    <a:cubicBezTo>
                      <a:pt x="949721" y="283545"/>
                      <a:pt x="1112441" y="288308"/>
                      <a:pt x="1216819" y="287117"/>
                    </a:cubicBezTo>
                    <a:cubicBezTo>
                      <a:pt x="1321197" y="285926"/>
                      <a:pt x="1379141" y="275608"/>
                      <a:pt x="1459706" y="260923"/>
                    </a:cubicBezTo>
                    <a:cubicBezTo>
                      <a:pt x="1540272" y="246239"/>
                      <a:pt x="1620043" y="223219"/>
                      <a:pt x="1700212" y="199010"/>
                    </a:cubicBezTo>
                    <a:cubicBezTo>
                      <a:pt x="1780381" y="174801"/>
                      <a:pt x="1940719" y="115667"/>
                      <a:pt x="1940719" y="115667"/>
                    </a:cubicBezTo>
                    <a:cubicBezTo>
                      <a:pt x="2011363" y="91061"/>
                      <a:pt x="2047875" y="69629"/>
                      <a:pt x="2124075" y="51373"/>
                    </a:cubicBezTo>
                    <a:cubicBezTo>
                      <a:pt x="2200275" y="33117"/>
                      <a:pt x="2297113" y="14066"/>
                      <a:pt x="2397919" y="6129"/>
                    </a:cubicBezTo>
                    <a:cubicBezTo>
                      <a:pt x="2498725" y="-1808"/>
                      <a:pt x="2620565" y="-1411"/>
                      <a:pt x="2728912" y="3748"/>
                    </a:cubicBezTo>
                    <a:cubicBezTo>
                      <a:pt x="2837259" y="8907"/>
                      <a:pt x="2934494" y="23591"/>
                      <a:pt x="3048000" y="37085"/>
                    </a:cubicBezTo>
                    <a:cubicBezTo>
                      <a:pt x="3161506" y="50579"/>
                      <a:pt x="3326209" y="71613"/>
                      <a:pt x="3409950" y="84710"/>
                    </a:cubicBezTo>
                  </a:path>
                </a:pathLst>
              </a:custGeom>
              <a:noFill/>
              <a:ln w="285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dirty="0">
                  <a:solidFill>
                    <a:srgbClr val="FFFFFF"/>
                  </a:solidFill>
                </a:endParaRPr>
              </a:p>
            </p:txBody>
          </p:sp>
          <p:sp>
            <p:nvSpPr>
              <p:cNvPr id="16" name="Freeform 17"/>
              <p:cNvSpPr/>
              <p:nvPr/>
            </p:nvSpPr>
            <p:spPr>
              <a:xfrm>
                <a:off x="4910587" y="2851720"/>
                <a:ext cx="3040167" cy="233610"/>
              </a:xfrm>
              <a:custGeom>
                <a:avLst/>
                <a:gdLst>
                  <a:gd name="connsiteX0" fmla="*/ 0 w 3040856"/>
                  <a:gd name="connsiteY0" fmla="*/ 0 h 234390"/>
                  <a:gd name="connsiteX1" fmla="*/ 302419 w 3040856"/>
                  <a:gd name="connsiteY1" fmla="*/ 50006 h 234390"/>
                  <a:gd name="connsiteX2" fmla="*/ 554831 w 3040856"/>
                  <a:gd name="connsiteY2" fmla="*/ 114300 h 234390"/>
                  <a:gd name="connsiteX3" fmla="*/ 819150 w 3040856"/>
                  <a:gd name="connsiteY3" fmla="*/ 152400 h 234390"/>
                  <a:gd name="connsiteX4" fmla="*/ 1152525 w 3040856"/>
                  <a:gd name="connsiteY4" fmla="*/ 157162 h 234390"/>
                  <a:gd name="connsiteX5" fmla="*/ 1423988 w 3040856"/>
                  <a:gd name="connsiteY5" fmla="*/ 166687 h 234390"/>
                  <a:gd name="connsiteX6" fmla="*/ 1735931 w 3040856"/>
                  <a:gd name="connsiteY6" fmla="*/ 214312 h 234390"/>
                  <a:gd name="connsiteX7" fmla="*/ 2021681 w 3040856"/>
                  <a:gd name="connsiteY7" fmla="*/ 233362 h 234390"/>
                  <a:gd name="connsiteX8" fmla="*/ 2400300 w 3040856"/>
                  <a:gd name="connsiteY8" fmla="*/ 185737 h 234390"/>
                  <a:gd name="connsiteX9" fmla="*/ 2662238 w 3040856"/>
                  <a:gd name="connsiteY9" fmla="*/ 135731 h 234390"/>
                  <a:gd name="connsiteX10" fmla="*/ 3040856 w 3040856"/>
                  <a:gd name="connsiteY10" fmla="*/ 102394 h 234390"/>
                  <a:gd name="connsiteX11" fmla="*/ 3040856 w 3040856"/>
                  <a:gd name="connsiteY11" fmla="*/ 102394 h 234390"/>
                  <a:gd name="connsiteX12" fmla="*/ 3040856 w 3040856"/>
                  <a:gd name="connsiteY12" fmla="*/ 102394 h 234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40856" h="234390">
                    <a:moveTo>
                      <a:pt x="0" y="0"/>
                    </a:moveTo>
                    <a:cubicBezTo>
                      <a:pt x="104973" y="15478"/>
                      <a:pt x="209947" y="30956"/>
                      <a:pt x="302419" y="50006"/>
                    </a:cubicBezTo>
                    <a:cubicBezTo>
                      <a:pt x="394891" y="69056"/>
                      <a:pt x="468709" y="97234"/>
                      <a:pt x="554831" y="114300"/>
                    </a:cubicBezTo>
                    <a:cubicBezTo>
                      <a:pt x="640953" y="131366"/>
                      <a:pt x="719534" y="145256"/>
                      <a:pt x="819150" y="152400"/>
                    </a:cubicBezTo>
                    <a:cubicBezTo>
                      <a:pt x="918766" y="159544"/>
                      <a:pt x="1051719" y="154781"/>
                      <a:pt x="1152525" y="157162"/>
                    </a:cubicBezTo>
                    <a:cubicBezTo>
                      <a:pt x="1253331" y="159543"/>
                      <a:pt x="1326754" y="157162"/>
                      <a:pt x="1423988" y="166687"/>
                    </a:cubicBezTo>
                    <a:cubicBezTo>
                      <a:pt x="1521222" y="176212"/>
                      <a:pt x="1636316" y="203200"/>
                      <a:pt x="1735931" y="214312"/>
                    </a:cubicBezTo>
                    <a:cubicBezTo>
                      <a:pt x="1835546" y="225424"/>
                      <a:pt x="1910953" y="238125"/>
                      <a:pt x="2021681" y="233362"/>
                    </a:cubicBezTo>
                    <a:cubicBezTo>
                      <a:pt x="2132409" y="228600"/>
                      <a:pt x="2293541" y="202009"/>
                      <a:pt x="2400300" y="185737"/>
                    </a:cubicBezTo>
                    <a:cubicBezTo>
                      <a:pt x="2507060" y="169465"/>
                      <a:pt x="2555479" y="149622"/>
                      <a:pt x="2662238" y="135731"/>
                    </a:cubicBezTo>
                    <a:cubicBezTo>
                      <a:pt x="2768997" y="121841"/>
                      <a:pt x="3040856" y="102394"/>
                      <a:pt x="3040856" y="102394"/>
                    </a:cubicBezTo>
                    <a:lnTo>
                      <a:pt x="3040856" y="102394"/>
                    </a:lnTo>
                    <a:lnTo>
                      <a:pt x="3040856" y="102394"/>
                    </a:lnTo>
                  </a:path>
                </a:pathLst>
              </a:custGeom>
              <a:noFill/>
              <a:ln w="285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dirty="0">
                  <a:solidFill>
                    <a:srgbClr val="FFFFFF"/>
                  </a:solidFill>
                </a:endParaRPr>
              </a:p>
            </p:txBody>
          </p:sp>
        </p:grpSp>
        <p:grpSp>
          <p:nvGrpSpPr>
            <p:cNvPr id="11" name="Group 22"/>
            <p:cNvGrpSpPr>
              <a:grpSpLocks/>
            </p:cNvGrpSpPr>
            <p:nvPr/>
          </p:nvGrpSpPr>
          <p:grpSpPr bwMode="auto">
            <a:xfrm>
              <a:off x="1657350" y="4062075"/>
              <a:ext cx="6591300" cy="342431"/>
              <a:chOff x="1657350" y="4161258"/>
              <a:chExt cx="6591300" cy="342431"/>
            </a:xfrm>
          </p:grpSpPr>
          <p:sp>
            <p:nvSpPr>
              <p:cNvPr id="12" name="Freeform 19"/>
              <p:cNvSpPr/>
              <p:nvPr/>
            </p:nvSpPr>
            <p:spPr>
              <a:xfrm>
                <a:off x="1657573" y="4354877"/>
                <a:ext cx="2969217" cy="148221"/>
              </a:xfrm>
              <a:custGeom>
                <a:avLst/>
                <a:gdLst>
                  <a:gd name="connsiteX0" fmla="*/ 0 w 2969419"/>
                  <a:gd name="connsiteY0" fmla="*/ 112366 h 148830"/>
                  <a:gd name="connsiteX1" fmla="*/ 166688 w 2969419"/>
                  <a:gd name="connsiteY1" fmla="*/ 40929 h 148830"/>
                  <a:gd name="connsiteX2" fmla="*/ 323850 w 2969419"/>
                  <a:gd name="connsiteY2" fmla="*/ 2829 h 148830"/>
                  <a:gd name="connsiteX3" fmla="*/ 488156 w 2969419"/>
                  <a:gd name="connsiteY3" fmla="*/ 7591 h 148830"/>
                  <a:gd name="connsiteX4" fmla="*/ 688181 w 2969419"/>
                  <a:gd name="connsiteY4" fmla="*/ 45691 h 148830"/>
                  <a:gd name="connsiteX5" fmla="*/ 904875 w 2969419"/>
                  <a:gd name="connsiteY5" fmla="*/ 79029 h 148830"/>
                  <a:gd name="connsiteX6" fmla="*/ 1262063 w 2969419"/>
                  <a:gd name="connsiteY6" fmla="*/ 90935 h 148830"/>
                  <a:gd name="connsiteX7" fmla="*/ 1857375 w 2969419"/>
                  <a:gd name="connsiteY7" fmla="*/ 112366 h 148830"/>
                  <a:gd name="connsiteX8" fmla="*/ 2209800 w 2969419"/>
                  <a:gd name="connsiteY8" fmla="*/ 140941 h 148830"/>
                  <a:gd name="connsiteX9" fmla="*/ 2495550 w 2969419"/>
                  <a:gd name="connsiteY9" fmla="*/ 148085 h 148830"/>
                  <a:gd name="connsiteX10" fmla="*/ 2731294 w 2969419"/>
                  <a:gd name="connsiteY10" fmla="*/ 126654 h 148830"/>
                  <a:gd name="connsiteX11" fmla="*/ 2969419 w 2969419"/>
                  <a:gd name="connsiteY11" fmla="*/ 79029 h 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69419" h="148830">
                    <a:moveTo>
                      <a:pt x="0" y="112366"/>
                    </a:moveTo>
                    <a:cubicBezTo>
                      <a:pt x="56356" y="85775"/>
                      <a:pt x="112713" y="59185"/>
                      <a:pt x="166688" y="40929"/>
                    </a:cubicBezTo>
                    <a:cubicBezTo>
                      <a:pt x="220663" y="22673"/>
                      <a:pt x="270272" y="8385"/>
                      <a:pt x="323850" y="2829"/>
                    </a:cubicBezTo>
                    <a:cubicBezTo>
                      <a:pt x="377428" y="-2727"/>
                      <a:pt x="427434" y="447"/>
                      <a:pt x="488156" y="7591"/>
                    </a:cubicBezTo>
                    <a:cubicBezTo>
                      <a:pt x="548878" y="14735"/>
                      <a:pt x="618728" y="33785"/>
                      <a:pt x="688181" y="45691"/>
                    </a:cubicBezTo>
                    <a:cubicBezTo>
                      <a:pt x="757634" y="57597"/>
                      <a:pt x="809228" y="71488"/>
                      <a:pt x="904875" y="79029"/>
                    </a:cubicBezTo>
                    <a:cubicBezTo>
                      <a:pt x="1000522" y="86570"/>
                      <a:pt x="1262063" y="90935"/>
                      <a:pt x="1262063" y="90935"/>
                    </a:cubicBezTo>
                    <a:lnTo>
                      <a:pt x="1857375" y="112366"/>
                    </a:lnTo>
                    <a:cubicBezTo>
                      <a:pt x="2015331" y="120700"/>
                      <a:pt x="2103438" y="134988"/>
                      <a:pt x="2209800" y="140941"/>
                    </a:cubicBezTo>
                    <a:cubicBezTo>
                      <a:pt x="2316162" y="146894"/>
                      <a:pt x="2408634" y="150466"/>
                      <a:pt x="2495550" y="148085"/>
                    </a:cubicBezTo>
                    <a:cubicBezTo>
                      <a:pt x="2582466" y="145704"/>
                      <a:pt x="2652316" y="138163"/>
                      <a:pt x="2731294" y="126654"/>
                    </a:cubicBezTo>
                    <a:cubicBezTo>
                      <a:pt x="2810272" y="115145"/>
                      <a:pt x="2895600" y="95301"/>
                      <a:pt x="2969419" y="79029"/>
                    </a:cubicBezTo>
                  </a:path>
                </a:pathLst>
              </a:custGeom>
              <a:noFill/>
              <a:ln w="285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dirty="0">
                  <a:solidFill>
                    <a:srgbClr val="FFFFFF"/>
                  </a:solidFill>
                </a:endParaRPr>
              </a:p>
            </p:txBody>
          </p:sp>
          <p:sp>
            <p:nvSpPr>
              <p:cNvPr id="13" name="Freeform 20"/>
              <p:cNvSpPr/>
              <p:nvPr/>
            </p:nvSpPr>
            <p:spPr>
              <a:xfrm>
                <a:off x="4619696" y="4161545"/>
                <a:ext cx="3281393" cy="277109"/>
              </a:xfrm>
              <a:custGeom>
                <a:avLst/>
                <a:gdLst>
                  <a:gd name="connsiteX0" fmla="*/ 0 w 3281363"/>
                  <a:gd name="connsiteY0" fmla="*/ 275011 h 278442"/>
                  <a:gd name="connsiteX1" fmla="*/ 223838 w 3281363"/>
                  <a:gd name="connsiteY1" fmla="*/ 220242 h 278442"/>
                  <a:gd name="connsiteX2" fmla="*/ 461963 w 3281363"/>
                  <a:gd name="connsiteY2" fmla="*/ 174998 h 278442"/>
                  <a:gd name="connsiteX3" fmla="*/ 1178719 w 3281363"/>
                  <a:gd name="connsiteY3" fmla="*/ 58317 h 278442"/>
                  <a:gd name="connsiteX4" fmla="*/ 1790700 w 3281363"/>
                  <a:gd name="connsiteY4" fmla="*/ 3548 h 278442"/>
                  <a:gd name="connsiteX5" fmla="*/ 2150269 w 3281363"/>
                  <a:gd name="connsiteY5" fmla="*/ 8311 h 278442"/>
                  <a:gd name="connsiteX6" fmla="*/ 2428875 w 3281363"/>
                  <a:gd name="connsiteY6" fmla="*/ 32123 h 278442"/>
                  <a:gd name="connsiteX7" fmla="*/ 2707481 w 3281363"/>
                  <a:gd name="connsiteY7" fmla="*/ 94036 h 278442"/>
                  <a:gd name="connsiteX8" fmla="*/ 2974181 w 3281363"/>
                  <a:gd name="connsiteY8" fmla="*/ 203573 h 278442"/>
                  <a:gd name="connsiteX9" fmla="*/ 3126581 w 3281363"/>
                  <a:gd name="connsiteY9" fmla="*/ 270248 h 278442"/>
                  <a:gd name="connsiteX10" fmla="*/ 3281363 w 3281363"/>
                  <a:gd name="connsiteY10" fmla="*/ 275011 h 278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81363" h="278442">
                    <a:moveTo>
                      <a:pt x="0" y="275011"/>
                    </a:moveTo>
                    <a:cubicBezTo>
                      <a:pt x="73422" y="255961"/>
                      <a:pt x="146844" y="236911"/>
                      <a:pt x="223838" y="220242"/>
                    </a:cubicBezTo>
                    <a:cubicBezTo>
                      <a:pt x="300832" y="203573"/>
                      <a:pt x="461963" y="174998"/>
                      <a:pt x="461963" y="174998"/>
                    </a:cubicBezTo>
                    <a:cubicBezTo>
                      <a:pt x="621110" y="148011"/>
                      <a:pt x="957263" y="86892"/>
                      <a:pt x="1178719" y="58317"/>
                    </a:cubicBezTo>
                    <a:cubicBezTo>
                      <a:pt x="1400175" y="29742"/>
                      <a:pt x="1628775" y="11882"/>
                      <a:pt x="1790700" y="3548"/>
                    </a:cubicBezTo>
                    <a:cubicBezTo>
                      <a:pt x="1952625" y="-4786"/>
                      <a:pt x="2043907" y="3548"/>
                      <a:pt x="2150269" y="8311"/>
                    </a:cubicBezTo>
                    <a:cubicBezTo>
                      <a:pt x="2256632" y="13073"/>
                      <a:pt x="2336006" y="17836"/>
                      <a:pt x="2428875" y="32123"/>
                    </a:cubicBezTo>
                    <a:cubicBezTo>
                      <a:pt x="2521744" y="46410"/>
                      <a:pt x="2616597" y="65461"/>
                      <a:pt x="2707481" y="94036"/>
                    </a:cubicBezTo>
                    <a:cubicBezTo>
                      <a:pt x="2798365" y="122611"/>
                      <a:pt x="2904331" y="174204"/>
                      <a:pt x="2974181" y="203573"/>
                    </a:cubicBezTo>
                    <a:cubicBezTo>
                      <a:pt x="3044031" y="232942"/>
                      <a:pt x="3075384" y="258342"/>
                      <a:pt x="3126581" y="270248"/>
                    </a:cubicBezTo>
                    <a:cubicBezTo>
                      <a:pt x="3177778" y="282154"/>
                      <a:pt x="3229570" y="278582"/>
                      <a:pt x="3281363" y="275011"/>
                    </a:cubicBezTo>
                  </a:path>
                </a:pathLst>
              </a:custGeom>
              <a:noFill/>
              <a:ln w="285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dirty="0">
                  <a:solidFill>
                    <a:srgbClr val="FFFFFF"/>
                  </a:solidFill>
                </a:endParaRPr>
              </a:p>
            </p:txBody>
          </p:sp>
          <p:sp>
            <p:nvSpPr>
              <p:cNvPr id="14" name="Freeform 21"/>
              <p:cNvSpPr/>
              <p:nvPr/>
            </p:nvSpPr>
            <p:spPr>
              <a:xfrm>
                <a:off x="7892220" y="4348433"/>
                <a:ext cx="356519" cy="86999"/>
              </a:xfrm>
              <a:custGeom>
                <a:avLst/>
                <a:gdLst>
                  <a:gd name="connsiteX0" fmla="*/ 0 w 357187"/>
                  <a:gd name="connsiteY0" fmla="*/ 88106 h 88106"/>
                  <a:gd name="connsiteX1" fmla="*/ 164306 w 357187"/>
                  <a:gd name="connsiteY1" fmla="*/ 78581 h 88106"/>
                  <a:gd name="connsiteX2" fmla="*/ 357187 w 357187"/>
                  <a:gd name="connsiteY2" fmla="*/ 0 h 88106"/>
                </a:gdLst>
                <a:ahLst/>
                <a:cxnLst>
                  <a:cxn ang="0">
                    <a:pos x="connsiteX0" y="connsiteY0"/>
                  </a:cxn>
                  <a:cxn ang="0">
                    <a:pos x="connsiteX1" y="connsiteY1"/>
                  </a:cxn>
                  <a:cxn ang="0">
                    <a:pos x="connsiteX2" y="connsiteY2"/>
                  </a:cxn>
                </a:cxnLst>
                <a:rect l="l" t="t" r="r" b="b"/>
                <a:pathLst>
                  <a:path w="357187" h="88106">
                    <a:moveTo>
                      <a:pt x="0" y="88106"/>
                    </a:moveTo>
                    <a:lnTo>
                      <a:pt x="164306" y="78581"/>
                    </a:lnTo>
                    <a:cubicBezTo>
                      <a:pt x="223837" y="63897"/>
                      <a:pt x="290512" y="31948"/>
                      <a:pt x="357187" y="0"/>
                    </a:cubicBezTo>
                  </a:path>
                </a:pathLst>
              </a:custGeom>
              <a:noFill/>
              <a:ln w="2857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dirty="0">
                  <a:solidFill>
                    <a:srgbClr val="FFFFFF"/>
                  </a:solidFill>
                </a:endParaRPr>
              </a:p>
            </p:txBody>
          </p:sp>
        </p:grpSp>
      </p:grpSp>
      <p:sp>
        <p:nvSpPr>
          <p:cNvPr id="4" name="3 Rectángulo"/>
          <p:cNvSpPr/>
          <p:nvPr/>
        </p:nvSpPr>
        <p:spPr>
          <a:xfrm>
            <a:off x="507814" y="588225"/>
            <a:ext cx="2076209" cy="253916"/>
          </a:xfrm>
          <a:prstGeom prst="rect">
            <a:avLst/>
          </a:prstGeom>
        </p:spPr>
        <p:txBody>
          <a:bodyPr wrap="none">
            <a:spAutoFit/>
          </a:bodyPr>
          <a:lstStyle/>
          <a:p>
            <a:r>
              <a:rPr lang="es-ES" sz="1050" dirty="0"/>
              <a:t>Riesgo y carga del dengue en 2010</a:t>
            </a:r>
          </a:p>
        </p:txBody>
      </p:sp>
      <p:pic>
        <p:nvPicPr>
          <p:cNvPr id="5" name="Imagen 3"/>
          <p:cNvPicPr>
            <a:picLocks noChangeAspect="1"/>
          </p:cNvPicPr>
          <p:nvPr/>
        </p:nvPicPr>
        <p:blipFill>
          <a:blip r:embed="rId4"/>
          <a:stretch>
            <a:fillRect/>
          </a:stretch>
        </p:blipFill>
        <p:spPr>
          <a:xfrm>
            <a:off x="496188" y="2790345"/>
            <a:ext cx="4219761" cy="1955538"/>
          </a:xfrm>
          <a:prstGeom prst="rect">
            <a:avLst/>
          </a:prstGeom>
        </p:spPr>
      </p:pic>
      <p:sp>
        <p:nvSpPr>
          <p:cNvPr id="2" name="1 Rectángulo"/>
          <p:cNvSpPr/>
          <p:nvPr/>
        </p:nvSpPr>
        <p:spPr>
          <a:xfrm>
            <a:off x="1322072" y="4786928"/>
            <a:ext cx="6598301" cy="346249"/>
          </a:xfrm>
          <a:prstGeom prst="rect">
            <a:avLst/>
          </a:prstGeom>
        </p:spPr>
        <p:txBody>
          <a:bodyPr wrap="square">
            <a:spAutoFit/>
          </a:bodyPr>
          <a:lstStyle/>
          <a:p>
            <a:endParaRPr lang="es-419" sz="825">
              <a:solidFill>
                <a:schemeClr val="tx1">
                  <a:lumMod val="50000"/>
                  <a:lumOff val="50000"/>
                </a:schemeClr>
              </a:solidFill>
            </a:endParaRPr>
          </a:p>
          <a:p>
            <a:r>
              <a:rPr lang="es-419" sz="825">
                <a:solidFill>
                  <a:schemeClr val="tx1">
                    <a:lumMod val="50000"/>
                    <a:lumOff val="50000"/>
                  </a:schemeClr>
                </a:solidFill>
              </a:rPr>
              <a:t>Boletín Epidemiológico Semanal Nº193 SE 16. Disponible https://www.buenosaires.gob.ar/sites/gcaba/files/bes_193_se_16_vf.pdf </a:t>
            </a:r>
          </a:p>
        </p:txBody>
      </p:sp>
    </p:spTree>
    <p:extLst>
      <p:ext uri="{BB962C8B-B14F-4D97-AF65-F5344CB8AC3E}">
        <p14:creationId xmlns:p14="http://schemas.microsoft.com/office/powerpoint/2010/main" val="636251497"/>
      </p:ext>
    </p:extLst>
  </p:cSld>
  <p:clrMapOvr>
    <a:masterClrMapping/>
  </p:clrMapOvr>
  <p:transition spd="slow"/>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8" name="7 Rectángulo"/>
          <p:cNvSpPr/>
          <p:nvPr/>
        </p:nvSpPr>
        <p:spPr>
          <a:xfrm>
            <a:off x="4295532" y="4125931"/>
            <a:ext cx="6767564" cy="307777"/>
          </a:xfrm>
          <a:prstGeom prst="rect">
            <a:avLst/>
          </a:prstGeom>
        </p:spPr>
        <p:txBody>
          <a:bodyPr wrap="square">
            <a:spAutoFit/>
          </a:bodyPr>
          <a:lstStyle/>
          <a:p>
            <a:r>
              <a:rPr lang="es-ES" sz="1400" dirty="0">
                <a:solidFill>
                  <a:srgbClr val="165BA6"/>
                </a:solidFill>
              </a:rPr>
              <a:t>file:///C:/Users/Usuario/Downloads/BEN_645_SE_11.pdf</a:t>
            </a:r>
          </a:p>
        </p:txBody>
      </p:sp>
      <p:sp>
        <p:nvSpPr>
          <p:cNvPr id="9" name="8 Rectángulo"/>
          <p:cNvSpPr/>
          <p:nvPr/>
        </p:nvSpPr>
        <p:spPr>
          <a:xfrm>
            <a:off x="104371" y="883255"/>
            <a:ext cx="8636957" cy="3139321"/>
          </a:xfrm>
          <a:prstGeom prst="rect">
            <a:avLst/>
          </a:prstGeom>
        </p:spPr>
        <p:txBody>
          <a:bodyPr wrap="square">
            <a:spAutoFit/>
          </a:bodyPr>
          <a:lstStyle/>
          <a:p>
            <a:pPr marL="285750" indent="-285750">
              <a:buFont typeface="Arial" panose="020B0604020202020204" pitchFamily="34" charset="0"/>
              <a:buChar char="•"/>
            </a:pPr>
            <a:r>
              <a:rPr lang="es-AR" dirty="0"/>
              <a:t>La vigilancia de las </a:t>
            </a:r>
            <a:r>
              <a:rPr lang="es-AR" dirty="0" err="1"/>
              <a:t>arbovirosis</a:t>
            </a:r>
            <a:r>
              <a:rPr lang="es-AR" dirty="0"/>
              <a:t> se realiza de forma integrada en el marco de la vigilancia </a:t>
            </a:r>
            <a:r>
              <a:rPr lang="es-AR" b="1" dirty="0"/>
              <a:t>de </a:t>
            </a:r>
            <a:r>
              <a:rPr lang="es-AR" b="1" dirty="0" smtClean="0"/>
              <a:t>Síndrome Febril </a:t>
            </a:r>
            <a:r>
              <a:rPr lang="es-AR" b="1" dirty="0"/>
              <a:t>Agudo Inespecífico (SFAI) </a:t>
            </a:r>
            <a:r>
              <a:rPr lang="es-AR" dirty="0"/>
              <a:t>y de los casos que cumplen con definiciones específicas para </a:t>
            </a:r>
            <a:r>
              <a:rPr lang="es-AR" dirty="0" smtClean="0"/>
              <a:t>cada una </a:t>
            </a:r>
            <a:r>
              <a:rPr lang="es-AR" dirty="0"/>
              <a:t>de las </a:t>
            </a:r>
            <a:r>
              <a:rPr lang="es-AR" dirty="0" err="1"/>
              <a:t>arbovirosis</a:t>
            </a:r>
            <a:r>
              <a:rPr lang="es-AR" dirty="0"/>
              <a:t>, y la notificación se realiza a través del Sistema Nacional de Vigilancia de </a:t>
            </a:r>
            <a:r>
              <a:rPr lang="es-AR" dirty="0" smtClean="0"/>
              <a:t>la Salud </a:t>
            </a:r>
            <a:r>
              <a:rPr lang="es-AR" dirty="0"/>
              <a:t>(SNVS2.0). </a:t>
            </a:r>
            <a:endParaRPr lang="es-AR" dirty="0" smtClean="0"/>
          </a:p>
          <a:p>
            <a:pPr marL="285750" indent="-285750">
              <a:buFont typeface="Arial" panose="020B0604020202020204" pitchFamily="34" charset="0"/>
              <a:buChar char="•"/>
            </a:pPr>
            <a:endParaRPr lang="es-AR" dirty="0"/>
          </a:p>
          <a:p>
            <a:pPr marL="285750" indent="-285750">
              <a:buFont typeface="Arial" panose="020B0604020202020204" pitchFamily="34" charset="0"/>
              <a:buChar char="•"/>
            </a:pPr>
            <a:r>
              <a:rPr lang="es-AR" dirty="0" smtClean="0"/>
              <a:t>La </a:t>
            </a:r>
            <a:r>
              <a:rPr lang="es-AR" dirty="0"/>
              <a:t>vigilancia integrada de </a:t>
            </a:r>
            <a:r>
              <a:rPr lang="es-AR" dirty="0" err="1"/>
              <a:t>arbovirosis</a:t>
            </a:r>
            <a:r>
              <a:rPr lang="es-AR" dirty="0"/>
              <a:t> incluye el estudio de </a:t>
            </a:r>
            <a:r>
              <a:rPr lang="es-AR" b="1" dirty="0"/>
              <a:t>Dengue, </a:t>
            </a:r>
            <a:r>
              <a:rPr lang="es-AR" b="1" dirty="0" err="1"/>
              <a:t>Zika</a:t>
            </a:r>
            <a:r>
              <a:rPr lang="es-AR" b="1" dirty="0"/>
              <a:t>,</a:t>
            </a:r>
            <a:br>
              <a:rPr lang="es-AR" b="1" dirty="0"/>
            </a:br>
            <a:r>
              <a:rPr lang="es-AR" b="1" dirty="0" err="1"/>
              <a:t>Chikungunya</a:t>
            </a:r>
            <a:r>
              <a:rPr lang="es-AR" b="1" dirty="0"/>
              <a:t>, Fiebre Amarilla, Encefalitis de San Luis y Fiebre del Nilo Occidental</a:t>
            </a:r>
            <a:r>
              <a:rPr lang="es-AR" dirty="0"/>
              <a:t>, entre </a:t>
            </a:r>
            <a:r>
              <a:rPr lang="es-AR" dirty="0" smtClean="0"/>
              <a:t>otros agentes </a:t>
            </a:r>
            <a:r>
              <a:rPr lang="es-AR" dirty="0"/>
              <a:t>etiológicos; así mismo, la vigilancia del SFAI integra patologías como </a:t>
            </a:r>
            <a:r>
              <a:rPr lang="es-AR" dirty="0" err="1" smtClean="0"/>
              <a:t>hantavirosis</a:t>
            </a:r>
            <a:r>
              <a:rPr lang="es-AR" dirty="0" smtClean="0"/>
              <a:t>, </a:t>
            </a:r>
            <a:r>
              <a:rPr lang="es-AR" dirty="0" err="1" smtClean="0"/>
              <a:t>leptospirosis</a:t>
            </a:r>
            <a:r>
              <a:rPr lang="es-AR" dirty="0" smtClean="0"/>
              <a:t> </a:t>
            </a:r>
            <a:r>
              <a:rPr lang="es-AR" dirty="0"/>
              <a:t>y paludismo, de acuerdo con el contexto epidemiológico del área y de </a:t>
            </a:r>
            <a:r>
              <a:rPr lang="es-AR" dirty="0" smtClean="0"/>
              <a:t>los antecedentes </a:t>
            </a:r>
            <a:r>
              <a:rPr lang="es-AR" dirty="0"/>
              <a:t>epidemiológicos</a:t>
            </a:r>
            <a:br>
              <a:rPr lang="es-AR" dirty="0"/>
            </a:br>
            <a:endParaRPr lang="es-ES" dirty="0"/>
          </a:p>
        </p:txBody>
      </p:sp>
      <p:sp>
        <p:nvSpPr>
          <p:cNvPr id="5" name="Rectangle 2"/>
          <p:cNvSpPr>
            <a:spLocks noGrp="1" noChangeArrowheads="1"/>
          </p:cNvSpPr>
          <p:nvPr>
            <p:ph type="title"/>
          </p:nvPr>
        </p:nvSpPr>
        <p:spPr>
          <a:xfrm>
            <a:off x="286273" y="119245"/>
            <a:ext cx="7674879" cy="857250"/>
          </a:xfrm>
        </p:spPr>
        <p:txBody>
          <a:bodyPr anchor="t">
            <a:normAutofit/>
          </a:bodyPr>
          <a:lstStyle/>
          <a:p>
            <a:r>
              <a:rPr lang="es-ES_tradnl" sz="3200" b="1" dirty="0" smtClean="0">
                <a:latin typeface="+mn-lt"/>
              </a:rPr>
              <a:t>Vigilancia epidemiológica</a:t>
            </a:r>
            <a:endParaRPr lang="es-ES" sz="3200" b="1" dirty="0">
              <a:latin typeface="+mn-lt"/>
            </a:endParaRPr>
          </a:p>
        </p:txBody>
      </p:sp>
    </p:spTree>
    <p:extLst>
      <p:ext uri="{BB962C8B-B14F-4D97-AF65-F5344CB8AC3E}">
        <p14:creationId xmlns:p14="http://schemas.microsoft.com/office/powerpoint/2010/main" val="105405306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100668" y="-67200"/>
            <a:ext cx="8808440" cy="857250"/>
          </a:xfrm>
        </p:spPr>
        <p:txBody>
          <a:bodyPr vert="horz" wrap="square" lIns="68580" tIns="34290" rIns="68580" bIns="34290" numCol="1" rtlCol="0" anchor="ctr" anchorCtr="0" compatLnSpc="1">
            <a:prstTxWarp prst="textNoShape">
              <a:avLst/>
            </a:prstTxWarp>
            <a:normAutofit/>
          </a:bodyPr>
          <a:lstStyle/>
          <a:p>
            <a:r>
              <a:rPr lang="es-ES_tradnl" sz="3000" b="1" dirty="0"/>
              <a:t>Vigilancia de Síndrome  febril agudo inespecífico (SFAI)</a:t>
            </a:r>
            <a:endParaRPr lang="es-AR" sz="3000" b="1" dirty="0"/>
          </a:p>
        </p:txBody>
      </p:sp>
      <p:graphicFrame>
        <p:nvGraphicFramePr>
          <p:cNvPr id="7" name="6 Diagrama"/>
          <p:cNvGraphicFramePr/>
          <p:nvPr>
            <p:extLst>
              <p:ext uri="{D42A27DB-BD31-4B8C-83A1-F6EECF244321}">
                <p14:modId xmlns:p14="http://schemas.microsoft.com/office/powerpoint/2010/main" val="2899042324"/>
              </p:ext>
            </p:extLst>
          </p:nvPr>
        </p:nvGraphicFramePr>
        <p:xfrm>
          <a:off x="629562" y="945654"/>
          <a:ext cx="4860540" cy="37863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7 CuadroTexto"/>
          <p:cNvSpPr txBox="1"/>
          <p:nvPr/>
        </p:nvSpPr>
        <p:spPr>
          <a:xfrm>
            <a:off x="5253988" y="1146080"/>
            <a:ext cx="3448948" cy="3462486"/>
          </a:xfrm>
          <a:prstGeom prst="rect">
            <a:avLst/>
          </a:prstGeom>
          <a:noFill/>
        </p:spPr>
        <p:txBody>
          <a:bodyPr wrap="square" rtlCol="0">
            <a:spAutoFit/>
          </a:bodyPr>
          <a:lstStyle/>
          <a:p>
            <a:pPr marL="214313" indent="-214313">
              <a:buFont typeface="Arial" pitchFamily="34" charset="0"/>
              <a:buChar char="•"/>
            </a:pPr>
            <a:r>
              <a:rPr lang="es-ES" sz="1600" dirty="0"/>
              <a:t>Vigilancia integrada de las </a:t>
            </a:r>
            <a:r>
              <a:rPr lang="es-ES" sz="1600" dirty="0" err="1"/>
              <a:t>arbovirosis</a:t>
            </a:r>
            <a:r>
              <a:rPr lang="es-ES" sz="1600" dirty="0"/>
              <a:t> : </a:t>
            </a:r>
            <a:r>
              <a:rPr lang="es-ES" sz="1600" b="1" dirty="0"/>
              <a:t>Síndrome Febril Agudo Inespecífico (SFAI).</a:t>
            </a:r>
          </a:p>
          <a:p>
            <a:pPr marL="214313" indent="-214313">
              <a:buFont typeface="Arial" pitchFamily="34" charset="0"/>
              <a:buChar char="•"/>
            </a:pPr>
            <a:endParaRPr lang="es-ES" sz="1600" dirty="0"/>
          </a:p>
          <a:p>
            <a:pPr marL="214313" indent="-214313">
              <a:buFont typeface="Arial" pitchFamily="34" charset="0"/>
              <a:buChar char="•"/>
            </a:pPr>
            <a:r>
              <a:rPr lang="es-ES" sz="1600" dirty="0"/>
              <a:t>SFAI también incluye:   </a:t>
            </a:r>
            <a:r>
              <a:rPr lang="es-ES" sz="1600" dirty="0" err="1"/>
              <a:t>hantavirosis</a:t>
            </a:r>
            <a:r>
              <a:rPr lang="es-ES" sz="1600" dirty="0"/>
              <a:t>, </a:t>
            </a:r>
            <a:r>
              <a:rPr lang="es-ES" sz="1600" dirty="0" err="1"/>
              <a:t>leptospirosis</a:t>
            </a:r>
            <a:r>
              <a:rPr lang="es-ES" sz="1600" dirty="0"/>
              <a:t> y paludismo.</a:t>
            </a:r>
          </a:p>
          <a:p>
            <a:pPr marL="214313" indent="-214313">
              <a:buFont typeface="Arial" pitchFamily="34" charset="0"/>
              <a:buChar char="•"/>
            </a:pPr>
            <a:endParaRPr lang="es-ES" sz="1600" dirty="0"/>
          </a:p>
          <a:p>
            <a:pPr marL="214313" indent="-214313">
              <a:buFont typeface="Arial" pitchFamily="34" charset="0"/>
              <a:buChar char="•"/>
            </a:pPr>
            <a:r>
              <a:rPr lang="es-ES" sz="1600" b="1" dirty="0"/>
              <a:t>Análisis por temporada</a:t>
            </a:r>
            <a:r>
              <a:rPr lang="es-ES" sz="1600" dirty="0"/>
              <a:t> (52 semanas desde el fin de la temporada anterior): temporada 2019/2020 abarcará el período desde la </a:t>
            </a:r>
            <a:r>
              <a:rPr lang="es-ES" sz="1600" b="1" dirty="0"/>
              <a:t>SE31/2019 a la SE30/2020.</a:t>
            </a:r>
          </a:p>
          <a:p>
            <a:pPr marL="214313" indent="-214313">
              <a:buFont typeface="Arial" pitchFamily="34" charset="0"/>
              <a:buChar char="•"/>
            </a:pPr>
            <a:endParaRPr lang="es-ES" sz="1350" dirty="0"/>
          </a:p>
          <a:p>
            <a:pPr marL="214313" indent="-214313">
              <a:buFont typeface="Arial" pitchFamily="34" charset="0"/>
              <a:buChar char="•"/>
            </a:pPr>
            <a:endParaRPr lang="es-AR" sz="1350" dirty="0"/>
          </a:p>
        </p:txBody>
      </p:sp>
      <p:sp>
        <p:nvSpPr>
          <p:cNvPr id="5" name="4 Rectángulo"/>
          <p:cNvSpPr/>
          <p:nvPr/>
        </p:nvSpPr>
        <p:spPr>
          <a:xfrm>
            <a:off x="1277634" y="4856117"/>
            <a:ext cx="6642738" cy="253916"/>
          </a:xfrm>
          <a:prstGeom prst="rect">
            <a:avLst/>
          </a:prstGeom>
        </p:spPr>
        <p:txBody>
          <a:bodyPr wrap="square">
            <a:spAutoFit/>
          </a:bodyPr>
          <a:lstStyle/>
          <a:p>
            <a:r>
              <a:rPr lang="es-AR" sz="1050" dirty="0">
                <a:solidFill>
                  <a:schemeClr val="tx1">
                    <a:lumMod val="50000"/>
                    <a:lumOff val="50000"/>
                  </a:schemeClr>
                </a:solidFill>
              </a:rPr>
              <a:t>SNVS 2.0</a:t>
            </a:r>
            <a:r>
              <a:rPr lang="es-AR" sz="825" dirty="0">
                <a:solidFill>
                  <a:schemeClr val="tx1">
                    <a:lumMod val="50000"/>
                    <a:lumOff val="50000"/>
                  </a:schemeClr>
                </a:solidFill>
              </a:rPr>
              <a:t>: </a:t>
            </a:r>
            <a:r>
              <a:rPr lang="es-AR" sz="825" dirty="0">
                <a:solidFill>
                  <a:schemeClr val="tx1">
                    <a:lumMod val="50000"/>
                    <a:lumOff val="50000"/>
                  </a:schemeClr>
                </a:solidFill>
                <a:hlinkClick r:id="rId8"/>
              </a:rPr>
              <a:t>https://www.argentina.gob.ar/salud/epidemiologia/fichas</a:t>
            </a:r>
            <a:endParaRPr lang="es-AR" sz="825" dirty="0">
              <a:solidFill>
                <a:schemeClr val="tx1">
                  <a:lumMod val="50000"/>
                  <a:lumOff val="50000"/>
                </a:schemeClr>
              </a:solidFill>
            </a:endParaRPr>
          </a:p>
        </p:txBody>
      </p:sp>
    </p:spTree>
    <p:extLst>
      <p:ext uri="{BB962C8B-B14F-4D97-AF65-F5344CB8AC3E}">
        <p14:creationId xmlns:p14="http://schemas.microsoft.com/office/powerpoint/2010/main" val="327503136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endParaRPr lang="es-ES"/>
          </a:p>
        </p:txBody>
      </p:sp>
      <p:sp>
        <p:nvSpPr>
          <p:cNvPr id="3" name="2 Marcador de tabla"/>
          <p:cNvSpPr>
            <a:spLocks noGrp="1"/>
          </p:cNvSpPr>
          <p:nvPr>
            <p:ph type="tbl" idx="1"/>
          </p:nvPr>
        </p:nvSpPr>
        <p:spPr/>
      </p:sp>
      <p:pic>
        <p:nvPicPr>
          <p:cNvPr id="1945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463" y="293688"/>
            <a:ext cx="9109075" cy="4554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2423870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ángulo 1"/>
          <p:cNvSpPr/>
          <p:nvPr/>
        </p:nvSpPr>
        <p:spPr>
          <a:xfrm>
            <a:off x="411061" y="340009"/>
            <a:ext cx="7810150" cy="2062103"/>
          </a:xfrm>
          <a:prstGeom prst="rect">
            <a:avLst/>
          </a:prstGeom>
        </p:spPr>
        <p:txBody>
          <a:bodyPr wrap="square">
            <a:spAutoFit/>
          </a:bodyPr>
          <a:lstStyle/>
          <a:p>
            <a:r>
              <a:rPr lang="es-ES" sz="2800" b="1" dirty="0" smtClean="0"/>
              <a:t>Contenidos</a:t>
            </a:r>
          </a:p>
          <a:p>
            <a:endParaRPr lang="es-ES" sz="2800" dirty="0"/>
          </a:p>
          <a:p>
            <a:pPr marL="457200" indent="-457200">
              <a:buFont typeface="Arial" panose="020B0604020202020204" pitchFamily="34" charset="0"/>
              <a:buChar char="•"/>
            </a:pPr>
            <a:r>
              <a:rPr lang="es-ES" sz="2400" dirty="0" smtClean="0"/>
              <a:t>Características del virus del dengue</a:t>
            </a:r>
          </a:p>
          <a:p>
            <a:pPr marL="457200" indent="-457200">
              <a:buFont typeface="Arial" panose="020B0604020202020204" pitchFamily="34" charset="0"/>
              <a:buChar char="•"/>
            </a:pPr>
            <a:r>
              <a:rPr lang="es-ES" sz="2400" dirty="0" smtClean="0"/>
              <a:t>Situación epidemiológica actual</a:t>
            </a:r>
          </a:p>
          <a:p>
            <a:pPr marL="457200" indent="-457200">
              <a:buFont typeface="Arial" panose="020B0604020202020204" pitchFamily="34" charset="0"/>
              <a:buChar char="•"/>
            </a:pPr>
            <a:r>
              <a:rPr lang="es-ES" sz="2400" dirty="0" smtClean="0"/>
              <a:t>Nueva vacuna para dengue: </a:t>
            </a:r>
            <a:r>
              <a:rPr lang="es-ES" sz="2400" dirty="0" err="1" smtClean="0"/>
              <a:t>Qdenga</a:t>
            </a:r>
            <a:endParaRPr lang="es-AR" sz="2400" dirty="0"/>
          </a:p>
        </p:txBody>
      </p:sp>
      <p:pic>
        <p:nvPicPr>
          <p:cNvPr id="26628" name="Picture 4" descr="aedes aegypti mosquito pernilongo con manchas blancas y fondo blanco - dengue fotografías e imágenes de stock"/>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93817" y="2709889"/>
            <a:ext cx="3527192" cy="22246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946849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Marcador de contenido"/>
          <p:cNvSpPr>
            <a:spLocks noGrp="1"/>
          </p:cNvSpPr>
          <p:nvPr>
            <p:ph idx="1"/>
          </p:nvPr>
        </p:nvSpPr>
        <p:spPr/>
        <p:txBody>
          <a:bodyPr/>
          <a:lstStyle/>
          <a:p>
            <a:endParaRPr lang="es-ES" dirty="0"/>
          </a:p>
        </p:txBody>
      </p:sp>
      <p:pic>
        <p:nvPicPr>
          <p:cNvPr id="1536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1863" y="304622"/>
            <a:ext cx="8896665" cy="44183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0571987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2662" y="394283"/>
            <a:ext cx="8836780" cy="43230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3857090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1763" y="409575"/>
            <a:ext cx="8878887" cy="4324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8656832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6544" y="223200"/>
            <a:ext cx="8435456" cy="45499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4399205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26503" y="0"/>
            <a:ext cx="8458200" cy="800100"/>
          </a:xfrm>
        </p:spPr>
        <p:txBody>
          <a:bodyPr/>
          <a:lstStyle/>
          <a:p>
            <a:r>
              <a:rPr lang="es-AR" sz="3200" b="1" dirty="0" smtClean="0"/>
              <a:t>Situación epidemiológica en Las Américas</a:t>
            </a:r>
            <a:endParaRPr lang="es-AR" sz="3200" b="1" dirty="0"/>
          </a:p>
        </p:txBody>
      </p:sp>
      <p:sp>
        <p:nvSpPr>
          <p:cNvPr id="4" name="Rectángulo 3"/>
          <p:cNvSpPr/>
          <p:nvPr/>
        </p:nvSpPr>
        <p:spPr>
          <a:xfrm>
            <a:off x="113251" y="4357592"/>
            <a:ext cx="9253057" cy="769441"/>
          </a:xfrm>
          <a:prstGeom prst="rect">
            <a:avLst/>
          </a:prstGeom>
        </p:spPr>
        <p:txBody>
          <a:bodyPr wrap="square">
            <a:spAutoFit/>
          </a:bodyPr>
          <a:lstStyle/>
          <a:p>
            <a:pPr fontAlgn="base"/>
            <a:r>
              <a:rPr lang="es-AR" sz="1100" b="1" dirty="0">
                <a:solidFill>
                  <a:srgbClr val="242424"/>
                </a:solidFill>
              </a:rPr>
              <a:t>Boletín Epidemiológico Nacional, </a:t>
            </a:r>
            <a:r>
              <a:rPr lang="es-AR" sz="1100" dirty="0">
                <a:solidFill>
                  <a:srgbClr val="242424"/>
                </a:solidFill>
              </a:rPr>
              <a:t>el </a:t>
            </a:r>
            <a:r>
              <a:rPr lang="es-AR" sz="1100" b="1" dirty="0">
                <a:solidFill>
                  <a:srgbClr val="242424"/>
                </a:solidFill>
              </a:rPr>
              <a:t>N°699</a:t>
            </a:r>
            <a:r>
              <a:rPr lang="es-AR" sz="1100" dirty="0">
                <a:solidFill>
                  <a:srgbClr val="242424"/>
                </a:solidFill>
              </a:rPr>
              <a:t> correspondiente a la</a:t>
            </a:r>
            <a:r>
              <a:rPr lang="es-AR" sz="1100" b="1" dirty="0">
                <a:solidFill>
                  <a:srgbClr val="242424"/>
                </a:solidFill>
              </a:rPr>
              <a:t> SE14 de 2024 </a:t>
            </a:r>
            <a:r>
              <a:rPr lang="es-AR" sz="1100" dirty="0">
                <a:solidFill>
                  <a:srgbClr val="242424"/>
                </a:solidFill>
              </a:rPr>
              <a:t>disponible en </a:t>
            </a:r>
            <a:r>
              <a:rPr lang="es-AR" sz="1100" dirty="0">
                <a:solidFill>
                  <a:srgbClr val="242424"/>
                </a:solidFill>
                <a:hlinkClick r:id="rId3" tooltip="Protegido por Outlook: https://www.argentina.gob.ar/sites/default/files/2024/04/ben-699-se14.pdf.. Haz clic o pulsa para seguir el vínculo."/>
              </a:rPr>
              <a:t>https://www.argentina.gob.ar/sites/default/files/2024/04/ben-699-se14.pdf.</a:t>
            </a:r>
            <a:endParaRPr lang="es-AR" sz="1100" dirty="0">
              <a:solidFill>
                <a:srgbClr val="242424"/>
              </a:solidFill>
            </a:endParaRPr>
          </a:p>
          <a:p>
            <a:r>
              <a:rPr lang="es-AR" sz="1100" dirty="0"/>
              <a:t/>
            </a:r>
            <a:br>
              <a:rPr lang="es-AR" sz="1100" dirty="0"/>
            </a:br>
            <a:endParaRPr lang="es-AR" sz="1100" dirty="0"/>
          </a:p>
        </p:txBody>
      </p:sp>
      <p:pic>
        <p:nvPicPr>
          <p:cNvPr id="5" name="Imagen 4"/>
          <p:cNvPicPr>
            <a:picLocks noChangeAspect="1"/>
          </p:cNvPicPr>
          <p:nvPr/>
        </p:nvPicPr>
        <p:blipFill rotWithShape="1">
          <a:blip r:embed="rId4"/>
          <a:srcRect l="12198" t="26832" r="17974" b="847"/>
          <a:stretch/>
        </p:blipFill>
        <p:spPr>
          <a:xfrm>
            <a:off x="92278" y="1889239"/>
            <a:ext cx="4219663" cy="2248250"/>
          </a:xfrm>
          <a:prstGeom prst="rect">
            <a:avLst/>
          </a:prstGeom>
        </p:spPr>
      </p:pic>
      <p:sp>
        <p:nvSpPr>
          <p:cNvPr id="6" name="Rectángulo 5"/>
          <p:cNvSpPr/>
          <p:nvPr/>
        </p:nvSpPr>
        <p:spPr>
          <a:xfrm>
            <a:off x="0" y="738485"/>
            <a:ext cx="4572000" cy="830997"/>
          </a:xfrm>
          <a:prstGeom prst="rect">
            <a:avLst/>
          </a:prstGeom>
        </p:spPr>
        <p:txBody>
          <a:bodyPr>
            <a:spAutoFit/>
          </a:bodyPr>
          <a:lstStyle/>
          <a:p>
            <a:r>
              <a:rPr lang="es-ES" sz="1600" dirty="0"/>
              <a:t>Dengue: Número total de casos sospechosos hasta la SE 11 en 2024, 2023 y promedio de los últimos 5 años. Región de las Américas</a:t>
            </a:r>
            <a:endParaRPr lang="es-AR" sz="1600" dirty="0"/>
          </a:p>
        </p:txBody>
      </p:sp>
      <p:sp>
        <p:nvSpPr>
          <p:cNvPr id="7" name="Rectángulo 6"/>
          <p:cNvSpPr/>
          <p:nvPr/>
        </p:nvSpPr>
        <p:spPr>
          <a:xfrm>
            <a:off x="4739780" y="661511"/>
            <a:ext cx="4337108" cy="1323439"/>
          </a:xfrm>
          <a:prstGeom prst="rect">
            <a:avLst/>
          </a:prstGeom>
        </p:spPr>
        <p:txBody>
          <a:bodyPr wrap="square">
            <a:spAutoFit/>
          </a:bodyPr>
          <a:lstStyle/>
          <a:p>
            <a:r>
              <a:rPr lang="es-ES" sz="1600" b="1" dirty="0"/>
              <a:t>El total de casos notificados </a:t>
            </a:r>
            <a:r>
              <a:rPr lang="es-ES" sz="1600" b="1" dirty="0" smtClean="0"/>
              <a:t>en </a:t>
            </a:r>
            <a:r>
              <a:rPr lang="es-ES" sz="1600" b="1" dirty="0"/>
              <a:t>2024 representa un incremento de 286% en comparación al mismo periodo del 2023 y 446% con respecto al promedio de los últimos 5 años en la Región de las Américas </a:t>
            </a:r>
            <a:endParaRPr lang="es-AR" sz="1600" b="1" dirty="0"/>
          </a:p>
        </p:txBody>
      </p:sp>
      <p:sp>
        <p:nvSpPr>
          <p:cNvPr id="8" name="Rectángulo 7"/>
          <p:cNvSpPr/>
          <p:nvPr/>
        </p:nvSpPr>
        <p:spPr>
          <a:xfrm>
            <a:off x="4718805" y="2239532"/>
            <a:ext cx="4282581" cy="1815882"/>
          </a:xfrm>
          <a:prstGeom prst="rect">
            <a:avLst/>
          </a:prstGeom>
        </p:spPr>
        <p:txBody>
          <a:bodyPr wrap="square">
            <a:spAutoFit/>
          </a:bodyPr>
          <a:lstStyle/>
          <a:p>
            <a:r>
              <a:rPr lang="es-ES" sz="1600" dirty="0" smtClean="0"/>
              <a:t>En 2024</a:t>
            </a:r>
            <a:r>
              <a:rPr lang="es-ES" sz="1600" dirty="0"/>
              <a:t>, hasta la SE 11, se identificó la circulación de los cuatro </a:t>
            </a:r>
            <a:r>
              <a:rPr lang="es-ES" sz="1600" dirty="0" smtClean="0"/>
              <a:t>serotipos. </a:t>
            </a:r>
          </a:p>
          <a:p>
            <a:r>
              <a:rPr lang="es-ES" sz="1600" dirty="0" smtClean="0"/>
              <a:t>Brasil</a:t>
            </a:r>
            <a:r>
              <a:rPr lang="es-ES" sz="1600" dirty="0"/>
              <a:t>, Costa Rica, Guatemala, Honduras, México y Panamá reportan circulación simultánea de los cuatro </a:t>
            </a:r>
            <a:r>
              <a:rPr lang="es-ES" sz="1600" dirty="0" smtClean="0"/>
              <a:t>serotipos. </a:t>
            </a:r>
            <a:r>
              <a:rPr lang="es-ES" sz="1600" dirty="0"/>
              <a:t>Argentina, Perú y Puerto Rico reportaron circulación simultánea de DENV-1, DENV2 y DENV-3</a:t>
            </a:r>
            <a:endParaRPr lang="es-AR" sz="1600" dirty="0"/>
          </a:p>
        </p:txBody>
      </p:sp>
    </p:spTree>
    <p:extLst>
      <p:ext uri="{BB962C8B-B14F-4D97-AF65-F5344CB8AC3E}">
        <p14:creationId xmlns:p14="http://schemas.microsoft.com/office/powerpoint/2010/main" val="396086725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n 7"/>
          <p:cNvPicPr>
            <a:picLocks noChangeAspect="1"/>
          </p:cNvPicPr>
          <p:nvPr/>
        </p:nvPicPr>
        <p:blipFill>
          <a:blip r:embed="rId3"/>
          <a:stretch>
            <a:fillRect/>
          </a:stretch>
        </p:blipFill>
        <p:spPr>
          <a:xfrm>
            <a:off x="4454554" y="1870222"/>
            <a:ext cx="4144426" cy="2569687"/>
          </a:xfrm>
          <a:prstGeom prst="rect">
            <a:avLst/>
          </a:prstGeom>
        </p:spPr>
      </p:pic>
      <p:sp>
        <p:nvSpPr>
          <p:cNvPr id="2" name="Título 1"/>
          <p:cNvSpPr>
            <a:spLocks noGrp="1"/>
          </p:cNvSpPr>
          <p:nvPr>
            <p:ph type="title"/>
          </p:nvPr>
        </p:nvSpPr>
        <p:spPr>
          <a:xfrm>
            <a:off x="339754" y="0"/>
            <a:ext cx="8229600" cy="857250"/>
          </a:xfrm>
        </p:spPr>
        <p:txBody>
          <a:bodyPr/>
          <a:lstStyle/>
          <a:p>
            <a:r>
              <a:rPr lang="es-AR" sz="3600" b="1" dirty="0"/>
              <a:t>Situación epidemiológica en </a:t>
            </a:r>
            <a:r>
              <a:rPr lang="es-AR" sz="3600" b="1" dirty="0" smtClean="0"/>
              <a:t>Argentina</a:t>
            </a:r>
            <a:endParaRPr lang="es-AR" sz="3600" dirty="0"/>
          </a:p>
        </p:txBody>
      </p:sp>
      <p:sp>
        <p:nvSpPr>
          <p:cNvPr id="4" name="Rectángulo 3"/>
          <p:cNvSpPr/>
          <p:nvPr/>
        </p:nvSpPr>
        <p:spPr>
          <a:xfrm>
            <a:off x="-2099" y="853420"/>
            <a:ext cx="4572000" cy="584775"/>
          </a:xfrm>
          <a:prstGeom prst="rect">
            <a:avLst/>
          </a:prstGeom>
        </p:spPr>
        <p:txBody>
          <a:bodyPr>
            <a:spAutoFit/>
          </a:bodyPr>
          <a:lstStyle/>
          <a:p>
            <a:r>
              <a:rPr lang="es-AR" sz="1600" dirty="0"/>
              <a:t>D</a:t>
            </a:r>
            <a:r>
              <a:rPr lang="es-AR" sz="1600" dirty="0" smtClean="0"/>
              <a:t>engue</a:t>
            </a:r>
            <a:r>
              <a:rPr lang="es-AR" sz="1600" dirty="0"/>
              <a:t>: Casos por semana epidemiológica SE31/2023 a SE14/2024. Argentina</a:t>
            </a:r>
          </a:p>
        </p:txBody>
      </p:sp>
      <p:pic>
        <p:nvPicPr>
          <p:cNvPr id="5" name="Imagen 4"/>
          <p:cNvPicPr>
            <a:picLocks noChangeAspect="1"/>
          </p:cNvPicPr>
          <p:nvPr/>
        </p:nvPicPr>
        <p:blipFill>
          <a:blip r:embed="rId4"/>
          <a:stretch>
            <a:fillRect/>
          </a:stretch>
        </p:blipFill>
        <p:spPr>
          <a:xfrm>
            <a:off x="0" y="1607933"/>
            <a:ext cx="3552738" cy="2039351"/>
          </a:xfrm>
          <a:prstGeom prst="rect">
            <a:avLst/>
          </a:prstGeom>
        </p:spPr>
      </p:pic>
      <p:sp>
        <p:nvSpPr>
          <p:cNvPr id="6" name="Rectángulo 5"/>
          <p:cNvSpPr/>
          <p:nvPr/>
        </p:nvSpPr>
        <p:spPr>
          <a:xfrm>
            <a:off x="163583" y="4633193"/>
            <a:ext cx="8812635" cy="461665"/>
          </a:xfrm>
          <a:prstGeom prst="rect">
            <a:avLst/>
          </a:prstGeom>
        </p:spPr>
        <p:txBody>
          <a:bodyPr wrap="square">
            <a:spAutoFit/>
          </a:bodyPr>
          <a:lstStyle/>
          <a:p>
            <a:pPr fontAlgn="base"/>
            <a:r>
              <a:rPr lang="es-AR" sz="1200" b="1" i="1" dirty="0">
                <a:solidFill>
                  <a:srgbClr val="242424"/>
                </a:solidFill>
              </a:rPr>
              <a:t>Boletín Epidemiológico Nacional, </a:t>
            </a:r>
            <a:r>
              <a:rPr lang="es-AR" sz="1200" i="1" dirty="0">
                <a:solidFill>
                  <a:srgbClr val="242424"/>
                </a:solidFill>
              </a:rPr>
              <a:t>el </a:t>
            </a:r>
            <a:r>
              <a:rPr lang="es-AR" sz="1200" b="1" i="1" dirty="0">
                <a:solidFill>
                  <a:srgbClr val="242424"/>
                </a:solidFill>
              </a:rPr>
              <a:t>N°699</a:t>
            </a:r>
            <a:r>
              <a:rPr lang="es-AR" sz="1200" i="1" dirty="0">
                <a:solidFill>
                  <a:srgbClr val="242424"/>
                </a:solidFill>
              </a:rPr>
              <a:t> correspondiente a la</a:t>
            </a:r>
            <a:r>
              <a:rPr lang="es-AR" sz="1200" b="1" i="1" dirty="0">
                <a:solidFill>
                  <a:srgbClr val="242424"/>
                </a:solidFill>
              </a:rPr>
              <a:t> SE14 de 2024 </a:t>
            </a:r>
            <a:r>
              <a:rPr lang="es-AR" sz="1200" i="1" dirty="0">
                <a:solidFill>
                  <a:srgbClr val="242424"/>
                </a:solidFill>
              </a:rPr>
              <a:t>disponible en </a:t>
            </a:r>
            <a:r>
              <a:rPr lang="es-AR" sz="1200" i="1" dirty="0">
                <a:solidFill>
                  <a:srgbClr val="242424"/>
                </a:solidFill>
                <a:hlinkClick r:id="rId5" tooltip="Protegido por Outlook: https://www.argentina.gob.ar/sites/default/files/2024/04/ben-699-se14.pdf.. Haz clic o pulsa para seguir el vínculo."/>
              </a:rPr>
              <a:t>https://www.argentina.gob.ar/sites/default/files/2024/04/ben-699-se14.pdf.</a:t>
            </a:r>
            <a:endParaRPr lang="es-AR" sz="1200" i="1" dirty="0">
              <a:solidFill>
                <a:srgbClr val="242424"/>
              </a:solidFill>
            </a:endParaRPr>
          </a:p>
        </p:txBody>
      </p:sp>
      <p:sp>
        <p:nvSpPr>
          <p:cNvPr id="7" name="Rectángulo 6"/>
          <p:cNvSpPr/>
          <p:nvPr/>
        </p:nvSpPr>
        <p:spPr>
          <a:xfrm>
            <a:off x="4211273" y="884313"/>
            <a:ext cx="4930628" cy="1077218"/>
          </a:xfrm>
          <a:prstGeom prst="rect">
            <a:avLst/>
          </a:prstGeom>
        </p:spPr>
        <p:txBody>
          <a:bodyPr wrap="square">
            <a:spAutoFit/>
          </a:bodyPr>
          <a:lstStyle/>
          <a:p>
            <a:r>
              <a:rPr lang="es-ES" sz="1600" dirty="0" smtClean="0"/>
              <a:t>Los casos </a:t>
            </a:r>
            <a:r>
              <a:rPr lang="es-ES" sz="1600" dirty="0"/>
              <a:t>acumulados hasta la SE14 representan 3,35 veces más que lo registrado en el mismo período de la temporada anterior -2022/2023- y 8,7 veces más que lo registrado en el mismo período de </a:t>
            </a:r>
            <a:r>
              <a:rPr lang="es-ES" sz="1600" dirty="0" smtClean="0"/>
              <a:t>2019/2020</a:t>
            </a:r>
            <a:endParaRPr lang="es-AR" sz="1600" dirty="0"/>
          </a:p>
        </p:txBody>
      </p:sp>
    </p:spTree>
    <p:extLst>
      <p:ext uri="{BB962C8B-B14F-4D97-AF65-F5344CB8AC3E}">
        <p14:creationId xmlns:p14="http://schemas.microsoft.com/office/powerpoint/2010/main" val="39122559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339754" y="0"/>
            <a:ext cx="8229600" cy="857250"/>
          </a:xfrm>
        </p:spPr>
        <p:txBody>
          <a:bodyPr/>
          <a:lstStyle/>
          <a:p>
            <a:r>
              <a:rPr lang="es-AR" sz="3600" b="1" dirty="0"/>
              <a:t>Situación epidemiológica en </a:t>
            </a:r>
            <a:r>
              <a:rPr lang="es-AR" sz="3600" b="1" dirty="0" smtClean="0"/>
              <a:t>Argentina</a:t>
            </a:r>
            <a:endParaRPr lang="es-AR" sz="3600" dirty="0"/>
          </a:p>
        </p:txBody>
      </p:sp>
      <p:sp>
        <p:nvSpPr>
          <p:cNvPr id="6" name="Rectángulo 5"/>
          <p:cNvSpPr/>
          <p:nvPr/>
        </p:nvSpPr>
        <p:spPr>
          <a:xfrm>
            <a:off x="163583" y="4633193"/>
            <a:ext cx="8812635" cy="461665"/>
          </a:xfrm>
          <a:prstGeom prst="rect">
            <a:avLst/>
          </a:prstGeom>
        </p:spPr>
        <p:txBody>
          <a:bodyPr wrap="square">
            <a:spAutoFit/>
          </a:bodyPr>
          <a:lstStyle/>
          <a:p>
            <a:pPr fontAlgn="base"/>
            <a:r>
              <a:rPr lang="es-AR" sz="1200" b="1" i="1" dirty="0">
                <a:solidFill>
                  <a:srgbClr val="242424"/>
                </a:solidFill>
              </a:rPr>
              <a:t>Boletín Epidemiológico Nacional, </a:t>
            </a:r>
            <a:r>
              <a:rPr lang="es-AR" sz="1200" i="1" dirty="0">
                <a:solidFill>
                  <a:srgbClr val="242424"/>
                </a:solidFill>
              </a:rPr>
              <a:t>el </a:t>
            </a:r>
            <a:r>
              <a:rPr lang="es-AR" sz="1200" b="1" i="1" dirty="0">
                <a:solidFill>
                  <a:srgbClr val="242424"/>
                </a:solidFill>
              </a:rPr>
              <a:t>N°699</a:t>
            </a:r>
            <a:r>
              <a:rPr lang="es-AR" sz="1200" i="1" dirty="0">
                <a:solidFill>
                  <a:srgbClr val="242424"/>
                </a:solidFill>
              </a:rPr>
              <a:t> correspondiente a la</a:t>
            </a:r>
            <a:r>
              <a:rPr lang="es-AR" sz="1200" b="1" i="1" dirty="0">
                <a:solidFill>
                  <a:srgbClr val="242424"/>
                </a:solidFill>
              </a:rPr>
              <a:t> SE14 de 2024 </a:t>
            </a:r>
            <a:r>
              <a:rPr lang="es-AR" sz="1200" i="1" dirty="0">
                <a:solidFill>
                  <a:srgbClr val="242424"/>
                </a:solidFill>
              </a:rPr>
              <a:t>disponible en </a:t>
            </a:r>
            <a:r>
              <a:rPr lang="es-AR" sz="1200" i="1" dirty="0">
                <a:solidFill>
                  <a:srgbClr val="242424"/>
                </a:solidFill>
                <a:hlinkClick r:id="rId3" tooltip="Protegido por Outlook: https://www.argentina.gob.ar/sites/default/files/2024/04/ben-699-se14.pdf.. Haz clic o pulsa para seguir el vínculo."/>
              </a:rPr>
              <a:t>https://www.argentina.gob.ar/sites/default/files/2024/04/ben-699-se14.pdf.</a:t>
            </a:r>
            <a:endParaRPr lang="es-AR" sz="1200" i="1" dirty="0">
              <a:solidFill>
                <a:srgbClr val="242424"/>
              </a:solidFill>
            </a:endParaRPr>
          </a:p>
        </p:txBody>
      </p:sp>
      <p:sp>
        <p:nvSpPr>
          <p:cNvPr id="3" name="Rectángulo 2"/>
          <p:cNvSpPr/>
          <p:nvPr/>
        </p:nvSpPr>
        <p:spPr>
          <a:xfrm>
            <a:off x="163583" y="738404"/>
            <a:ext cx="5045980" cy="584775"/>
          </a:xfrm>
          <a:prstGeom prst="rect">
            <a:avLst/>
          </a:prstGeom>
        </p:spPr>
        <p:txBody>
          <a:bodyPr wrap="square">
            <a:spAutoFit/>
          </a:bodyPr>
          <a:lstStyle/>
          <a:p>
            <a:r>
              <a:rPr lang="es-ES" sz="1600" dirty="0"/>
              <a:t>Dengue: Incidencia acumulada por departamento con casos autóctonos </a:t>
            </a:r>
            <a:r>
              <a:rPr lang="es-ES" sz="1600" dirty="0" smtClean="0"/>
              <a:t>SE </a:t>
            </a:r>
            <a:r>
              <a:rPr lang="es-ES" sz="1600" dirty="0"/>
              <a:t>31/2023 a SE 14/2024. </a:t>
            </a:r>
            <a:endParaRPr lang="es-AR" sz="1600" dirty="0"/>
          </a:p>
        </p:txBody>
      </p:sp>
      <p:pic>
        <p:nvPicPr>
          <p:cNvPr id="9" name="Imagen 8"/>
          <p:cNvPicPr>
            <a:picLocks noChangeAspect="1"/>
          </p:cNvPicPr>
          <p:nvPr/>
        </p:nvPicPr>
        <p:blipFill>
          <a:blip r:embed="rId4"/>
          <a:stretch>
            <a:fillRect/>
          </a:stretch>
        </p:blipFill>
        <p:spPr>
          <a:xfrm>
            <a:off x="271987" y="1402796"/>
            <a:ext cx="4576849" cy="3230397"/>
          </a:xfrm>
          <a:prstGeom prst="rect">
            <a:avLst/>
          </a:prstGeom>
        </p:spPr>
      </p:pic>
      <p:sp>
        <p:nvSpPr>
          <p:cNvPr id="10" name="Rectángulo 9"/>
          <p:cNvSpPr/>
          <p:nvPr/>
        </p:nvSpPr>
        <p:spPr>
          <a:xfrm>
            <a:off x="4848836" y="738404"/>
            <a:ext cx="4572000" cy="830997"/>
          </a:xfrm>
          <a:prstGeom prst="rect">
            <a:avLst/>
          </a:prstGeom>
        </p:spPr>
        <p:txBody>
          <a:bodyPr>
            <a:spAutoFit/>
          </a:bodyPr>
          <a:lstStyle/>
          <a:p>
            <a:r>
              <a:rPr lang="es-ES" sz="1600" dirty="0"/>
              <a:t>Distribución proporcional de serotipos en casos sin antecedente de </a:t>
            </a:r>
            <a:r>
              <a:rPr lang="es-ES" sz="1600" dirty="0" smtClean="0"/>
              <a:t>viaje. SE </a:t>
            </a:r>
            <a:r>
              <a:rPr lang="es-ES" sz="1600" dirty="0"/>
              <a:t>31/2023 a SE 14/2024 (n=13.716). </a:t>
            </a:r>
            <a:endParaRPr lang="es-AR" sz="1600" dirty="0"/>
          </a:p>
        </p:txBody>
      </p:sp>
      <p:pic>
        <p:nvPicPr>
          <p:cNvPr id="11" name="Imagen 10"/>
          <p:cNvPicPr>
            <a:picLocks noChangeAspect="1"/>
          </p:cNvPicPr>
          <p:nvPr/>
        </p:nvPicPr>
        <p:blipFill>
          <a:blip r:embed="rId5"/>
          <a:stretch>
            <a:fillRect/>
          </a:stretch>
        </p:blipFill>
        <p:spPr>
          <a:xfrm>
            <a:off x="4957240" y="1661734"/>
            <a:ext cx="4141769" cy="2694460"/>
          </a:xfrm>
          <a:prstGeom prst="rect">
            <a:avLst/>
          </a:prstGeom>
        </p:spPr>
      </p:pic>
    </p:spTree>
    <p:extLst>
      <p:ext uri="{BB962C8B-B14F-4D97-AF65-F5344CB8AC3E}">
        <p14:creationId xmlns:p14="http://schemas.microsoft.com/office/powerpoint/2010/main" val="407781270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339754" y="-100668"/>
            <a:ext cx="8229600" cy="857250"/>
          </a:xfrm>
        </p:spPr>
        <p:txBody>
          <a:bodyPr/>
          <a:lstStyle/>
          <a:p>
            <a:r>
              <a:rPr lang="es-AR" sz="3600" b="1" dirty="0"/>
              <a:t>Situación epidemiológica en </a:t>
            </a:r>
            <a:r>
              <a:rPr lang="es-AR" sz="3600" b="1" dirty="0" smtClean="0"/>
              <a:t>Argentina</a:t>
            </a:r>
            <a:endParaRPr lang="es-AR" sz="3600" dirty="0"/>
          </a:p>
        </p:txBody>
      </p:sp>
      <p:sp>
        <p:nvSpPr>
          <p:cNvPr id="6" name="Rectángulo 5"/>
          <p:cNvSpPr/>
          <p:nvPr/>
        </p:nvSpPr>
        <p:spPr>
          <a:xfrm>
            <a:off x="163583" y="4633193"/>
            <a:ext cx="8812635" cy="461665"/>
          </a:xfrm>
          <a:prstGeom prst="rect">
            <a:avLst/>
          </a:prstGeom>
        </p:spPr>
        <p:txBody>
          <a:bodyPr wrap="square">
            <a:spAutoFit/>
          </a:bodyPr>
          <a:lstStyle/>
          <a:p>
            <a:pPr fontAlgn="base"/>
            <a:r>
              <a:rPr lang="es-AR" sz="1200" b="1" i="1" dirty="0">
                <a:solidFill>
                  <a:srgbClr val="242424"/>
                </a:solidFill>
              </a:rPr>
              <a:t>Boletín Epidemiológico Nacional, </a:t>
            </a:r>
            <a:r>
              <a:rPr lang="es-AR" sz="1200" i="1" dirty="0">
                <a:solidFill>
                  <a:srgbClr val="242424"/>
                </a:solidFill>
              </a:rPr>
              <a:t>el </a:t>
            </a:r>
            <a:r>
              <a:rPr lang="es-AR" sz="1200" b="1" i="1" dirty="0">
                <a:solidFill>
                  <a:srgbClr val="242424"/>
                </a:solidFill>
              </a:rPr>
              <a:t>N°699</a:t>
            </a:r>
            <a:r>
              <a:rPr lang="es-AR" sz="1200" i="1" dirty="0">
                <a:solidFill>
                  <a:srgbClr val="242424"/>
                </a:solidFill>
              </a:rPr>
              <a:t> correspondiente a la</a:t>
            </a:r>
            <a:r>
              <a:rPr lang="es-AR" sz="1200" b="1" i="1" dirty="0">
                <a:solidFill>
                  <a:srgbClr val="242424"/>
                </a:solidFill>
              </a:rPr>
              <a:t> SE14 de 2024 </a:t>
            </a:r>
            <a:r>
              <a:rPr lang="es-AR" sz="1200" i="1" dirty="0">
                <a:solidFill>
                  <a:srgbClr val="242424"/>
                </a:solidFill>
              </a:rPr>
              <a:t>disponible en </a:t>
            </a:r>
            <a:r>
              <a:rPr lang="es-AR" sz="1200" i="1" dirty="0">
                <a:solidFill>
                  <a:srgbClr val="242424"/>
                </a:solidFill>
                <a:hlinkClick r:id="rId3" tooltip="Protegido por Outlook: https://www.argentina.gob.ar/sites/default/files/2024/04/ben-699-se14.pdf.. Haz clic o pulsa para seguir el vínculo."/>
              </a:rPr>
              <a:t>https://www.argentina.gob.ar/sites/default/files/2024/04/ben-699-se14.pdf.</a:t>
            </a:r>
            <a:endParaRPr lang="es-AR" sz="1200" i="1" dirty="0">
              <a:solidFill>
                <a:srgbClr val="242424"/>
              </a:solidFill>
            </a:endParaRPr>
          </a:p>
        </p:txBody>
      </p:sp>
      <p:sp>
        <p:nvSpPr>
          <p:cNvPr id="4" name="Rectángulo 3"/>
          <p:cNvSpPr/>
          <p:nvPr/>
        </p:nvSpPr>
        <p:spPr>
          <a:xfrm>
            <a:off x="163583" y="664303"/>
            <a:ext cx="8980417" cy="646331"/>
          </a:xfrm>
          <a:prstGeom prst="rect">
            <a:avLst/>
          </a:prstGeom>
        </p:spPr>
        <p:txBody>
          <a:bodyPr wrap="square">
            <a:spAutoFit/>
          </a:bodyPr>
          <a:lstStyle/>
          <a:p>
            <a:r>
              <a:rPr lang="es-ES" dirty="0"/>
              <a:t>Dengue: Casos fallecidos y mortalidad acumulada según grupo de edad. SE 31/2023 a SE 14/2024 (n=197).</a:t>
            </a:r>
            <a:endParaRPr lang="es-AR" dirty="0"/>
          </a:p>
        </p:txBody>
      </p:sp>
      <p:pic>
        <p:nvPicPr>
          <p:cNvPr id="5" name="Imagen 4"/>
          <p:cNvPicPr>
            <a:picLocks noChangeAspect="1"/>
          </p:cNvPicPr>
          <p:nvPr/>
        </p:nvPicPr>
        <p:blipFill>
          <a:blip r:embed="rId4"/>
          <a:stretch>
            <a:fillRect/>
          </a:stretch>
        </p:blipFill>
        <p:spPr>
          <a:xfrm>
            <a:off x="649511" y="1310634"/>
            <a:ext cx="7290575" cy="3218503"/>
          </a:xfrm>
          <a:prstGeom prst="rect">
            <a:avLst/>
          </a:prstGeom>
        </p:spPr>
      </p:pic>
    </p:spTree>
    <p:extLst>
      <p:ext uri="{BB962C8B-B14F-4D97-AF65-F5344CB8AC3E}">
        <p14:creationId xmlns:p14="http://schemas.microsoft.com/office/powerpoint/2010/main" val="196654855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contenido 2"/>
          <p:cNvSpPr>
            <a:spLocks noGrp="1"/>
          </p:cNvSpPr>
          <p:nvPr>
            <p:ph idx="1"/>
          </p:nvPr>
        </p:nvSpPr>
        <p:spPr>
          <a:xfrm>
            <a:off x="419100" y="755651"/>
            <a:ext cx="8280400" cy="3079749"/>
          </a:xfrm>
        </p:spPr>
        <p:txBody>
          <a:bodyPr/>
          <a:lstStyle/>
          <a:p>
            <a:pPr marL="0" lvl="0" indent="0" algn="ctr">
              <a:buNone/>
            </a:pPr>
            <a:r>
              <a:rPr lang="es-AR" sz="2400" b="1" dirty="0"/>
              <a:t>La OMS recomienda la introducción de una vacuna del dengue como parte de una estrategia global de control de la enfermedad junto con una comunicación adecuada, el control de vectores sostenido (que sigue siendo la principal herramienta de prevención), la atención clínica basada en la evidencia y una estricta vigilancia epidemiológica.</a:t>
            </a:r>
          </a:p>
          <a:p>
            <a:pPr algn="ctr"/>
            <a:endParaRPr lang="es-AR" sz="2400" b="1" dirty="0"/>
          </a:p>
        </p:txBody>
      </p:sp>
    </p:spTree>
    <p:extLst>
      <p:ext uri="{BB962C8B-B14F-4D97-AF65-F5344CB8AC3E}">
        <p14:creationId xmlns:p14="http://schemas.microsoft.com/office/powerpoint/2010/main" val="188944146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5 Marcador de número de diapositiva"/>
          <p:cNvSpPr>
            <a:spLocks noGrp="1"/>
          </p:cNvSpPr>
          <p:nvPr>
            <p:ph type="sldNum" sz="quarter" idx="11"/>
          </p:nvPr>
        </p:nvSpPr>
        <p:spPr/>
        <p:txBody>
          <a:bodyPr/>
          <a:lstStyle/>
          <a:p>
            <a:fld id="{5C4CF0B5-B704-4C90-974F-1A5933F81E89}" type="slidenum">
              <a:rPr lang="en-US"/>
              <a:pPr/>
              <a:t>29</a:t>
            </a:fld>
            <a:endParaRPr lang="en-US" dirty="0"/>
          </a:p>
        </p:txBody>
      </p:sp>
      <p:sp>
        <p:nvSpPr>
          <p:cNvPr id="14" name="Rectangle 2"/>
          <p:cNvSpPr txBox="1">
            <a:spLocks noChangeArrowheads="1"/>
          </p:cNvSpPr>
          <p:nvPr/>
        </p:nvSpPr>
        <p:spPr bwMode="auto">
          <a:xfrm>
            <a:off x="311" y="-31658"/>
            <a:ext cx="9143725" cy="514350"/>
          </a:xfrm>
          <a:prstGeom prst="rect">
            <a:avLst/>
          </a:prstGeom>
          <a:noFill/>
          <a:ln w="9525">
            <a:noFill/>
            <a:miter lim="800000"/>
            <a:headEnd/>
            <a:tailEnd/>
          </a:ln>
        </p:spPr>
        <p:txBody>
          <a:bodyPr vert="horz" wrap="square" lIns="89293" tIns="44643" rIns="89293" bIns="44643" numCol="1" anchor="t" anchorCtr="0" compatLnSpc="1">
            <a:prstTxWarp prst="textNoShape">
              <a:avLst/>
            </a:prstTxWarp>
          </a:bodyPr>
          <a:lstStyle>
            <a:lvl1pPr marL="342900" indent="-342900" algn="l" rtl="0" fontAlgn="base">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fontAlgn="base">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fontAlgn="base">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fontAlgn="base">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fontAlgn="base">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725432" lvl="1" indent="-278999" algn="ctr" defTabSz="892844">
              <a:buFont typeface="Arial" charset="0"/>
              <a:buNone/>
              <a:defRPr/>
            </a:pPr>
            <a:r>
              <a:rPr lang="es-ES_tradnl" sz="3200" dirty="0">
                <a:solidFill>
                  <a:sysClr val="windowText" lastClr="000000"/>
                </a:solidFill>
              </a:rPr>
              <a:t>Estrategia de gestión integrada: componentes</a:t>
            </a:r>
          </a:p>
        </p:txBody>
      </p:sp>
      <p:sp>
        <p:nvSpPr>
          <p:cNvPr id="2" name="CaixaDeTexto 1">
            <a:extLst>
              <a:ext uri="{FF2B5EF4-FFF2-40B4-BE49-F238E27FC236}">
                <a16:creationId xmlns:a16="http://schemas.microsoft.com/office/drawing/2014/main" xmlns="" id="{1D2BF8DB-19B7-491B-81E5-CFCBCD6DA7BA}"/>
              </a:ext>
            </a:extLst>
          </p:cNvPr>
          <p:cNvSpPr txBox="1"/>
          <p:nvPr/>
        </p:nvSpPr>
        <p:spPr>
          <a:xfrm>
            <a:off x="713431" y="4730266"/>
            <a:ext cx="8239648" cy="400110"/>
          </a:xfrm>
          <a:prstGeom prst="rect">
            <a:avLst/>
          </a:prstGeom>
          <a:noFill/>
        </p:spPr>
        <p:txBody>
          <a:bodyPr wrap="square" lIns="91318" tIns="45659" rIns="91318" bIns="45659" rtlCol="0">
            <a:spAutoFit/>
          </a:bodyPr>
          <a:lstStyle/>
          <a:p>
            <a:pPr defTabSz="912690"/>
            <a:r>
              <a:rPr lang="es-ES" sz="1000" dirty="0">
                <a:solidFill>
                  <a:prstClr val="black"/>
                </a:solidFill>
              </a:rPr>
              <a:t> Organización Panamericana de la Salud (OPS). Estrategia de Gestión Integrada para la prevención y control del dengue en la Región de las Américas. Washington, D.C.: OPS; 2017. </a:t>
            </a:r>
            <a:r>
              <a:rPr lang="es-419" sz="1000" dirty="0">
                <a:solidFill>
                  <a:prstClr val="black"/>
                </a:solidFill>
              </a:rPr>
              <a:t>Accesible en https://iris.paho.org/bitstream/handle/10665.2/34859/OPSCHA17039_spa.pdf?sequence=8&amp;isAllowed=y</a:t>
            </a:r>
          </a:p>
        </p:txBody>
      </p:sp>
      <p:pic>
        <p:nvPicPr>
          <p:cNvPr id="4" name="Imagem 3">
            <a:extLst>
              <a:ext uri="{FF2B5EF4-FFF2-40B4-BE49-F238E27FC236}">
                <a16:creationId xmlns:a16="http://schemas.microsoft.com/office/drawing/2014/main" xmlns="" id="{FB01FAE1-5116-41D8-9EE3-7F4DC56FB483}"/>
              </a:ext>
            </a:extLst>
          </p:cNvPr>
          <p:cNvPicPr>
            <a:picLocks noChangeAspect="1"/>
          </p:cNvPicPr>
          <p:nvPr/>
        </p:nvPicPr>
        <p:blipFill>
          <a:blip r:embed="rId2"/>
          <a:stretch>
            <a:fillRect/>
          </a:stretch>
        </p:blipFill>
        <p:spPr>
          <a:xfrm>
            <a:off x="1493743" y="869567"/>
            <a:ext cx="5759545" cy="3473823"/>
          </a:xfrm>
          <a:prstGeom prst="rect">
            <a:avLst/>
          </a:prstGeom>
        </p:spPr>
      </p:pic>
    </p:spTree>
    <p:extLst>
      <p:ext uri="{BB962C8B-B14F-4D97-AF65-F5344CB8AC3E}">
        <p14:creationId xmlns:p14="http://schemas.microsoft.com/office/powerpoint/2010/main" val="219895624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1600834" y="0"/>
            <a:ext cx="8229600" cy="857250"/>
          </a:xfrm>
        </p:spPr>
        <p:txBody>
          <a:bodyPr>
            <a:normAutofit/>
          </a:bodyPr>
          <a:lstStyle/>
          <a:p>
            <a:r>
              <a:rPr lang="es-ES_tradnl" sz="3200" b="1" dirty="0" smtClean="0"/>
              <a:t>Características del virus</a:t>
            </a:r>
            <a:endParaRPr lang="es-AR" sz="3200" b="1" dirty="0"/>
          </a:p>
        </p:txBody>
      </p:sp>
      <p:graphicFrame>
        <p:nvGraphicFramePr>
          <p:cNvPr id="7" name="6 Diagrama"/>
          <p:cNvGraphicFramePr/>
          <p:nvPr>
            <p:extLst>
              <p:ext uri="{D42A27DB-BD31-4B8C-83A1-F6EECF244321}">
                <p14:modId xmlns:p14="http://schemas.microsoft.com/office/powerpoint/2010/main" val="4186982776"/>
              </p:ext>
            </p:extLst>
          </p:nvPr>
        </p:nvGraphicFramePr>
        <p:xfrm>
          <a:off x="323528" y="1031846"/>
          <a:ext cx="6228274" cy="37541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026"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628766" y="248186"/>
            <a:ext cx="2400300" cy="142875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ángulo 2"/>
          <p:cNvSpPr/>
          <p:nvPr/>
        </p:nvSpPr>
        <p:spPr>
          <a:xfrm>
            <a:off x="398476" y="4752617"/>
            <a:ext cx="8745523" cy="276999"/>
          </a:xfrm>
          <a:prstGeom prst="rect">
            <a:avLst/>
          </a:prstGeom>
        </p:spPr>
        <p:txBody>
          <a:bodyPr wrap="square">
            <a:spAutoFit/>
          </a:bodyPr>
          <a:lstStyle/>
          <a:p>
            <a:r>
              <a:rPr lang="en-GB" sz="1200" dirty="0"/>
              <a:t>OMS 2020. Dengue y dengue grave. </a:t>
            </a:r>
            <a:r>
              <a:rPr lang="en-GB" sz="1200" dirty="0" err="1"/>
              <a:t>Disponible</a:t>
            </a:r>
            <a:r>
              <a:rPr lang="en-GB" sz="1200" dirty="0"/>
              <a:t> en </a:t>
            </a:r>
            <a:r>
              <a:rPr lang="en-GB" sz="1200" dirty="0">
                <a:hlinkClick r:id="rId9"/>
              </a:rPr>
              <a:t>https://www.who.int/es/news-room/fact-sheets/detail/dengue-and-severe-dengue</a:t>
            </a:r>
            <a:endParaRPr lang="en-GB" sz="1200" dirty="0"/>
          </a:p>
        </p:txBody>
      </p:sp>
    </p:spTree>
    <p:extLst>
      <p:ext uri="{BB962C8B-B14F-4D97-AF65-F5344CB8AC3E}">
        <p14:creationId xmlns:p14="http://schemas.microsoft.com/office/powerpoint/2010/main" val="326003168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0" y="160712"/>
            <a:ext cx="8229600" cy="857250"/>
          </a:xfrm>
        </p:spPr>
        <p:txBody>
          <a:bodyPr>
            <a:normAutofit/>
          </a:bodyPr>
          <a:lstStyle/>
          <a:p>
            <a:r>
              <a:rPr lang="es-ES_tradnl" sz="3600" dirty="0" smtClean="0"/>
              <a:t>Vacuna para dengue TAK003 (</a:t>
            </a:r>
            <a:r>
              <a:rPr lang="es-ES_tradnl" sz="3600" dirty="0" err="1" smtClean="0"/>
              <a:t>Qdenga</a:t>
            </a:r>
            <a:r>
              <a:rPr lang="es-ES_tradnl" sz="3600" dirty="0" smtClean="0"/>
              <a:t>)</a:t>
            </a:r>
            <a:endParaRPr lang="es-AR" sz="3600" dirty="0"/>
          </a:p>
        </p:txBody>
      </p:sp>
      <p:graphicFrame>
        <p:nvGraphicFramePr>
          <p:cNvPr id="7" name="6 Diagrama"/>
          <p:cNvGraphicFramePr/>
          <p:nvPr>
            <p:extLst>
              <p:ext uri="{D42A27DB-BD31-4B8C-83A1-F6EECF244321}">
                <p14:modId xmlns:p14="http://schemas.microsoft.com/office/powerpoint/2010/main" val="2013858119"/>
              </p:ext>
            </p:extLst>
          </p:nvPr>
        </p:nvGraphicFramePr>
        <p:xfrm>
          <a:off x="323530" y="1329612"/>
          <a:ext cx="5904656" cy="345638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026"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579198" y="2841429"/>
            <a:ext cx="2400300" cy="142875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2163404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489"/>
        <p:cNvGrpSpPr/>
        <p:nvPr/>
      </p:nvGrpSpPr>
      <p:grpSpPr>
        <a:xfrm>
          <a:off x="0" y="0"/>
          <a:ext cx="0" cy="0"/>
          <a:chOff x="0" y="0"/>
          <a:chExt cx="0" cy="0"/>
        </a:xfrm>
      </p:grpSpPr>
      <p:sp>
        <p:nvSpPr>
          <p:cNvPr id="491" name="Google Shape;491;p16"/>
          <p:cNvSpPr txBox="1"/>
          <p:nvPr/>
        </p:nvSpPr>
        <p:spPr>
          <a:xfrm>
            <a:off x="740569" y="789384"/>
            <a:ext cx="2249090" cy="311598"/>
          </a:xfrm>
          <a:prstGeom prst="rect">
            <a:avLst/>
          </a:prstGeom>
          <a:noFill/>
          <a:ln>
            <a:noFill/>
          </a:ln>
        </p:spPr>
        <p:txBody>
          <a:bodyPr spcFirstLastPara="1" wrap="square" lIns="68561" tIns="68561" rIns="68561" bIns="68561" anchor="t" anchorCtr="0">
            <a:spAutoFit/>
          </a:bodyPr>
          <a:lstStyle/>
          <a:p>
            <a:pPr defTabSz="912690">
              <a:buClr>
                <a:srgbClr val="000000"/>
              </a:buClr>
              <a:buSzPts val="1400"/>
            </a:pPr>
            <a:endParaRPr sz="1100">
              <a:solidFill>
                <a:srgbClr val="000000"/>
              </a:solidFill>
              <a:latin typeface="Arial"/>
              <a:ea typeface="Arial"/>
              <a:cs typeface="Arial"/>
              <a:sym typeface="Arial"/>
            </a:endParaRPr>
          </a:p>
        </p:txBody>
      </p:sp>
      <p:sp>
        <p:nvSpPr>
          <p:cNvPr id="492" name="Google Shape;492;p16"/>
          <p:cNvSpPr txBox="1"/>
          <p:nvPr/>
        </p:nvSpPr>
        <p:spPr>
          <a:xfrm>
            <a:off x="716757" y="1133475"/>
            <a:ext cx="5118497" cy="415528"/>
          </a:xfrm>
          <a:prstGeom prst="rect">
            <a:avLst/>
          </a:prstGeom>
          <a:noFill/>
          <a:ln>
            <a:noFill/>
          </a:ln>
        </p:spPr>
        <p:txBody>
          <a:bodyPr spcFirstLastPara="1" wrap="square" lIns="68561" tIns="68561" rIns="68561" bIns="68561" anchor="t" anchorCtr="0">
            <a:spAutoFit/>
          </a:bodyPr>
          <a:lstStyle/>
          <a:p>
            <a:pPr defTabSz="912690">
              <a:buClr>
                <a:srgbClr val="000000"/>
              </a:buClr>
              <a:buSzPts val="2400"/>
            </a:pPr>
            <a:r>
              <a:rPr lang="en-US" b="1" dirty="0" err="1">
                <a:solidFill>
                  <a:srgbClr val="000000"/>
                </a:solidFill>
                <a:ea typeface="Calibri"/>
                <a:cs typeface="Calibri"/>
                <a:sym typeface="Calibri"/>
              </a:rPr>
              <a:t>Evaluación</a:t>
            </a:r>
            <a:r>
              <a:rPr lang="en-US" b="1" dirty="0">
                <a:solidFill>
                  <a:srgbClr val="000000"/>
                </a:solidFill>
                <a:ea typeface="Calibri"/>
                <a:cs typeface="Calibri"/>
                <a:sym typeface="Calibri"/>
              </a:rPr>
              <a:t> </a:t>
            </a:r>
            <a:r>
              <a:rPr lang="en-US" b="1" dirty="0" err="1">
                <a:solidFill>
                  <a:srgbClr val="000000"/>
                </a:solidFill>
                <a:ea typeface="Calibri"/>
                <a:cs typeface="Calibri"/>
                <a:sym typeface="Calibri"/>
              </a:rPr>
              <a:t>por</a:t>
            </a:r>
            <a:r>
              <a:rPr lang="en-US" b="1" dirty="0">
                <a:solidFill>
                  <a:srgbClr val="000000"/>
                </a:solidFill>
                <a:ea typeface="Calibri"/>
                <a:cs typeface="Calibri"/>
                <a:sym typeface="Calibri"/>
              </a:rPr>
              <a:t> </a:t>
            </a:r>
            <a:r>
              <a:rPr lang="en-US" b="1" dirty="0" err="1">
                <a:solidFill>
                  <a:srgbClr val="000000"/>
                </a:solidFill>
                <a:ea typeface="Calibri"/>
                <a:cs typeface="Calibri"/>
                <a:sym typeface="Calibri"/>
              </a:rPr>
              <a:t>entidades</a:t>
            </a:r>
            <a:r>
              <a:rPr lang="en-US" b="1" dirty="0">
                <a:solidFill>
                  <a:srgbClr val="000000"/>
                </a:solidFill>
                <a:ea typeface="Calibri"/>
                <a:cs typeface="Calibri"/>
                <a:sym typeface="Calibri"/>
              </a:rPr>
              <a:t> </a:t>
            </a:r>
            <a:r>
              <a:rPr lang="en-US" b="1" dirty="0" err="1">
                <a:solidFill>
                  <a:srgbClr val="000000"/>
                </a:solidFill>
                <a:ea typeface="Calibri"/>
                <a:cs typeface="Calibri"/>
                <a:sym typeface="Calibri"/>
              </a:rPr>
              <a:t>regulatorias</a:t>
            </a:r>
            <a:endParaRPr sz="1100" dirty="0">
              <a:solidFill>
                <a:srgbClr val="000000"/>
              </a:solidFill>
              <a:latin typeface="Arial"/>
              <a:ea typeface="Arial"/>
              <a:cs typeface="Arial"/>
              <a:sym typeface="Arial"/>
            </a:endParaRPr>
          </a:p>
        </p:txBody>
      </p:sp>
      <p:sp>
        <p:nvSpPr>
          <p:cNvPr id="494" name="Google Shape;494;p16"/>
          <p:cNvSpPr txBox="1"/>
          <p:nvPr/>
        </p:nvSpPr>
        <p:spPr>
          <a:xfrm>
            <a:off x="261955" y="4325283"/>
            <a:ext cx="6171009" cy="623222"/>
          </a:xfrm>
          <a:prstGeom prst="rect">
            <a:avLst/>
          </a:prstGeom>
          <a:noFill/>
          <a:ln>
            <a:noFill/>
          </a:ln>
        </p:spPr>
        <p:txBody>
          <a:bodyPr spcFirstLastPara="1" wrap="square" lIns="68561" tIns="68561" rIns="68561" bIns="68561" anchor="t" anchorCtr="0">
            <a:spAutoFit/>
          </a:bodyPr>
          <a:lstStyle/>
          <a:p>
            <a:pPr defTabSz="912690">
              <a:buClr>
                <a:srgbClr val="000000"/>
              </a:buClr>
              <a:buSzPts val="700"/>
            </a:pPr>
            <a:r>
              <a:rPr lang="en-US" sz="500" dirty="0">
                <a:solidFill>
                  <a:srgbClr val="000000"/>
                </a:solidFill>
                <a:ea typeface="Calibri"/>
                <a:cs typeface="Calibri"/>
                <a:sym typeface="Calibri"/>
              </a:rPr>
              <a:t>FUENTE: 1)</a:t>
            </a:r>
            <a:r>
              <a:rPr lang="en-US" sz="500" u="sng" dirty="0">
                <a:solidFill>
                  <a:srgbClr val="0000FF"/>
                </a:solidFill>
                <a:latin typeface="Arial"/>
                <a:ea typeface="Arial"/>
                <a:cs typeface="Arial"/>
                <a:sym typeface="Arial"/>
                <a:hlinkClick r:id="rId3"/>
              </a:rPr>
              <a:t>https://www.gob.mx/cofepris/es/articulos/el-cmn-informa-los-resultados-de-votacion-para-la-opinion-de-las-vacunas-contra-el-dengue-dengvaxia-y-qdenga?idiom=es</a:t>
            </a:r>
            <a:r>
              <a:rPr lang="en-US" sz="500" dirty="0">
                <a:solidFill>
                  <a:srgbClr val="000000"/>
                </a:solidFill>
                <a:ea typeface="Calibri"/>
                <a:cs typeface="Calibri"/>
                <a:sym typeface="Calibri"/>
              </a:rPr>
              <a:t> 2)</a:t>
            </a:r>
            <a:r>
              <a:rPr lang="en-US" sz="500" u="sng" dirty="0">
                <a:solidFill>
                  <a:srgbClr val="0000FF"/>
                </a:solidFill>
                <a:latin typeface="Arial"/>
                <a:ea typeface="Arial"/>
                <a:cs typeface="Arial"/>
                <a:sym typeface="Arial"/>
                <a:hlinkClick r:id="rId4"/>
              </a:rPr>
              <a:t>https://www.takeda.com/newsroom/newsreleases/2022/takedas-qdenga-dengue-tetravalent-vaccine-live-attenuated-approved-in-indonesia-for-use-regardless-of-prior-dengue-exposure/</a:t>
            </a:r>
            <a:r>
              <a:rPr lang="en-US" sz="500" dirty="0">
                <a:solidFill>
                  <a:srgbClr val="000000"/>
                </a:solidFill>
                <a:ea typeface="Calibri"/>
                <a:cs typeface="Calibri"/>
                <a:sym typeface="Calibri"/>
              </a:rPr>
              <a:t> 3)</a:t>
            </a:r>
            <a:r>
              <a:rPr lang="en-US" sz="500" u="sng" dirty="0">
                <a:solidFill>
                  <a:srgbClr val="1155CC"/>
                </a:solidFill>
                <a:latin typeface="Arial"/>
                <a:ea typeface="Arial"/>
                <a:cs typeface="Arial"/>
                <a:sym typeface="Arial"/>
                <a:hlinkClick r:id="rId5">
                  <a:extLst>
                    <a:ext uri="{A12FA001-AC4F-418D-AE19-62706E023703}">
                      <ahyp:hlinkClr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val="tx"/>
                    </a:ext>
                  </a:extLst>
                </a:hlinkClick>
              </a:rPr>
              <a:t>https://www.ema.europa.eu/en/medicines/human/EPAR/qdenga</a:t>
            </a:r>
            <a:r>
              <a:rPr lang="en-US" sz="500" dirty="0">
                <a:solidFill>
                  <a:srgbClr val="000000"/>
                </a:solidFill>
                <a:ea typeface="Calibri"/>
                <a:cs typeface="Calibri"/>
                <a:sym typeface="Calibri"/>
              </a:rPr>
              <a:t> 4)</a:t>
            </a:r>
            <a:r>
              <a:rPr lang="en-US" sz="500" u="sng" dirty="0">
                <a:solidFill>
                  <a:srgbClr val="0000FF"/>
                </a:solidFill>
                <a:latin typeface="Arial"/>
                <a:ea typeface="Arial"/>
                <a:cs typeface="Arial"/>
                <a:sym typeface="Arial"/>
                <a:hlinkClick r:id="rId6"/>
              </a:rPr>
              <a:t>https://mhraproducts4853.blob.core.windows.net/docs/5295b9c11a012400b1cc24780c69ecd3fd918bc4</a:t>
            </a:r>
            <a:r>
              <a:rPr lang="en-US" sz="500" dirty="0">
                <a:solidFill>
                  <a:srgbClr val="000000"/>
                </a:solidFill>
                <a:ea typeface="Calibri"/>
                <a:cs typeface="Calibri"/>
                <a:sym typeface="Calibri"/>
              </a:rPr>
              <a:t> 5)</a:t>
            </a:r>
            <a:r>
              <a:rPr lang="en-US" sz="500" u="sng" dirty="0">
                <a:solidFill>
                  <a:srgbClr val="0000FF"/>
                </a:solidFill>
                <a:latin typeface="Arial"/>
                <a:ea typeface="Arial"/>
                <a:cs typeface="Arial"/>
                <a:sym typeface="Arial"/>
                <a:hlinkClick r:id="rId7"/>
              </a:rPr>
              <a:t>https://www.gov.br/anvisa/pt-br/assuntos/noticias-anvisa/2023/anvisa-aprova-nova-vacina-para-a-dengue</a:t>
            </a:r>
            <a:r>
              <a:rPr lang="en-US" sz="500" dirty="0">
                <a:solidFill>
                  <a:srgbClr val="000000"/>
                </a:solidFill>
                <a:ea typeface="Calibri"/>
                <a:cs typeface="Calibri"/>
                <a:sym typeface="Calibri"/>
              </a:rPr>
              <a:t> 6)</a:t>
            </a:r>
            <a:r>
              <a:rPr lang="en-US" sz="500" u="sng" dirty="0">
                <a:solidFill>
                  <a:srgbClr val="0000FF"/>
                </a:solidFill>
                <a:latin typeface="Arial"/>
                <a:ea typeface="Arial"/>
                <a:cs typeface="Arial"/>
                <a:sym typeface="Arial"/>
                <a:hlinkClick r:id="rId8"/>
              </a:rPr>
              <a:t>https://www.argentina.gob.ar/noticias/la-anmat-aprobo-el-uso-de-la-vacuna-del-laboratorio-takeda-contra-el-dengue</a:t>
            </a:r>
            <a:r>
              <a:rPr lang="en-US" sz="500" dirty="0">
                <a:solidFill>
                  <a:srgbClr val="000000"/>
                </a:solidFill>
                <a:ea typeface="Calibri"/>
                <a:cs typeface="Calibri"/>
                <a:sym typeface="Calibri"/>
              </a:rPr>
              <a:t> 7)</a:t>
            </a:r>
            <a:r>
              <a:rPr lang="en-US" sz="500" u="sng" dirty="0">
                <a:solidFill>
                  <a:srgbClr val="0000FF"/>
                </a:solidFill>
                <a:latin typeface="Arial"/>
                <a:ea typeface="Arial"/>
                <a:cs typeface="Arial"/>
                <a:sym typeface="Arial"/>
                <a:hlinkClick r:id="rId9"/>
              </a:rPr>
              <a:t>https://pertento.fda.moph.go.th/FDA_SEARCH_DRUG/SEARCH_DRUG/pop-up_drug_ex.aspx?Newcode=U1DR2C1072660000411C</a:t>
            </a:r>
            <a:r>
              <a:rPr lang="en-US" sz="500" dirty="0">
                <a:solidFill>
                  <a:srgbClr val="000000"/>
                </a:solidFill>
                <a:ea typeface="Calibri"/>
                <a:cs typeface="Calibri"/>
                <a:sym typeface="Calibri"/>
              </a:rPr>
              <a:t> 8)</a:t>
            </a:r>
            <a:r>
              <a:rPr lang="en-US" sz="500" u="sng" dirty="0">
                <a:solidFill>
                  <a:srgbClr val="0000FF"/>
                </a:solidFill>
                <a:latin typeface="Arial"/>
                <a:ea typeface="Arial"/>
                <a:cs typeface="Arial"/>
                <a:sym typeface="Arial"/>
                <a:hlinkClick r:id="rId10"/>
              </a:rPr>
              <a:t>https://www.takeda.com/newsroom/statements/2023/takeda-announces-voluntary-withdrawal-of-US-biologics-license-application-for-dengue-vaccine-candidate-TAK-003/</a:t>
            </a:r>
            <a:r>
              <a:rPr lang="en-US" sz="500" dirty="0">
                <a:solidFill>
                  <a:srgbClr val="000000"/>
                </a:solidFill>
                <a:ea typeface="Calibri"/>
                <a:cs typeface="Calibri"/>
                <a:sym typeface="Calibri"/>
              </a:rPr>
              <a:t> </a:t>
            </a:r>
            <a:endParaRPr sz="1100" dirty="0">
              <a:solidFill>
                <a:srgbClr val="000000"/>
              </a:solidFill>
              <a:latin typeface="Arial"/>
              <a:ea typeface="Arial"/>
              <a:cs typeface="Arial"/>
              <a:sym typeface="Arial"/>
            </a:endParaRPr>
          </a:p>
        </p:txBody>
      </p:sp>
      <p:grpSp>
        <p:nvGrpSpPr>
          <p:cNvPr id="495" name="Google Shape;495;p16"/>
          <p:cNvGrpSpPr/>
          <p:nvPr/>
        </p:nvGrpSpPr>
        <p:grpSpPr>
          <a:xfrm>
            <a:off x="4175526" y="1684735"/>
            <a:ext cx="2062163" cy="1160858"/>
            <a:chOff x="4709796" y="2272750"/>
            <a:chExt cx="2609615" cy="1160299"/>
          </a:xfrm>
        </p:grpSpPr>
        <p:sp>
          <p:nvSpPr>
            <p:cNvPr id="496" name="Google Shape;496;p16"/>
            <p:cNvSpPr txBox="1"/>
            <p:nvPr/>
          </p:nvSpPr>
          <p:spPr>
            <a:xfrm>
              <a:off x="5258642" y="3079480"/>
              <a:ext cx="1200600" cy="133500"/>
            </a:xfrm>
            <a:prstGeom prst="rect">
              <a:avLst/>
            </a:prstGeom>
            <a:solidFill>
              <a:srgbClr val="0E9453"/>
            </a:solidFill>
            <a:ln>
              <a:noFill/>
            </a:ln>
          </p:spPr>
          <p:txBody>
            <a:bodyPr spcFirstLastPara="1" wrap="square" lIns="121900" tIns="121900" rIns="121900" bIns="121900" anchor="ctr" anchorCtr="0">
              <a:noAutofit/>
            </a:bodyPr>
            <a:lstStyle/>
            <a:p>
              <a:pPr defTabSz="912690">
                <a:buClr>
                  <a:srgbClr val="000000"/>
                </a:buClr>
                <a:buSzPts val="1400"/>
              </a:pPr>
              <a:endParaRPr sz="1100">
                <a:solidFill>
                  <a:srgbClr val="000000"/>
                </a:solidFill>
                <a:latin typeface="Arial"/>
                <a:ea typeface="Arial"/>
                <a:cs typeface="Arial"/>
                <a:sym typeface="Arial"/>
              </a:endParaRPr>
            </a:p>
          </p:txBody>
        </p:sp>
        <p:grpSp>
          <p:nvGrpSpPr>
            <p:cNvPr id="497" name="Google Shape;497;p16"/>
            <p:cNvGrpSpPr/>
            <p:nvPr/>
          </p:nvGrpSpPr>
          <p:grpSpPr>
            <a:xfrm>
              <a:off x="4709796" y="2272750"/>
              <a:ext cx="2609615" cy="1160299"/>
              <a:chOff x="4709796" y="2272750"/>
              <a:chExt cx="2609615" cy="1160299"/>
            </a:xfrm>
          </p:grpSpPr>
          <p:grpSp>
            <p:nvGrpSpPr>
              <p:cNvPr id="498" name="Google Shape;498;p16"/>
              <p:cNvGrpSpPr/>
              <p:nvPr/>
            </p:nvGrpSpPr>
            <p:grpSpPr>
              <a:xfrm>
                <a:off x="5208376" y="2800065"/>
                <a:ext cx="92400" cy="411825"/>
                <a:chOff x="1245635" y="2563700"/>
                <a:chExt cx="92400" cy="411825"/>
              </a:xfrm>
            </p:grpSpPr>
            <p:cxnSp>
              <p:nvCxnSpPr>
                <p:cNvPr id="499" name="Google Shape;499;p16"/>
                <p:cNvCxnSpPr/>
                <p:nvPr/>
              </p:nvCxnSpPr>
              <p:spPr>
                <a:xfrm>
                  <a:off x="1291835" y="2616125"/>
                  <a:ext cx="0" cy="359400"/>
                </a:xfrm>
                <a:prstGeom prst="straightConnector1">
                  <a:avLst/>
                </a:prstGeom>
                <a:noFill/>
                <a:ln w="9525" cap="flat" cmpd="sng">
                  <a:solidFill>
                    <a:srgbClr val="000000"/>
                  </a:solidFill>
                  <a:prstDash val="solid"/>
                  <a:miter lim="800000"/>
                  <a:headEnd type="none" w="sm" len="sm"/>
                  <a:tailEnd type="none" w="sm" len="sm"/>
                </a:ln>
              </p:spPr>
            </p:cxnSp>
            <p:sp>
              <p:nvSpPr>
                <p:cNvPr id="500" name="Google Shape;500;p16"/>
                <p:cNvSpPr/>
                <p:nvPr/>
              </p:nvSpPr>
              <p:spPr>
                <a:xfrm>
                  <a:off x="1245635" y="2563700"/>
                  <a:ext cx="92400" cy="92400"/>
                </a:xfrm>
                <a:prstGeom prst="ellipse">
                  <a:avLst/>
                </a:prstGeom>
                <a:solidFill>
                  <a:srgbClr val="000000"/>
                </a:solidFill>
                <a:ln>
                  <a:noFill/>
                </a:ln>
              </p:spPr>
              <p:txBody>
                <a:bodyPr spcFirstLastPara="1" wrap="square" lIns="121900" tIns="121900" rIns="121900" bIns="121900" anchor="ctr" anchorCtr="0">
                  <a:noAutofit/>
                </a:bodyPr>
                <a:lstStyle/>
                <a:p>
                  <a:pPr defTabSz="912690">
                    <a:buClr>
                      <a:srgbClr val="000000"/>
                    </a:buClr>
                    <a:buSzPts val="1400"/>
                  </a:pPr>
                  <a:endParaRPr sz="1100">
                    <a:solidFill>
                      <a:srgbClr val="000000"/>
                    </a:solidFill>
                    <a:latin typeface="Arial"/>
                    <a:ea typeface="Arial"/>
                    <a:cs typeface="Arial"/>
                    <a:sym typeface="Arial"/>
                  </a:endParaRPr>
                </a:p>
              </p:txBody>
            </p:sp>
          </p:grpSp>
          <p:sp>
            <p:nvSpPr>
              <p:cNvPr id="501" name="Google Shape;501;p16"/>
              <p:cNvSpPr txBox="1"/>
              <p:nvPr/>
            </p:nvSpPr>
            <p:spPr>
              <a:xfrm>
                <a:off x="4709796" y="3215249"/>
                <a:ext cx="1200600" cy="217800"/>
              </a:xfrm>
              <a:prstGeom prst="rect">
                <a:avLst/>
              </a:prstGeom>
              <a:noFill/>
              <a:ln>
                <a:noFill/>
              </a:ln>
            </p:spPr>
            <p:txBody>
              <a:bodyPr spcFirstLastPara="1" wrap="square" lIns="121900" tIns="121900" rIns="121900" bIns="121900" anchor="t" anchorCtr="0">
                <a:noAutofit/>
              </a:bodyPr>
              <a:lstStyle/>
              <a:p>
                <a:pPr algn="ctr" defTabSz="912690">
                  <a:buClr>
                    <a:srgbClr val="000000"/>
                  </a:buClr>
                  <a:buSzPts val="1100"/>
                </a:pPr>
                <a:r>
                  <a:rPr lang="en-US" sz="800" b="1">
                    <a:solidFill>
                      <a:srgbClr val="000000"/>
                    </a:solidFill>
                    <a:latin typeface="Roboto"/>
                    <a:ea typeface="Roboto"/>
                    <a:cs typeface="Roboto"/>
                    <a:sym typeface="Roboto"/>
                  </a:rPr>
                  <a:t>Mar 2023</a:t>
                </a:r>
                <a:endParaRPr sz="1100">
                  <a:solidFill>
                    <a:srgbClr val="000000"/>
                  </a:solidFill>
                  <a:latin typeface="Arial"/>
                  <a:ea typeface="Arial"/>
                  <a:cs typeface="Arial"/>
                  <a:sym typeface="Arial"/>
                </a:endParaRPr>
              </a:p>
              <a:p>
                <a:pPr defTabSz="912690">
                  <a:buClr>
                    <a:srgbClr val="000000"/>
                  </a:buClr>
                  <a:buSzPts val="1100"/>
                </a:pPr>
                <a:endParaRPr sz="800" b="1">
                  <a:solidFill>
                    <a:srgbClr val="000000"/>
                  </a:solidFill>
                  <a:latin typeface="Roboto"/>
                  <a:ea typeface="Roboto"/>
                  <a:cs typeface="Roboto"/>
                  <a:sym typeface="Roboto"/>
                </a:endParaRPr>
              </a:p>
            </p:txBody>
          </p:sp>
          <p:sp>
            <p:nvSpPr>
              <p:cNvPr id="502" name="Google Shape;502;p16"/>
              <p:cNvSpPr txBox="1"/>
              <p:nvPr/>
            </p:nvSpPr>
            <p:spPr>
              <a:xfrm>
                <a:off x="5065811" y="2272750"/>
                <a:ext cx="2253600" cy="300300"/>
              </a:xfrm>
              <a:prstGeom prst="rect">
                <a:avLst/>
              </a:prstGeom>
              <a:noFill/>
              <a:ln>
                <a:noFill/>
              </a:ln>
            </p:spPr>
            <p:txBody>
              <a:bodyPr spcFirstLastPara="1" wrap="square" lIns="121900" tIns="121900" rIns="121900" bIns="121900" anchor="t" anchorCtr="0">
                <a:noAutofit/>
              </a:bodyPr>
              <a:lstStyle/>
              <a:p>
                <a:pPr defTabSz="912690">
                  <a:buClr>
                    <a:srgbClr val="000000"/>
                  </a:buClr>
                  <a:buSzPts val="1600"/>
                </a:pPr>
                <a:r>
                  <a:rPr lang="en-US" sz="1200">
                    <a:solidFill>
                      <a:srgbClr val="000000"/>
                    </a:solidFill>
                    <a:latin typeface="Roboto"/>
                    <a:ea typeface="Roboto"/>
                    <a:cs typeface="Roboto"/>
                    <a:sym typeface="Roboto"/>
                  </a:rPr>
                  <a:t>ANVISA</a:t>
                </a:r>
                <a:r>
                  <a:rPr lang="en-US" sz="1200" baseline="30000">
                    <a:solidFill>
                      <a:srgbClr val="000000"/>
                    </a:solidFill>
                    <a:latin typeface="Roboto"/>
                    <a:ea typeface="Roboto"/>
                    <a:cs typeface="Roboto"/>
                    <a:sym typeface="Roboto"/>
                  </a:rPr>
                  <a:t>5</a:t>
                </a:r>
                <a:endParaRPr sz="1100">
                  <a:solidFill>
                    <a:srgbClr val="000000"/>
                  </a:solidFill>
                  <a:latin typeface="Arial"/>
                  <a:ea typeface="Arial"/>
                  <a:cs typeface="Arial"/>
                  <a:sym typeface="Arial"/>
                </a:endParaRPr>
              </a:p>
            </p:txBody>
          </p:sp>
        </p:grpSp>
      </p:grpSp>
      <p:grpSp>
        <p:nvGrpSpPr>
          <p:cNvPr id="503" name="Google Shape;503;p16"/>
          <p:cNvGrpSpPr/>
          <p:nvPr/>
        </p:nvGrpSpPr>
        <p:grpSpPr>
          <a:xfrm>
            <a:off x="5185172" y="2275285"/>
            <a:ext cx="1571625" cy="1212056"/>
            <a:chOff x="6318856" y="2863323"/>
            <a:chExt cx="2259386" cy="1211926"/>
          </a:xfrm>
        </p:grpSpPr>
        <p:sp>
          <p:nvSpPr>
            <p:cNvPr id="504" name="Google Shape;504;p16"/>
            <p:cNvSpPr txBox="1"/>
            <p:nvPr/>
          </p:nvSpPr>
          <p:spPr>
            <a:xfrm>
              <a:off x="6807642" y="3079483"/>
              <a:ext cx="1770600" cy="133500"/>
            </a:xfrm>
            <a:prstGeom prst="rect">
              <a:avLst/>
            </a:prstGeom>
            <a:solidFill>
              <a:srgbClr val="085631"/>
            </a:solidFill>
            <a:ln>
              <a:noFill/>
            </a:ln>
          </p:spPr>
          <p:txBody>
            <a:bodyPr spcFirstLastPara="1" wrap="square" lIns="121900" tIns="121900" rIns="121900" bIns="121900" anchor="ctr" anchorCtr="0">
              <a:noAutofit/>
            </a:bodyPr>
            <a:lstStyle/>
            <a:p>
              <a:pPr defTabSz="912690">
                <a:buClr>
                  <a:srgbClr val="000000"/>
                </a:buClr>
                <a:buSzPts val="1400"/>
              </a:pPr>
              <a:endParaRPr sz="1100">
                <a:solidFill>
                  <a:srgbClr val="000000"/>
                </a:solidFill>
                <a:latin typeface="Arial"/>
                <a:ea typeface="Arial"/>
                <a:cs typeface="Arial"/>
                <a:sym typeface="Arial"/>
              </a:endParaRPr>
            </a:p>
          </p:txBody>
        </p:sp>
        <p:grpSp>
          <p:nvGrpSpPr>
            <p:cNvPr id="505" name="Google Shape;505;p16"/>
            <p:cNvGrpSpPr/>
            <p:nvPr/>
          </p:nvGrpSpPr>
          <p:grpSpPr>
            <a:xfrm>
              <a:off x="6318856" y="2863323"/>
              <a:ext cx="2023806" cy="1211926"/>
              <a:chOff x="6318856" y="2863323"/>
              <a:chExt cx="2023806" cy="1211926"/>
            </a:xfrm>
          </p:grpSpPr>
          <p:grpSp>
            <p:nvGrpSpPr>
              <p:cNvPr id="506" name="Google Shape;506;p16"/>
              <p:cNvGrpSpPr/>
              <p:nvPr/>
            </p:nvGrpSpPr>
            <p:grpSpPr>
              <a:xfrm rot="10800000">
                <a:off x="6760035" y="3079467"/>
                <a:ext cx="92400" cy="411825"/>
                <a:chOff x="2070100" y="2563700"/>
                <a:chExt cx="92400" cy="411825"/>
              </a:xfrm>
            </p:grpSpPr>
            <p:cxnSp>
              <p:nvCxnSpPr>
                <p:cNvPr id="507" name="Google Shape;507;p16"/>
                <p:cNvCxnSpPr/>
                <p:nvPr/>
              </p:nvCxnSpPr>
              <p:spPr>
                <a:xfrm>
                  <a:off x="2116300" y="2616125"/>
                  <a:ext cx="0" cy="359400"/>
                </a:xfrm>
                <a:prstGeom prst="straightConnector1">
                  <a:avLst/>
                </a:prstGeom>
                <a:noFill/>
                <a:ln w="9525" cap="flat" cmpd="sng">
                  <a:solidFill>
                    <a:srgbClr val="000000"/>
                  </a:solidFill>
                  <a:prstDash val="solid"/>
                  <a:miter lim="800000"/>
                  <a:headEnd type="none" w="sm" len="sm"/>
                  <a:tailEnd type="none" w="sm" len="sm"/>
                </a:ln>
              </p:spPr>
            </p:cxnSp>
            <p:sp>
              <p:nvSpPr>
                <p:cNvPr id="508" name="Google Shape;508;p16"/>
                <p:cNvSpPr/>
                <p:nvPr/>
              </p:nvSpPr>
              <p:spPr>
                <a:xfrm>
                  <a:off x="2070100" y="2563700"/>
                  <a:ext cx="92400" cy="92400"/>
                </a:xfrm>
                <a:prstGeom prst="ellipse">
                  <a:avLst/>
                </a:prstGeom>
                <a:solidFill>
                  <a:srgbClr val="000000"/>
                </a:solidFill>
                <a:ln>
                  <a:noFill/>
                </a:ln>
              </p:spPr>
              <p:txBody>
                <a:bodyPr spcFirstLastPara="1" wrap="square" lIns="121900" tIns="121900" rIns="121900" bIns="121900" anchor="ctr" anchorCtr="0">
                  <a:noAutofit/>
                </a:bodyPr>
                <a:lstStyle/>
                <a:p>
                  <a:pPr defTabSz="912690">
                    <a:buClr>
                      <a:srgbClr val="000000"/>
                    </a:buClr>
                    <a:buSzPts val="1400"/>
                  </a:pPr>
                  <a:endParaRPr sz="1100">
                    <a:solidFill>
                      <a:srgbClr val="000000"/>
                    </a:solidFill>
                    <a:latin typeface="Arial"/>
                    <a:ea typeface="Arial"/>
                    <a:cs typeface="Arial"/>
                    <a:sym typeface="Arial"/>
                  </a:endParaRPr>
                </a:p>
              </p:txBody>
            </p:sp>
          </p:grpSp>
          <p:sp>
            <p:nvSpPr>
              <p:cNvPr id="509" name="Google Shape;509;p16"/>
              <p:cNvSpPr txBox="1"/>
              <p:nvPr/>
            </p:nvSpPr>
            <p:spPr>
              <a:xfrm>
                <a:off x="6318856" y="2863323"/>
                <a:ext cx="1189500" cy="210600"/>
              </a:xfrm>
              <a:prstGeom prst="rect">
                <a:avLst/>
              </a:prstGeom>
              <a:noFill/>
              <a:ln>
                <a:noFill/>
              </a:ln>
            </p:spPr>
            <p:txBody>
              <a:bodyPr spcFirstLastPara="1" wrap="square" lIns="121900" tIns="121900" rIns="121900" bIns="121900" anchor="t" anchorCtr="0">
                <a:noAutofit/>
              </a:bodyPr>
              <a:lstStyle/>
              <a:p>
                <a:pPr algn="ctr" defTabSz="912690">
                  <a:lnSpc>
                    <a:spcPct val="115000"/>
                  </a:lnSpc>
                  <a:buClr>
                    <a:srgbClr val="000000"/>
                  </a:buClr>
                  <a:buSzPts val="1100"/>
                </a:pPr>
                <a:r>
                  <a:rPr lang="en-US" sz="800" b="1">
                    <a:solidFill>
                      <a:srgbClr val="000000"/>
                    </a:solidFill>
                    <a:latin typeface="Roboto"/>
                    <a:ea typeface="Roboto"/>
                    <a:cs typeface="Roboto"/>
                    <a:sym typeface="Roboto"/>
                  </a:rPr>
                  <a:t>Abr 2023</a:t>
                </a:r>
                <a:endParaRPr sz="1100">
                  <a:solidFill>
                    <a:srgbClr val="000000"/>
                  </a:solidFill>
                  <a:latin typeface="Arial"/>
                  <a:ea typeface="Arial"/>
                  <a:cs typeface="Arial"/>
                  <a:sym typeface="Arial"/>
                </a:endParaRPr>
              </a:p>
            </p:txBody>
          </p:sp>
          <p:sp>
            <p:nvSpPr>
              <p:cNvPr id="510" name="Google Shape;510;p16"/>
              <p:cNvSpPr txBox="1"/>
              <p:nvPr/>
            </p:nvSpPr>
            <p:spPr>
              <a:xfrm>
                <a:off x="6676762" y="3494449"/>
                <a:ext cx="1665900" cy="580800"/>
              </a:xfrm>
              <a:prstGeom prst="rect">
                <a:avLst/>
              </a:prstGeom>
              <a:solidFill>
                <a:srgbClr val="D0E0E3"/>
              </a:solidFill>
              <a:ln>
                <a:noFill/>
              </a:ln>
            </p:spPr>
            <p:txBody>
              <a:bodyPr spcFirstLastPara="1" wrap="square" lIns="121900" tIns="121900" rIns="121900" bIns="121900" anchor="t" anchorCtr="0">
                <a:noAutofit/>
              </a:bodyPr>
              <a:lstStyle/>
              <a:p>
                <a:pPr defTabSz="912690">
                  <a:buClr>
                    <a:srgbClr val="000000"/>
                  </a:buClr>
                  <a:buSzPts val="2600"/>
                </a:pPr>
                <a:r>
                  <a:rPr lang="en-US" sz="2000" b="1">
                    <a:solidFill>
                      <a:srgbClr val="000000"/>
                    </a:solidFill>
                    <a:latin typeface="Roboto"/>
                    <a:ea typeface="Roboto"/>
                    <a:cs typeface="Roboto"/>
                    <a:sym typeface="Roboto"/>
                  </a:rPr>
                  <a:t>ANMAT</a:t>
                </a:r>
                <a:r>
                  <a:rPr lang="en-US" sz="1200" baseline="30000">
                    <a:solidFill>
                      <a:srgbClr val="000000"/>
                    </a:solidFill>
                    <a:latin typeface="Roboto"/>
                    <a:ea typeface="Roboto"/>
                    <a:cs typeface="Roboto"/>
                    <a:sym typeface="Roboto"/>
                  </a:rPr>
                  <a:t>6</a:t>
                </a:r>
                <a:endParaRPr sz="1100">
                  <a:solidFill>
                    <a:srgbClr val="000000"/>
                  </a:solidFill>
                  <a:latin typeface="Arial"/>
                  <a:ea typeface="Arial"/>
                  <a:cs typeface="Arial"/>
                  <a:sym typeface="Arial"/>
                </a:endParaRPr>
              </a:p>
            </p:txBody>
          </p:sp>
        </p:grpSp>
      </p:grpSp>
      <p:grpSp>
        <p:nvGrpSpPr>
          <p:cNvPr id="511" name="Google Shape;511;p16"/>
          <p:cNvGrpSpPr/>
          <p:nvPr/>
        </p:nvGrpSpPr>
        <p:grpSpPr>
          <a:xfrm>
            <a:off x="2155036" y="1670452"/>
            <a:ext cx="2005013" cy="1195387"/>
            <a:chOff x="1484930" y="2258670"/>
            <a:chExt cx="2780311" cy="1194790"/>
          </a:xfrm>
        </p:grpSpPr>
        <p:sp>
          <p:nvSpPr>
            <p:cNvPr id="512" name="Google Shape;512;p16"/>
            <p:cNvSpPr txBox="1"/>
            <p:nvPr/>
          </p:nvSpPr>
          <p:spPr>
            <a:xfrm>
              <a:off x="2121120" y="3079475"/>
              <a:ext cx="1958400" cy="133500"/>
            </a:xfrm>
            <a:prstGeom prst="rect">
              <a:avLst/>
            </a:prstGeom>
            <a:solidFill>
              <a:srgbClr val="0E9453"/>
            </a:solidFill>
            <a:ln>
              <a:noFill/>
            </a:ln>
          </p:spPr>
          <p:txBody>
            <a:bodyPr spcFirstLastPara="1" wrap="square" lIns="121900" tIns="121900" rIns="121900" bIns="121900" anchor="ctr" anchorCtr="0">
              <a:noAutofit/>
            </a:bodyPr>
            <a:lstStyle/>
            <a:p>
              <a:pPr defTabSz="912690">
                <a:buClr>
                  <a:srgbClr val="000000"/>
                </a:buClr>
                <a:buSzPts val="1400"/>
              </a:pPr>
              <a:endParaRPr sz="1100">
                <a:solidFill>
                  <a:srgbClr val="000000"/>
                </a:solidFill>
                <a:latin typeface="Arial"/>
                <a:ea typeface="Arial"/>
                <a:cs typeface="Arial"/>
                <a:sym typeface="Arial"/>
              </a:endParaRPr>
            </a:p>
          </p:txBody>
        </p:sp>
        <p:grpSp>
          <p:nvGrpSpPr>
            <p:cNvPr id="513" name="Google Shape;513;p16"/>
            <p:cNvGrpSpPr/>
            <p:nvPr/>
          </p:nvGrpSpPr>
          <p:grpSpPr>
            <a:xfrm>
              <a:off x="1484930" y="2258670"/>
              <a:ext cx="2780311" cy="1194790"/>
              <a:chOff x="1484930" y="2258670"/>
              <a:chExt cx="2780311" cy="1194790"/>
            </a:xfrm>
          </p:grpSpPr>
          <p:sp>
            <p:nvSpPr>
              <p:cNvPr id="514" name="Google Shape;514;p16"/>
              <p:cNvSpPr txBox="1"/>
              <p:nvPr/>
            </p:nvSpPr>
            <p:spPr>
              <a:xfrm>
                <a:off x="1484930" y="3215260"/>
                <a:ext cx="1229400" cy="238200"/>
              </a:xfrm>
              <a:prstGeom prst="rect">
                <a:avLst/>
              </a:prstGeom>
              <a:noFill/>
              <a:ln>
                <a:noFill/>
              </a:ln>
            </p:spPr>
            <p:txBody>
              <a:bodyPr spcFirstLastPara="1" wrap="square" lIns="121900" tIns="121900" rIns="121900" bIns="121900" anchor="t" anchorCtr="0">
                <a:noAutofit/>
              </a:bodyPr>
              <a:lstStyle/>
              <a:p>
                <a:pPr algn="ctr" defTabSz="912690">
                  <a:lnSpc>
                    <a:spcPct val="115000"/>
                  </a:lnSpc>
                  <a:buClr>
                    <a:srgbClr val="000000"/>
                  </a:buClr>
                  <a:buSzPts val="1100"/>
                </a:pPr>
                <a:r>
                  <a:rPr lang="en-US" sz="800" b="1">
                    <a:solidFill>
                      <a:srgbClr val="000000"/>
                    </a:solidFill>
                    <a:latin typeface="Roboto"/>
                    <a:ea typeface="Roboto"/>
                    <a:cs typeface="Roboto"/>
                    <a:sym typeface="Roboto"/>
                  </a:rPr>
                  <a:t>Dic 2022</a:t>
                </a:r>
                <a:endParaRPr sz="1100">
                  <a:solidFill>
                    <a:srgbClr val="000000"/>
                  </a:solidFill>
                  <a:latin typeface="Arial"/>
                  <a:ea typeface="Arial"/>
                  <a:cs typeface="Arial"/>
                  <a:sym typeface="Arial"/>
                </a:endParaRPr>
              </a:p>
            </p:txBody>
          </p:sp>
          <p:grpSp>
            <p:nvGrpSpPr>
              <p:cNvPr id="515" name="Google Shape;515;p16"/>
              <p:cNvGrpSpPr/>
              <p:nvPr/>
            </p:nvGrpSpPr>
            <p:grpSpPr>
              <a:xfrm>
                <a:off x="2069546" y="2800065"/>
                <a:ext cx="92400" cy="411825"/>
                <a:chOff x="2034095" y="2563700"/>
                <a:chExt cx="92400" cy="411825"/>
              </a:xfrm>
            </p:grpSpPr>
            <p:cxnSp>
              <p:nvCxnSpPr>
                <p:cNvPr id="516" name="Google Shape;516;p16"/>
                <p:cNvCxnSpPr/>
                <p:nvPr/>
              </p:nvCxnSpPr>
              <p:spPr>
                <a:xfrm>
                  <a:off x="2080295" y="2616125"/>
                  <a:ext cx="0" cy="359400"/>
                </a:xfrm>
                <a:prstGeom prst="straightConnector1">
                  <a:avLst/>
                </a:prstGeom>
                <a:noFill/>
                <a:ln w="9525" cap="flat" cmpd="sng">
                  <a:solidFill>
                    <a:srgbClr val="000000"/>
                  </a:solidFill>
                  <a:prstDash val="solid"/>
                  <a:miter lim="800000"/>
                  <a:headEnd type="none" w="sm" len="sm"/>
                  <a:tailEnd type="none" w="sm" len="sm"/>
                </a:ln>
              </p:spPr>
            </p:cxnSp>
            <p:sp>
              <p:nvSpPr>
                <p:cNvPr id="517" name="Google Shape;517;p16"/>
                <p:cNvSpPr/>
                <p:nvPr/>
              </p:nvSpPr>
              <p:spPr>
                <a:xfrm>
                  <a:off x="2034095" y="2563700"/>
                  <a:ext cx="92400" cy="92400"/>
                </a:xfrm>
                <a:prstGeom prst="ellipse">
                  <a:avLst/>
                </a:prstGeom>
                <a:solidFill>
                  <a:srgbClr val="000000"/>
                </a:solidFill>
                <a:ln>
                  <a:noFill/>
                </a:ln>
              </p:spPr>
              <p:txBody>
                <a:bodyPr spcFirstLastPara="1" wrap="square" lIns="121900" tIns="121900" rIns="121900" bIns="121900" anchor="ctr" anchorCtr="0">
                  <a:noAutofit/>
                </a:bodyPr>
                <a:lstStyle/>
                <a:p>
                  <a:pPr defTabSz="912690">
                    <a:buClr>
                      <a:srgbClr val="000000"/>
                    </a:buClr>
                    <a:buSzPts val="1400"/>
                  </a:pPr>
                  <a:endParaRPr sz="1100">
                    <a:solidFill>
                      <a:srgbClr val="000000"/>
                    </a:solidFill>
                    <a:latin typeface="Arial"/>
                    <a:ea typeface="Arial"/>
                    <a:cs typeface="Arial"/>
                    <a:sym typeface="Arial"/>
                  </a:endParaRPr>
                </a:p>
              </p:txBody>
            </p:sp>
          </p:grpSp>
          <p:sp>
            <p:nvSpPr>
              <p:cNvPr id="518" name="Google Shape;518;p16"/>
              <p:cNvSpPr txBox="1"/>
              <p:nvPr/>
            </p:nvSpPr>
            <p:spPr>
              <a:xfrm>
                <a:off x="2011641" y="2258670"/>
                <a:ext cx="2253600" cy="371400"/>
              </a:xfrm>
              <a:prstGeom prst="rect">
                <a:avLst/>
              </a:prstGeom>
              <a:noFill/>
              <a:ln>
                <a:noFill/>
              </a:ln>
            </p:spPr>
            <p:txBody>
              <a:bodyPr spcFirstLastPara="1" wrap="square" lIns="121900" tIns="121900" rIns="121900" bIns="121900" anchor="t" anchorCtr="0">
                <a:noAutofit/>
              </a:bodyPr>
              <a:lstStyle/>
              <a:p>
                <a:pPr defTabSz="912690">
                  <a:buClr>
                    <a:srgbClr val="000000"/>
                  </a:buClr>
                  <a:buSzPts val="1600"/>
                </a:pPr>
                <a:r>
                  <a:rPr lang="en-US" sz="1200">
                    <a:solidFill>
                      <a:srgbClr val="000000"/>
                    </a:solidFill>
                    <a:latin typeface="Roboto"/>
                    <a:ea typeface="Roboto"/>
                    <a:cs typeface="Roboto"/>
                    <a:sym typeface="Roboto"/>
                  </a:rPr>
                  <a:t>EMA</a:t>
                </a:r>
                <a:r>
                  <a:rPr lang="en-US" sz="1200" baseline="30000">
                    <a:solidFill>
                      <a:srgbClr val="000000"/>
                    </a:solidFill>
                    <a:latin typeface="Roboto"/>
                    <a:ea typeface="Roboto"/>
                    <a:cs typeface="Roboto"/>
                    <a:sym typeface="Roboto"/>
                  </a:rPr>
                  <a:t>3</a:t>
                </a:r>
                <a:endParaRPr sz="1100">
                  <a:solidFill>
                    <a:srgbClr val="000000"/>
                  </a:solidFill>
                  <a:latin typeface="Arial"/>
                  <a:ea typeface="Arial"/>
                  <a:cs typeface="Arial"/>
                  <a:sym typeface="Arial"/>
                </a:endParaRPr>
              </a:p>
            </p:txBody>
          </p:sp>
        </p:grpSp>
      </p:grpSp>
      <p:grpSp>
        <p:nvGrpSpPr>
          <p:cNvPr id="519" name="Google Shape;519;p16"/>
          <p:cNvGrpSpPr/>
          <p:nvPr/>
        </p:nvGrpSpPr>
        <p:grpSpPr>
          <a:xfrm>
            <a:off x="3131344" y="2275285"/>
            <a:ext cx="1633538" cy="1002506"/>
            <a:chOff x="2871778" y="2863332"/>
            <a:chExt cx="1633636" cy="1002526"/>
          </a:xfrm>
        </p:grpSpPr>
        <p:sp>
          <p:nvSpPr>
            <p:cNvPr id="520" name="Google Shape;520;p16"/>
            <p:cNvSpPr txBox="1"/>
            <p:nvPr/>
          </p:nvSpPr>
          <p:spPr>
            <a:xfrm>
              <a:off x="3403054" y="3079473"/>
              <a:ext cx="963900" cy="133500"/>
            </a:xfrm>
            <a:prstGeom prst="rect">
              <a:avLst/>
            </a:prstGeom>
            <a:solidFill>
              <a:srgbClr val="085631"/>
            </a:solidFill>
            <a:ln>
              <a:noFill/>
            </a:ln>
          </p:spPr>
          <p:txBody>
            <a:bodyPr spcFirstLastPara="1" wrap="square" lIns="121900" tIns="121900" rIns="121900" bIns="121900" anchor="ctr" anchorCtr="0">
              <a:noAutofit/>
            </a:bodyPr>
            <a:lstStyle/>
            <a:p>
              <a:pPr defTabSz="912690">
                <a:buClr>
                  <a:srgbClr val="000000"/>
                </a:buClr>
                <a:buSzPts val="1400"/>
              </a:pPr>
              <a:endParaRPr sz="1100">
                <a:solidFill>
                  <a:srgbClr val="000000"/>
                </a:solidFill>
                <a:latin typeface="Arial"/>
                <a:ea typeface="Arial"/>
                <a:cs typeface="Arial"/>
                <a:sym typeface="Arial"/>
              </a:endParaRPr>
            </a:p>
          </p:txBody>
        </p:sp>
        <p:grpSp>
          <p:nvGrpSpPr>
            <p:cNvPr id="521" name="Google Shape;521;p16"/>
            <p:cNvGrpSpPr/>
            <p:nvPr/>
          </p:nvGrpSpPr>
          <p:grpSpPr>
            <a:xfrm>
              <a:off x="2871778" y="2863332"/>
              <a:ext cx="1633636" cy="1002526"/>
              <a:chOff x="2871778" y="2863332"/>
              <a:chExt cx="1633636" cy="1002526"/>
            </a:xfrm>
          </p:grpSpPr>
          <p:sp>
            <p:nvSpPr>
              <p:cNvPr id="522" name="Google Shape;522;p16"/>
              <p:cNvSpPr txBox="1"/>
              <p:nvPr/>
            </p:nvSpPr>
            <p:spPr>
              <a:xfrm>
                <a:off x="2871778" y="2863332"/>
                <a:ext cx="914100" cy="210600"/>
              </a:xfrm>
              <a:prstGeom prst="rect">
                <a:avLst/>
              </a:prstGeom>
              <a:noFill/>
              <a:ln>
                <a:noFill/>
              </a:ln>
            </p:spPr>
            <p:txBody>
              <a:bodyPr spcFirstLastPara="1" wrap="square" lIns="121900" tIns="121900" rIns="121900" bIns="121900" anchor="t" anchorCtr="0">
                <a:noAutofit/>
              </a:bodyPr>
              <a:lstStyle/>
              <a:p>
                <a:pPr algn="ctr" defTabSz="912690">
                  <a:lnSpc>
                    <a:spcPct val="115000"/>
                  </a:lnSpc>
                  <a:buClr>
                    <a:srgbClr val="000000"/>
                  </a:buClr>
                  <a:buSzPts val="1100"/>
                </a:pPr>
                <a:r>
                  <a:rPr lang="en-US" sz="800" b="1">
                    <a:solidFill>
                      <a:srgbClr val="000000"/>
                    </a:solidFill>
                    <a:latin typeface="Roboto"/>
                    <a:ea typeface="Roboto"/>
                    <a:cs typeface="Roboto"/>
                    <a:sym typeface="Roboto"/>
                  </a:rPr>
                  <a:t>Ene 2023</a:t>
                </a:r>
                <a:endParaRPr sz="1100">
                  <a:solidFill>
                    <a:srgbClr val="000000"/>
                  </a:solidFill>
                  <a:latin typeface="Arial"/>
                  <a:ea typeface="Arial"/>
                  <a:cs typeface="Arial"/>
                  <a:sym typeface="Arial"/>
                </a:endParaRPr>
              </a:p>
            </p:txBody>
          </p:sp>
          <p:grpSp>
            <p:nvGrpSpPr>
              <p:cNvPr id="523" name="Google Shape;523;p16"/>
              <p:cNvGrpSpPr/>
              <p:nvPr/>
            </p:nvGrpSpPr>
            <p:grpSpPr>
              <a:xfrm rot="10800000">
                <a:off x="3363436" y="3079467"/>
                <a:ext cx="92400" cy="411825"/>
                <a:chOff x="1555737" y="2563700"/>
                <a:chExt cx="92400" cy="411825"/>
              </a:xfrm>
            </p:grpSpPr>
            <p:cxnSp>
              <p:nvCxnSpPr>
                <p:cNvPr id="524" name="Google Shape;524;p16"/>
                <p:cNvCxnSpPr/>
                <p:nvPr/>
              </p:nvCxnSpPr>
              <p:spPr>
                <a:xfrm>
                  <a:off x="1601937" y="2616125"/>
                  <a:ext cx="0" cy="359400"/>
                </a:xfrm>
                <a:prstGeom prst="straightConnector1">
                  <a:avLst/>
                </a:prstGeom>
                <a:noFill/>
                <a:ln w="9525" cap="flat" cmpd="sng">
                  <a:solidFill>
                    <a:srgbClr val="000000"/>
                  </a:solidFill>
                  <a:prstDash val="solid"/>
                  <a:miter lim="800000"/>
                  <a:headEnd type="none" w="sm" len="sm"/>
                  <a:tailEnd type="none" w="sm" len="sm"/>
                </a:ln>
              </p:spPr>
            </p:cxnSp>
            <p:sp>
              <p:nvSpPr>
                <p:cNvPr id="525" name="Google Shape;525;p16"/>
                <p:cNvSpPr/>
                <p:nvPr/>
              </p:nvSpPr>
              <p:spPr>
                <a:xfrm>
                  <a:off x="1555737" y="2563700"/>
                  <a:ext cx="92400" cy="92400"/>
                </a:xfrm>
                <a:prstGeom prst="ellipse">
                  <a:avLst/>
                </a:prstGeom>
                <a:solidFill>
                  <a:srgbClr val="000000"/>
                </a:solidFill>
                <a:ln>
                  <a:noFill/>
                </a:ln>
              </p:spPr>
              <p:txBody>
                <a:bodyPr spcFirstLastPara="1" wrap="square" lIns="121900" tIns="121900" rIns="121900" bIns="121900" anchor="ctr" anchorCtr="0">
                  <a:noAutofit/>
                </a:bodyPr>
                <a:lstStyle/>
                <a:p>
                  <a:pPr defTabSz="912690">
                    <a:buClr>
                      <a:srgbClr val="000000"/>
                    </a:buClr>
                    <a:buSzPts val="1400"/>
                  </a:pPr>
                  <a:endParaRPr sz="1100">
                    <a:solidFill>
                      <a:srgbClr val="000000"/>
                    </a:solidFill>
                    <a:latin typeface="Arial"/>
                    <a:ea typeface="Arial"/>
                    <a:cs typeface="Arial"/>
                    <a:sym typeface="Arial"/>
                  </a:endParaRPr>
                </a:p>
              </p:txBody>
            </p:sp>
          </p:grpSp>
          <p:sp>
            <p:nvSpPr>
              <p:cNvPr id="526" name="Google Shape;526;p16"/>
              <p:cNvSpPr txBox="1"/>
              <p:nvPr/>
            </p:nvSpPr>
            <p:spPr>
              <a:xfrm>
                <a:off x="3059114" y="3494458"/>
                <a:ext cx="1446300" cy="371400"/>
              </a:xfrm>
              <a:prstGeom prst="rect">
                <a:avLst/>
              </a:prstGeom>
              <a:noFill/>
              <a:ln>
                <a:noFill/>
              </a:ln>
            </p:spPr>
            <p:txBody>
              <a:bodyPr spcFirstLastPara="1" wrap="square" lIns="121900" tIns="121900" rIns="121900" bIns="121900" anchor="t" anchorCtr="0">
                <a:noAutofit/>
              </a:bodyPr>
              <a:lstStyle/>
              <a:p>
                <a:pPr defTabSz="912690">
                  <a:buClr>
                    <a:srgbClr val="000000"/>
                  </a:buClr>
                  <a:buSzPts val="1600"/>
                </a:pPr>
                <a:r>
                  <a:rPr lang="en-US" sz="1200">
                    <a:solidFill>
                      <a:srgbClr val="000000"/>
                    </a:solidFill>
                    <a:latin typeface="Roboto"/>
                    <a:ea typeface="Roboto"/>
                    <a:cs typeface="Roboto"/>
                    <a:sym typeface="Roboto"/>
                  </a:rPr>
                  <a:t>MHRA</a:t>
                </a:r>
                <a:r>
                  <a:rPr lang="en-US" sz="1200" baseline="30000">
                    <a:solidFill>
                      <a:srgbClr val="000000"/>
                    </a:solidFill>
                    <a:latin typeface="Roboto"/>
                    <a:ea typeface="Roboto"/>
                    <a:cs typeface="Roboto"/>
                    <a:sym typeface="Roboto"/>
                  </a:rPr>
                  <a:t>4</a:t>
                </a:r>
                <a:endParaRPr sz="1100">
                  <a:solidFill>
                    <a:srgbClr val="000000"/>
                  </a:solidFill>
                  <a:latin typeface="Arial"/>
                  <a:ea typeface="Arial"/>
                  <a:cs typeface="Arial"/>
                  <a:sym typeface="Arial"/>
                </a:endParaRPr>
              </a:p>
            </p:txBody>
          </p:sp>
        </p:grpSp>
      </p:grpSp>
      <p:grpSp>
        <p:nvGrpSpPr>
          <p:cNvPr id="527" name="Google Shape;527;p16"/>
          <p:cNvGrpSpPr/>
          <p:nvPr/>
        </p:nvGrpSpPr>
        <p:grpSpPr>
          <a:xfrm>
            <a:off x="887015" y="2228851"/>
            <a:ext cx="1993107" cy="1106090"/>
            <a:chOff x="2855384" y="2816894"/>
            <a:chExt cx="1993970" cy="1106116"/>
          </a:xfrm>
        </p:grpSpPr>
        <p:sp>
          <p:nvSpPr>
            <p:cNvPr id="528" name="Google Shape;528;p16"/>
            <p:cNvSpPr txBox="1"/>
            <p:nvPr/>
          </p:nvSpPr>
          <p:spPr>
            <a:xfrm>
              <a:off x="3403054" y="3079473"/>
              <a:ext cx="1446300" cy="133500"/>
            </a:xfrm>
            <a:prstGeom prst="rect">
              <a:avLst/>
            </a:prstGeom>
            <a:solidFill>
              <a:srgbClr val="085631"/>
            </a:solidFill>
            <a:ln>
              <a:noFill/>
            </a:ln>
          </p:spPr>
          <p:txBody>
            <a:bodyPr spcFirstLastPara="1" wrap="square" lIns="121900" tIns="121900" rIns="121900" bIns="121900" anchor="ctr" anchorCtr="0">
              <a:noAutofit/>
            </a:bodyPr>
            <a:lstStyle/>
            <a:p>
              <a:pPr defTabSz="912690">
                <a:buClr>
                  <a:srgbClr val="000000"/>
                </a:buClr>
                <a:buSzPts val="1400"/>
              </a:pPr>
              <a:endParaRPr sz="1100">
                <a:solidFill>
                  <a:srgbClr val="000000"/>
                </a:solidFill>
                <a:latin typeface="Arial"/>
                <a:ea typeface="Arial"/>
                <a:cs typeface="Arial"/>
                <a:sym typeface="Arial"/>
              </a:endParaRPr>
            </a:p>
          </p:txBody>
        </p:sp>
        <p:grpSp>
          <p:nvGrpSpPr>
            <p:cNvPr id="529" name="Google Shape;529;p16"/>
            <p:cNvGrpSpPr/>
            <p:nvPr/>
          </p:nvGrpSpPr>
          <p:grpSpPr>
            <a:xfrm>
              <a:off x="2855384" y="2816894"/>
              <a:ext cx="1535727" cy="1106116"/>
              <a:chOff x="2855384" y="2816894"/>
              <a:chExt cx="1535727" cy="1106116"/>
            </a:xfrm>
          </p:grpSpPr>
          <p:sp>
            <p:nvSpPr>
              <p:cNvPr id="530" name="Google Shape;530;p16"/>
              <p:cNvSpPr txBox="1"/>
              <p:nvPr/>
            </p:nvSpPr>
            <p:spPr>
              <a:xfrm>
                <a:off x="2855384" y="2816894"/>
                <a:ext cx="930600" cy="238200"/>
              </a:xfrm>
              <a:prstGeom prst="rect">
                <a:avLst/>
              </a:prstGeom>
              <a:noFill/>
              <a:ln>
                <a:noFill/>
              </a:ln>
            </p:spPr>
            <p:txBody>
              <a:bodyPr spcFirstLastPara="1" wrap="square" lIns="121900" tIns="121900" rIns="121900" bIns="121900" anchor="t" anchorCtr="0">
                <a:noAutofit/>
              </a:bodyPr>
              <a:lstStyle/>
              <a:p>
                <a:pPr algn="ctr" defTabSz="912690">
                  <a:lnSpc>
                    <a:spcPct val="115000"/>
                  </a:lnSpc>
                  <a:buClr>
                    <a:srgbClr val="000000"/>
                  </a:buClr>
                  <a:buSzPts val="1100"/>
                </a:pPr>
                <a:r>
                  <a:rPr lang="en-US" sz="800" b="1">
                    <a:solidFill>
                      <a:srgbClr val="000000"/>
                    </a:solidFill>
                    <a:latin typeface="Roboto"/>
                    <a:ea typeface="Roboto"/>
                    <a:cs typeface="Roboto"/>
                    <a:sym typeface="Roboto"/>
                  </a:rPr>
                  <a:t>Ago 2022</a:t>
                </a:r>
                <a:endParaRPr sz="1100">
                  <a:solidFill>
                    <a:srgbClr val="000000"/>
                  </a:solidFill>
                  <a:latin typeface="Arial"/>
                  <a:ea typeface="Arial"/>
                  <a:cs typeface="Arial"/>
                  <a:sym typeface="Arial"/>
                </a:endParaRPr>
              </a:p>
            </p:txBody>
          </p:sp>
          <p:grpSp>
            <p:nvGrpSpPr>
              <p:cNvPr id="531" name="Google Shape;531;p16"/>
              <p:cNvGrpSpPr/>
              <p:nvPr/>
            </p:nvGrpSpPr>
            <p:grpSpPr>
              <a:xfrm rot="10800000">
                <a:off x="3363436" y="3079467"/>
                <a:ext cx="92400" cy="411825"/>
                <a:chOff x="1555737" y="2563700"/>
                <a:chExt cx="92400" cy="411825"/>
              </a:xfrm>
            </p:grpSpPr>
            <p:cxnSp>
              <p:nvCxnSpPr>
                <p:cNvPr id="532" name="Google Shape;532;p16"/>
                <p:cNvCxnSpPr/>
                <p:nvPr/>
              </p:nvCxnSpPr>
              <p:spPr>
                <a:xfrm>
                  <a:off x="1601937" y="2616125"/>
                  <a:ext cx="0" cy="359400"/>
                </a:xfrm>
                <a:prstGeom prst="straightConnector1">
                  <a:avLst/>
                </a:prstGeom>
                <a:noFill/>
                <a:ln w="9525" cap="flat" cmpd="sng">
                  <a:solidFill>
                    <a:srgbClr val="000000"/>
                  </a:solidFill>
                  <a:prstDash val="solid"/>
                  <a:miter lim="800000"/>
                  <a:headEnd type="none" w="sm" len="sm"/>
                  <a:tailEnd type="none" w="sm" len="sm"/>
                </a:ln>
              </p:spPr>
            </p:cxnSp>
            <p:sp>
              <p:nvSpPr>
                <p:cNvPr id="533" name="Google Shape;533;p16"/>
                <p:cNvSpPr/>
                <p:nvPr/>
              </p:nvSpPr>
              <p:spPr>
                <a:xfrm>
                  <a:off x="1555737" y="2563700"/>
                  <a:ext cx="92400" cy="92400"/>
                </a:xfrm>
                <a:prstGeom prst="ellipse">
                  <a:avLst/>
                </a:prstGeom>
                <a:solidFill>
                  <a:srgbClr val="000000"/>
                </a:solidFill>
                <a:ln>
                  <a:noFill/>
                </a:ln>
              </p:spPr>
              <p:txBody>
                <a:bodyPr spcFirstLastPara="1" wrap="square" lIns="121900" tIns="121900" rIns="121900" bIns="121900" anchor="ctr" anchorCtr="0">
                  <a:noAutofit/>
                </a:bodyPr>
                <a:lstStyle/>
                <a:p>
                  <a:pPr defTabSz="912690">
                    <a:buClr>
                      <a:srgbClr val="000000"/>
                    </a:buClr>
                    <a:buSzPts val="1400"/>
                  </a:pPr>
                  <a:endParaRPr sz="1100">
                    <a:solidFill>
                      <a:srgbClr val="000000"/>
                    </a:solidFill>
                    <a:latin typeface="Arial"/>
                    <a:ea typeface="Arial"/>
                    <a:cs typeface="Arial"/>
                    <a:sym typeface="Arial"/>
                  </a:endParaRPr>
                </a:p>
              </p:txBody>
            </p:sp>
          </p:grpSp>
          <p:sp>
            <p:nvSpPr>
              <p:cNvPr id="534" name="Google Shape;534;p16"/>
              <p:cNvSpPr txBox="1"/>
              <p:nvPr/>
            </p:nvSpPr>
            <p:spPr>
              <a:xfrm>
                <a:off x="2944811" y="3551610"/>
                <a:ext cx="1446300" cy="371400"/>
              </a:xfrm>
              <a:prstGeom prst="rect">
                <a:avLst/>
              </a:prstGeom>
              <a:noFill/>
              <a:ln>
                <a:noFill/>
              </a:ln>
            </p:spPr>
            <p:txBody>
              <a:bodyPr spcFirstLastPara="1" wrap="square" lIns="121900" tIns="121900" rIns="121900" bIns="121900" anchor="t" anchorCtr="0">
                <a:noAutofit/>
              </a:bodyPr>
              <a:lstStyle/>
              <a:p>
                <a:pPr defTabSz="912690">
                  <a:buClr>
                    <a:srgbClr val="000000"/>
                  </a:buClr>
                  <a:buSzPts val="1600"/>
                </a:pPr>
                <a:r>
                  <a:rPr lang="en-US" sz="1200">
                    <a:solidFill>
                      <a:srgbClr val="000000"/>
                    </a:solidFill>
                    <a:latin typeface="Roboto"/>
                    <a:ea typeface="Roboto"/>
                    <a:cs typeface="Roboto"/>
                    <a:sym typeface="Roboto"/>
                  </a:rPr>
                  <a:t>Badan POM</a:t>
                </a:r>
                <a:r>
                  <a:rPr lang="en-US" sz="1200" baseline="30000">
                    <a:solidFill>
                      <a:srgbClr val="000000"/>
                    </a:solidFill>
                    <a:latin typeface="Roboto"/>
                    <a:ea typeface="Roboto"/>
                    <a:cs typeface="Roboto"/>
                    <a:sym typeface="Roboto"/>
                  </a:rPr>
                  <a:t>2</a:t>
                </a:r>
                <a:endParaRPr sz="1100">
                  <a:solidFill>
                    <a:srgbClr val="000000"/>
                  </a:solidFill>
                  <a:latin typeface="Arial"/>
                  <a:ea typeface="Arial"/>
                  <a:cs typeface="Arial"/>
                  <a:sym typeface="Arial"/>
                </a:endParaRPr>
              </a:p>
            </p:txBody>
          </p:sp>
        </p:grpSp>
      </p:grpSp>
      <p:pic>
        <p:nvPicPr>
          <p:cNvPr id="535" name="Google Shape;535;p16"/>
          <p:cNvPicPr preferRelativeResize="0"/>
          <p:nvPr/>
        </p:nvPicPr>
        <p:blipFill rotWithShape="1">
          <a:blip r:embed="rId11">
            <a:alphaModFix/>
          </a:blip>
          <a:srcRect/>
          <a:stretch/>
        </p:blipFill>
        <p:spPr>
          <a:xfrm>
            <a:off x="727477" y="3018235"/>
            <a:ext cx="315515" cy="210740"/>
          </a:xfrm>
          <a:prstGeom prst="rect">
            <a:avLst/>
          </a:prstGeom>
          <a:noFill/>
          <a:ln w="9525" cap="flat" cmpd="sng">
            <a:solidFill>
              <a:schemeClr val="dk1"/>
            </a:solidFill>
            <a:prstDash val="solid"/>
            <a:round/>
            <a:headEnd type="none" w="sm" len="sm"/>
            <a:tailEnd type="none" w="sm" len="sm"/>
          </a:ln>
        </p:spPr>
      </p:pic>
      <p:pic>
        <p:nvPicPr>
          <p:cNvPr id="536" name="Google Shape;536;p16"/>
          <p:cNvPicPr preferRelativeResize="0"/>
          <p:nvPr/>
        </p:nvPicPr>
        <p:blipFill rotWithShape="1">
          <a:blip r:embed="rId12">
            <a:alphaModFix/>
          </a:blip>
          <a:srcRect/>
          <a:stretch/>
        </p:blipFill>
        <p:spPr>
          <a:xfrm>
            <a:off x="2180035" y="1741885"/>
            <a:ext cx="357188" cy="238125"/>
          </a:xfrm>
          <a:prstGeom prst="rect">
            <a:avLst/>
          </a:prstGeom>
          <a:noFill/>
          <a:ln w="9525" cap="flat" cmpd="sng">
            <a:solidFill>
              <a:schemeClr val="dk1"/>
            </a:solidFill>
            <a:prstDash val="solid"/>
            <a:round/>
            <a:headEnd type="none" w="sm" len="sm"/>
            <a:tailEnd type="none" w="sm" len="sm"/>
          </a:ln>
        </p:spPr>
      </p:pic>
      <p:pic>
        <p:nvPicPr>
          <p:cNvPr id="537" name="Google Shape;537;p16"/>
          <p:cNvPicPr preferRelativeResize="0"/>
          <p:nvPr/>
        </p:nvPicPr>
        <p:blipFill rotWithShape="1">
          <a:blip r:embed="rId13">
            <a:alphaModFix/>
          </a:blip>
          <a:srcRect/>
          <a:stretch/>
        </p:blipFill>
        <p:spPr>
          <a:xfrm>
            <a:off x="2986088" y="2990855"/>
            <a:ext cx="361950" cy="234553"/>
          </a:xfrm>
          <a:prstGeom prst="rect">
            <a:avLst/>
          </a:prstGeom>
          <a:noFill/>
          <a:ln w="9525" cap="flat" cmpd="sng">
            <a:solidFill>
              <a:srgbClr val="000000"/>
            </a:solidFill>
            <a:prstDash val="solid"/>
            <a:round/>
            <a:headEnd type="none" w="sm" len="sm"/>
            <a:tailEnd type="none" w="sm" len="sm"/>
          </a:ln>
        </p:spPr>
      </p:pic>
      <p:pic>
        <p:nvPicPr>
          <p:cNvPr id="538" name="Google Shape;538;p16"/>
          <p:cNvPicPr preferRelativeResize="0"/>
          <p:nvPr/>
        </p:nvPicPr>
        <p:blipFill rotWithShape="1">
          <a:blip r:embed="rId14">
            <a:alphaModFix/>
          </a:blip>
          <a:srcRect/>
          <a:stretch/>
        </p:blipFill>
        <p:spPr>
          <a:xfrm>
            <a:off x="4114800" y="1754983"/>
            <a:ext cx="361950" cy="210740"/>
          </a:xfrm>
          <a:prstGeom prst="rect">
            <a:avLst/>
          </a:prstGeom>
          <a:noFill/>
          <a:ln w="9525" cap="flat" cmpd="sng">
            <a:solidFill>
              <a:srgbClr val="000000"/>
            </a:solidFill>
            <a:prstDash val="solid"/>
            <a:round/>
            <a:headEnd type="none" w="sm" len="sm"/>
            <a:tailEnd type="none" w="sm" len="sm"/>
          </a:ln>
        </p:spPr>
      </p:pic>
      <p:sp>
        <p:nvSpPr>
          <p:cNvPr id="539" name="Google Shape;539;p16"/>
          <p:cNvSpPr txBox="1"/>
          <p:nvPr/>
        </p:nvSpPr>
        <p:spPr>
          <a:xfrm>
            <a:off x="5128023" y="3280174"/>
            <a:ext cx="1158478" cy="357764"/>
          </a:xfrm>
          <a:prstGeom prst="rect">
            <a:avLst/>
          </a:prstGeom>
          <a:solidFill>
            <a:srgbClr val="D0E0E3"/>
          </a:solidFill>
          <a:ln>
            <a:noFill/>
          </a:ln>
        </p:spPr>
        <p:txBody>
          <a:bodyPr spcFirstLastPara="1" wrap="square" lIns="68561" tIns="68561" rIns="68561" bIns="68561" anchor="t" anchorCtr="0">
            <a:spAutoFit/>
          </a:bodyPr>
          <a:lstStyle/>
          <a:p>
            <a:pPr algn="ctr" defTabSz="912690">
              <a:buClr>
                <a:srgbClr val="000000"/>
              </a:buClr>
              <a:buSzPts val="1800"/>
            </a:pPr>
            <a:r>
              <a:rPr lang="en-US" sz="1400">
                <a:solidFill>
                  <a:srgbClr val="000000"/>
                </a:solidFill>
                <a:ea typeface="Calibri"/>
                <a:cs typeface="Calibri"/>
                <a:sym typeface="Calibri"/>
              </a:rPr>
              <a:t>4 años y más</a:t>
            </a:r>
            <a:endParaRPr sz="1100">
              <a:solidFill>
                <a:srgbClr val="000000"/>
              </a:solidFill>
              <a:latin typeface="Arial"/>
              <a:ea typeface="Arial"/>
              <a:cs typeface="Arial"/>
              <a:sym typeface="Arial"/>
            </a:endParaRPr>
          </a:p>
        </p:txBody>
      </p:sp>
      <p:sp>
        <p:nvSpPr>
          <p:cNvPr id="540" name="Google Shape;540;p16"/>
          <p:cNvSpPr txBox="1"/>
          <p:nvPr/>
        </p:nvSpPr>
        <p:spPr>
          <a:xfrm>
            <a:off x="898922" y="3225406"/>
            <a:ext cx="1256109" cy="357764"/>
          </a:xfrm>
          <a:prstGeom prst="rect">
            <a:avLst/>
          </a:prstGeom>
          <a:noFill/>
          <a:ln>
            <a:noFill/>
          </a:ln>
        </p:spPr>
        <p:txBody>
          <a:bodyPr spcFirstLastPara="1" wrap="square" lIns="68561" tIns="68561" rIns="68561" bIns="68561" anchor="t" anchorCtr="0">
            <a:spAutoFit/>
          </a:bodyPr>
          <a:lstStyle/>
          <a:p>
            <a:pPr algn="just" defTabSz="912690">
              <a:buClr>
                <a:srgbClr val="000000"/>
              </a:buClr>
              <a:buSzPts val="1800"/>
            </a:pPr>
            <a:r>
              <a:rPr lang="en-US" sz="1400" b="1">
                <a:solidFill>
                  <a:srgbClr val="000000"/>
                </a:solidFill>
                <a:ea typeface="Calibri"/>
                <a:cs typeface="Calibri"/>
                <a:sym typeface="Calibri"/>
              </a:rPr>
              <a:t>6 a 45 años</a:t>
            </a:r>
            <a:endParaRPr sz="1100">
              <a:solidFill>
                <a:srgbClr val="000000"/>
              </a:solidFill>
              <a:latin typeface="Arial"/>
              <a:ea typeface="Arial"/>
              <a:cs typeface="Arial"/>
              <a:sym typeface="Arial"/>
            </a:endParaRPr>
          </a:p>
        </p:txBody>
      </p:sp>
      <p:sp>
        <p:nvSpPr>
          <p:cNvPr id="541" name="Google Shape;541;p16"/>
          <p:cNvSpPr txBox="1"/>
          <p:nvPr/>
        </p:nvSpPr>
        <p:spPr>
          <a:xfrm>
            <a:off x="2052639" y="1922863"/>
            <a:ext cx="1158478" cy="357764"/>
          </a:xfrm>
          <a:prstGeom prst="rect">
            <a:avLst/>
          </a:prstGeom>
          <a:noFill/>
          <a:ln>
            <a:noFill/>
          </a:ln>
        </p:spPr>
        <p:txBody>
          <a:bodyPr spcFirstLastPara="1" wrap="square" lIns="68561" tIns="68561" rIns="68561" bIns="68561" anchor="t" anchorCtr="0">
            <a:spAutoFit/>
          </a:bodyPr>
          <a:lstStyle/>
          <a:p>
            <a:pPr algn="just" defTabSz="912690">
              <a:buClr>
                <a:srgbClr val="000000"/>
              </a:buClr>
              <a:buSzPts val="1800"/>
            </a:pPr>
            <a:r>
              <a:rPr lang="en-US" sz="1400">
                <a:solidFill>
                  <a:srgbClr val="000000"/>
                </a:solidFill>
                <a:ea typeface="Calibri"/>
                <a:cs typeface="Calibri"/>
                <a:sym typeface="Calibri"/>
              </a:rPr>
              <a:t>4 años y más</a:t>
            </a:r>
            <a:endParaRPr sz="1100">
              <a:solidFill>
                <a:srgbClr val="000000"/>
              </a:solidFill>
              <a:latin typeface="Arial"/>
              <a:ea typeface="Arial"/>
              <a:cs typeface="Arial"/>
              <a:sym typeface="Arial"/>
            </a:endParaRPr>
          </a:p>
        </p:txBody>
      </p:sp>
      <p:sp>
        <p:nvSpPr>
          <p:cNvPr id="542" name="Google Shape;542;p16"/>
          <p:cNvSpPr txBox="1"/>
          <p:nvPr/>
        </p:nvSpPr>
        <p:spPr>
          <a:xfrm>
            <a:off x="3067050" y="3180163"/>
            <a:ext cx="1158478" cy="357764"/>
          </a:xfrm>
          <a:prstGeom prst="rect">
            <a:avLst/>
          </a:prstGeom>
          <a:noFill/>
          <a:ln>
            <a:noFill/>
          </a:ln>
        </p:spPr>
        <p:txBody>
          <a:bodyPr spcFirstLastPara="1" wrap="square" lIns="68561" tIns="68561" rIns="68561" bIns="68561" anchor="t" anchorCtr="0">
            <a:spAutoFit/>
          </a:bodyPr>
          <a:lstStyle/>
          <a:p>
            <a:pPr algn="just" defTabSz="912690">
              <a:buClr>
                <a:srgbClr val="000000"/>
              </a:buClr>
              <a:buSzPts val="1800"/>
            </a:pPr>
            <a:r>
              <a:rPr lang="en-US" sz="1400">
                <a:solidFill>
                  <a:srgbClr val="000000"/>
                </a:solidFill>
                <a:ea typeface="Calibri"/>
                <a:cs typeface="Calibri"/>
                <a:sym typeface="Calibri"/>
              </a:rPr>
              <a:t>4 años y más</a:t>
            </a:r>
            <a:endParaRPr sz="1100">
              <a:solidFill>
                <a:srgbClr val="000000"/>
              </a:solidFill>
              <a:latin typeface="Arial"/>
              <a:ea typeface="Arial"/>
              <a:cs typeface="Arial"/>
              <a:sym typeface="Arial"/>
            </a:endParaRPr>
          </a:p>
        </p:txBody>
      </p:sp>
      <p:sp>
        <p:nvSpPr>
          <p:cNvPr id="543" name="Google Shape;543;p16"/>
          <p:cNvSpPr txBox="1"/>
          <p:nvPr/>
        </p:nvSpPr>
        <p:spPr>
          <a:xfrm>
            <a:off x="4230291" y="1922863"/>
            <a:ext cx="1158478" cy="357764"/>
          </a:xfrm>
          <a:prstGeom prst="rect">
            <a:avLst/>
          </a:prstGeom>
          <a:noFill/>
          <a:ln>
            <a:noFill/>
          </a:ln>
        </p:spPr>
        <p:txBody>
          <a:bodyPr spcFirstLastPara="1" wrap="square" lIns="68561" tIns="68561" rIns="68561" bIns="68561" anchor="t" anchorCtr="0">
            <a:spAutoFit/>
          </a:bodyPr>
          <a:lstStyle/>
          <a:p>
            <a:pPr algn="just" defTabSz="912690">
              <a:buClr>
                <a:srgbClr val="000000"/>
              </a:buClr>
              <a:buSzPts val="1800"/>
            </a:pPr>
            <a:r>
              <a:rPr lang="en-US" sz="1400" b="1">
                <a:solidFill>
                  <a:srgbClr val="000000"/>
                </a:solidFill>
                <a:ea typeface="Calibri"/>
                <a:cs typeface="Calibri"/>
                <a:sym typeface="Calibri"/>
              </a:rPr>
              <a:t>4 a 60 años</a:t>
            </a:r>
            <a:endParaRPr sz="1100">
              <a:solidFill>
                <a:srgbClr val="000000"/>
              </a:solidFill>
              <a:latin typeface="Arial"/>
              <a:ea typeface="Arial"/>
              <a:cs typeface="Arial"/>
              <a:sym typeface="Arial"/>
            </a:endParaRPr>
          </a:p>
        </p:txBody>
      </p:sp>
      <p:sp>
        <p:nvSpPr>
          <p:cNvPr id="544" name="Google Shape;544;p16"/>
          <p:cNvSpPr txBox="1"/>
          <p:nvPr/>
        </p:nvSpPr>
        <p:spPr>
          <a:xfrm>
            <a:off x="357191" y="1703785"/>
            <a:ext cx="2253853" cy="300038"/>
          </a:xfrm>
          <a:prstGeom prst="rect">
            <a:avLst/>
          </a:prstGeom>
          <a:noFill/>
          <a:ln>
            <a:noFill/>
          </a:ln>
        </p:spPr>
        <p:txBody>
          <a:bodyPr spcFirstLastPara="1" wrap="square" lIns="91415" tIns="91415" rIns="91415" bIns="91415" anchor="t" anchorCtr="0">
            <a:noAutofit/>
          </a:bodyPr>
          <a:lstStyle/>
          <a:p>
            <a:pPr defTabSz="912690">
              <a:buClr>
                <a:srgbClr val="000000"/>
              </a:buClr>
              <a:buSzPts val="1600"/>
            </a:pPr>
            <a:r>
              <a:rPr lang="en-US" sz="1200">
                <a:solidFill>
                  <a:srgbClr val="000000"/>
                </a:solidFill>
                <a:latin typeface="Roboto"/>
                <a:ea typeface="Roboto"/>
                <a:cs typeface="Roboto"/>
                <a:sym typeface="Roboto"/>
              </a:rPr>
              <a:t>COFEPRIS</a:t>
            </a:r>
            <a:r>
              <a:rPr lang="en-US" sz="1200" baseline="30000">
                <a:solidFill>
                  <a:srgbClr val="000000"/>
                </a:solidFill>
                <a:latin typeface="Roboto"/>
                <a:ea typeface="Roboto"/>
                <a:cs typeface="Roboto"/>
                <a:sym typeface="Roboto"/>
              </a:rPr>
              <a:t>1</a:t>
            </a:r>
            <a:endParaRPr sz="1100">
              <a:solidFill>
                <a:srgbClr val="000000"/>
              </a:solidFill>
              <a:latin typeface="Arial"/>
              <a:ea typeface="Arial"/>
              <a:cs typeface="Arial"/>
              <a:sym typeface="Arial"/>
            </a:endParaRPr>
          </a:p>
        </p:txBody>
      </p:sp>
      <p:pic>
        <p:nvPicPr>
          <p:cNvPr id="545" name="Google Shape;545;p16"/>
          <p:cNvPicPr preferRelativeResize="0"/>
          <p:nvPr/>
        </p:nvPicPr>
        <p:blipFill rotWithShape="1">
          <a:blip r:embed="rId15">
            <a:alphaModFix/>
          </a:blip>
          <a:srcRect/>
          <a:stretch/>
        </p:blipFill>
        <p:spPr>
          <a:xfrm>
            <a:off x="33338" y="1743075"/>
            <a:ext cx="381000" cy="217884"/>
          </a:xfrm>
          <a:prstGeom prst="rect">
            <a:avLst/>
          </a:prstGeom>
          <a:noFill/>
          <a:ln w="9525" cap="flat" cmpd="sng">
            <a:solidFill>
              <a:schemeClr val="dk1"/>
            </a:solidFill>
            <a:prstDash val="solid"/>
            <a:round/>
            <a:headEnd type="none" w="sm" len="sm"/>
            <a:tailEnd type="none" w="sm" len="sm"/>
          </a:ln>
        </p:spPr>
      </p:pic>
      <p:pic>
        <p:nvPicPr>
          <p:cNvPr id="546" name="Google Shape;546;p16"/>
          <p:cNvPicPr preferRelativeResize="0"/>
          <p:nvPr/>
        </p:nvPicPr>
        <p:blipFill rotWithShape="1">
          <a:blip r:embed="rId16">
            <a:alphaModFix/>
          </a:blip>
          <a:srcRect/>
          <a:stretch/>
        </p:blipFill>
        <p:spPr>
          <a:xfrm>
            <a:off x="7287815" y="3007524"/>
            <a:ext cx="360759" cy="233363"/>
          </a:xfrm>
          <a:prstGeom prst="rect">
            <a:avLst/>
          </a:prstGeom>
          <a:noFill/>
          <a:ln w="9525" cap="flat" cmpd="sng">
            <a:solidFill>
              <a:srgbClr val="000000"/>
            </a:solidFill>
            <a:prstDash val="solid"/>
            <a:round/>
            <a:headEnd type="none" w="sm" len="sm"/>
            <a:tailEnd type="none" w="sm" len="sm"/>
          </a:ln>
        </p:spPr>
      </p:pic>
      <p:grpSp>
        <p:nvGrpSpPr>
          <p:cNvPr id="547" name="Google Shape;547;p16"/>
          <p:cNvGrpSpPr/>
          <p:nvPr/>
        </p:nvGrpSpPr>
        <p:grpSpPr>
          <a:xfrm>
            <a:off x="-84534" y="2212187"/>
            <a:ext cx="1534716" cy="653653"/>
            <a:chOff x="1622289" y="2800065"/>
            <a:chExt cx="2034832" cy="653352"/>
          </a:xfrm>
        </p:grpSpPr>
        <p:sp>
          <p:nvSpPr>
            <p:cNvPr id="548" name="Google Shape;548;p16"/>
            <p:cNvSpPr txBox="1"/>
            <p:nvPr/>
          </p:nvSpPr>
          <p:spPr>
            <a:xfrm>
              <a:off x="2121121" y="3079483"/>
              <a:ext cx="1536000" cy="133500"/>
            </a:xfrm>
            <a:prstGeom prst="rect">
              <a:avLst/>
            </a:prstGeom>
            <a:solidFill>
              <a:srgbClr val="0E9453"/>
            </a:solidFill>
            <a:ln>
              <a:noFill/>
            </a:ln>
          </p:spPr>
          <p:txBody>
            <a:bodyPr spcFirstLastPara="1" wrap="square" lIns="121900" tIns="121900" rIns="121900" bIns="121900" anchor="ctr" anchorCtr="0">
              <a:noAutofit/>
            </a:bodyPr>
            <a:lstStyle/>
            <a:p>
              <a:pPr defTabSz="912690">
                <a:buClr>
                  <a:srgbClr val="000000"/>
                </a:buClr>
                <a:buSzPts val="1400"/>
              </a:pPr>
              <a:endParaRPr sz="1100">
                <a:solidFill>
                  <a:srgbClr val="000000"/>
                </a:solidFill>
                <a:latin typeface="Arial"/>
                <a:ea typeface="Arial"/>
                <a:cs typeface="Arial"/>
                <a:sym typeface="Arial"/>
              </a:endParaRPr>
            </a:p>
          </p:txBody>
        </p:sp>
        <p:grpSp>
          <p:nvGrpSpPr>
            <p:cNvPr id="549" name="Google Shape;549;p16"/>
            <p:cNvGrpSpPr/>
            <p:nvPr/>
          </p:nvGrpSpPr>
          <p:grpSpPr>
            <a:xfrm>
              <a:off x="1622289" y="2800065"/>
              <a:ext cx="1092000" cy="653352"/>
              <a:chOff x="1622289" y="2800065"/>
              <a:chExt cx="1092000" cy="653352"/>
            </a:xfrm>
          </p:grpSpPr>
          <p:sp>
            <p:nvSpPr>
              <p:cNvPr id="550" name="Google Shape;550;p16"/>
              <p:cNvSpPr txBox="1"/>
              <p:nvPr/>
            </p:nvSpPr>
            <p:spPr>
              <a:xfrm>
                <a:off x="1622289" y="3242817"/>
                <a:ext cx="1092000" cy="210600"/>
              </a:xfrm>
              <a:prstGeom prst="rect">
                <a:avLst/>
              </a:prstGeom>
              <a:noFill/>
              <a:ln>
                <a:noFill/>
              </a:ln>
            </p:spPr>
            <p:txBody>
              <a:bodyPr spcFirstLastPara="1" wrap="square" lIns="121900" tIns="121900" rIns="121900" bIns="121900" anchor="t" anchorCtr="0">
                <a:noAutofit/>
              </a:bodyPr>
              <a:lstStyle/>
              <a:p>
                <a:pPr algn="ctr" defTabSz="912690">
                  <a:lnSpc>
                    <a:spcPct val="115000"/>
                  </a:lnSpc>
                  <a:buClr>
                    <a:srgbClr val="000000"/>
                  </a:buClr>
                  <a:buSzPts val="1100"/>
                </a:pPr>
                <a:r>
                  <a:rPr lang="en-US" sz="800" b="1">
                    <a:solidFill>
                      <a:srgbClr val="000000"/>
                    </a:solidFill>
                    <a:latin typeface="Roboto"/>
                    <a:ea typeface="Roboto"/>
                    <a:cs typeface="Roboto"/>
                    <a:sym typeface="Roboto"/>
                  </a:rPr>
                  <a:t>May 2021</a:t>
                </a:r>
                <a:endParaRPr sz="1100">
                  <a:solidFill>
                    <a:srgbClr val="000000"/>
                  </a:solidFill>
                  <a:latin typeface="Arial"/>
                  <a:ea typeface="Arial"/>
                  <a:cs typeface="Arial"/>
                  <a:sym typeface="Arial"/>
                </a:endParaRPr>
              </a:p>
            </p:txBody>
          </p:sp>
          <p:grpSp>
            <p:nvGrpSpPr>
              <p:cNvPr id="551" name="Google Shape;551;p16"/>
              <p:cNvGrpSpPr/>
              <p:nvPr/>
            </p:nvGrpSpPr>
            <p:grpSpPr>
              <a:xfrm>
                <a:off x="2069546" y="2800065"/>
                <a:ext cx="92400" cy="411825"/>
                <a:chOff x="2034095" y="2563700"/>
                <a:chExt cx="92400" cy="411825"/>
              </a:xfrm>
            </p:grpSpPr>
            <p:cxnSp>
              <p:nvCxnSpPr>
                <p:cNvPr id="552" name="Google Shape;552;p16"/>
                <p:cNvCxnSpPr/>
                <p:nvPr/>
              </p:nvCxnSpPr>
              <p:spPr>
                <a:xfrm>
                  <a:off x="2080295" y="2616125"/>
                  <a:ext cx="0" cy="359400"/>
                </a:xfrm>
                <a:prstGeom prst="straightConnector1">
                  <a:avLst/>
                </a:prstGeom>
                <a:noFill/>
                <a:ln w="9525" cap="flat" cmpd="sng">
                  <a:solidFill>
                    <a:srgbClr val="000000"/>
                  </a:solidFill>
                  <a:prstDash val="solid"/>
                  <a:miter lim="800000"/>
                  <a:headEnd type="none" w="sm" len="sm"/>
                  <a:tailEnd type="none" w="sm" len="sm"/>
                </a:ln>
              </p:spPr>
            </p:cxnSp>
            <p:sp>
              <p:nvSpPr>
                <p:cNvPr id="553" name="Google Shape;553;p16"/>
                <p:cNvSpPr/>
                <p:nvPr/>
              </p:nvSpPr>
              <p:spPr>
                <a:xfrm>
                  <a:off x="2034095" y="2563700"/>
                  <a:ext cx="92400" cy="92400"/>
                </a:xfrm>
                <a:prstGeom prst="ellipse">
                  <a:avLst/>
                </a:prstGeom>
                <a:solidFill>
                  <a:srgbClr val="000000"/>
                </a:solidFill>
                <a:ln>
                  <a:noFill/>
                </a:ln>
              </p:spPr>
              <p:txBody>
                <a:bodyPr spcFirstLastPara="1" wrap="square" lIns="121900" tIns="121900" rIns="121900" bIns="121900" anchor="ctr" anchorCtr="0">
                  <a:noAutofit/>
                </a:bodyPr>
                <a:lstStyle/>
                <a:p>
                  <a:pPr defTabSz="912690">
                    <a:buClr>
                      <a:srgbClr val="000000"/>
                    </a:buClr>
                    <a:buSzPts val="1400"/>
                  </a:pPr>
                  <a:endParaRPr sz="1100">
                    <a:solidFill>
                      <a:srgbClr val="000000"/>
                    </a:solidFill>
                    <a:latin typeface="Arial"/>
                    <a:ea typeface="Arial"/>
                    <a:cs typeface="Arial"/>
                    <a:sym typeface="Arial"/>
                  </a:endParaRPr>
                </a:p>
              </p:txBody>
            </p:sp>
          </p:grpSp>
        </p:grpSp>
      </p:grpSp>
      <p:sp>
        <p:nvSpPr>
          <p:cNvPr id="554" name="Google Shape;554;p16"/>
          <p:cNvSpPr txBox="1"/>
          <p:nvPr/>
        </p:nvSpPr>
        <p:spPr>
          <a:xfrm>
            <a:off x="71438" y="1922863"/>
            <a:ext cx="381000" cy="357764"/>
          </a:xfrm>
          <a:prstGeom prst="rect">
            <a:avLst/>
          </a:prstGeom>
          <a:noFill/>
          <a:ln>
            <a:noFill/>
          </a:ln>
        </p:spPr>
        <p:txBody>
          <a:bodyPr spcFirstLastPara="1" wrap="square" lIns="68561" tIns="68561" rIns="68561" bIns="68561" anchor="t" anchorCtr="0">
            <a:spAutoFit/>
          </a:bodyPr>
          <a:lstStyle/>
          <a:p>
            <a:pPr algn="just" defTabSz="912690">
              <a:buClr>
                <a:srgbClr val="000000"/>
              </a:buClr>
              <a:buSzPts val="1800"/>
            </a:pPr>
            <a:r>
              <a:rPr lang="en-US" sz="1400">
                <a:solidFill>
                  <a:srgbClr val="000000"/>
                </a:solidFill>
                <a:ea typeface="Calibri"/>
                <a:cs typeface="Calibri"/>
                <a:sym typeface="Calibri"/>
              </a:rPr>
              <a:t>NO</a:t>
            </a:r>
            <a:endParaRPr sz="1100">
              <a:solidFill>
                <a:srgbClr val="000000"/>
              </a:solidFill>
              <a:latin typeface="Arial"/>
              <a:ea typeface="Arial"/>
              <a:cs typeface="Arial"/>
              <a:sym typeface="Arial"/>
            </a:endParaRPr>
          </a:p>
        </p:txBody>
      </p:sp>
      <p:grpSp>
        <p:nvGrpSpPr>
          <p:cNvPr id="555" name="Google Shape;555;p16"/>
          <p:cNvGrpSpPr/>
          <p:nvPr/>
        </p:nvGrpSpPr>
        <p:grpSpPr>
          <a:xfrm>
            <a:off x="6118626" y="1627585"/>
            <a:ext cx="2176463" cy="1218009"/>
            <a:chOff x="4709796" y="2215598"/>
            <a:chExt cx="2754234" cy="1217451"/>
          </a:xfrm>
        </p:grpSpPr>
        <p:sp>
          <p:nvSpPr>
            <p:cNvPr id="556" name="Google Shape;556;p16"/>
            <p:cNvSpPr txBox="1"/>
            <p:nvPr/>
          </p:nvSpPr>
          <p:spPr>
            <a:xfrm>
              <a:off x="5258637" y="3079473"/>
              <a:ext cx="1549200" cy="133500"/>
            </a:xfrm>
            <a:prstGeom prst="rect">
              <a:avLst/>
            </a:prstGeom>
            <a:solidFill>
              <a:srgbClr val="0E9453"/>
            </a:solidFill>
            <a:ln>
              <a:noFill/>
            </a:ln>
          </p:spPr>
          <p:txBody>
            <a:bodyPr spcFirstLastPara="1" wrap="square" lIns="121900" tIns="121900" rIns="121900" bIns="121900" anchor="ctr" anchorCtr="0">
              <a:noAutofit/>
            </a:bodyPr>
            <a:lstStyle/>
            <a:p>
              <a:pPr defTabSz="912690">
                <a:buClr>
                  <a:srgbClr val="000000"/>
                </a:buClr>
                <a:buSzPts val="1400"/>
              </a:pPr>
              <a:endParaRPr sz="1100">
                <a:solidFill>
                  <a:srgbClr val="000000"/>
                </a:solidFill>
                <a:latin typeface="Arial"/>
                <a:ea typeface="Arial"/>
                <a:cs typeface="Arial"/>
                <a:sym typeface="Arial"/>
              </a:endParaRPr>
            </a:p>
          </p:txBody>
        </p:sp>
        <p:grpSp>
          <p:nvGrpSpPr>
            <p:cNvPr id="557" name="Google Shape;557;p16"/>
            <p:cNvGrpSpPr/>
            <p:nvPr/>
          </p:nvGrpSpPr>
          <p:grpSpPr>
            <a:xfrm>
              <a:off x="4709796" y="2215598"/>
              <a:ext cx="2754234" cy="1217451"/>
              <a:chOff x="4709796" y="2215598"/>
              <a:chExt cx="2754234" cy="1217451"/>
            </a:xfrm>
          </p:grpSpPr>
          <p:grpSp>
            <p:nvGrpSpPr>
              <p:cNvPr id="558" name="Google Shape;558;p16"/>
              <p:cNvGrpSpPr/>
              <p:nvPr/>
            </p:nvGrpSpPr>
            <p:grpSpPr>
              <a:xfrm>
                <a:off x="5208376" y="2800065"/>
                <a:ext cx="92400" cy="411825"/>
                <a:chOff x="1245635" y="2563700"/>
                <a:chExt cx="92400" cy="411825"/>
              </a:xfrm>
            </p:grpSpPr>
            <p:cxnSp>
              <p:nvCxnSpPr>
                <p:cNvPr id="559" name="Google Shape;559;p16"/>
                <p:cNvCxnSpPr/>
                <p:nvPr/>
              </p:nvCxnSpPr>
              <p:spPr>
                <a:xfrm>
                  <a:off x="1291835" y="2616125"/>
                  <a:ext cx="0" cy="359400"/>
                </a:xfrm>
                <a:prstGeom prst="straightConnector1">
                  <a:avLst/>
                </a:prstGeom>
                <a:noFill/>
                <a:ln w="9525" cap="flat" cmpd="sng">
                  <a:solidFill>
                    <a:srgbClr val="000000"/>
                  </a:solidFill>
                  <a:prstDash val="solid"/>
                  <a:miter lim="800000"/>
                  <a:headEnd type="none" w="sm" len="sm"/>
                  <a:tailEnd type="none" w="sm" len="sm"/>
                </a:ln>
              </p:spPr>
            </p:cxnSp>
            <p:sp>
              <p:nvSpPr>
                <p:cNvPr id="560" name="Google Shape;560;p16"/>
                <p:cNvSpPr/>
                <p:nvPr/>
              </p:nvSpPr>
              <p:spPr>
                <a:xfrm>
                  <a:off x="1245635" y="2563700"/>
                  <a:ext cx="92400" cy="92400"/>
                </a:xfrm>
                <a:prstGeom prst="ellipse">
                  <a:avLst/>
                </a:prstGeom>
                <a:solidFill>
                  <a:srgbClr val="000000"/>
                </a:solidFill>
                <a:ln>
                  <a:noFill/>
                </a:ln>
              </p:spPr>
              <p:txBody>
                <a:bodyPr spcFirstLastPara="1" wrap="square" lIns="121900" tIns="121900" rIns="121900" bIns="121900" anchor="ctr" anchorCtr="0">
                  <a:noAutofit/>
                </a:bodyPr>
                <a:lstStyle/>
                <a:p>
                  <a:pPr defTabSz="912690">
                    <a:buClr>
                      <a:srgbClr val="000000"/>
                    </a:buClr>
                    <a:buSzPts val="1400"/>
                  </a:pPr>
                  <a:endParaRPr sz="1100">
                    <a:solidFill>
                      <a:srgbClr val="000000"/>
                    </a:solidFill>
                    <a:latin typeface="Arial"/>
                    <a:ea typeface="Arial"/>
                    <a:cs typeface="Arial"/>
                    <a:sym typeface="Arial"/>
                  </a:endParaRPr>
                </a:p>
              </p:txBody>
            </p:sp>
          </p:grpSp>
          <p:sp>
            <p:nvSpPr>
              <p:cNvPr id="561" name="Google Shape;561;p16"/>
              <p:cNvSpPr txBox="1"/>
              <p:nvPr/>
            </p:nvSpPr>
            <p:spPr>
              <a:xfrm>
                <a:off x="4709796" y="3215249"/>
                <a:ext cx="1200600" cy="217800"/>
              </a:xfrm>
              <a:prstGeom prst="rect">
                <a:avLst/>
              </a:prstGeom>
              <a:noFill/>
              <a:ln>
                <a:noFill/>
              </a:ln>
            </p:spPr>
            <p:txBody>
              <a:bodyPr spcFirstLastPara="1" wrap="square" lIns="121900" tIns="121900" rIns="121900" bIns="121900" anchor="t" anchorCtr="0">
                <a:noAutofit/>
              </a:bodyPr>
              <a:lstStyle/>
              <a:p>
                <a:pPr algn="ctr" defTabSz="912690">
                  <a:buClr>
                    <a:srgbClr val="000000"/>
                  </a:buClr>
                  <a:buSzPts val="1100"/>
                </a:pPr>
                <a:r>
                  <a:rPr lang="en-US" sz="800" b="1">
                    <a:solidFill>
                      <a:srgbClr val="000000"/>
                    </a:solidFill>
                    <a:latin typeface="Roboto"/>
                    <a:ea typeface="Roboto"/>
                    <a:cs typeface="Roboto"/>
                    <a:sym typeface="Roboto"/>
                  </a:rPr>
                  <a:t>May 2023</a:t>
                </a:r>
                <a:endParaRPr sz="1100">
                  <a:solidFill>
                    <a:srgbClr val="000000"/>
                  </a:solidFill>
                  <a:latin typeface="Arial"/>
                  <a:ea typeface="Arial"/>
                  <a:cs typeface="Arial"/>
                  <a:sym typeface="Arial"/>
                </a:endParaRPr>
              </a:p>
              <a:p>
                <a:pPr defTabSz="912690">
                  <a:buClr>
                    <a:srgbClr val="000000"/>
                  </a:buClr>
                  <a:buSzPts val="1100"/>
                </a:pPr>
                <a:endParaRPr sz="800" b="1">
                  <a:solidFill>
                    <a:srgbClr val="000000"/>
                  </a:solidFill>
                  <a:latin typeface="Roboto"/>
                  <a:ea typeface="Roboto"/>
                  <a:cs typeface="Roboto"/>
                  <a:sym typeface="Roboto"/>
                </a:endParaRPr>
              </a:p>
            </p:txBody>
          </p:sp>
          <p:sp>
            <p:nvSpPr>
              <p:cNvPr id="562" name="Google Shape;562;p16"/>
              <p:cNvSpPr txBox="1"/>
              <p:nvPr/>
            </p:nvSpPr>
            <p:spPr>
              <a:xfrm>
                <a:off x="5210430" y="2215598"/>
                <a:ext cx="2253600" cy="300300"/>
              </a:xfrm>
              <a:prstGeom prst="rect">
                <a:avLst/>
              </a:prstGeom>
              <a:noFill/>
              <a:ln>
                <a:noFill/>
              </a:ln>
            </p:spPr>
            <p:txBody>
              <a:bodyPr spcFirstLastPara="1" wrap="square" lIns="121900" tIns="121900" rIns="121900" bIns="121900" anchor="t" anchorCtr="0">
                <a:noAutofit/>
              </a:bodyPr>
              <a:lstStyle/>
              <a:p>
                <a:pPr defTabSz="912690">
                  <a:buClr>
                    <a:srgbClr val="000000"/>
                  </a:buClr>
                  <a:buSzPts val="1600"/>
                </a:pPr>
                <a:r>
                  <a:rPr lang="en-US" sz="1200">
                    <a:solidFill>
                      <a:srgbClr val="000000"/>
                    </a:solidFill>
                    <a:latin typeface="Roboto"/>
                    <a:ea typeface="Roboto"/>
                    <a:cs typeface="Roboto"/>
                    <a:sym typeface="Roboto"/>
                  </a:rPr>
                  <a:t>FDA THAI</a:t>
                </a:r>
                <a:r>
                  <a:rPr lang="en-US" sz="1200" baseline="30000">
                    <a:solidFill>
                      <a:srgbClr val="000000"/>
                    </a:solidFill>
                    <a:latin typeface="Roboto"/>
                    <a:ea typeface="Roboto"/>
                    <a:cs typeface="Roboto"/>
                    <a:sym typeface="Roboto"/>
                  </a:rPr>
                  <a:t>7</a:t>
                </a:r>
                <a:endParaRPr sz="1100">
                  <a:solidFill>
                    <a:srgbClr val="000000"/>
                  </a:solidFill>
                  <a:latin typeface="Arial"/>
                  <a:ea typeface="Arial"/>
                  <a:cs typeface="Arial"/>
                  <a:sym typeface="Arial"/>
                </a:endParaRPr>
              </a:p>
            </p:txBody>
          </p:sp>
        </p:grpSp>
      </p:grpSp>
      <p:pic>
        <p:nvPicPr>
          <p:cNvPr id="563" name="Google Shape;563;p16"/>
          <p:cNvPicPr preferRelativeResize="0"/>
          <p:nvPr/>
        </p:nvPicPr>
        <p:blipFill rotWithShape="1">
          <a:blip r:embed="rId17">
            <a:alphaModFix/>
          </a:blip>
          <a:srcRect/>
          <a:stretch/>
        </p:blipFill>
        <p:spPr>
          <a:xfrm>
            <a:off x="6201971" y="1746649"/>
            <a:ext cx="315515" cy="210740"/>
          </a:xfrm>
          <a:prstGeom prst="rect">
            <a:avLst/>
          </a:prstGeom>
          <a:noFill/>
          <a:ln w="9525" cap="flat" cmpd="sng">
            <a:solidFill>
              <a:schemeClr val="dk1"/>
            </a:solidFill>
            <a:prstDash val="solid"/>
            <a:round/>
            <a:headEnd type="none" w="sm" len="sm"/>
            <a:tailEnd type="none" w="sm" len="sm"/>
          </a:ln>
        </p:spPr>
      </p:pic>
      <p:sp>
        <p:nvSpPr>
          <p:cNvPr id="564" name="Google Shape;564;p16"/>
          <p:cNvSpPr txBox="1"/>
          <p:nvPr/>
        </p:nvSpPr>
        <p:spPr>
          <a:xfrm>
            <a:off x="6412707" y="1865710"/>
            <a:ext cx="1158478" cy="357764"/>
          </a:xfrm>
          <a:prstGeom prst="rect">
            <a:avLst/>
          </a:prstGeom>
          <a:noFill/>
          <a:ln>
            <a:noFill/>
          </a:ln>
        </p:spPr>
        <p:txBody>
          <a:bodyPr spcFirstLastPara="1" wrap="square" lIns="68561" tIns="68561" rIns="68561" bIns="68561" anchor="t" anchorCtr="0">
            <a:spAutoFit/>
          </a:bodyPr>
          <a:lstStyle/>
          <a:p>
            <a:pPr algn="just" defTabSz="912690">
              <a:buClr>
                <a:srgbClr val="000000"/>
              </a:buClr>
              <a:buSzPts val="1800"/>
            </a:pPr>
            <a:r>
              <a:rPr lang="en-US" sz="1400" b="1">
                <a:solidFill>
                  <a:srgbClr val="000000"/>
                </a:solidFill>
                <a:ea typeface="Calibri"/>
                <a:cs typeface="Calibri"/>
                <a:sym typeface="Calibri"/>
              </a:rPr>
              <a:t>4 a 60 años</a:t>
            </a:r>
            <a:endParaRPr sz="1100">
              <a:solidFill>
                <a:srgbClr val="000000"/>
              </a:solidFill>
              <a:latin typeface="Arial"/>
              <a:ea typeface="Arial"/>
              <a:cs typeface="Arial"/>
              <a:sym typeface="Arial"/>
            </a:endParaRPr>
          </a:p>
        </p:txBody>
      </p:sp>
      <p:grpSp>
        <p:nvGrpSpPr>
          <p:cNvPr id="565" name="Google Shape;565;p16"/>
          <p:cNvGrpSpPr/>
          <p:nvPr/>
        </p:nvGrpSpPr>
        <p:grpSpPr>
          <a:xfrm>
            <a:off x="7188994" y="2247900"/>
            <a:ext cx="1870472" cy="1037034"/>
            <a:chOff x="2871778" y="2835705"/>
            <a:chExt cx="1870454" cy="1037185"/>
          </a:xfrm>
        </p:grpSpPr>
        <p:sp>
          <p:nvSpPr>
            <p:cNvPr id="566" name="Google Shape;566;p16"/>
            <p:cNvSpPr txBox="1"/>
            <p:nvPr/>
          </p:nvSpPr>
          <p:spPr>
            <a:xfrm>
              <a:off x="3403054" y="3079473"/>
              <a:ext cx="798000" cy="133500"/>
            </a:xfrm>
            <a:prstGeom prst="rect">
              <a:avLst/>
            </a:prstGeom>
            <a:solidFill>
              <a:srgbClr val="085631"/>
            </a:solidFill>
            <a:ln>
              <a:noFill/>
            </a:ln>
          </p:spPr>
          <p:txBody>
            <a:bodyPr spcFirstLastPara="1" wrap="square" lIns="121900" tIns="121900" rIns="121900" bIns="121900" anchor="ctr" anchorCtr="0">
              <a:noAutofit/>
            </a:bodyPr>
            <a:lstStyle/>
            <a:p>
              <a:pPr defTabSz="912690">
                <a:buClr>
                  <a:srgbClr val="000000"/>
                </a:buClr>
                <a:buSzPts val="1400"/>
              </a:pPr>
              <a:endParaRPr sz="1100">
                <a:solidFill>
                  <a:srgbClr val="000000"/>
                </a:solidFill>
                <a:latin typeface="Arial"/>
                <a:ea typeface="Arial"/>
                <a:cs typeface="Arial"/>
                <a:sym typeface="Arial"/>
              </a:endParaRPr>
            </a:p>
          </p:txBody>
        </p:sp>
        <p:grpSp>
          <p:nvGrpSpPr>
            <p:cNvPr id="567" name="Google Shape;567;p16"/>
            <p:cNvGrpSpPr/>
            <p:nvPr/>
          </p:nvGrpSpPr>
          <p:grpSpPr>
            <a:xfrm>
              <a:off x="2871778" y="2835705"/>
              <a:ext cx="1870454" cy="1037185"/>
              <a:chOff x="2871778" y="2835705"/>
              <a:chExt cx="1870454" cy="1037185"/>
            </a:xfrm>
          </p:grpSpPr>
          <p:sp>
            <p:nvSpPr>
              <p:cNvPr id="568" name="Google Shape;568;p16"/>
              <p:cNvSpPr txBox="1"/>
              <p:nvPr/>
            </p:nvSpPr>
            <p:spPr>
              <a:xfrm>
                <a:off x="2871778" y="2835705"/>
                <a:ext cx="914100" cy="238200"/>
              </a:xfrm>
              <a:prstGeom prst="rect">
                <a:avLst/>
              </a:prstGeom>
              <a:noFill/>
              <a:ln>
                <a:noFill/>
              </a:ln>
            </p:spPr>
            <p:txBody>
              <a:bodyPr spcFirstLastPara="1" wrap="square" lIns="121900" tIns="121900" rIns="121900" bIns="121900" anchor="t" anchorCtr="0">
                <a:noAutofit/>
              </a:bodyPr>
              <a:lstStyle/>
              <a:p>
                <a:pPr algn="ctr" defTabSz="912690">
                  <a:lnSpc>
                    <a:spcPct val="115000"/>
                  </a:lnSpc>
                  <a:buClr>
                    <a:srgbClr val="000000"/>
                  </a:buClr>
                  <a:buSzPts val="1100"/>
                </a:pPr>
                <a:r>
                  <a:rPr lang="en-US" sz="800" b="1">
                    <a:solidFill>
                      <a:srgbClr val="000000"/>
                    </a:solidFill>
                    <a:latin typeface="Roboto"/>
                    <a:ea typeface="Roboto"/>
                    <a:cs typeface="Roboto"/>
                    <a:sym typeface="Roboto"/>
                  </a:rPr>
                  <a:t>Jul 2023</a:t>
                </a:r>
                <a:endParaRPr sz="1100">
                  <a:solidFill>
                    <a:srgbClr val="000000"/>
                  </a:solidFill>
                  <a:latin typeface="Arial"/>
                  <a:ea typeface="Arial"/>
                  <a:cs typeface="Arial"/>
                  <a:sym typeface="Arial"/>
                </a:endParaRPr>
              </a:p>
            </p:txBody>
          </p:sp>
          <p:grpSp>
            <p:nvGrpSpPr>
              <p:cNvPr id="569" name="Google Shape;569;p16"/>
              <p:cNvGrpSpPr/>
              <p:nvPr/>
            </p:nvGrpSpPr>
            <p:grpSpPr>
              <a:xfrm rot="10800000">
                <a:off x="3363436" y="3079467"/>
                <a:ext cx="92400" cy="411825"/>
                <a:chOff x="1555737" y="2563700"/>
                <a:chExt cx="92400" cy="411825"/>
              </a:xfrm>
            </p:grpSpPr>
            <p:cxnSp>
              <p:nvCxnSpPr>
                <p:cNvPr id="570" name="Google Shape;570;p16"/>
                <p:cNvCxnSpPr/>
                <p:nvPr/>
              </p:nvCxnSpPr>
              <p:spPr>
                <a:xfrm>
                  <a:off x="1601937" y="2616125"/>
                  <a:ext cx="0" cy="359400"/>
                </a:xfrm>
                <a:prstGeom prst="straightConnector1">
                  <a:avLst/>
                </a:prstGeom>
                <a:noFill/>
                <a:ln w="9525" cap="flat" cmpd="sng">
                  <a:solidFill>
                    <a:srgbClr val="000000"/>
                  </a:solidFill>
                  <a:prstDash val="solid"/>
                  <a:miter lim="800000"/>
                  <a:headEnd type="none" w="sm" len="sm"/>
                  <a:tailEnd type="none" w="sm" len="sm"/>
                </a:ln>
              </p:spPr>
            </p:cxnSp>
            <p:sp>
              <p:nvSpPr>
                <p:cNvPr id="571" name="Google Shape;571;p16"/>
                <p:cNvSpPr/>
                <p:nvPr/>
              </p:nvSpPr>
              <p:spPr>
                <a:xfrm>
                  <a:off x="1555737" y="2563700"/>
                  <a:ext cx="92400" cy="92400"/>
                </a:xfrm>
                <a:prstGeom prst="ellipse">
                  <a:avLst/>
                </a:prstGeom>
                <a:solidFill>
                  <a:srgbClr val="000000"/>
                </a:solidFill>
                <a:ln>
                  <a:noFill/>
                </a:ln>
              </p:spPr>
              <p:txBody>
                <a:bodyPr spcFirstLastPara="1" wrap="square" lIns="121900" tIns="121900" rIns="121900" bIns="121900" anchor="ctr" anchorCtr="0">
                  <a:noAutofit/>
                </a:bodyPr>
                <a:lstStyle/>
                <a:p>
                  <a:pPr defTabSz="912690">
                    <a:buClr>
                      <a:srgbClr val="000000"/>
                    </a:buClr>
                    <a:buSzPts val="1400"/>
                  </a:pPr>
                  <a:endParaRPr sz="1100">
                    <a:solidFill>
                      <a:srgbClr val="000000"/>
                    </a:solidFill>
                    <a:latin typeface="Arial"/>
                    <a:ea typeface="Arial"/>
                    <a:cs typeface="Arial"/>
                    <a:sym typeface="Arial"/>
                  </a:endParaRPr>
                </a:p>
              </p:txBody>
            </p:sp>
          </p:grpSp>
          <p:sp>
            <p:nvSpPr>
              <p:cNvPr id="572" name="Google Shape;572;p16"/>
              <p:cNvSpPr txBox="1"/>
              <p:nvPr/>
            </p:nvSpPr>
            <p:spPr>
              <a:xfrm>
                <a:off x="3295932" y="3501490"/>
                <a:ext cx="1446300" cy="371400"/>
              </a:xfrm>
              <a:prstGeom prst="rect">
                <a:avLst/>
              </a:prstGeom>
              <a:noFill/>
              <a:ln>
                <a:noFill/>
              </a:ln>
            </p:spPr>
            <p:txBody>
              <a:bodyPr spcFirstLastPara="1" wrap="square" lIns="121900" tIns="121900" rIns="121900" bIns="121900" anchor="t" anchorCtr="0">
                <a:noAutofit/>
              </a:bodyPr>
              <a:lstStyle/>
              <a:p>
                <a:pPr defTabSz="912690">
                  <a:buClr>
                    <a:srgbClr val="000000"/>
                  </a:buClr>
                  <a:buSzPts val="1600"/>
                </a:pPr>
                <a:r>
                  <a:rPr lang="en-US" sz="1200">
                    <a:solidFill>
                      <a:srgbClr val="000000"/>
                    </a:solidFill>
                    <a:latin typeface="Roboto"/>
                    <a:ea typeface="Roboto"/>
                    <a:cs typeface="Roboto"/>
                    <a:sym typeface="Roboto"/>
                  </a:rPr>
                  <a:t>FDA</a:t>
                </a:r>
                <a:endParaRPr sz="1100">
                  <a:solidFill>
                    <a:srgbClr val="000000"/>
                  </a:solidFill>
                  <a:latin typeface="Arial"/>
                  <a:ea typeface="Arial"/>
                  <a:cs typeface="Arial"/>
                  <a:sym typeface="Arial"/>
                </a:endParaRPr>
              </a:p>
            </p:txBody>
          </p:sp>
        </p:grpSp>
      </p:grpSp>
      <p:sp>
        <p:nvSpPr>
          <p:cNvPr id="573" name="Google Shape;573;p16"/>
          <p:cNvSpPr txBox="1"/>
          <p:nvPr/>
        </p:nvSpPr>
        <p:spPr>
          <a:xfrm>
            <a:off x="7934327" y="2709868"/>
            <a:ext cx="1256109" cy="1015637"/>
          </a:xfrm>
          <a:prstGeom prst="rect">
            <a:avLst/>
          </a:prstGeom>
          <a:noFill/>
          <a:ln>
            <a:noFill/>
          </a:ln>
        </p:spPr>
        <p:txBody>
          <a:bodyPr spcFirstLastPara="1" wrap="square" lIns="68561" tIns="68561" rIns="68561" bIns="68561" anchor="t" anchorCtr="0">
            <a:spAutoFit/>
          </a:bodyPr>
          <a:lstStyle/>
          <a:p>
            <a:pPr algn="ctr" defTabSz="912690">
              <a:buClr>
                <a:srgbClr val="000000"/>
              </a:buClr>
              <a:buSzPts val="1400"/>
            </a:pPr>
            <a:r>
              <a:rPr lang="en-US" sz="1100">
                <a:solidFill>
                  <a:srgbClr val="000000"/>
                </a:solidFill>
                <a:ea typeface="Calibri"/>
                <a:cs typeface="Calibri"/>
                <a:sym typeface="Calibri"/>
              </a:rPr>
              <a:t>Retiro voluntario del proceso de licenciamiento presentado en Nov 2022</a:t>
            </a:r>
            <a:r>
              <a:rPr lang="en-US" sz="1200" baseline="30000">
                <a:solidFill>
                  <a:srgbClr val="000000"/>
                </a:solidFill>
                <a:latin typeface="Roboto"/>
                <a:ea typeface="Roboto"/>
                <a:cs typeface="Roboto"/>
                <a:sym typeface="Roboto"/>
              </a:rPr>
              <a:t>8</a:t>
            </a:r>
            <a:endParaRPr sz="1100">
              <a:solidFill>
                <a:srgbClr val="000000"/>
              </a:solidFill>
              <a:latin typeface="Arial"/>
              <a:ea typeface="Arial"/>
              <a:cs typeface="Arial"/>
              <a:sym typeface="Arial"/>
            </a:endParaRPr>
          </a:p>
        </p:txBody>
      </p:sp>
      <p:pic>
        <p:nvPicPr>
          <p:cNvPr id="575" name="Google Shape;575;p16"/>
          <p:cNvPicPr preferRelativeResize="0"/>
          <p:nvPr/>
        </p:nvPicPr>
        <p:blipFill rotWithShape="1">
          <a:blip r:embed="rId18">
            <a:alphaModFix/>
          </a:blip>
          <a:srcRect/>
          <a:stretch/>
        </p:blipFill>
        <p:spPr>
          <a:xfrm>
            <a:off x="267892" y="1134667"/>
            <a:ext cx="382190" cy="382190"/>
          </a:xfrm>
          <a:prstGeom prst="rect">
            <a:avLst/>
          </a:prstGeom>
          <a:noFill/>
          <a:ln>
            <a:noFill/>
          </a:ln>
        </p:spPr>
      </p:pic>
      <p:sp>
        <p:nvSpPr>
          <p:cNvPr id="576" name="Google Shape;576;p16"/>
          <p:cNvSpPr txBox="1"/>
          <p:nvPr/>
        </p:nvSpPr>
        <p:spPr>
          <a:xfrm>
            <a:off x="552453" y="425054"/>
            <a:ext cx="8547497" cy="485775"/>
          </a:xfrm>
          <a:prstGeom prst="rect">
            <a:avLst/>
          </a:prstGeom>
          <a:solidFill>
            <a:srgbClr val="898989"/>
          </a:solidFill>
          <a:ln>
            <a:noFill/>
          </a:ln>
        </p:spPr>
        <p:txBody>
          <a:bodyPr spcFirstLastPara="1" wrap="square" lIns="68543" tIns="34238" rIns="68543" bIns="34238" anchor="ctr" anchorCtr="0">
            <a:noAutofit/>
          </a:bodyPr>
          <a:lstStyle/>
          <a:p>
            <a:pPr defTabSz="912690">
              <a:buClr>
                <a:srgbClr val="FFFFFF"/>
              </a:buClr>
              <a:buSzPts val="3200"/>
            </a:pPr>
            <a:r>
              <a:rPr lang="en-US" sz="2400" b="1">
                <a:solidFill>
                  <a:srgbClr val="FFFFFF"/>
                </a:solidFill>
                <a:ea typeface="Calibri"/>
                <a:cs typeface="Calibri"/>
                <a:sym typeface="Calibri"/>
              </a:rPr>
              <a:t>Vacuna tetravalente contra el dengue QDENGA® de Takeda</a:t>
            </a:r>
            <a:endParaRPr sz="1100">
              <a:solidFill>
                <a:srgbClr val="000000"/>
              </a:solidFill>
              <a:latin typeface="Arial"/>
              <a:ea typeface="Arial"/>
              <a:cs typeface="Arial"/>
              <a:sym typeface="Arial"/>
            </a:endParaRPr>
          </a:p>
        </p:txBody>
      </p:sp>
      <p:pic>
        <p:nvPicPr>
          <p:cNvPr id="577" name="Google Shape;577;p16"/>
          <p:cNvPicPr preferRelativeResize="0"/>
          <p:nvPr/>
        </p:nvPicPr>
        <p:blipFill rotWithShape="1">
          <a:blip r:embed="rId19">
            <a:alphaModFix/>
          </a:blip>
          <a:srcRect/>
          <a:stretch/>
        </p:blipFill>
        <p:spPr>
          <a:xfrm>
            <a:off x="152406" y="425054"/>
            <a:ext cx="277415" cy="485775"/>
          </a:xfrm>
          <a:prstGeom prst="rect">
            <a:avLst/>
          </a:prstGeom>
          <a:noFill/>
          <a:ln>
            <a:noFill/>
          </a:ln>
        </p:spPr>
      </p:pic>
      <p:pic>
        <p:nvPicPr>
          <p:cNvPr id="578" name="Google Shape;578;p16"/>
          <p:cNvPicPr preferRelativeResize="0"/>
          <p:nvPr/>
        </p:nvPicPr>
        <p:blipFill rotWithShape="1">
          <a:blip r:embed="rId20">
            <a:alphaModFix/>
          </a:blip>
          <a:srcRect/>
          <a:stretch/>
        </p:blipFill>
        <p:spPr>
          <a:xfrm>
            <a:off x="5095875" y="3024187"/>
            <a:ext cx="358378" cy="223838"/>
          </a:xfrm>
          <a:prstGeom prst="rect">
            <a:avLst/>
          </a:prstGeom>
          <a:noFill/>
          <a:ln w="9525" cap="flat" cmpd="sng">
            <a:solidFill>
              <a:schemeClr val="dk1"/>
            </a:solidFill>
            <a:prstDash val="solid"/>
            <a:round/>
            <a:headEnd type="none" w="sm" len="sm"/>
            <a:tailEnd type="none" w="sm" len="sm"/>
          </a:ln>
        </p:spPr>
      </p:pic>
    </p:spTree>
    <p:extLst>
      <p:ext uri="{BB962C8B-B14F-4D97-AF65-F5344CB8AC3E}">
        <p14:creationId xmlns:p14="http://schemas.microsoft.com/office/powerpoint/2010/main" val="106543910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29490862-72B0-42C7-A244-001F054E918E}"/>
              </a:ext>
            </a:extLst>
          </p:cNvPr>
          <p:cNvSpPr>
            <a:spLocks noGrp="1"/>
          </p:cNvSpPr>
          <p:nvPr>
            <p:ph type="body" sz="quarter" idx="14"/>
          </p:nvPr>
        </p:nvSpPr>
        <p:spPr>
          <a:xfrm>
            <a:off x="548154" y="4748470"/>
            <a:ext cx="7529513" cy="340727"/>
          </a:xfrm>
        </p:spPr>
        <p:txBody>
          <a:bodyPr/>
          <a:lstStyle/>
          <a:p>
            <a:r>
              <a:rPr lang="en-US"/>
              <a:t/>
            </a:r>
            <a:br>
              <a:rPr lang="en-US"/>
            </a:br>
            <a:r>
              <a:rPr lang="en-US"/>
              <a:t/>
            </a:r>
            <a:br>
              <a:rPr lang="en-US"/>
            </a:br>
            <a:r>
              <a:rPr lang="es"/>
              <a:t>ECA: ensayo controlado aleatorio; OMS, Organización Mundial de la Salud.</a:t>
            </a:r>
            <a:r>
              <a:rPr lang="en-US"/>
              <a:t/>
            </a:r>
            <a:br>
              <a:rPr lang="en-US"/>
            </a:br>
            <a:r>
              <a:rPr lang="es"/>
              <a:t> 1. Vannice KS, et al. </a:t>
            </a:r>
            <a:r>
              <a:rPr lang="es" i="1"/>
              <a:t> Vacuna</a:t>
            </a:r>
            <a:r>
              <a:rPr lang="es"/>
              <a:t> 2018;36:3411–3417; 2. Biswal S, et al.  </a:t>
            </a:r>
            <a:r>
              <a:rPr lang="es" i="1"/>
              <a:t>N Engl J Med </a:t>
            </a:r>
            <a:r>
              <a:rPr lang="es"/>
              <a:t> 2019;381:2009–2019; 3. Biswal S, et al. </a:t>
            </a:r>
            <a:r>
              <a:rPr lang="es" i="1"/>
              <a:t> Lancet</a:t>
            </a:r>
            <a:r>
              <a:rPr lang="es"/>
              <a:t> 2020;395:1423–1433.</a:t>
            </a:r>
          </a:p>
        </p:txBody>
      </p:sp>
      <p:sp>
        <p:nvSpPr>
          <p:cNvPr id="4" name="Slide Number Placeholder 3">
            <a:extLst>
              <a:ext uri="{FF2B5EF4-FFF2-40B4-BE49-F238E27FC236}">
                <a16:creationId xmlns="" xmlns:a16="http://schemas.microsoft.com/office/drawing/2014/main" id="{41DEC9A3-0FD2-413E-8ED6-2226B89ABF8F}"/>
              </a:ext>
            </a:extLst>
          </p:cNvPr>
          <p:cNvSpPr>
            <a:spLocks noGrp="1"/>
          </p:cNvSpPr>
          <p:nvPr>
            <p:ph type="sldNum" sz="quarter" idx="16"/>
          </p:nvPr>
        </p:nvSpPr>
        <p:spPr/>
        <p:txBody>
          <a:bodyPr/>
          <a:lstStyle/>
          <a:p>
            <a:pPr>
              <a:defRPr/>
            </a:pPr>
            <a:fld id="{E9B57936-92EF-4126-AE48-1D9D36D15E98}" type="slidenum">
              <a:rPr kumimoji="1" lang="en-US" altLang="ja-JP">
                <a:solidFill>
                  <a:srgbClr val="A1A4AC"/>
                </a:solidFill>
              </a:rPr>
              <a:pPr>
                <a:defRPr/>
              </a:pPr>
              <a:t>32</a:t>
            </a:fld>
            <a:endParaRPr kumimoji="1" lang="en-US" altLang="ja-JP">
              <a:solidFill>
                <a:srgbClr val="A1A4AC"/>
              </a:solidFill>
            </a:endParaRPr>
          </a:p>
        </p:txBody>
      </p:sp>
      <p:sp>
        <p:nvSpPr>
          <p:cNvPr id="11" name="TextBox 10">
            <a:extLst>
              <a:ext uri="{FF2B5EF4-FFF2-40B4-BE49-F238E27FC236}">
                <a16:creationId xmlns="" xmlns:a16="http://schemas.microsoft.com/office/drawing/2014/main" id="{CC795F10-2197-4A9E-90DA-A652991C7EDE}"/>
              </a:ext>
            </a:extLst>
          </p:cNvPr>
          <p:cNvSpPr txBox="1"/>
          <p:nvPr/>
        </p:nvSpPr>
        <p:spPr>
          <a:xfrm>
            <a:off x="464862" y="1449794"/>
            <a:ext cx="8482120" cy="3363367"/>
          </a:xfrm>
          <a:prstGeom prst="rect">
            <a:avLst/>
          </a:prstGeom>
          <a:solidFill>
            <a:schemeClr val="bg1"/>
          </a:solidFill>
          <a:ln w="19050">
            <a:solidFill>
              <a:schemeClr val="accent5"/>
            </a:solidFill>
          </a:ln>
        </p:spPr>
        <p:txBody>
          <a:bodyPr wrap="square" lIns="68505" tIns="34289" rIns="68505" bIns="34289" anchor="t" anchorCtr="0">
            <a:noAutofit/>
          </a:bodyPr>
          <a:lstStyle>
            <a:defPPr>
              <a:defRPr lang="ja-JP"/>
            </a:defPPr>
            <a:lvl1pPr>
              <a:defRPr sz="1600">
                <a:solidFill>
                  <a:schemeClr val="tx2"/>
                </a:solidFill>
                <a:latin typeface="+mj-lt"/>
              </a:defRPr>
            </a:lvl1pPr>
          </a:lstStyle>
          <a:p>
            <a:pPr marL="418913" indent="-285715" defTabSz="684950">
              <a:buFont typeface="Arial" pitchFamily="34" charset="0"/>
              <a:buChar char="•"/>
              <a:defRPr/>
            </a:pPr>
            <a:r>
              <a:rPr kumimoji="1" lang="es" sz="1800" b="1" dirty="0">
                <a:solidFill>
                  <a:schemeClr val="tx1"/>
                </a:solidFill>
                <a:cs typeface="Calibri"/>
              </a:rPr>
              <a:t>Tamaño de muestra grande</a:t>
            </a:r>
          </a:p>
          <a:p>
            <a:pPr marL="418913" indent="-285715" defTabSz="684950">
              <a:buFont typeface="Arial" pitchFamily="34" charset="0"/>
              <a:buChar char="•"/>
              <a:defRPr/>
            </a:pPr>
            <a:endParaRPr kumimoji="1" lang="en-US" sz="1800" b="1" dirty="0">
              <a:solidFill>
                <a:schemeClr val="tx1"/>
              </a:solidFill>
              <a:cs typeface="Calibri"/>
            </a:endParaRPr>
          </a:p>
          <a:p>
            <a:pPr marL="418913" indent="-285715" defTabSz="684950">
              <a:buFont typeface="Arial" pitchFamily="34" charset="0"/>
              <a:buChar char="•"/>
              <a:defRPr/>
            </a:pPr>
            <a:r>
              <a:rPr kumimoji="1" lang="es" sz="1800" dirty="0">
                <a:solidFill>
                  <a:schemeClr val="tx1"/>
                </a:solidFill>
                <a:cs typeface="Calibri" panose="020F0502020204030204" pitchFamily="34" charset="0"/>
              </a:rPr>
              <a:t>Capacidad para realizar análisis </a:t>
            </a:r>
            <a:r>
              <a:rPr kumimoji="1" lang="es" sz="1800" b="1" dirty="0">
                <a:solidFill>
                  <a:schemeClr val="tx1"/>
                </a:solidFill>
                <a:cs typeface="Calibri" panose="020F0502020204030204" pitchFamily="34" charset="0"/>
              </a:rPr>
              <a:t>estratificados de seguridad</a:t>
            </a:r>
            <a:r>
              <a:rPr kumimoji="1" lang="es" sz="1800" dirty="0">
                <a:solidFill>
                  <a:schemeClr val="tx1"/>
                </a:solidFill>
                <a:cs typeface="Calibri" panose="020F0502020204030204" pitchFamily="34" charset="0"/>
              </a:rPr>
              <a:t> y </a:t>
            </a:r>
            <a:r>
              <a:rPr kumimoji="1" lang="es" sz="1800" b="1" dirty="0">
                <a:solidFill>
                  <a:schemeClr val="tx1"/>
                </a:solidFill>
                <a:cs typeface="Calibri" panose="020F0502020204030204" pitchFamily="34" charset="0"/>
              </a:rPr>
              <a:t>eficacia por estado serológico basal</a:t>
            </a:r>
          </a:p>
          <a:p>
            <a:pPr marL="418913" indent="-285715" defTabSz="684950">
              <a:buFont typeface="Arial" pitchFamily="34" charset="0"/>
              <a:buChar char="•"/>
              <a:defRPr/>
            </a:pPr>
            <a:endParaRPr kumimoji="1" lang="en-US" sz="1800" b="1" dirty="0">
              <a:solidFill>
                <a:schemeClr val="tx1"/>
              </a:solidFill>
              <a:cs typeface="Calibri" panose="020F0502020204030204" pitchFamily="34" charset="0"/>
            </a:endParaRPr>
          </a:p>
          <a:p>
            <a:pPr marL="418913" indent="-285715" defTabSz="684950">
              <a:buFont typeface="Arial" pitchFamily="34" charset="0"/>
              <a:buChar char="•"/>
              <a:defRPr/>
            </a:pPr>
            <a:r>
              <a:rPr kumimoji="1" lang="es" sz="1800" b="1" dirty="0">
                <a:solidFill>
                  <a:schemeClr val="tx1"/>
                </a:solidFill>
                <a:cs typeface="Calibri" panose="020F0502020204030204" pitchFamily="34" charset="0"/>
              </a:rPr>
              <a:t>Vigilancia activa </a:t>
            </a:r>
            <a:r>
              <a:rPr kumimoji="1" lang="es" sz="1800" dirty="0">
                <a:solidFill>
                  <a:schemeClr val="tx1"/>
                </a:solidFill>
                <a:cs typeface="Calibri" panose="020F0502020204030204" pitchFamily="34" charset="0"/>
              </a:rPr>
              <a:t>de todo el dengue y dengue grave</a:t>
            </a:r>
          </a:p>
          <a:p>
            <a:pPr marL="418913" indent="-285715" defTabSz="684950">
              <a:buFont typeface="Arial" pitchFamily="34" charset="0"/>
              <a:buChar char="•"/>
              <a:defRPr/>
            </a:pPr>
            <a:endParaRPr kumimoji="1" lang="en-US" sz="1800" dirty="0">
              <a:solidFill>
                <a:schemeClr val="tx1"/>
              </a:solidFill>
              <a:cs typeface="Calibri" panose="020F0502020204030204" pitchFamily="34" charset="0"/>
            </a:endParaRPr>
          </a:p>
          <a:p>
            <a:pPr marL="418913" indent="-285715" defTabSz="684950">
              <a:buFont typeface="Arial" pitchFamily="34" charset="0"/>
              <a:buChar char="•"/>
              <a:defRPr/>
            </a:pPr>
            <a:r>
              <a:rPr kumimoji="1" lang="es" sz="1800" dirty="0">
                <a:solidFill>
                  <a:schemeClr val="tx1"/>
                </a:solidFill>
                <a:cs typeface="Calibri" panose="020F0502020204030204" pitchFamily="34" charset="0"/>
              </a:rPr>
              <a:t>Un </a:t>
            </a:r>
            <a:r>
              <a:rPr kumimoji="1" lang="es" sz="1800" b="1" dirty="0">
                <a:solidFill>
                  <a:schemeClr val="tx1"/>
                </a:solidFill>
                <a:cs typeface="Calibri" panose="020F0502020204030204" pitchFamily="34" charset="0"/>
              </a:rPr>
              <a:t>seguimiento de 3 a 5 años después de </a:t>
            </a:r>
            <a:r>
              <a:rPr kumimoji="1" lang="es" sz="1800" dirty="0">
                <a:solidFill>
                  <a:schemeClr val="tx1"/>
                </a:solidFill>
                <a:cs typeface="Calibri" panose="020F0502020204030204" pitchFamily="34" charset="0"/>
              </a:rPr>
              <a:t>la última dosis</a:t>
            </a:r>
          </a:p>
          <a:p>
            <a:pPr marL="418913" indent="-285715" defTabSz="684950">
              <a:buFont typeface="Arial" pitchFamily="34" charset="0"/>
              <a:buChar char="•"/>
              <a:defRPr/>
            </a:pPr>
            <a:endParaRPr kumimoji="1" lang="en-US" sz="1800" dirty="0">
              <a:solidFill>
                <a:schemeClr val="tx1"/>
              </a:solidFill>
              <a:cs typeface="Calibri" panose="020F0502020204030204" pitchFamily="34" charset="0"/>
            </a:endParaRPr>
          </a:p>
          <a:p>
            <a:pPr marL="418913" indent="-285715" defTabSz="684950">
              <a:buFont typeface="Arial" pitchFamily="34" charset="0"/>
              <a:buChar char="•"/>
              <a:defRPr/>
            </a:pPr>
            <a:r>
              <a:rPr kumimoji="1" lang="es" sz="1800" b="1" dirty="0">
                <a:solidFill>
                  <a:schemeClr val="tx1"/>
                </a:solidFill>
                <a:cs typeface="Calibri" panose="020F0502020204030204" pitchFamily="34" charset="0"/>
              </a:rPr>
              <a:t>Criterios de valoración clínicos </a:t>
            </a:r>
            <a:r>
              <a:rPr kumimoji="1" lang="es" sz="1800" dirty="0">
                <a:solidFill>
                  <a:schemeClr val="tx1"/>
                </a:solidFill>
                <a:cs typeface="Calibri" panose="020F0502020204030204" pitchFamily="34" charset="0"/>
              </a:rPr>
              <a:t>evaluados por </a:t>
            </a:r>
            <a:r>
              <a:rPr kumimoji="1" lang="es" sz="1800" b="1" dirty="0">
                <a:solidFill>
                  <a:schemeClr val="tx1"/>
                </a:solidFill>
                <a:cs typeface="Calibri" panose="020F0502020204030204" pitchFamily="34" charset="0"/>
              </a:rPr>
              <a:t>serotipo</a:t>
            </a:r>
          </a:p>
          <a:p>
            <a:pPr marL="418913" indent="-285715" defTabSz="684950">
              <a:buFont typeface="Arial" pitchFamily="34" charset="0"/>
              <a:buChar char="•"/>
              <a:defRPr/>
            </a:pPr>
            <a:endParaRPr kumimoji="1" lang="en-US" sz="1800" b="1" dirty="0">
              <a:solidFill>
                <a:schemeClr val="tx1"/>
              </a:solidFill>
              <a:cs typeface="Calibri" panose="020F0502020204030204" pitchFamily="34" charset="0"/>
            </a:endParaRPr>
          </a:p>
          <a:p>
            <a:pPr marL="418913" indent="-285715" defTabSz="684950">
              <a:buFont typeface="Arial" pitchFamily="34" charset="0"/>
              <a:buChar char="•"/>
              <a:defRPr/>
            </a:pPr>
            <a:r>
              <a:rPr kumimoji="1" lang="es" sz="1800" b="1" dirty="0">
                <a:solidFill>
                  <a:schemeClr val="tx1"/>
                </a:solidFill>
                <a:cs typeface="Calibri" panose="020F0502020204030204" pitchFamily="34" charset="0"/>
              </a:rPr>
              <a:t>Análisis de respuesta inmune</a:t>
            </a:r>
            <a:r>
              <a:rPr kumimoji="1" lang="es" sz="1800" dirty="0">
                <a:solidFill>
                  <a:schemeClr val="tx1"/>
                </a:solidFill>
                <a:cs typeface="Calibri" panose="020F0502020204030204" pitchFamily="34" charset="0"/>
              </a:rPr>
              <a:t>  por </a:t>
            </a:r>
            <a:r>
              <a:rPr kumimoji="1" lang="es" sz="1800" b="1" dirty="0">
                <a:solidFill>
                  <a:schemeClr val="tx1"/>
                </a:solidFill>
                <a:cs typeface="Calibri" panose="020F0502020204030204" pitchFamily="34" charset="0"/>
              </a:rPr>
              <a:t>serotipo </a:t>
            </a:r>
            <a:r>
              <a:rPr kumimoji="1" lang="es" sz="1800" dirty="0">
                <a:solidFill>
                  <a:schemeClr val="tx1"/>
                </a:solidFill>
                <a:cs typeface="Calibri" panose="020F0502020204030204" pitchFamily="34" charset="0"/>
              </a:rPr>
              <a:t>y </a:t>
            </a:r>
            <a:r>
              <a:rPr kumimoji="1" lang="es" sz="1800" b="1" dirty="0">
                <a:solidFill>
                  <a:schemeClr val="tx1"/>
                </a:solidFill>
                <a:cs typeface="Calibri" panose="020F0502020204030204" pitchFamily="34" charset="0"/>
              </a:rPr>
              <a:t>por estado serológico basal</a:t>
            </a:r>
            <a:endParaRPr kumimoji="1" lang="en-US" sz="1800" b="1" dirty="0">
              <a:solidFill>
                <a:schemeClr val="tx1"/>
              </a:solidFill>
              <a:cs typeface="Calibri" panose="020F0502020204030204" pitchFamily="34" charset="0"/>
            </a:endParaRPr>
          </a:p>
        </p:txBody>
      </p:sp>
      <p:grpSp>
        <p:nvGrpSpPr>
          <p:cNvPr id="16" name="Group 15">
            <a:extLst>
              <a:ext uri="{FF2B5EF4-FFF2-40B4-BE49-F238E27FC236}">
                <a16:creationId xmlns="" xmlns:a16="http://schemas.microsoft.com/office/drawing/2014/main" id="{B86DD997-9D0F-55CE-FE2B-CC41566188B1}"/>
              </a:ext>
            </a:extLst>
          </p:cNvPr>
          <p:cNvGrpSpPr/>
          <p:nvPr/>
        </p:nvGrpSpPr>
        <p:grpSpPr>
          <a:xfrm>
            <a:off x="464860" y="348210"/>
            <a:ext cx="1026000" cy="999000"/>
            <a:chOff x="1793222" y="1301709"/>
            <a:chExt cx="1368000" cy="1332000"/>
          </a:xfrm>
        </p:grpSpPr>
        <p:sp>
          <p:nvSpPr>
            <p:cNvPr id="9" name="Oval 8">
              <a:extLst>
                <a:ext uri="{FF2B5EF4-FFF2-40B4-BE49-F238E27FC236}">
                  <a16:creationId xmlns="" xmlns:a16="http://schemas.microsoft.com/office/drawing/2014/main" id="{4C247DB4-6D8F-1A87-C6BD-5A5E0ECEA13C}"/>
                </a:ext>
              </a:extLst>
            </p:cNvPr>
            <p:cNvSpPr/>
            <p:nvPr/>
          </p:nvSpPr>
          <p:spPr>
            <a:xfrm>
              <a:off x="1793222" y="1301709"/>
              <a:ext cx="1368000" cy="133200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4950">
                <a:defRPr/>
              </a:pPr>
              <a:endParaRPr kumimoji="1" lang="en-US" sz="900">
                <a:solidFill>
                  <a:srgbClr val="FFFFFF"/>
                </a:solidFill>
                <a:cs typeface="Calibri" panose="020F0502020204030204" pitchFamily="34" charset="0"/>
              </a:endParaRPr>
            </a:p>
          </p:txBody>
        </p:sp>
        <p:pic>
          <p:nvPicPr>
            <p:cNvPr id="13" name="Graphic 12" descr="Inmunidad con relleno sólido">
              <a:extLst>
                <a:ext uri="{FF2B5EF4-FFF2-40B4-BE49-F238E27FC236}">
                  <a16:creationId xmlns="" xmlns:a16="http://schemas.microsoft.com/office/drawing/2014/main" id="{E2C5C904-67F3-9058-0919-F5795FEF0EA6}"/>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rcRect/>
            <a:stretch/>
          </p:blipFill>
          <p:spPr>
            <a:xfrm>
              <a:off x="1997039" y="1487526"/>
              <a:ext cx="960367" cy="960367"/>
            </a:xfrm>
            <a:prstGeom prst="rect">
              <a:avLst/>
            </a:prstGeom>
          </p:spPr>
        </p:pic>
      </p:grpSp>
      <p:sp>
        <p:nvSpPr>
          <p:cNvPr id="17" name="Rectangle 16">
            <a:extLst>
              <a:ext uri="{FF2B5EF4-FFF2-40B4-BE49-F238E27FC236}">
                <a16:creationId xmlns="" xmlns:a16="http://schemas.microsoft.com/office/drawing/2014/main" id="{53F44BD9-BEB4-0B78-3367-8F42A402AD18}"/>
              </a:ext>
            </a:extLst>
          </p:cNvPr>
          <p:cNvSpPr/>
          <p:nvPr/>
        </p:nvSpPr>
        <p:spPr>
          <a:xfrm>
            <a:off x="1477589" y="543054"/>
            <a:ext cx="6490754" cy="664794"/>
          </a:xfrm>
          <a:prstGeom prst="rect">
            <a:avLst/>
          </a:prstGeom>
          <a:solidFill>
            <a:schemeClr val="accent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266399" defTabSz="684950">
              <a:defRPr/>
            </a:pPr>
            <a:r>
              <a:rPr kumimoji="1" lang="es" sz="1500" dirty="0">
                <a:solidFill>
                  <a:srgbClr val="FFFFFF"/>
                </a:solidFill>
                <a:cs typeface="Calibri" panose="020F0502020204030204" pitchFamily="34" charset="0"/>
              </a:rPr>
              <a:t>Las directrices de la OMS recomiendan lo siguiente para un ensayo de vacuna contra el dengue </a:t>
            </a:r>
            <a:r>
              <a:rPr kumimoji="1" lang="es" sz="1500" baseline="30000" dirty="0">
                <a:solidFill>
                  <a:srgbClr val="FFFFFF"/>
                </a:solidFill>
                <a:cs typeface="Calibri" panose="020F0502020204030204" pitchFamily="34" charset="0"/>
              </a:rPr>
              <a:t>1</a:t>
            </a:r>
            <a:endParaRPr kumimoji="1" lang="en-US" sz="1500" baseline="30000" dirty="0">
              <a:solidFill>
                <a:srgbClr val="FFFFFF"/>
              </a:solidFill>
              <a:cs typeface="Calibri" panose="020F0502020204030204" pitchFamily="34" charset="0"/>
            </a:endParaRPr>
          </a:p>
        </p:txBody>
      </p:sp>
    </p:spTree>
    <p:extLst>
      <p:ext uri="{BB962C8B-B14F-4D97-AF65-F5344CB8AC3E}">
        <p14:creationId xmlns:p14="http://schemas.microsoft.com/office/powerpoint/2010/main" val="214880613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42" name="Group 41">
            <a:extLst>
              <a:ext uri="{FF2B5EF4-FFF2-40B4-BE49-F238E27FC236}">
                <a16:creationId xmlns="" xmlns:a16="http://schemas.microsoft.com/office/drawing/2014/main" id="{5F49B39E-9257-78E1-D24B-757EBCE2D089}"/>
              </a:ext>
            </a:extLst>
          </p:cNvPr>
          <p:cNvGrpSpPr/>
          <p:nvPr/>
        </p:nvGrpSpPr>
        <p:grpSpPr>
          <a:xfrm>
            <a:off x="3742206" y="589892"/>
            <a:ext cx="5098328" cy="3326131"/>
            <a:chOff x="-386059" y="1007889"/>
            <a:chExt cx="6797770" cy="4434841"/>
          </a:xfrm>
        </p:grpSpPr>
        <p:grpSp>
          <p:nvGrpSpPr>
            <p:cNvPr id="36" name="Group 35">
              <a:extLst>
                <a:ext uri="{FF2B5EF4-FFF2-40B4-BE49-F238E27FC236}">
                  <a16:creationId xmlns="" xmlns:a16="http://schemas.microsoft.com/office/drawing/2014/main" id="{27E676D2-42B0-CA94-4296-F1116FD1B561}"/>
                </a:ext>
              </a:extLst>
            </p:cNvPr>
            <p:cNvGrpSpPr/>
            <p:nvPr/>
          </p:nvGrpSpPr>
          <p:grpSpPr>
            <a:xfrm>
              <a:off x="-386059" y="1007889"/>
              <a:ext cx="6797770" cy="4434841"/>
              <a:chOff x="611133" y="964128"/>
              <a:chExt cx="7106147" cy="4770150"/>
            </a:xfrm>
          </p:grpSpPr>
          <p:sp>
            <p:nvSpPr>
              <p:cNvPr id="25" name="Content Placeholder 1">
                <a:extLst>
                  <a:ext uri="{FF2B5EF4-FFF2-40B4-BE49-F238E27FC236}">
                    <a16:creationId xmlns="" xmlns:a16="http://schemas.microsoft.com/office/drawing/2014/main" id="{C2813606-BB05-3228-059E-A28F6D74E583}"/>
                  </a:ext>
                </a:extLst>
              </p:cNvPr>
              <p:cNvSpPr txBox="1">
                <a:spLocks/>
              </p:cNvSpPr>
              <p:nvPr/>
            </p:nvSpPr>
            <p:spPr bwMode="auto">
              <a:xfrm>
                <a:off x="1359408" y="964128"/>
                <a:ext cx="6168716" cy="413244"/>
              </a:xfrm>
              <a:prstGeom prst="rect">
                <a:avLst/>
              </a:prstGeom>
              <a:noFill/>
              <a:ln w="9525">
                <a:noFill/>
                <a:miter lim="800000"/>
                <a:headEnd/>
                <a:tailEnd/>
              </a:ln>
            </p:spPr>
            <p:txBody>
              <a:bodyPr wrap="square" lIns="46800" tIns="36000" rIns="46800" bIns="36000" anchor="ct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defTabSz="684933">
                  <a:buClr>
                    <a:srgbClr val="EA5532"/>
                  </a:buClr>
                  <a:defRPr/>
                </a:pPr>
                <a:r>
                  <a:rPr kumimoji="1" lang="es" altLang="en-US" sz="1400" b="1">
                    <a:solidFill>
                      <a:srgbClr val="34373F"/>
                    </a:solidFill>
                    <a:latin typeface="Calibri" panose="020F0502020204030204" pitchFamily="34" charset="0"/>
                    <a:cs typeface="Calibri" panose="020F0502020204030204" pitchFamily="34" charset="0"/>
                  </a:rPr>
                  <a:t>La estructura genética de TAK-003</a:t>
                </a:r>
                <a:endParaRPr kumimoji="1" lang="en-US" altLang="en-US" sz="1400" b="1" baseline="30000">
                  <a:solidFill>
                    <a:srgbClr val="34373F"/>
                  </a:solidFill>
                  <a:latin typeface="Calibri" panose="020F0502020204030204" pitchFamily="34" charset="0"/>
                  <a:cs typeface="Calibri" panose="020F0502020204030204" pitchFamily="34" charset="0"/>
                </a:endParaRPr>
              </a:p>
            </p:txBody>
          </p:sp>
          <p:pic>
            <p:nvPicPr>
              <p:cNvPr id="26" name="Picture 25">
                <a:extLst>
                  <a:ext uri="{FF2B5EF4-FFF2-40B4-BE49-F238E27FC236}">
                    <a16:creationId xmlns="" xmlns:a16="http://schemas.microsoft.com/office/drawing/2014/main" id="{39FBA538-B657-E650-0705-BDA8C4D24275}"/>
                  </a:ext>
                </a:extLst>
              </p:cNvPr>
              <p:cNvPicPr>
                <a:picLocks noChangeAspect="1"/>
              </p:cNvPicPr>
              <p:nvPr/>
            </p:nvPicPr>
            <p:blipFill rotWithShape="1">
              <a:blip r:embed="rId3">
                <a:extLst>
                  <a:ext uri="{28A0092B-C50C-407E-A947-70E740481C1C}">
                    <a14:useLocalDpi xmlns:a14="http://schemas.microsoft.com/office/drawing/2010/main" val="0"/>
                  </a:ext>
                </a:extLst>
              </a:blip>
              <a:srcRect t="8798" r="19553" b="67905"/>
              <a:stretch/>
            </p:blipFill>
            <p:spPr bwMode="auto">
              <a:xfrm>
                <a:off x="1778260" y="1292511"/>
                <a:ext cx="5600473" cy="924523"/>
              </a:xfrm>
              <a:prstGeom prst="rect">
                <a:avLst/>
              </a:prstGeom>
              <a:noFill/>
              <a:ln>
                <a:noFill/>
              </a:ln>
              <a:extLst>
                <a:ext uri="{53640926-AAD7-44D8-BBD7-CCE9431645EC}">
                  <a14:shadowObscured xmlns:a14="http://schemas.microsoft.com/office/drawing/2010/main"/>
                </a:ext>
              </a:extLst>
            </p:spPr>
          </p:pic>
          <p:pic>
            <p:nvPicPr>
              <p:cNvPr id="28" name="Picture 27">
                <a:extLst>
                  <a:ext uri="{FF2B5EF4-FFF2-40B4-BE49-F238E27FC236}">
                    <a16:creationId xmlns="" xmlns:a16="http://schemas.microsoft.com/office/drawing/2014/main" id="{D39342C9-A774-F639-EB5C-7B8B7FB9F8C1}"/>
                  </a:ext>
                </a:extLst>
              </p:cNvPr>
              <p:cNvPicPr>
                <a:picLocks noChangeAspect="1"/>
              </p:cNvPicPr>
              <p:nvPr/>
            </p:nvPicPr>
            <p:blipFill rotWithShape="1">
              <a:blip r:embed="rId3">
                <a:extLst>
                  <a:ext uri="{28A0092B-C50C-407E-A947-70E740481C1C}">
                    <a14:useLocalDpi xmlns:a14="http://schemas.microsoft.com/office/drawing/2010/main" val="0"/>
                  </a:ext>
                </a:extLst>
              </a:blip>
              <a:srcRect t="32131" r="19553" b="2"/>
              <a:stretch/>
            </p:blipFill>
            <p:spPr bwMode="auto">
              <a:xfrm>
                <a:off x="1663140" y="3041041"/>
                <a:ext cx="5600473" cy="2693237"/>
              </a:xfrm>
              <a:prstGeom prst="rect">
                <a:avLst/>
              </a:prstGeom>
              <a:noFill/>
              <a:ln>
                <a:noFill/>
              </a:ln>
              <a:extLst>
                <a:ext uri="{53640926-AAD7-44D8-BBD7-CCE9431645EC}">
                  <a14:shadowObscured xmlns:a14="http://schemas.microsoft.com/office/drawing/2010/main"/>
                </a:ext>
              </a:extLst>
            </p:spPr>
          </p:pic>
          <p:sp>
            <p:nvSpPr>
              <p:cNvPr id="29" name="TextBox 28">
                <a:extLst>
                  <a:ext uri="{FF2B5EF4-FFF2-40B4-BE49-F238E27FC236}">
                    <a16:creationId xmlns="" xmlns:a16="http://schemas.microsoft.com/office/drawing/2014/main" id="{263B24C6-E1DB-AA3B-5DFD-DBB19304B05B}"/>
                  </a:ext>
                </a:extLst>
              </p:cNvPr>
              <p:cNvSpPr txBox="1"/>
              <p:nvPr/>
            </p:nvSpPr>
            <p:spPr>
              <a:xfrm>
                <a:off x="611133" y="2423409"/>
                <a:ext cx="4237630" cy="529675"/>
              </a:xfrm>
              <a:prstGeom prst="rect">
                <a:avLst/>
              </a:prstGeom>
              <a:noFill/>
            </p:spPr>
            <p:txBody>
              <a:bodyPr wrap="square" rtlCol="0">
                <a:spAutoFit/>
              </a:bodyPr>
              <a:lstStyle/>
              <a:p>
                <a:pPr algn="ctr" defTabSz="684933">
                  <a:defRPr/>
                </a:pPr>
                <a:r>
                  <a:rPr lang="es" sz="900">
                    <a:solidFill>
                      <a:srgbClr val="34373F"/>
                    </a:solidFill>
                    <a:cs typeface="Calibri" panose="020F0502020204030204" pitchFamily="34" charset="0"/>
                  </a:rPr>
                  <a:t>Sustitución con genes prM y E </a:t>
                </a:r>
              </a:p>
              <a:p>
                <a:pPr algn="ctr" defTabSz="684933">
                  <a:defRPr/>
                </a:pPr>
                <a:r>
                  <a:rPr lang="es" sz="900">
                    <a:solidFill>
                      <a:srgbClr val="34373F"/>
                    </a:solidFill>
                    <a:cs typeface="Calibri" panose="020F0502020204030204" pitchFamily="34" charset="0"/>
                  </a:rPr>
                  <a:t>de DENV-1, -3 y -4</a:t>
                </a:r>
              </a:p>
            </p:txBody>
          </p:sp>
          <p:grpSp>
            <p:nvGrpSpPr>
              <p:cNvPr id="35" name="Group 34">
                <a:extLst>
                  <a:ext uri="{FF2B5EF4-FFF2-40B4-BE49-F238E27FC236}">
                    <a16:creationId xmlns="" xmlns:a16="http://schemas.microsoft.com/office/drawing/2014/main" id="{2E0CA1F7-5785-072F-3CEB-CA90140D1B1D}"/>
                  </a:ext>
                </a:extLst>
              </p:cNvPr>
              <p:cNvGrpSpPr/>
              <p:nvPr/>
            </p:nvGrpSpPr>
            <p:grpSpPr>
              <a:xfrm>
                <a:off x="4810753" y="2414977"/>
                <a:ext cx="2906527" cy="331046"/>
                <a:chOff x="4395695" y="2507708"/>
                <a:chExt cx="2906527" cy="331046"/>
              </a:xfrm>
            </p:grpSpPr>
            <p:sp>
              <p:nvSpPr>
                <p:cNvPr id="27" name="TextBox 26">
                  <a:extLst>
                    <a:ext uri="{FF2B5EF4-FFF2-40B4-BE49-F238E27FC236}">
                      <a16:creationId xmlns="" xmlns:a16="http://schemas.microsoft.com/office/drawing/2014/main" id="{9658048E-FE19-6C02-CF90-A026F9165B21}"/>
                    </a:ext>
                  </a:extLst>
                </p:cNvPr>
                <p:cNvSpPr txBox="1"/>
                <p:nvPr/>
              </p:nvSpPr>
              <p:spPr>
                <a:xfrm>
                  <a:off x="4395695" y="2507708"/>
                  <a:ext cx="2906527" cy="331046"/>
                </a:xfrm>
                <a:prstGeom prst="rect">
                  <a:avLst/>
                </a:prstGeom>
                <a:noFill/>
              </p:spPr>
              <p:txBody>
                <a:bodyPr wrap="square" rtlCol="0">
                  <a:spAutoFit/>
                </a:bodyPr>
                <a:lstStyle/>
                <a:p>
                  <a:pPr algn="ctr" defTabSz="684933">
                    <a:defRPr/>
                  </a:pPr>
                  <a:r>
                    <a:rPr lang="es" sz="900">
                      <a:solidFill>
                        <a:srgbClr val="34373F"/>
                      </a:solidFill>
                      <a:cs typeface="Calibri" panose="020F0502020204030204" pitchFamily="34" charset="0"/>
                    </a:rPr>
                    <a:t>Tres mutaciones atenuantes2</a:t>
                  </a:r>
                  <a:endParaRPr lang="en-US" sz="900">
                    <a:solidFill>
                      <a:srgbClr val="34373F"/>
                    </a:solidFill>
                    <a:cs typeface="Calibri" panose="020F0502020204030204" pitchFamily="34" charset="0"/>
                  </a:endParaRPr>
                </a:p>
              </p:txBody>
            </p:sp>
            <p:sp>
              <p:nvSpPr>
                <p:cNvPr id="30" name="Isosceles Triangle 29">
                  <a:extLst>
                    <a:ext uri="{FF2B5EF4-FFF2-40B4-BE49-F238E27FC236}">
                      <a16:creationId xmlns="" xmlns:a16="http://schemas.microsoft.com/office/drawing/2014/main" id="{AD637C4C-D5F2-D782-35A2-8BE29F7FB8DA}"/>
                    </a:ext>
                  </a:extLst>
                </p:cNvPr>
                <p:cNvSpPr/>
                <p:nvPr/>
              </p:nvSpPr>
              <p:spPr>
                <a:xfrm>
                  <a:off x="4726307" y="2585036"/>
                  <a:ext cx="117343" cy="186820"/>
                </a:xfrm>
                <a:prstGeom prst="triangle">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4933">
                    <a:defRPr/>
                  </a:pPr>
                  <a:endParaRPr lang="en-US" sz="1400">
                    <a:solidFill>
                      <a:srgbClr val="FFFFFF"/>
                    </a:solidFill>
                    <a:cs typeface="Calibri" panose="020F0502020204030204" pitchFamily="34" charset="0"/>
                  </a:endParaRPr>
                </a:p>
              </p:txBody>
            </p:sp>
          </p:grpSp>
          <p:cxnSp>
            <p:nvCxnSpPr>
              <p:cNvPr id="31" name="Straight Arrow Connector 30">
                <a:extLst>
                  <a:ext uri="{FF2B5EF4-FFF2-40B4-BE49-F238E27FC236}">
                    <a16:creationId xmlns="" xmlns:a16="http://schemas.microsoft.com/office/drawing/2014/main" id="{730F7B8F-536B-AEFC-3F74-3A96ADAF04F3}"/>
                  </a:ext>
                </a:extLst>
              </p:cNvPr>
              <p:cNvCxnSpPr>
                <a:cxnSpLocks/>
              </p:cNvCxnSpPr>
              <p:nvPr/>
            </p:nvCxnSpPr>
            <p:spPr>
              <a:xfrm flipH="1" flipV="1">
                <a:off x="4570847" y="2157482"/>
                <a:ext cx="478552" cy="3369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 xmlns:a16="http://schemas.microsoft.com/office/drawing/2014/main" id="{5AFDCFD9-A0EE-A8B6-966B-67E655F55311}"/>
                  </a:ext>
                </a:extLst>
              </p:cNvPr>
              <p:cNvCxnSpPr>
                <a:cxnSpLocks/>
              </p:cNvCxnSpPr>
              <p:nvPr/>
            </p:nvCxnSpPr>
            <p:spPr>
              <a:xfrm>
                <a:off x="2729947" y="2885074"/>
                <a:ext cx="0" cy="29706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3" name="Left Brace 32">
                <a:extLst>
                  <a:ext uri="{FF2B5EF4-FFF2-40B4-BE49-F238E27FC236}">
                    <a16:creationId xmlns="" xmlns:a16="http://schemas.microsoft.com/office/drawing/2014/main" id="{4554413B-55D9-33B4-0F42-4C55BF319249}"/>
                  </a:ext>
                </a:extLst>
              </p:cNvPr>
              <p:cNvSpPr/>
              <p:nvPr/>
            </p:nvSpPr>
            <p:spPr>
              <a:xfrm rot="16200000">
                <a:off x="2544988" y="1774747"/>
                <a:ext cx="369919" cy="938342"/>
              </a:xfrm>
              <a:prstGeom prst="leftBrace">
                <a:avLst/>
              </a:prstGeom>
              <a:ln>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684933">
                  <a:defRPr/>
                </a:pPr>
                <a:endParaRPr lang="en-US" sz="1400">
                  <a:solidFill>
                    <a:srgbClr val="34373F"/>
                  </a:solidFill>
                  <a:cs typeface="Calibri" panose="020F0502020204030204" pitchFamily="34" charset="0"/>
                </a:endParaRPr>
              </a:p>
            </p:txBody>
          </p:sp>
          <p:cxnSp>
            <p:nvCxnSpPr>
              <p:cNvPr id="10" name="Straight Arrow Connector 9">
                <a:extLst>
                  <a:ext uri="{FF2B5EF4-FFF2-40B4-BE49-F238E27FC236}">
                    <a16:creationId xmlns="" xmlns:a16="http://schemas.microsoft.com/office/drawing/2014/main" id="{DE689244-77B1-8CBB-B4EF-279753F5939A}"/>
                  </a:ext>
                </a:extLst>
              </p:cNvPr>
              <p:cNvCxnSpPr>
                <a:cxnSpLocks/>
              </p:cNvCxnSpPr>
              <p:nvPr/>
            </p:nvCxnSpPr>
            <p:spPr>
              <a:xfrm flipV="1">
                <a:off x="3431801" y="5161234"/>
                <a:ext cx="0" cy="30549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4" name="Left Brace 13">
                <a:extLst>
                  <a:ext uri="{FF2B5EF4-FFF2-40B4-BE49-F238E27FC236}">
                    <a16:creationId xmlns="" xmlns:a16="http://schemas.microsoft.com/office/drawing/2014/main" id="{197259C1-09B4-ED6C-E0DA-153C1F79D5D4}"/>
                  </a:ext>
                </a:extLst>
              </p:cNvPr>
              <p:cNvSpPr/>
              <p:nvPr/>
            </p:nvSpPr>
            <p:spPr>
              <a:xfrm rot="16200000">
                <a:off x="2469273" y="4827830"/>
                <a:ext cx="369919" cy="938342"/>
              </a:xfrm>
              <a:prstGeom prst="leftBrace">
                <a:avLst/>
              </a:prstGeom>
              <a:ln>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684933">
                  <a:defRPr/>
                </a:pPr>
                <a:endParaRPr lang="en-US" sz="1400">
                  <a:solidFill>
                    <a:srgbClr val="34373F"/>
                  </a:solidFill>
                  <a:cs typeface="Calibri" panose="020F0502020204030204" pitchFamily="34" charset="0"/>
                </a:endParaRPr>
              </a:p>
            </p:txBody>
          </p:sp>
          <p:cxnSp>
            <p:nvCxnSpPr>
              <p:cNvPr id="15" name="Straight Arrow Connector 14">
                <a:extLst>
                  <a:ext uri="{FF2B5EF4-FFF2-40B4-BE49-F238E27FC236}">
                    <a16:creationId xmlns="" xmlns:a16="http://schemas.microsoft.com/office/drawing/2014/main" id="{B28F45FE-6085-BA69-01D7-10C0B293B0D3}"/>
                  </a:ext>
                </a:extLst>
              </p:cNvPr>
              <p:cNvCxnSpPr>
                <a:cxnSpLocks/>
              </p:cNvCxnSpPr>
              <p:nvPr/>
            </p:nvCxnSpPr>
            <p:spPr>
              <a:xfrm flipH="1" flipV="1">
                <a:off x="4918087" y="5196311"/>
                <a:ext cx="875998" cy="33171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 xmlns:a16="http://schemas.microsoft.com/office/drawing/2014/main" id="{157955A0-0C1A-DDFA-62B1-1B9895203A66}"/>
                  </a:ext>
                </a:extLst>
              </p:cNvPr>
              <p:cNvCxnSpPr>
                <a:cxnSpLocks/>
              </p:cNvCxnSpPr>
              <p:nvPr/>
            </p:nvCxnSpPr>
            <p:spPr>
              <a:xfrm flipH="1" flipV="1">
                <a:off x="6364464" y="5196311"/>
                <a:ext cx="478552" cy="3369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
          <p:nvSpPr>
            <p:cNvPr id="37" name="TextBox 36">
              <a:extLst>
                <a:ext uri="{FF2B5EF4-FFF2-40B4-BE49-F238E27FC236}">
                  <a16:creationId xmlns="" xmlns:a16="http://schemas.microsoft.com/office/drawing/2014/main" id="{D0933C45-268D-7B9C-CE30-A6F0E3117A95}"/>
                </a:ext>
              </a:extLst>
            </p:cNvPr>
            <p:cNvSpPr txBox="1"/>
            <p:nvPr/>
          </p:nvSpPr>
          <p:spPr>
            <a:xfrm>
              <a:off x="3649217" y="1320862"/>
              <a:ext cx="2580993" cy="307776"/>
            </a:xfrm>
            <a:prstGeom prst="rect">
              <a:avLst/>
            </a:prstGeom>
            <a:solidFill>
              <a:schemeClr val="bg1"/>
            </a:solidFill>
          </p:spPr>
          <p:txBody>
            <a:bodyPr wrap="square" lIns="91440" tIns="45720" rIns="91440" bIns="45720" rtlCol="0" anchor="t">
              <a:spAutoFit/>
            </a:bodyPr>
            <a:lstStyle/>
            <a:p>
              <a:pPr defTabSz="684933">
                <a:defRPr/>
              </a:pPr>
              <a:r>
                <a:rPr lang="es" sz="900" b="1">
                  <a:solidFill>
                    <a:srgbClr val="EE1100"/>
                  </a:solidFill>
                  <a:ea typeface="Calibri"/>
                  <a:cs typeface="Calibri"/>
                </a:rPr>
                <a:t>TDV-2 (columna vertebral de  DENV)</a:t>
              </a:r>
            </a:p>
          </p:txBody>
        </p:sp>
        <p:sp>
          <p:nvSpPr>
            <p:cNvPr id="38" name="TextBox 37">
              <a:extLst>
                <a:ext uri="{FF2B5EF4-FFF2-40B4-BE49-F238E27FC236}">
                  <a16:creationId xmlns="" xmlns:a16="http://schemas.microsoft.com/office/drawing/2014/main" id="{5D81C3C8-4D14-BF8F-EDF4-173D0F4F780D}"/>
                </a:ext>
              </a:extLst>
            </p:cNvPr>
            <p:cNvSpPr txBox="1"/>
            <p:nvPr/>
          </p:nvSpPr>
          <p:spPr>
            <a:xfrm>
              <a:off x="3749265" y="2834230"/>
              <a:ext cx="2220046" cy="307776"/>
            </a:xfrm>
            <a:prstGeom prst="rect">
              <a:avLst/>
            </a:prstGeom>
            <a:solidFill>
              <a:schemeClr val="bg1"/>
            </a:solidFill>
          </p:spPr>
          <p:txBody>
            <a:bodyPr wrap="square" rtlCol="0">
              <a:spAutoFit/>
            </a:bodyPr>
            <a:lstStyle/>
            <a:p>
              <a:pPr algn="r" defTabSz="684933">
                <a:defRPr/>
              </a:pPr>
              <a:r>
                <a:rPr lang="es" sz="900" b="1">
                  <a:solidFill>
                    <a:srgbClr val="EBA800"/>
                  </a:solidFill>
                  <a:cs typeface="Calibri" panose="020F0502020204030204" pitchFamily="34" charset="0"/>
                </a:rPr>
                <a:t>TDV-1</a:t>
              </a:r>
            </a:p>
          </p:txBody>
        </p:sp>
        <p:sp>
          <p:nvSpPr>
            <p:cNvPr id="39" name="TextBox 38">
              <a:extLst>
                <a:ext uri="{FF2B5EF4-FFF2-40B4-BE49-F238E27FC236}">
                  <a16:creationId xmlns="" xmlns:a16="http://schemas.microsoft.com/office/drawing/2014/main" id="{73CE5857-012A-1C39-F3E4-73AC0FA4FFF7}"/>
                </a:ext>
              </a:extLst>
            </p:cNvPr>
            <p:cNvSpPr txBox="1"/>
            <p:nvPr/>
          </p:nvSpPr>
          <p:spPr>
            <a:xfrm>
              <a:off x="3749265" y="3552219"/>
              <a:ext cx="2220046" cy="307776"/>
            </a:xfrm>
            <a:prstGeom prst="rect">
              <a:avLst/>
            </a:prstGeom>
            <a:solidFill>
              <a:schemeClr val="bg1"/>
            </a:solidFill>
          </p:spPr>
          <p:txBody>
            <a:bodyPr wrap="square" rtlCol="0">
              <a:spAutoFit/>
            </a:bodyPr>
            <a:lstStyle/>
            <a:p>
              <a:pPr algn="r" defTabSz="684933">
                <a:defRPr/>
              </a:pPr>
              <a:r>
                <a:rPr lang="es" sz="900" b="1">
                  <a:solidFill>
                    <a:srgbClr val="4C9BCF"/>
                  </a:solidFill>
                  <a:cs typeface="Calibri" panose="020F0502020204030204" pitchFamily="34" charset="0"/>
                </a:rPr>
                <a:t>TDV-3</a:t>
              </a:r>
            </a:p>
          </p:txBody>
        </p:sp>
        <p:sp>
          <p:nvSpPr>
            <p:cNvPr id="40" name="TextBox 39">
              <a:extLst>
                <a:ext uri="{FF2B5EF4-FFF2-40B4-BE49-F238E27FC236}">
                  <a16:creationId xmlns="" xmlns:a16="http://schemas.microsoft.com/office/drawing/2014/main" id="{534AB3BE-2358-B345-F165-CD2704475162}"/>
                </a:ext>
              </a:extLst>
            </p:cNvPr>
            <p:cNvSpPr txBox="1"/>
            <p:nvPr/>
          </p:nvSpPr>
          <p:spPr>
            <a:xfrm>
              <a:off x="3749265" y="4270210"/>
              <a:ext cx="2220046" cy="307776"/>
            </a:xfrm>
            <a:prstGeom prst="rect">
              <a:avLst/>
            </a:prstGeom>
            <a:solidFill>
              <a:schemeClr val="bg1"/>
            </a:solidFill>
          </p:spPr>
          <p:txBody>
            <a:bodyPr wrap="square" rtlCol="0">
              <a:spAutoFit/>
            </a:bodyPr>
            <a:lstStyle/>
            <a:p>
              <a:pPr algn="r" defTabSz="684933">
                <a:defRPr/>
              </a:pPr>
              <a:r>
                <a:rPr lang="es" sz="900" b="1">
                  <a:solidFill>
                    <a:srgbClr val="51B1BF"/>
                  </a:solidFill>
                  <a:cs typeface="Calibri" panose="020F0502020204030204" pitchFamily="34" charset="0"/>
                </a:rPr>
                <a:t>TDV-4</a:t>
              </a:r>
            </a:p>
          </p:txBody>
        </p:sp>
      </p:grpSp>
      <p:sp>
        <p:nvSpPr>
          <p:cNvPr id="5" name="Title 4">
            <a:extLst>
              <a:ext uri="{FF2B5EF4-FFF2-40B4-BE49-F238E27FC236}">
                <a16:creationId xmlns="" xmlns:a16="http://schemas.microsoft.com/office/drawing/2014/main" id="{D108CB5C-0B68-4FA6-B553-99A08B9B6D88}"/>
              </a:ext>
            </a:extLst>
          </p:cNvPr>
          <p:cNvSpPr>
            <a:spLocks noGrp="1"/>
          </p:cNvSpPr>
          <p:nvPr>
            <p:ph type="title"/>
          </p:nvPr>
        </p:nvSpPr>
        <p:spPr>
          <a:xfrm>
            <a:off x="112594" y="121208"/>
            <a:ext cx="8672354" cy="514351"/>
          </a:xfrm>
        </p:spPr>
        <p:txBody>
          <a:bodyPr>
            <a:noAutofit/>
          </a:bodyPr>
          <a:lstStyle/>
          <a:p>
            <a:r>
              <a:rPr lang="es" sz="2000" dirty="0"/>
              <a:t>TAK-003 contiene elementos de los cuatro serotipos de DENV en una columna vertebral atenuada de DENV-2</a:t>
            </a:r>
          </a:p>
        </p:txBody>
      </p:sp>
      <p:sp>
        <p:nvSpPr>
          <p:cNvPr id="3" name="Text Placeholder 2">
            <a:extLst>
              <a:ext uri="{FF2B5EF4-FFF2-40B4-BE49-F238E27FC236}">
                <a16:creationId xmlns="" xmlns:a16="http://schemas.microsoft.com/office/drawing/2014/main" id="{DAD95ABF-2984-4414-8416-18A99B2BB3B5}"/>
              </a:ext>
            </a:extLst>
          </p:cNvPr>
          <p:cNvSpPr>
            <a:spLocks noGrp="1"/>
          </p:cNvSpPr>
          <p:nvPr>
            <p:ph type="body" sz="quarter" idx="4294967295"/>
          </p:nvPr>
        </p:nvSpPr>
        <p:spPr>
          <a:xfrm>
            <a:off x="112594" y="4357926"/>
            <a:ext cx="9031407" cy="430255"/>
          </a:xfrm>
        </p:spPr>
        <p:txBody>
          <a:bodyPr vert="horz" lIns="0" tIns="34283" rIns="68489" bIns="34283" rtlCol="0" anchor="t">
            <a:noAutofit/>
          </a:bodyPr>
          <a:lstStyle/>
          <a:p>
            <a:pPr marL="341966" indent="-341966"/>
            <a:r>
              <a:rPr lang="es" sz="800" dirty="0">
                <a:solidFill>
                  <a:srgbClr val="34373F"/>
                </a:solidFill>
                <a:latin typeface="Calibri"/>
                <a:ea typeface="メイリオ"/>
                <a:cs typeface="Calibri"/>
              </a:rPr>
              <a:t>C: cápside;  </a:t>
            </a:r>
            <a:r>
              <a:rPr lang="es" sz="800" dirty="0">
                <a:latin typeface="Calibri"/>
                <a:ea typeface="メイリオ"/>
                <a:cs typeface="Calibri"/>
              </a:rPr>
              <a:t>DENV: virus del dengue;  </a:t>
            </a:r>
            <a:r>
              <a:rPr lang="es" sz="800" dirty="0">
                <a:solidFill>
                  <a:srgbClr val="34373F"/>
                </a:solidFill>
                <a:latin typeface="Calibri"/>
                <a:ea typeface="メイリオ"/>
                <a:cs typeface="Calibri"/>
              </a:rPr>
              <a:t>E: sobre; NS: proteína no estructural; prM: premembrana; TDV-1/2/3/4, cepa DENV serotipo 1/2/3/4. IMC inmunidad mediada por células</a:t>
            </a:r>
            <a:r>
              <a:rPr lang="en-US" sz="800" dirty="0">
                <a:latin typeface="Calibri"/>
                <a:ea typeface="メイリオ"/>
                <a:cs typeface="Calibri"/>
              </a:rPr>
              <a:t/>
            </a:r>
            <a:br>
              <a:rPr lang="en-US" sz="800" dirty="0">
                <a:latin typeface="Calibri"/>
                <a:ea typeface="メイリオ"/>
                <a:cs typeface="Calibri"/>
              </a:rPr>
            </a:br>
            <a:r>
              <a:rPr lang="es" sz="800" dirty="0">
                <a:latin typeface="Calibri"/>
                <a:ea typeface="メイリオ"/>
                <a:cs typeface="Calibri"/>
              </a:rPr>
              <a:t>Artículo 1. Osorio JE, et al.  </a:t>
            </a:r>
            <a:r>
              <a:rPr lang="es" sz="800" i="1" dirty="0">
                <a:latin typeface="Calibri"/>
                <a:ea typeface="メイリオ"/>
                <a:cs typeface="Calibri"/>
              </a:rPr>
              <a:t>Expert Rev Vaccines </a:t>
            </a:r>
            <a:r>
              <a:rPr lang="es" sz="800" dirty="0">
                <a:latin typeface="Calibri"/>
                <a:ea typeface="メイリオ"/>
                <a:cs typeface="Calibri"/>
              </a:rPr>
              <a:t>2016; 15:497–508; 2. Butrapet S, et al.  </a:t>
            </a:r>
            <a:r>
              <a:rPr lang="es" sz="800" i="1" dirty="0">
                <a:latin typeface="Calibri"/>
                <a:ea typeface="メイリオ"/>
                <a:cs typeface="Calibri"/>
              </a:rPr>
              <a:t>J Virol </a:t>
            </a:r>
            <a:r>
              <a:rPr lang="es" sz="800" dirty="0">
                <a:latin typeface="Calibri"/>
                <a:ea typeface="メイリオ"/>
                <a:cs typeface="Calibri"/>
              </a:rPr>
              <a:t>2000; 74:3011–3019; 3. Ambuel S, et al.  </a:t>
            </a:r>
            <a:r>
              <a:rPr lang="es" sz="800" i="1" dirty="0">
                <a:latin typeface="Calibri"/>
                <a:ea typeface="メイリオ"/>
                <a:cs typeface="Calibri"/>
              </a:rPr>
              <a:t>Frente Inmunológico </a:t>
            </a:r>
            <a:r>
              <a:rPr lang="es" sz="800" dirty="0">
                <a:latin typeface="Calibri"/>
                <a:ea typeface="メイリオ"/>
                <a:cs typeface="Calibri"/>
              </a:rPr>
              <a:t>2014; 5:263; 4. Chu H, et al.  </a:t>
            </a:r>
            <a:r>
              <a:rPr lang="es" sz="800" i="1" dirty="0">
                <a:latin typeface="Calibri"/>
                <a:ea typeface="メイリオ"/>
                <a:cs typeface="Calibri"/>
              </a:rPr>
              <a:t>J Infect Dis </a:t>
            </a:r>
            <a:r>
              <a:rPr lang="es" sz="800" dirty="0">
                <a:latin typeface="Calibri"/>
                <a:ea typeface="メイリオ"/>
                <a:cs typeface="Calibri"/>
              </a:rPr>
              <a:t>2015; 212:1618-1628.</a:t>
            </a:r>
            <a:endParaRPr lang="en-US" dirty="0">
              <a:latin typeface="Calibri"/>
              <a:ea typeface="メイリオ"/>
              <a:cs typeface="Calibri"/>
            </a:endParaRPr>
          </a:p>
        </p:txBody>
      </p:sp>
      <p:sp>
        <p:nvSpPr>
          <p:cNvPr id="41" name="Rectangle 40">
            <a:extLst>
              <a:ext uri="{FF2B5EF4-FFF2-40B4-BE49-F238E27FC236}">
                <a16:creationId xmlns="" xmlns:a16="http://schemas.microsoft.com/office/drawing/2014/main" id="{105B6EBE-67FA-31D5-BEE2-4CE98993EC1F}"/>
              </a:ext>
            </a:extLst>
          </p:cNvPr>
          <p:cNvSpPr/>
          <p:nvPr/>
        </p:nvSpPr>
        <p:spPr>
          <a:xfrm>
            <a:off x="454560" y="1421994"/>
            <a:ext cx="3597521" cy="707362"/>
          </a:xfrm>
          <a:prstGeom prst="rect">
            <a:avLst/>
          </a:prstGeom>
          <a:no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99770" defTabSz="684933">
              <a:defRPr/>
            </a:pPr>
            <a:r>
              <a:rPr lang="es" sz="1600" dirty="0">
                <a:solidFill>
                  <a:srgbClr val="34373F"/>
                </a:solidFill>
                <a:ea typeface="メイリオ"/>
                <a:cs typeface="Calibri"/>
              </a:rPr>
              <a:t>TAK-003 es una vacuna recombinante viva atenuada basada en DENV-2 (PDK-53)</a:t>
            </a:r>
            <a:r>
              <a:rPr lang="es" sz="1600" baseline="30000" dirty="0">
                <a:solidFill>
                  <a:srgbClr val="34373F"/>
                </a:solidFill>
                <a:ea typeface="メイリオ"/>
                <a:cs typeface="Calibri"/>
              </a:rPr>
              <a:t>1,2</a:t>
            </a:r>
          </a:p>
        </p:txBody>
      </p:sp>
      <p:sp>
        <p:nvSpPr>
          <p:cNvPr id="43" name="Rectangle 42">
            <a:extLst>
              <a:ext uri="{FF2B5EF4-FFF2-40B4-BE49-F238E27FC236}">
                <a16:creationId xmlns="" xmlns:a16="http://schemas.microsoft.com/office/drawing/2014/main" id="{211D47C4-5A20-0AA4-5DE7-3C95EF8CA218}"/>
              </a:ext>
            </a:extLst>
          </p:cNvPr>
          <p:cNvSpPr/>
          <p:nvPr/>
        </p:nvSpPr>
        <p:spPr>
          <a:xfrm>
            <a:off x="454560" y="2462089"/>
            <a:ext cx="3597521" cy="993416"/>
          </a:xfrm>
          <a:prstGeom prst="rect">
            <a:avLst/>
          </a:prstGeom>
          <a:solidFill>
            <a:srgbClr val="0070C0"/>
          </a:solidFill>
          <a:ln>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99770" defTabSz="684933">
              <a:defRPr/>
            </a:pPr>
            <a:r>
              <a:rPr lang="es" sz="1600" dirty="0">
                <a:solidFill>
                  <a:srgbClr val="FFFFFF"/>
                </a:solidFill>
                <a:ea typeface="メイリオ"/>
                <a:cs typeface="Calibri" panose="020F0502020204030204" pitchFamily="34" charset="0"/>
              </a:rPr>
              <a:t>La composición de TAK-003 está diseñada para provocar respuestas inmunitarias a proteínas estructurales y no estructurales de DENV1,3,4</a:t>
            </a:r>
          </a:p>
        </p:txBody>
      </p:sp>
      <p:sp>
        <p:nvSpPr>
          <p:cNvPr id="7" name="Marcador de pie de página 1">
            <a:extLst>
              <a:ext uri="{FF2B5EF4-FFF2-40B4-BE49-F238E27FC236}">
                <a16:creationId xmlns="" xmlns:a16="http://schemas.microsoft.com/office/drawing/2014/main" id="{7BC8BE3F-870D-6FD5-839C-E536491E49CE}"/>
              </a:ext>
            </a:extLst>
          </p:cNvPr>
          <p:cNvSpPr txBox="1">
            <a:spLocks/>
          </p:cNvSpPr>
          <p:nvPr/>
        </p:nvSpPr>
        <p:spPr>
          <a:xfrm>
            <a:off x="426167" y="4917243"/>
            <a:ext cx="7443787" cy="226309"/>
          </a:xfrm>
          <a:prstGeom prst="rect">
            <a:avLst/>
          </a:prstGeom>
          <a:solidFill>
            <a:schemeClr val="bg1"/>
          </a:solidFill>
        </p:spPr>
        <p:txBody>
          <a:bodyPr lIns="68504" tIns="34289" rIns="68504" bIns="34289"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4933">
              <a:defRPr/>
            </a:pPr>
            <a:r>
              <a:rPr lang="es" altLang="ja-JP" sz="800">
                <a:solidFill>
                  <a:srgbClr val="FFFFFF">
                    <a:lumMod val="65000"/>
                  </a:srgbClr>
                </a:solidFill>
              </a:rPr>
              <a:t>l</a:t>
            </a:r>
            <a:endParaRPr lang="ja-JP" altLang="en-US" sz="800">
              <a:solidFill>
                <a:srgbClr val="FFFFFF">
                  <a:lumMod val="65000"/>
                </a:srgbClr>
              </a:solidFill>
            </a:endParaRPr>
          </a:p>
        </p:txBody>
      </p:sp>
      <p:sp>
        <p:nvSpPr>
          <p:cNvPr id="6" name="TextBox 5">
            <a:extLst>
              <a:ext uri="{FF2B5EF4-FFF2-40B4-BE49-F238E27FC236}">
                <a16:creationId xmlns="" xmlns:a16="http://schemas.microsoft.com/office/drawing/2014/main" id="{5940FD3F-9A5F-56F2-038C-45C34AB2CBBC}"/>
              </a:ext>
            </a:extLst>
          </p:cNvPr>
          <p:cNvSpPr txBox="1"/>
          <p:nvPr/>
        </p:nvSpPr>
        <p:spPr>
          <a:xfrm>
            <a:off x="2973815" y="3719777"/>
            <a:ext cx="2480103" cy="588621"/>
          </a:xfrm>
          <a:prstGeom prst="rect">
            <a:avLst/>
          </a:prstGeom>
          <a:noFill/>
          <a:ln>
            <a:noFill/>
            <a:prstDash val="sysDash"/>
          </a:ln>
        </p:spPr>
        <p:txBody>
          <a:bodyPr wrap="square" lIns="68504" tIns="34289" rIns="68504" bIns="34289" rtlCol="0" anchor="t">
            <a:spAutoFit/>
          </a:bodyPr>
          <a:lstStyle/>
          <a:p>
            <a:pPr algn="ctr" defTabSz="684933">
              <a:defRPr/>
            </a:pPr>
            <a:r>
              <a:rPr lang="es" sz="1100" kern="0" err="1">
                <a:solidFill>
                  <a:srgbClr val="34373F"/>
                </a:solidFill>
                <a:ea typeface="+mn-lt"/>
                <a:cs typeface="Calibri" panose="020F0502020204030204"/>
                <a:sym typeface="+mn-lt"/>
              </a:rPr>
              <a:t>prM</a:t>
            </a:r>
            <a:r>
              <a:rPr lang="es" sz="1100" kern="0">
                <a:solidFill>
                  <a:srgbClr val="34373F"/>
                </a:solidFill>
                <a:ea typeface="+mn-lt"/>
                <a:cs typeface="Calibri" panose="020F0502020204030204"/>
                <a:sym typeface="+mn-lt"/>
              </a:rPr>
              <a:t> y E (proteínas estructurales del DENV) son las principales dianas de la respuesta humoral </a:t>
            </a:r>
            <a:r>
              <a:rPr lang="es" sz="1100" kern="0" baseline="30000">
                <a:solidFill>
                  <a:srgbClr val="34373F"/>
                </a:solidFill>
                <a:ea typeface="+mn-lt"/>
                <a:cs typeface="Calibri" panose="020F0502020204030204"/>
                <a:sym typeface="+mn-lt"/>
              </a:rPr>
              <a:t>2</a:t>
            </a:r>
            <a:endParaRPr lang="es" sz="1100" kern="0" baseline="30000">
              <a:solidFill>
                <a:srgbClr val="34373F"/>
              </a:solidFill>
              <a:ea typeface="+mn-lt"/>
              <a:cs typeface="Calibri" panose="020F0502020204030204"/>
            </a:endParaRPr>
          </a:p>
        </p:txBody>
      </p:sp>
      <p:sp>
        <p:nvSpPr>
          <p:cNvPr id="8" name="TextBox 7">
            <a:extLst>
              <a:ext uri="{FF2B5EF4-FFF2-40B4-BE49-F238E27FC236}">
                <a16:creationId xmlns="" xmlns:a16="http://schemas.microsoft.com/office/drawing/2014/main" id="{7A2B416D-0611-30A4-4B7D-D2C4BE769E0C}"/>
              </a:ext>
            </a:extLst>
          </p:cNvPr>
          <p:cNvSpPr txBox="1"/>
          <p:nvPr/>
        </p:nvSpPr>
        <p:spPr>
          <a:xfrm>
            <a:off x="5453918" y="3719777"/>
            <a:ext cx="2038611" cy="415497"/>
          </a:xfrm>
          <a:prstGeom prst="rect">
            <a:avLst/>
          </a:prstGeom>
          <a:noFill/>
        </p:spPr>
        <p:txBody>
          <a:bodyPr wrap="square" lIns="68504" tIns="34289" rIns="68504" bIns="34289" rtlCol="0" anchor="t">
            <a:spAutoFit/>
          </a:bodyPr>
          <a:lstStyle/>
          <a:p>
            <a:pPr algn="ctr" defTabSz="684933">
              <a:defRPr/>
            </a:pPr>
            <a:r>
              <a:rPr lang="es" sz="1100" kern="0">
                <a:solidFill>
                  <a:srgbClr val="34373F"/>
                </a:solidFill>
                <a:ea typeface="+mn-lt"/>
                <a:cs typeface="Calibri" panose="020F0502020204030204"/>
                <a:sym typeface="+mn-lt"/>
              </a:rPr>
              <a:t>NS1 es una diana para la respuesta humoral y IMC</a:t>
            </a:r>
            <a:r>
              <a:rPr lang="es" sz="1100" kern="0" baseline="30000">
                <a:solidFill>
                  <a:srgbClr val="34373F"/>
                </a:solidFill>
                <a:ea typeface="+mn-lt"/>
                <a:cs typeface="Calibri" panose="020F0502020204030204"/>
                <a:sym typeface="+mn-lt"/>
              </a:rPr>
              <a:t>1,3</a:t>
            </a:r>
            <a:endParaRPr lang="en-US" sz="1100" kern="0" baseline="30000">
              <a:solidFill>
                <a:srgbClr val="34373F"/>
              </a:solidFill>
              <a:ea typeface="+mn-lt"/>
              <a:cs typeface="Calibri" panose="020F0502020204030204"/>
            </a:endParaRPr>
          </a:p>
        </p:txBody>
      </p:sp>
      <p:sp>
        <p:nvSpPr>
          <p:cNvPr id="9" name="TextBox 8">
            <a:extLst>
              <a:ext uri="{FF2B5EF4-FFF2-40B4-BE49-F238E27FC236}">
                <a16:creationId xmlns="" xmlns:a16="http://schemas.microsoft.com/office/drawing/2014/main" id="{42830F7E-895F-2EBC-0DFE-3A4EB6071B3A}"/>
              </a:ext>
            </a:extLst>
          </p:cNvPr>
          <p:cNvSpPr txBox="1"/>
          <p:nvPr/>
        </p:nvSpPr>
        <p:spPr>
          <a:xfrm>
            <a:off x="7390320" y="3769256"/>
            <a:ext cx="1877304" cy="588621"/>
          </a:xfrm>
          <a:prstGeom prst="rect">
            <a:avLst/>
          </a:prstGeom>
          <a:noFill/>
        </p:spPr>
        <p:txBody>
          <a:bodyPr wrap="square" lIns="68504" tIns="34289" rIns="68504" bIns="34289" rtlCol="0" anchor="t">
            <a:spAutoFit/>
          </a:bodyPr>
          <a:lstStyle/>
          <a:p>
            <a:pPr algn="ctr" defTabSz="684933">
              <a:defRPr/>
            </a:pPr>
            <a:r>
              <a:rPr lang="es" sz="1100" kern="0">
                <a:solidFill>
                  <a:srgbClr val="34373F"/>
                </a:solidFill>
                <a:ea typeface="+mn-lt"/>
                <a:cs typeface="Calibri" panose="020F0502020204030204"/>
                <a:sym typeface="+mn-lt"/>
              </a:rPr>
              <a:t>Todo el proteoma es el objetivo de la respuesta del IMC </a:t>
            </a:r>
            <a:r>
              <a:rPr lang="es" sz="1100" kern="0" baseline="30000">
                <a:solidFill>
                  <a:srgbClr val="34373F"/>
                </a:solidFill>
                <a:ea typeface="+mn-lt"/>
                <a:cs typeface="Calibri" panose="020F0502020204030204"/>
                <a:sym typeface="+mn-lt"/>
              </a:rPr>
              <a:t>4</a:t>
            </a:r>
            <a:endParaRPr lang="en-US" sz="1100" b="1" kern="0">
              <a:solidFill>
                <a:srgbClr val="34373F"/>
              </a:solidFill>
              <a:ea typeface="+mn-lt"/>
              <a:cs typeface="Calibri" panose="020F0502020204030204"/>
            </a:endParaRPr>
          </a:p>
        </p:txBody>
      </p:sp>
    </p:spTree>
    <p:extLst>
      <p:ext uri="{BB962C8B-B14F-4D97-AF65-F5344CB8AC3E}">
        <p14:creationId xmlns:p14="http://schemas.microsoft.com/office/powerpoint/2010/main" val="3562944697"/>
      </p:ext>
    </p:extLst>
  </p:cSld>
  <p:clrMapOvr>
    <a:masterClrMapping/>
  </p:clrMapOvr>
  <p:transition spd="slow">
    <p:push dir="u"/>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xmlns="" id="{3FD5929A-8F56-4F24-8F08-11B0737839ED}"/>
              </a:ext>
            </a:extLst>
          </p:cNvPr>
          <p:cNvSpPr>
            <a:spLocks noGrp="1"/>
          </p:cNvSpPr>
          <p:nvPr>
            <p:ph type="title"/>
          </p:nvPr>
        </p:nvSpPr>
        <p:spPr>
          <a:xfrm>
            <a:off x="568127" y="-2738"/>
            <a:ext cx="8449123" cy="789777"/>
          </a:xfrm>
          <a:solidFill>
            <a:schemeClr val="bg1"/>
          </a:solidFill>
        </p:spPr>
        <p:txBody>
          <a:bodyPr>
            <a:noAutofit/>
          </a:bodyPr>
          <a:lstStyle/>
          <a:p>
            <a:pPr>
              <a:spcBef>
                <a:spcPts val="0"/>
              </a:spcBef>
            </a:pPr>
            <a:r>
              <a:rPr lang="es" b="1" dirty="0">
                <a:solidFill>
                  <a:schemeClr val="tx2"/>
                </a:solidFill>
              </a:rPr>
              <a:t>El programa TAK-003 incluyó  países endémicos y no endémicos</a:t>
            </a:r>
          </a:p>
        </p:txBody>
      </p:sp>
      <p:sp>
        <p:nvSpPr>
          <p:cNvPr id="70" name="Rectangle 69">
            <a:extLst>
              <a:ext uri="{FF2B5EF4-FFF2-40B4-BE49-F238E27FC236}">
                <a16:creationId xmlns:a16="http://schemas.microsoft.com/office/drawing/2014/main" xmlns="" id="{74E48A14-8A0B-4232-A927-FCFFF4EC251D}"/>
              </a:ext>
            </a:extLst>
          </p:cNvPr>
          <p:cNvSpPr/>
          <p:nvPr/>
        </p:nvSpPr>
        <p:spPr>
          <a:xfrm>
            <a:off x="371888" y="4483378"/>
            <a:ext cx="4200113" cy="3306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685783">
              <a:defRPr/>
            </a:pPr>
            <a:endParaRPr lang="en-US" sz="675">
              <a:solidFill>
                <a:srgbClr val="898989"/>
              </a:solidFill>
              <a:latin typeface="Calibri"/>
            </a:endParaRPr>
          </a:p>
        </p:txBody>
      </p:sp>
      <p:grpSp>
        <p:nvGrpSpPr>
          <p:cNvPr id="58" name="Group 57">
            <a:extLst>
              <a:ext uri="{FF2B5EF4-FFF2-40B4-BE49-F238E27FC236}">
                <a16:creationId xmlns:a16="http://schemas.microsoft.com/office/drawing/2014/main" xmlns="" id="{96318466-95F2-4B45-8169-5DE028B48199}"/>
              </a:ext>
            </a:extLst>
          </p:cNvPr>
          <p:cNvGrpSpPr/>
          <p:nvPr/>
        </p:nvGrpSpPr>
        <p:grpSpPr>
          <a:xfrm>
            <a:off x="2595854" y="925960"/>
            <a:ext cx="6091781" cy="3017699"/>
            <a:chOff x="12790709" y="1573879"/>
            <a:chExt cx="7546976" cy="3738562"/>
          </a:xfrm>
          <a:solidFill>
            <a:srgbClr val="AECCD0"/>
          </a:solidFill>
        </p:grpSpPr>
        <p:sp>
          <p:nvSpPr>
            <p:cNvPr id="61" name="Rectangle 5">
              <a:extLst>
                <a:ext uri="{FF2B5EF4-FFF2-40B4-BE49-F238E27FC236}">
                  <a16:creationId xmlns:a16="http://schemas.microsoft.com/office/drawing/2014/main" xmlns="" id="{5ACD1C08-58E2-47B8-B2EC-6F7698BB549B}"/>
                </a:ext>
              </a:extLst>
            </p:cNvPr>
            <p:cNvSpPr>
              <a:spLocks noChangeArrowheads="1"/>
            </p:cNvSpPr>
            <p:nvPr/>
          </p:nvSpPr>
          <p:spPr bwMode="auto">
            <a:xfrm>
              <a:off x="16902334" y="4020216"/>
              <a:ext cx="211138" cy="293687"/>
            </a:xfrm>
            <a:prstGeom prst="rect">
              <a:avLst/>
            </a:pr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62" name="Rectangle 6">
              <a:extLst>
                <a:ext uri="{FF2B5EF4-FFF2-40B4-BE49-F238E27FC236}">
                  <a16:creationId xmlns:a16="http://schemas.microsoft.com/office/drawing/2014/main" xmlns="" id="{7789234A-8F52-4305-B8C4-46F7F04DABA1}"/>
                </a:ext>
              </a:extLst>
            </p:cNvPr>
            <p:cNvSpPr>
              <a:spLocks noChangeArrowheads="1"/>
            </p:cNvSpPr>
            <p:nvPr/>
          </p:nvSpPr>
          <p:spPr bwMode="auto">
            <a:xfrm>
              <a:off x="16910272" y="3950366"/>
              <a:ext cx="195263" cy="112712"/>
            </a:xfrm>
            <a:prstGeom prst="rect">
              <a:avLst/>
            </a:pr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63" name="Freeform 7">
              <a:extLst>
                <a:ext uri="{FF2B5EF4-FFF2-40B4-BE49-F238E27FC236}">
                  <a16:creationId xmlns:a16="http://schemas.microsoft.com/office/drawing/2014/main" xmlns="" id="{5014B8F2-E01E-4441-BF63-8A01C9E09862}"/>
                </a:ext>
              </a:extLst>
            </p:cNvPr>
            <p:cNvSpPr>
              <a:spLocks/>
            </p:cNvSpPr>
            <p:nvPr/>
          </p:nvSpPr>
          <p:spPr bwMode="auto">
            <a:xfrm>
              <a:off x="16578484" y="4350416"/>
              <a:ext cx="266700" cy="268287"/>
            </a:xfrm>
            <a:custGeom>
              <a:avLst/>
              <a:gdLst>
                <a:gd name="T0" fmla="*/ 38 w 102"/>
                <a:gd name="T1" fmla="*/ 98 h 103"/>
                <a:gd name="T2" fmla="*/ 42 w 102"/>
                <a:gd name="T3" fmla="*/ 96 h 103"/>
                <a:gd name="T4" fmla="*/ 47 w 102"/>
                <a:gd name="T5" fmla="*/ 101 h 103"/>
                <a:gd name="T6" fmla="*/ 57 w 102"/>
                <a:gd name="T7" fmla="*/ 101 h 103"/>
                <a:gd name="T8" fmla="*/ 62 w 102"/>
                <a:gd name="T9" fmla="*/ 96 h 103"/>
                <a:gd name="T10" fmla="*/ 62 w 102"/>
                <a:gd name="T11" fmla="*/ 43 h 103"/>
                <a:gd name="T12" fmla="*/ 70 w 102"/>
                <a:gd name="T13" fmla="*/ 40 h 103"/>
                <a:gd name="T14" fmla="*/ 70 w 102"/>
                <a:gd name="T15" fmla="*/ 12 h 103"/>
                <a:gd name="T16" fmla="*/ 78 w 102"/>
                <a:gd name="T17" fmla="*/ 11 h 103"/>
                <a:gd name="T18" fmla="*/ 87 w 102"/>
                <a:gd name="T19" fmla="*/ 9 h 103"/>
                <a:gd name="T20" fmla="*/ 91 w 102"/>
                <a:gd name="T21" fmla="*/ 12 h 103"/>
                <a:gd name="T22" fmla="*/ 97 w 102"/>
                <a:gd name="T23" fmla="*/ 8 h 103"/>
                <a:gd name="T24" fmla="*/ 102 w 102"/>
                <a:gd name="T25" fmla="*/ 7 h 103"/>
                <a:gd name="T26" fmla="*/ 102 w 102"/>
                <a:gd name="T27" fmla="*/ 5 h 103"/>
                <a:gd name="T28" fmla="*/ 85 w 102"/>
                <a:gd name="T29" fmla="*/ 7 h 103"/>
                <a:gd name="T30" fmla="*/ 72 w 102"/>
                <a:gd name="T31" fmla="*/ 7 h 103"/>
                <a:gd name="T32" fmla="*/ 55 w 102"/>
                <a:gd name="T33" fmla="*/ 7 h 103"/>
                <a:gd name="T34" fmla="*/ 52 w 102"/>
                <a:gd name="T35" fmla="*/ 5 h 103"/>
                <a:gd name="T36" fmla="*/ 24 w 102"/>
                <a:gd name="T37" fmla="*/ 5 h 103"/>
                <a:gd name="T38" fmla="*/ 17 w 102"/>
                <a:gd name="T39" fmla="*/ 3 h 103"/>
                <a:gd name="T40" fmla="*/ 9 w 102"/>
                <a:gd name="T41" fmla="*/ 2 h 103"/>
                <a:gd name="T42" fmla="*/ 6 w 102"/>
                <a:gd name="T43" fmla="*/ 0 h 103"/>
                <a:gd name="T44" fmla="*/ 3 w 102"/>
                <a:gd name="T45" fmla="*/ 3 h 103"/>
                <a:gd name="T46" fmla="*/ 0 w 102"/>
                <a:gd name="T47" fmla="*/ 3 h 103"/>
                <a:gd name="T48" fmla="*/ 5 w 102"/>
                <a:gd name="T49" fmla="*/ 14 h 103"/>
                <a:gd name="T50" fmla="*/ 13 w 102"/>
                <a:gd name="T51" fmla="*/ 30 h 103"/>
                <a:gd name="T52" fmla="*/ 21 w 102"/>
                <a:gd name="T53" fmla="*/ 47 h 103"/>
                <a:gd name="T54" fmla="*/ 21 w 102"/>
                <a:gd name="T55" fmla="*/ 60 h 103"/>
                <a:gd name="T56" fmla="*/ 24 w 102"/>
                <a:gd name="T57" fmla="*/ 73 h 103"/>
                <a:gd name="T58" fmla="*/ 29 w 102"/>
                <a:gd name="T59" fmla="*/ 93 h 103"/>
                <a:gd name="T60" fmla="*/ 34 w 102"/>
                <a:gd name="T61" fmla="*/ 99 h 103"/>
                <a:gd name="T62" fmla="*/ 38 w 102"/>
                <a:gd name="T63" fmla="*/ 98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2" h="103">
                  <a:moveTo>
                    <a:pt x="38" y="98"/>
                  </a:moveTo>
                  <a:cubicBezTo>
                    <a:pt x="38" y="96"/>
                    <a:pt x="41" y="93"/>
                    <a:pt x="42" y="96"/>
                  </a:cubicBezTo>
                  <a:cubicBezTo>
                    <a:pt x="44" y="98"/>
                    <a:pt x="43" y="101"/>
                    <a:pt x="47" y="101"/>
                  </a:cubicBezTo>
                  <a:cubicBezTo>
                    <a:pt x="50" y="101"/>
                    <a:pt x="56" y="103"/>
                    <a:pt x="57" y="101"/>
                  </a:cubicBezTo>
                  <a:cubicBezTo>
                    <a:pt x="58" y="100"/>
                    <a:pt x="62" y="99"/>
                    <a:pt x="62" y="96"/>
                  </a:cubicBezTo>
                  <a:cubicBezTo>
                    <a:pt x="62" y="93"/>
                    <a:pt x="62" y="45"/>
                    <a:pt x="62" y="43"/>
                  </a:cubicBezTo>
                  <a:cubicBezTo>
                    <a:pt x="62" y="41"/>
                    <a:pt x="70" y="43"/>
                    <a:pt x="70" y="40"/>
                  </a:cubicBezTo>
                  <a:cubicBezTo>
                    <a:pt x="70" y="37"/>
                    <a:pt x="70" y="12"/>
                    <a:pt x="70" y="12"/>
                  </a:cubicBezTo>
                  <a:cubicBezTo>
                    <a:pt x="70" y="12"/>
                    <a:pt x="76" y="12"/>
                    <a:pt x="78" y="11"/>
                  </a:cubicBezTo>
                  <a:cubicBezTo>
                    <a:pt x="80" y="11"/>
                    <a:pt x="85" y="8"/>
                    <a:pt x="87" y="9"/>
                  </a:cubicBezTo>
                  <a:cubicBezTo>
                    <a:pt x="88" y="10"/>
                    <a:pt x="90" y="13"/>
                    <a:pt x="91" y="12"/>
                  </a:cubicBezTo>
                  <a:cubicBezTo>
                    <a:pt x="92" y="11"/>
                    <a:pt x="94" y="8"/>
                    <a:pt x="97" y="8"/>
                  </a:cubicBezTo>
                  <a:cubicBezTo>
                    <a:pt x="98" y="8"/>
                    <a:pt x="100" y="8"/>
                    <a:pt x="102" y="7"/>
                  </a:cubicBezTo>
                  <a:cubicBezTo>
                    <a:pt x="102" y="6"/>
                    <a:pt x="102" y="6"/>
                    <a:pt x="102" y="5"/>
                  </a:cubicBezTo>
                  <a:cubicBezTo>
                    <a:pt x="102" y="3"/>
                    <a:pt x="87" y="6"/>
                    <a:pt x="85" y="7"/>
                  </a:cubicBezTo>
                  <a:cubicBezTo>
                    <a:pt x="82" y="7"/>
                    <a:pt x="75" y="9"/>
                    <a:pt x="72" y="7"/>
                  </a:cubicBezTo>
                  <a:cubicBezTo>
                    <a:pt x="70" y="6"/>
                    <a:pt x="55" y="7"/>
                    <a:pt x="55" y="7"/>
                  </a:cubicBezTo>
                  <a:cubicBezTo>
                    <a:pt x="52" y="5"/>
                    <a:pt x="52" y="5"/>
                    <a:pt x="52" y="5"/>
                  </a:cubicBezTo>
                  <a:cubicBezTo>
                    <a:pt x="52" y="5"/>
                    <a:pt x="27" y="5"/>
                    <a:pt x="24" y="5"/>
                  </a:cubicBezTo>
                  <a:cubicBezTo>
                    <a:pt x="21" y="5"/>
                    <a:pt x="19" y="4"/>
                    <a:pt x="17" y="3"/>
                  </a:cubicBezTo>
                  <a:cubicBezTo>
                    <a:pt x="14" y="1"/>
                    <a:pt x="12" y="1"/>
                    <a:pt x="9" y="2"/>
                  </a:cubicBezTo>
                  <a:cubicBezTo>
                    <a:pt x="6" y="3"/>
                    <a:pt x="8" y="0"/>
                    <a:pt x="6" y="0"/>
                  </a:cubicBezTo>
                  <a:cubicBezTo>
                    <a:pt x="4" y="0"/>
                    <a:pt x="3" y="3"/>
                    <a:pt x="3" y="3"/>
                  </a:cubicBezTo>
                  <a:cubicBezTo>
                    <a:pt x="0" y="3"/>
                    <a:pt x="0" y="3"/>
                    <a:pt x="0" y="3"/>
                  </a:cubicBezTo>
                  <a:cubicBezTo>
                    <a:pt x="0" y="6"/>
                    <a:pt x="2" y="10"/>
                    <a:pt x="5" y="14"/>
                  </a:cubicBezTo>
                  <a:cubicBezTo>
                    <a:pt x="7" y="17"/>
                    <a:pt x="11" y="24"/>
                    <a:pt x="13" y="30"/>
                  </a:cubicBezTo>
                  <a:cubicBezTo>
                    <a:pt x="14" y="36"/>
                    <a:pt x="19" y="42"/>
                    <a:pt x="21" y="47"/>
                  </a:cubicBezTo>
                  <a:cubicBezTo>
                    <a:pt x="22" y="51"/>
                    <a:pt x="20" y="58"/>
                    <a:pt x="21" y="60"/>
                  </a:cubicBezTo>
                  <a:cubicBezTo>
                    <a:pt x="22" y="63"/>
                    <a:pt x="23" y="68"/>
                    <a:pt x="24" y="73"/>
                  </a:cubicBezTo>
                  <a:cubicBezTo>
                    <a:pt x="25" y="78"/>
                    <a:pt x="25" y="88"/>
                    <a:pt x="29" y="93"/>
                  </a:cubicBezTo>
                  <a:cubicBezTo>
                    <a:pt x="31" y="94"/>
                    <a:pt x="33" y="96"/>
                    <a:pt x="34" y="99"/>
                  </a:cubicBezTo>
                  <a:cubicBezTo>
                    <a:pt x="36" y="99"/>
                    <a:pt x="38" y="99"/>
                    <a:pt x="38" y="98"/>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64" name="Freeform 8">
              <a:extLst>
                <a:ext uri="{FF2B5EF4-FFF2-40B4-BE49-F238E27FC236}">
                  <a16:creationId xmlns:a16="http://schemas.microsoft.com/office/drawing/2014/main" xmlns="" id="{DBA6880C-2592-4648-B288-D3F02EE356E3}"/>
                </a:ext>
              </a:extLst>
            </p:cNvPr>
            <p:cNvSpPr>
              <a:spLocks/>
            </p:cNvSpPr>
            <p:nvPr/>
          </p:nvSpPr>
          <p:spPr bwMode="auto">
            <a:xfrm>
              <a:off x="16845184" y="4321841"/>
              <a:ext cx="168275" cy="146050"/>
            </a:xfrm>
            <a:custGeom>
              <a:avLst/>
              <a:gdLst>
                <a:gd name="T0" fmla="*/ 43 w 65"/>
                <a:gd name="T1" fmla="*/ 3 h 56"/>
                <a:gd name="T2" fmla="*/ 42 w 65"/>
                <a:gd name="T3" fmla="*/ 0 h 56"/>
                <a:gd name="T4" fmla="*/ 35 w 65"/>
                <a:gd name="T5" fmla="*/ 0 h 56"/>
                <a:gd name="T6" fmla="*/ 30 w 65"/>
                <a:gd name="T7" fmla="*/ 4 h 56"/>
                <a:gd name="T8" fmla="*/ 23 w 65"/>
                <a:gd name="T9" fmla="*/ 10 h 56"/>
                <a:gd name="T10" fmla="*/ 15 w 65"/>
                <a:gd name="T11" fmla="*/ 19 h 56"/>
                <a:gd name="T12" fmla="*/ 4 w 65"/>
                <a:gd name="T13" fmla="*/ 18 h 56"/>
                <a:gd name="T14" fmla="*/ 0 w 65"/>
                <a:gd name="T15" fmla="*/ 18 h 56"/>
                <a:gd name="T16" fmla="*/ 5 w 65"/>
                <a:gd name="T17" fmla="*/ 23 h 56"/>
                <a:gd name="T18" fmla="*/ 9 w 65"/>
                <a:gd name="T19" fmla="*/ 32 h 56"/>
                <a:gd name="T20" fmla="*/ 17 w 65"/>
                <a:gd name="T21" fmla="*/ 38 h 56"/>
                <a:gd name="T22" fmla="*/ 21 w 65"/>
                <a:gd name="T23" fmla="*/ 44 h 56"/>
                <a:gd name="T24" fmla="*/ 26 w 65"/>
                <a:gd name="T25" fmla="*/ 50 h 56"/>
                <a:gd name="T26" fmla="*/ 32 w 65"/>
                <a:gd name="T27" fmla="*/ 53 h 56"/>
                <a:gd name="T28" fmla="*/ 40 w 65"/>
                <a:gd name="T29" fmla="*/ 55 h 56"/>
                <a:gd name="T30" fmla="*/ 49 w 65"/>
                <a:gd name="T31" fmla="*/ 56 h 56"/>
                <a:gd name="T32" fmla="*/ 57 w 65"/>
                <a:gd name="T33" fmla="*/ 48 h 56"/>
                <a:gd name="T34" fmla="*/ 59 w 65"/>
                <a:gd name="T35" fmla="*/ 40 h 56"/>
                <a:gd name="T36" fmla="*/ 63 w 65"/>
                <a:gd name="T37" fmla="*/ 34 h 56"/>
                <a:gd name="T38" fmla="*/ 61 w 65"/>
                <a:gd name="T39" fmla="*/ 28 h 56"/>
                <a:gd name="T40" fmla="*/ 63 w 65"/>
                <a:gd name="T41" fmla="*/ 21 h 56"/>
                <a:gd name="T42" fmla="*/ 63 w 65"/>
                <a:gd name="T43" fmla="*/ 9 h 56"/>
                <a:gd name="T44" fmla="*/ 53 w 65"/>
                <a:gd name="T45" fmla="*/ 5 h 56"/>
                <a:gd name="T46" fmla="*/ 43 w 65"/>
                <a:gd name="T47" fmla="*/ 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56">
                  <a:moveTo>
                    <a:pt x="43" y="3"/>
                  </a:moveTo>
                  <a:cubicBezTo>
                    <a:pt x="42" y="0"/>
                    <a:pt x="42" y="0"/>
                    <a:pt x="42" y="0"/>
                  </a:cubicBezTo>
                  <a:cubicBezTo>
                    <a:pt x="35" y="0"/>
                    <a:pt x="35" y="0"/>
                    <a:pt x="35" y="0"/>
                  </a:cubicBezTo>
                  <a:cubicBezTo>
                    <a:pt x="30" y="2"/>
                    <a:pt x="30" y="3"/>
                    <a:pt x="30" y="4"/>
                  </a:cubicBezTo>
                  <a:cubicBezTo>
                    <a:pt x="30" y="6"/>
                    <a:pt x="26" y="9"/>
                    <a:pt x="23" y="10"/>
                  </a:cubicBezTo>
                  <a:cubicBezTo>
                    <a:pt x="20" y="11"/>
                    <a:pt x="16" y="18"/>
                    <a:pt x="15" y="19"/>
                  </a:cubicBezTo>
                  <a:cubicBezTo>
                    <a:pt x="13" y="20"/>
                    <a:pt x="6" y="18"/>
                    <a:pt x="4" y="18"/>
                  </a:cubicBezTo>
                  <a:cubicBezTo>
                    <a:pt x="4" y="17"/>
                    <a:pt x="2" y="18"/>
                    <a:pt x="0" y="18"/>
                  </a:cubicBezTo>
                  <a:cubicBezTo>
                    <a:pt x="1" y="20"/>
                    <a:pt x="4" y="23"/>
                    <a:pt x="5" y="23"/>
                  </a:cubicBezTo>
                  <a:cubicBezTo>
                    <a:pt x="6" y="23"/>
                    <a:pt x="6" y="31"/>
                    <a:pt x="9" y="32"/>
                  </a:cubicBezTo>
                  <a:cubicBezTo>
                    <a:pt x="12" y="34"/>
                    <a:pt x="17" y="36"/>
                    <a:pt x="17" y="38"/>
                  </a:cubicBezTo>
                  <a:cubicBezTo>
                    <a:pt x="17" y="40"/>
                    <a:pt x="21" y="42"/>
                    <a:pt x="21" y="44"/>
                  </a:cubicBezTo>
                  <a:cubicBezTo>
                    <a:pt x="21" y="46"/>
                    <a:pt x="24" y="50"/>
                    <a:pt x="26" y="50"/>
                  </a:cubicBezTo>
                  <a:cubicBezTo>
                    <a:pt x="31" y="50"/>
                    <a:pt x="32" y="52"/>
                    <a:pt x="32" y="53"/>
                  </a:cubicBezTo>
                  <a:cubicBezTo>
                    <a:pt x="32" y="55"/>
                    <a:pt x="39" y="53"/>
                    <a:pt x="40" y="55"/>
                  </a:cubicBezTo>
                  <a:cubicBezTo>
                    <a:pt x="40" y="56"/>
                    <a:pt x="47" y="55"/>
                    <a:pt x="49" y="56"/>
                  </a:cubicBezTo>
                  <a:cubicBezTo>
                    <a:pt x="51" y="54"/>
                    <a:pt x="55" y="50"/>
                    <a:pt x="57" y="48"/>
                  </a:cubicBezTo>
                  <a:cubicBezTo>
                    <a:pt x="59" y="45"/>
                    <a:pt x="57" y="41"/>
                    <a:pt x="59" y="40"/>
                  </a:cubicBezTo>
                  <a:cubicBezTo>
                    <a:pt x="61" y="39"/>
                    <a:pt x="65" y="35"/>
                    <a:pt x="63" y="34"/>
                  </a:cubicBezTo>
                  <a:cubicBezTo>
                    <a:pt x="62" y="34"/>
                    <a:pt x="63" y="30"/>
                    <a:pt x="61" y="28"/>
                  </a:cubicBezTo>
                  <a:cubicBezTo>
                    <a:pt x="59" y="26"/>
                    <a:pt x="63" y="25"/>
                    <a:pt x="63" y="21"/>
                  </a:cubicBezTo>
                  <a:cubicBezTo>
                    <a:pt x="63" y="17"/>
                    <a:pt x="64" y="9"/>
                    <a:pt x="63" y="9"/>
                  </a:cubicBezTo>
                  <a:cubicBezTo>
                    <a:pt x="61" y="8"/>
                    <a:pt x="56" y="7"/>
                    <a:pt x="53" y="5"/>
                  </a:cubicBezTo>
                  <a:cubicBezTo>
                    <a:pt x="50" y="3"/>
                    <a:pt x="43" y="3"/>
                    <a:pt x="43" y="3"/>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65" name="Freeform 9">
              <a:extLst>
                <a:ext uri="{FF2B5EF4-FFF2-40B4-BE49-F238E27FC236}">
                  <a16:creationId xmlns:a16="http://schemas.microsoft.com/office/drawing/2014/main" xmlns="" id="{FB7E93DA-3217-4158-A62D-B37215FA5A18}"/>
                </a:ext>
              </a:extLst>
            </p:cNvPr>
            <p:cNvSpPr>
              <a:spLocks/>
            </p:cNvSpPr>
            <p:nvPr/>
          </p:nvSpPr>
          <p:spPr bwMode="auto">
            <a:xfrm>
              <a:off x="16740409" y="4367879"/>
              <a:ext cx="187325" cy="204787"/>
            </a:xfrm>
            <a:custGeom>
              <a:avLst/>
              <a:gdLst>
                <a:gd name="T0" fmla="*/ 66 w 72"/>
                <a:gd name="T1" fmla="*/ 32 h 78"/>
                <a:gd name="T2" fmla="*/ 61 w 72"/>
                <a:gd name="T3" fmla="*/ 26 h 78"/>
                <a:gd name="T4" fmla="*/ 57 w 72"/>
                <a:gd name="T5" fmla="*/ 20 h 78"/>
                <a:gd name="T6" fmla="*/ 49 w 72"/>
                <a:gd name="T7" fmla="*/ 14 h 78"/>
                <a:gd name="T8" fmla="*/ 45 w 72"/>
                <a:gd name="T9" fmla="*/ 5 h 78"/>
                <a:gd name="T10" fmla="*/ 40 w 72"/>
                <a:gd name="T11" fmla="*/ 0 h 78"/>
                <a:gd name="T12" fmla="*/ 35 w 72"/>
                <a:gd name="T13" fmla="*/ 1 h 78"/>
                <a:gd name="T14" fmla="*/ 29 w 72"/>
                <a:gd name="T15" fmla="*/ 5 h 78"/>
                <a:gd name="T16" fmla="*/ 25 w 72"/>
                <a:gd name="T17" fmla="*/ 2 h 78"/>
                <a:gd name="T18" fmla="*/ 16 w 72"/>
                <a:gd name="T19" fmla="*/ 4 h 78"/>
                <a:gd name="T20" fmla="*/ 8 w 72"/>
                <a:gd name="T21" fmla="*/ 5 h 78"/>
                <a:gd name="T22" fmla="*/ 8 w 72"/>
                <a:gd name="T23" fmla="*/ 33 h 78"/>
                <a:gd name="T24" fmla="*/ 0 w 72"/>
                <a:gd name="T25" fmla="*/ 36 h 78"/>
                <a:gd name="T26" fmla="*/ 0 w 72"/>
                <a:gd name="T27" fmla="*/ 60 h 78"/>
                <a:gd name="T28" fmla="*/ 4 w 72"/>
                <a:gd name="T29" fmla="*/ 62 h 78"/>
                <a:gd name="T30" fmla="*/ 7 w 72"/>
                <a:gd name="T31" fmla="*/ 71 h 78"/>
                <a:gd name="T32" fmla="*/ 5 w 72"/>
                <a:gd name="T33" fmla="*/ 73 h 78"/>
                <a:gd name="T34" fmla="*/ 6 w 72"/>
                <a:gd name="T35" fmla="*/ 77 h 78"/>
                <a:gd name="T36" fmla="*/ 14 w 72"/>
                <a:gd name="T37" fmla="*/ 76 h 78"/>
                <a:gd name="T38" fmla="*/ 22 w 72"/>
                <a:gd name="T39" fmla="*/ 68 h 78"/>
                <a:gd name="T40" fmla="*/ 27 w 72"/>
                <a:gd name="T41" fmla="*/ 64 h 78"/>
                <a:gd name="T42" fmla="*/ 37 w 72"/>
                <a:gd name="T43" fmla="*/ 67 h 78"/>
                <a:gd name="T44" fmla="*/ 44 w 72"/>
                <a:gd name="T45" fmla="*/ 63 h 78"/>
                <a:gd name="T46" fmla="*/ 47 w 72"/>
                <a:gd name="T47" fmla="*/ 57 h 78"/>
                <a:gd name="T48" fmla="*/ 54 w 72"/>
                <a:gd name="T49" fmla="*/ 52 h 78"/>
                <a:gd name="T50" fmla="*/ 58 w 72"/>
                <a:gd name="T51" fmla="*/ 47 h 78"/>
                <a:gd name="T52" fmla="*/ 64 w 72"/>
                <a:gd name="T53" fmla="*/ 42 h 78"/>
                <a:gd name="T54" fmla="*/ 69 w 72"/>
                <a:gd name="T55" fmla="*/ 39 h 78"/>
                <a:gd name="T56" fmla="*/ 72 w 72"/>
                <a:gd name="T57" fmla="*/ 35 h 78"/>
                <a:gd name="T58" fmla="*/ 72 w 72"/>
                <a:gd name="T59" fmla="*/ 35 h 78"/>
                <a:gd name="T60" fmla="*/ 66 w 72"/>
                <a:gd name="T61" fmla="*/ 32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2" h="78">
                  <a:moveTo>
                    <a:pt x="66" y="32"/>
                  </a:moveTo>
                  <a:cubicBezTo>
                    <a:pt x="64" y="32"/>
                    <a:pt x="61" y="28"/>
                    <a:pt x="61" y="26"/>
                  </a:cubicBezTo>
                  <a:cubicBezTo>
                    <a:pt x="61" y="24"/>
                    <a:pt x="57" y="22"/>
                    <a:pt x="57" y="20"/>
                  </a:cubicBezTo>
                  <a:cubicBezTo>
                    <a:pt x="57" y="18"/>
                    <a:pt x="52" y="16"/>
                    <a:pt x="49" y="14"/>
                  </a:cubicBezTo>
                  <a:cubicBezTo>
                    <a:pt x="46" y="13"/>
                    <a:pt x="46" y="5"/>
                    <a:pt x="45" y="5"/>
                  </a:cubicBezTo>
                  <a:cubicBezTo>
                    <a:pt x="44" y="5"/>
                    <a:pt x="41" y="2"/>
                    <a:pt x="40" y="0"/>
                  </a:cubicBezTo>
                  <a:cubicBezTo>
                    <a:pt x="38" y="1"/>
                    <a:pt x="36" y="1"/>
                    <a:pt x="35" y="1"/>
                  </a:cubicBezTo>
                  <a:cubicBezTo>
                    <a:pt x="32" y="1"/>
                    <a:pt x="30" y="4"/>
                    <a:pt x="29" y="5"/>
                  </a:cubicBezTo>
                  <a:cubicBezTo>
                    <a:pt x="28" y="6"/>
                    <a:pt x="26" y="3"/>
                    <a:pt x="25" y="2"/>
                  </a:cubicBezTo>
                  <a:cubicBezTo>
                    <a:pt x="23" y="1"/>
                    <a:pt x="18" y="4"/>
                    <a:pt x="16" y="4"/>
                  </a:cubicBezTo>
                  <a:cubicBezTo>
                    <a:pt x="14" y="5"/>
                    <a:pt x="8" y="5"/>
                    <a:pt x="8" y="5"/>
                  </a:cubicBezTo>
                  <a:cubicBezTo>
                    <a:pt x="8" y="5"/>
                    <a:pt x="8" y="30"/>
                    <a:pt x="8" y="33"/>
                  </a:cubicBezTo>
                  <a:cubicBezTo>
                    <a:pt x="8" y="36"/>
                    <a:pt x="0" y="34"/>
                    <a:pt x="0" y="36"/>
                  </a:cubicBezTo>
                  <a:cubicBezTo>
                    <a:pt x="0" y="37"/>
                    <a:pt x="0" y="48"/>
                    <a:pt x="0" y="60"/>
                  </a:cubicBezTo>
                  <a:cubicBezTo>
                    <a:pt x="2" y="60"/>
                    <a:pt x="4" y="61"/>
                    <a:pt x="4" y="62"/>
                  </a:cubicBezTo>
                  <a:cubicBezTo>
                    <a:pt x="5" y="64"/>
                    <a:pt x="7" y="70"/>
                    <a:pt x="7" y="71"/>
                  </a:cubicBezTo>
                  <a:cubicBezTo>
                    <a:pt x="6" y="73"/>
                    <a:pt x="5" y="72"/>
                    <a:pt x="5" y="73"/>
                  </a:cubicBezTo>
                  <a:cubicBezTo>
                    <a:pt x="5" y="74"/>
                    <a:pt x="4" y="77"/>
                    <a:pt x="6" y="77"/>
                  </a:cubicBezTo>
                  <a:cubicBezTo>
                    <a:pt x="9" y="77"/>
                    <a:pt x="13" y="78"/>
                    <a:pt x="14" y="76"/>
                  </a:cubicBezTo>
                  <a:cubicBezTo>
                    <a:pt x="16" y="74"/>
                    <a:pt x="22" y="70"/>
                    <a:pt x="22" y="68"/>
                  </a:cubicBezTo>
                  <a:cubicBezTo>
                    <a:pt x="22" y="66"/>
                    <a:pt x="23" y="61"/>
                    <a:pt x="27" y="64"/>
                  </a:cubicBezTo>
                  <a:cubicBezTo>
                    <a:pt x="31" y="66"/>
                    <a:pt x="32" y="67"/>
                    <a:pt x="37" y="67"/>
                  </a:cubicBezTo>
                  <a:cubicBezTo>
                    <a:pt x="42" y="67"/>
                    <a:pt x="43" y="66"/>
                    <a:pt x="44" y="63"/>
                  </a:cubicBezTo>
                  <a:cubicBezTo>
                    <a:pt x="45" y="60"/>
                    <a:pt x="44" y="57"/>
                    <a:pt x="47" y="57"/>
                  </a:cubicBezTo>
                  <a:cubicBezTo>
                    <a:pt x="51" y="57"/>
                    <a:pt x="54" y="54"/>
                    <a:pt x="54" y="52"/>
                  </a:cubicBezTo>
                  <a:cubicBezTo>
                    <a:pt x="54" y="50"/>
                    <a:pt x="56" y="47"/>
                    <a:pt x="58" y="47"/>
                  </a:cubicBezTo>
                  <a:cubicBezTo>
                    <a:pt x="60" y="47"/>
                    <a:pt x="64" y="44"/>
                    <a:pt x="64" y="42"/>
                  </a:cubicBezTo>
                  <a:cubicBezTo>
                    <a:pt x="65" y="39"/>
                    <a:pt x="68" y="40"/>
                    <a:pt x="69" y="39"/>
                  </a:cubicBezTo>
                  <a:cubicBezTo>
                    <a:pt x="70" y="38"/>
                    <a:pt x="71" y="37"/>
                    <a:pt x="72" y="35"/>
                  </a:cubicBezTo>
                  <a:cubicBezTo>
                    <a:pt x="72" y="35"/>
                    <a:pt x="72" y="35"/>
                    <a:pt x="72" y="35"/>
                  </a:cubicBezTo>
                  <a:cubicBezTo>
                    <a:pt x="72" y="34"/>
                    <a:pt x="71" y="32"/>
                    <a:pt x="66" y="32"/>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66" name="Freeform 10">
              <a:extLst>
                <a:ext uri="{FF2B5EF4-FFF2-40B4-BE49-F238E27FC236}">
                  <a16:creationId xmlns:a16="http://schemas.microsoft.com/office/drawing/2014/main" xmlns="" id="{155E2F9F-CD90-43AF-81AC-288CF4868F79}"/>
                </a:ext>
              </a:extLst>
            </p:cNvPr>
            <p:cNvSpPr>
              <a:spLocks/>
            </p:cNvSpPr>
            <p:nvPr/>
          </p:nvSpPr>
          <p:spPr bwMode="auto">
            <a:xfrm>
              <a:off x="16962659" y="4544091"/>
              <a:ext cx="25400" cy="36512"/>
            </a:xfrm>
            <a:custGeom>
              <a:avLst/>
              <a:gdLst>
                <a:gd name="T0" fmla="*/ 5 w 10"/>
                <a:gd name="T1" fmla="*/ 0 h 14"/>
                <a:gd name="T2" fmla="*/ 0 w 10"/>
                <a:gd name="T3" fmla="*/ 6 h 14"/>
                <a:gd name="T4" fmla="*/ 5 w 10"/>
                <a:gd name="T5" fmla="*/ 13 h 14"/>
                <a:gd name="T6" fmla="*/ 9 w 10"/>
                <a:gd name="T7" fmla="*/ 12 h 14"/>
                <a:gd name="T8" fmla="*/ 10 w 10"/>
                <a:gd name="T9" fmla="*/ 10 h 14"/>
                <a:gd name="T10" fmla="*/ 10 w 10"/>
                <a:gd name="T11" fmla="*/ 3 h 14"/>
                <a:gd name="T12" fmla="*/ 5 w 10"/>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0" h="14">
                  <a:moveTo>
                    <a:pt x="5" y="0"/>
                  </a:moveTo>
                  <a:cubicBezTo>
                    <a:pt x="3" y="0"/>
                    <a:pt x="0" y="5"/>
                    <a:pt x="0" y="6"/>
                  </a:cubicBezTo>
                  <a:cubicBezTo>
                    <a:pt x="0" y="7"/>
                    <a:pt x="2" y="13"/>
                    <a:pt x="5" y="13"/>
                  </a:cubicBezTo>
                  <a:cubicBezTo>
                    <a:pt x="7" y="14"/>
                    <a:pt x="9" y="13"/>
                    <a:pt x="9" y="12"/>
                  </a:cubicBezTo>
                  <a:cubicBezTo>
                    <a:pt x="9" y="11"/>
                    <a:pt x="10" y="10"/>
                    <a:pt x="10" y="10"/>
                  </a:cubicBezTo>
                  <a:cubicBezTo>
                    <a:pt x="10" y="8"/>
                    <a:pt x="10" y="5"/>
                    <a:pt x="10" y="3"/>
                  </a:cubicBezTo>
                  <a:cubicBezTo>
                    <a:pt x="8" y="2"/>
                    <a:pt x="6" y="0"/>
                    <a:pt x="5" y="0"/>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67" name="Freeform 11">
              <a:extLst>
                <a:ext uri="{FF2B5EF4-FFF2-40B4-BE49-F238E27FC236}">
                  <a16:creationId xmlns:a16="http://schemas.microsoft.com/office/drawing/2014/main" xmlns="" id="{0DC27D13-6B79-4ED8-8419-C3A25C4C63CA}"/>
                </a:ext>
              </a:extLst>
            </p:cNvPr>
            <p:cNvSpPr>
              <a:spLocks/>
            </p:cNvSpPr>
            <p:nvPr/>
          </p:nvSpPr>
          <p:spPr bwMode="auto">
            <a:xfrm>
              <a:off x="16886459" y="4602829"/>
              <a:ext cx="47625" cy="52387"/>
            </a:xfrm>
            <a:custGeom>
              <a:avLst/>
              <a:gdLst>
                <a:gd name="T0" fmla="*/ 12 w 18"/>
                <a:gd name="T1" fmla="*/ 2 h 20"/>
                <a:gd name="T2" fmla="*/ 4 w 18"/>
                <a:gd name="T3" fmla="*/ 5 h 20"/>
                <a:gd name="T4" fmla="*/ 0 w 18"/>
                <a:gd name="T5" fmla="*/ 13 h 20"/>
                <a:gd name="T6" fmla="*/ 4 w 18"/>
                <a:gd name="T7" fmla="*/ 19 h 20"/>
                <a:gd name="T8" fmla="*/ 8 w 18"/>
                <a:gd name="T9" fmla="*/ 20 h 20"/>
                <a:gd name="T10" fmla="*/ 10 w 18"/>
                <a:gd name="T11" fmla="*/ 15 h 20"/>
                <a:gd name="T12" fmla="*/ 15 w 18"/>
                <a:gd name="T13" fmla="*/ 14 h 20"/>
                <a:gd name="T14" fmla="*/ 18 w 18"/>
                <a:gd name="T15" fmla="*/ 8 h 20"/>
                <a:gd name="T16" fmla="*/ 12 w 18"/>
                <a:gd name="T1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20">
                  <a:moveTo>
                    <a:pt x="12" y="2"/>
                  </a:moveTo>
                  <a:cubicBezTo>
                    <a:pt x="11" y="0"/>
                    <a:pt x="5" y="3"/>
                    <a:pt x="4" y="5"/>
                  </a:cubicBezTo>
                  <a:cubicBezTo>
                    <a:pt x="3" y="7"/>
                    <a:pt x="0" y="13"/>
                    <a:pt x="0" y="13"/>
                  </a:cubicBezTo>
                  <a:cubicBezTo>
                    <a:pt x="4" y="19"/>
                    <a:pt x="4" y="19"/>
                    <a:pt x="4" y="19"/>
                  </a:cubicBezTo>
                  <a:cubicBezTo>
                    <a:pt x="8" y="20"/>
                    <a:pt x="8" y="20"/>
                    <a:pt x="8" y="20"/>
                  </a:cubicBezTo>
                  <a:cubicBezTo>
                    <a:pt x="8" y="20"/>
                    <a:pt x="9" y="17"/>
                    <a:pt x="10" y="15"/>
                  </a:cubicBezTo>
                  <a:cubicBezTo>
                    <a:pt x="10" y="13"/>
                    <a:pt x="15" y="16"/>
                    <a:pt x="15" y="14"/>
                  </a:cubicBezTo>
                  <a:cubicBezTo>
                    <a:pt x="15" y="12"/>
                    <a:pt x="18" y="10"/>
                    <a:pt x="18" y="8"/>
                  </a:cubicBezTo>
                  <a:cubicBezTo>
                    <a:pt x="18" y="6"/>
                    <a:pt x="13" y="4"/>
                    <a:pt x="12" y="2"/>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68" name="Freeform 12">
              <a:extLst>
                <a:ext uri="{FF2B5EF4-FFF2-40B4-BE49-F238E27FC236}">
                  <a16:creationId xmlns:a16="http://schemas.microsoft.com/office/drawing/2014/main" xmlns="" id="{291C841D-8206-4AC2-BCC8-44AAEFFDC077}"/>
                </a:ext>
              </a:extLst>
            </p:cNvPr>
            <p:cNvSpPr>
              <a:spLocks noEditPoints="1"/>
            </p:cNvSpPr>
            <p:nvPr/>
          </p:nvSpPr>
          <p:spPr bwMode="auto">
            <a:xfrm>
              <a:off x="16667384" y="4459954"/>
              <a:ext cx="338138" cy="298450"/>
            </a:xfrm>
            <a:custGeom>
              <a:avLst/>
              <a:gdLst>
                <a:gd name="T0" fmla="*/ 124 w 130"/>
                <a:gd name="T1" fmla="*/ 42 h 114"/>
                <a:gd name="T2" fmla="*/ 123 w 130"/>
                <a:gd name="T3" fmla="*/ 42 h 114"/>
                <a:gd name="T4" fmla="*/ 122 w 130"/>
                <a:gd name="T5" fmla="*/ 44 h 114"/>
                <a:gd name="T6" fmla="*/ 118 w 130"/>
                <a:gd name="T7" fmla="*/ 45 h 114"/>
                <a:gd name="T8" fmla="*/ 113 w 130"/>
                <a:gd name="T9" fmla="*/ 38 h 114"/>
                <a:gd name="T10" fmla="*/ 118 w 130"/>
                <a:gd name="T11" fmla="*/ 32 h 114"/>
                <a:gd name="T12" fmla="*/ 123 w 130"/>
                <a:gd name="T13" fmla="*/ 35 h 114"/>
                <a:gd name="T14" fmla="*/ 123 w 130"/>
                <a:gd name="T15" fmla="*/ 33 h 114"/>
                <a:gd name="T16" fmla="*/ 122 w 130"/>
                <a:gd name="T17" fmla="*/ 18 h 114"/>
                <a:gd name="T18" fmla="*/ 117 w 130"/>
                <a:gd name="T19" fmla="*/ 3 h 114"/>
                <a:gd name="T20" fmla="*/ 108 w 130"/>
                <a:gd name="T21" fmla="*/ 2 h 114"/>
                <a:gd name="T22" fmla="*/ 100 w 130"/>
                <a:gd name="T23" fmla="*/ 0 h 114"/>
                <a:gd name="T24" fmla="*/ 97 w 130"/>
                <a:gd name="T25" fmla="*/ 4 h 114"/>
                <a:gd name="T26" fmla="*/ 92 w 130"/>
                <a:gd name="T27" fmla="*/ 7 h 114"/>
                <a:gd name="T28" fmla="*/ 86 w 130"/>
                <a:gd name="T29" fmla="*/ 12 h 114"/>
                <a:gd name="T30" fmla="*/ 82 w 130"/>
                <a:gd name="T31" fmla="*/ 17 h 114"/>
                <a:gd name="T32" fmla="*/ 75 w 130"/>
                <a:gd name="T33" fmla="*/ 22 h 114"/>
                <a:gd name="T34" fmla="*/ 72 w 130"/>
                <a:gd name="T35" fmla="*/ 28 h 114"/>
                <a:gd name="T36" fmla="*/ 65 w 130"/>
                <a:gd name="T37" fmla="*/ 32 h 114"/>
                <a:gd name="T38" fmla="*/ 55 w 130"/>
                <a:gd name="T39" fmla="*/ 29 h 114"/>
                <a:gd name="T40" fmla="*/ 50 w 130"/>
                <a:gd name="T41" fmla="*/ 33 h 114"/>
                <a:gd name="T42" fmla="*/ 42 w 130"/>
                <a:gd name="T43" fmla="*/ 41 h 114"/>
                <a:gd name="T44" fmla="*/ 34 w 130"/>
                <a:gd name="T45" fmla="*/ 42 h 114"/>
                <a:gd name="T46" fmla="*/ 33 w 130"/>
                <a:gd name="T47" fmla="*/ 38 h 114"/>
                <a:gd name="T48" fmla="*/ 35 w 130"/>
                <a:gd name="T49" fmla="*/ 36 h 114"/>
                <a:gd name="T50" fmla="*/ 32 w 130"/>
                <a:gd name="T51" fmla="*/ 27 h 114"/>
                <a:gd name="T52" fmla="*/ 28 w 130"/>
                <a:gd name="T53" fmla="*/ 25 h 114"/>
                <a:gd name="T54" fmla="*/ 28 w 130"/>
                <a:gd name="T55" fmla="*/ 54 h 114"/>
                <a:gd name="T56" fmla="*/ 23 w 130"/>
                <a:gd name="T57" fmla="*/ 59 h 114"/>
                <a:gd name="T58" fmla="*/ 13 w 130"/>
                <a:gd name="T59" fmla="*/ 59 h 114"/>
                <a:gd name="T60" fmla="*/ 8 w 130"/>
                <a:gd name="T61" fmla="*/ 54 h 114"/>
                <a:gd name="T62" fmla="*/ 4 w 130"/>
                <a:gd name="T63" fmla="*/ 56 h 114"/>
                <a:gd name="T64" fmla="*/ 0 w 130"/>
                <a:gd name="T65" fmla="*/ 57 h 114"/>
                <a:gd name="T66" fmla="*/ 7 w 130"/>
                <a:gd name="T67" fmla="*/ 70 h 114"/>
                <a:gd name="T68" fmla="*/ 14 w 130"/>
                <a:gd name="T69" fmla="*/ 86 h 114"/>
                <a:gd name="T70" fmla="*/ 14 w 130"/>
                <a:gd name="T71" fmla="*/ 93 h 114"/>
                <a:gd name="T72" fmla="*/ 14 w 130"/>
                <a:gd name="T73" fmla="*/ 100 h 114"/>
                <a:gd name="T74" fmla="*/ 17 w 130"/>
                <a:gd name="T75" fmla="*/ 107 h 114"/>
                <a:gd name="T76" fmla="*/ 20 w 130"/>
                <a:gd name="T77" fmla="*/ 109 h 114"/>
                <a:gd name="T78" fmla="*/ 25 w 130"/>
                <a:gd name="T79" fmla="*/ 112 h 114"/>
                <a:gd name="T80" fmla="*/ 30 w 130"/>
                <a:gd name="T81" fmla="*/ 112 h 114"/>
                <a:gd name="T82" fmla="*/ 39 w 130"/>
                <a:gd name="T83" fmla="*/ 109 h 114"/>
                <a:gd name="T84" fmla="*/ 47 w 130"/>
                <a:gd name="T85" fmla="*/ 106 h 114"/>
                <a:gd name="T86" fmla="*/ 59 w 130"/>
                <a:gd name="T87" fmla="*/ 106 h 114"/>
                <a:gd name="T88" fmla="*/ 67 w 130"/>
                <a:gd name="T89" fmla="*/ 105 h 114"/>
                <a:gd name="T90" fmla="*/ 72 w 130"/>
                <a:gd name="T91" fmla="*/ 104 h 114"/>
                <a:gd name="T92" fmla="*/ 79 w 130"/>
                <a:gd name="T93" fmla="*/ 102 h 114"/>
                <a:gd name="T94" fmla="*/ 95 w 130"/>
                <a:gd name="T95" fmla="*/ 91 h 114"/>
                <a:gd name="T96" fmla="*/ 114 w 130"/>
                <a:gd name="T97" fmla="*/ 68 h 114"/>
                <a:gd name="T98" fmla="*/ 126 w 130"/>
                <a:gd name="T99" fmla="*/ 55 h 114"/>
                <a:gd name="T100" fmla="*/ 130 w 130"/>
                <a:gd name="T101" fmla="*/ 42 h 114"/>
                <a:gd name="T102" fmla="*/ 124 w 130"/>
                <a:gd name="T103" fmla="*/ 42 h 114"/>
                <a:gd name="T104" fmla="*/ 99 w 130"/>
                <a:gd name="T105" fmla="*/ 69 h 114"/>
                <a:gd name="T106" fmla="*/ 94 w 130"/>
                <a:gd name="T107" fmla="*/ 70 h 114"/>
                <a:gd name="T108" fmla="*/ 92 w 130"/>
                <a:gd name="T109" fmla="*/ 75 h 114"/>
                <a:gd name="T110" fmla="*/ 88 w 130"/>
                <a:gd name="T111" fmla="*/ 74 h 114"/>
                <a:gd name="T112" fmla="*/ 84 w 130"/>
                <a:gd name="T113" fmla="*/ 68 h 114"/>
                <a:gd name="T114" fmla="*/ 88 w 130"/>
                <a:gd name="T115" fmla="*/ 60 h 114"/>
                <a:gd name="T116" fmla="*/ 96 w 130"/>
                <a:gd name="T117" fmla="*/ 57 h 114"/>
                <a:gd name="T118" fmla="*/ 102 w 130"/>
                <a:gd name="T119" fmla="*/ 63 h 114"/>
                <a:gd name="T120" fmla="*/ 99 w 130"/>
                <a:gd name="T121" fmla="*/ 69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0" h="114">
                  <a:moveTo>
                    <a:pt x="124" y="42"/>
                  </a:moveTo>
                  <a:cubicBezTo>
                    <a:pt x="124" y="42"/>
                    <a:pt x="124" y="42"/>
                    <a:pt x="123" y="42"/>
                  </a:cubicBezTo>
                  <a:cubicBezTo>
                    <a:pt x="123" y="42"/>
                    <a:pt x="122" y="43"/>
                    <a:pt x="122" y="44"/>
                  </a:cubicBezTo>
                  <a:cubicBezTo>
                    <a:pt x="122" y="45"/>
                    <a:pt x="120" y="46"/>
                    <a:pt x="118" y="45"/>
                  </a:cubicBezTo>
                  <a:cubicBezTo>
                    <a:pt x="115" y="45"/>
                    <a:pt x="113" y="39"/>
                    <a:pt x="113" y="38"/>
                  </a:cubicBezTo>
                  <a:cubicBezTo>
                    <a:pt x="113" y="37"/>
                    <a:pt x="116" y="32"/>
                    <a:pt x="118" y="32"/>
                  </a:cubicBezTo>
                  <a:cubicBezTo>
                    <a:pt x="119" y="32"/>
                    <a:pt x="121" y="34"/>
                    <a:pt x="123" y="35"/>
                  </a:cubicBezTo>
                  <a:cubicBezTo>
                    <a:pt x="123" y="34"/>
                    <a:pt x="123" y="33"/>
                    <a:pt x="123" y="33"/>
                  </a:cubicBezTo>
                  <a:cubicBezTo>
                    <a:pt x="123" y="32"/>
                    <a:pt x="124" y="20"/>
                    <a:pt x="122" y="18"/>
                  </a:cubicBezTo>
                  <a:cubicBezTo>
                    <a:pt x="120" y="17"/>
                    <a:pt x="118" y="5"/>
                    <a:pt x="117" y="3"/>
                  </a:cubicBezTo>
                  <a:cubicBezTo>
                    <a:pt x="116" y="2"/>
                    <a:pt x="108" y="3"/>
                    <a:pt x="108" y="2"/>
                  </a:cubicBezTo>
                  <a:cubicBezTo>
                    <a:pt x="107" y="0"/>
                    <a:pt x="100" y="1"/>
                    <a:pt x="100" y="0"/>
                  </a:cubicBezTo>
                  <a:cubicBezTo>
                    <a:pt x="99" y="2"/>
                    <a:pt x="98" y="3"/>
                    <a:pt x="97" y="4"/>
                  </a:cubicBezTo>
                  <a:cubicBezTo>
                    <a:pt x="96" y="5"/>
                    <a:pt x="93" y="4"/>
                    <a:pt x="92" y="7"/>
                  </a:cubicBezTo>
                  <a:cubicBezTo>
                    <a:pt x="92" y="9"/>
                    <a:pt x="88" y="12"/>
                    <a:pt x="86" y="12"/>
                  </a:cubicBezTo>
                  <a:cubicBezTo>
                    <a:pt x="84" y="12"/>
                    <a:pt x="82" y="15"/>
                    <a:pt x="82" y="17"/>
                  </a:cubicBezTo>
                  <a:cubicBezTo>
                    <a:pt x="82" y="19"/>
                    <a:pt x="79" y="22"/>
                    <a:pt x="75" y="22"/>
                  </a:cubicBezTo>
                  <a:cubicBezTo>
                    <a:pt x="72" y="22"/>
                    <a:pt x="73" y="25"/>
                    <a:pt x="72" y="28"/>
                  </a:cubicBezTo>
                  <a:cubicBezTo>
                    <a:pt x="71" y="31"/>
                    <a:pt x="70" y="32"/>
                    <a:pt x="65" y="32"/>
                  </a:cubicBezTo>
                  <a:cubicBezTo>
                    <a:pt x="60" y="32"/>
                    <a:pt x="59" y="31"/>
                    <a:pt x="55" y="29"/>
                  </a:cubicBezTo>
                  <a:cubicBezTo>
                    <a:pt x="51" y="26"/>
                    <a:pt x="50" y="31"/>
                    <a:pt x="50" y="33"/>
                  </a:cubicBezTo>
                  <a:cubicBezTo>
                    <a:pt x="50" y="35"/>
                    <a:pt x="44" y="39"/>
                    <a:pt x="42" y="41"/>
                  </a:cubicBezTo>
                  <a:cubicBezTo>
                    <a:pt x="41" y="43"/>
                    <a:pt x="37" y="42"/>
                    <a:pt x="34" y="42"/>
                  </a:cubicBezTo>
                  <a:cubicBezTo>
                    <a:pt x="32" y="42"/>
                    <a:pt x="33" y="39"/>
                    <a:pt x="33" y="38"/>
                  </a:cubicBezTo>
                  <a:cubicBezTo>
                    <a:pt x="33" y="37"/>
                    <a:pt x="34" y="38"/>
                    <a:pt x="35" y="36"/>
                  </a:cubicBezTo>
                  <a:cubicBezTo>
                    <a:pt x="35" y="35"/>
                    <a:pt x="33" y="29"/>
                    <a:pt x="32" y="27"/>
                  </a:cubicBezTo>
                  <a:cubicBezTo>
                    <a:pt x="32" y="26"/>
                    <a:pt x="30" y="25"/>
                    <a:pt x="28" y="25"/>
                  </a:cubicBezTo>
                  <a:cubicBezTo>
                    <a:pt x="28" y="38"/>
                    <a:pt x="28" y="53"/>
                    <a:pt x="28" y="54"/>
                  </a:cubicBezTo>
                  <a:cubicBezTo>
                    <a:pt x="28" y="57"/>
                    <a:pt x="24" y="58"/>
                    <a:pt x="23" y="59"/>
                  </a:cubicBezTo>
                  <a:cubicBezTo>
                    <a:pt x="22" y="61"/>
                    <a:pt x="16" y="59"/>
                    <a:pt x="13" y="59"/>
                  </a:cubicBezTo>
                  <a:cubicBezTo>
                    <a:pt x="9" y="59"/>
                    <a:pt x="10" y="56"/>
                    <a:pt x="8" y="54"/>
                  </a:cubicBezTo>
                  <a:cubicBezTo>
                    <a:pt x="7" y="51"/>
                    <a:pt x="4" y="54"/>
                    <a:pt x="4" y="56"/>
                  </a:cubicBezTo>
                  <a:cubicBezTo>
                    <a:pt x="4" y="57"/>
                    <a:pt x="2" y="57"/>
                    <a:pt x="0" y="57"/>
                  </a:cubicBezTo>
                  <a:cubicBezTo>
                    <a:pt x="3" y="61"/>
                    <a:pt x="5" y="66"/>
                    <a:pt x="7" y="70"/>
                  </a:cubicBezTo>
                  <a:cubicBezTo>
                    <a:pt x="8" y="76"/>
                    <a:pt x="13" y="82"/>
                    <a:pt x="14" y="86"/>
                  </a:cubicBezTo>
                  <a:cubicBezTo>
                    <a:pt x="15" y="89"/>
                    <a:pt x="17" y="93"/>
                    <a:pt x="14" y="93"/>
                  </a:cubicBezTo>
                  <a:cubicBezTo>
                    <a:pt x="12" y="94"/>
                    <a:pt x="12" y="96"/>
                    <a:pt x="14" y="100"/>
                  </a:cubicBezTo>
                  <a:cubicBezTo>
                    <a:pt x="17" y="104"/>
                    <a:pt x="15" y="106"/>
                    <a:pt x="17" y="107"/>
                  </a:cubicBezTo>
                  <a:cubicBezTo>
                    <a:pt x="19" y="107"/>
                    <a:pt x="19" y="109"/>
                    <a:pt x="20" y="109"/>
                  </a:cubicBezTo>
                  <a:cubicBezTo>
                    <a:pt x="22" y="109"/>
                    <a:pt x="23" y="111"/>
                    <a:pt x="25" y="112"/>
                  </a:cubicBezTo>
                  <a:cubicBezTo>
                    <a:pt x="26" y="114"/>
                    <a:pt x="28" y="114"/>
                    <a:pt x="30" y="112"/>
                  </a:cubicBezTo>
                  <a:cubicBezTo>
                    <a:pt x="31" y="110"/>
                    <a:pt x="35" y="109"/>
                    <a:pt x="39" y="109"/>
                  </a:cubicBezTo>
                  <a:cubicBezTo>
                    <a:pt x="43" y="109"/>
                    <a:pt x="43" y="107"/>
                    <a:pt x="47" y="106"/>
                  </a:cubicBezTo>
                  <a:cubicBezTo>
                    <a:pt x="51" y="105"/>
                    <a:pt x="56" y="105"/>
                    <a:pt x="59" y="106"/>
                  </a:cubicBezTo>
                  <a:cubicBezTo>
                    <a:pt x="63" y="107"/>
                    <a:pt x="65" y="106"/>
                    <a:pt x="67" y="105"/>
                  </a:cubicBezTo>
                  <a:cubicBezTo>
                    <a:pt x="68" y="104"/>
                    <a:pt x="72" y="107"/>
                    <a:pt x="72" y="104"/>
                  </a:cubicBezTo>
                  <a:cubicBezTo>
                    <a:pt x="72" y="101"/>
                    <a:pt x="75" y="102"/>
                    <a:pt x="79" y="102"/>
                  </a:cubicBezTo>
                  <a:cubicBezTo>
                    <a:pt x="82" y="102"/>
                    <a:pt x="89" y="97"/>
                    <a:pt x="95" y="91"/>
                  </a:cubicBezTo>
                  <a:cubicBezTo>
                    <a:pt x="101" y="86"/>
                    <a:pt x="111" y="74"/>
                    <a:pt x="114" y="68"/>
                  </a:cubicBezTo>
                  <a:cubicBezTo>
                    <a:pt x="118" y="62"/>
                    <a:pt x="123" y="58"/>
                    <a:pt x="126" y="55"/>
                  </a:cubicBezTo>
                  <a:cubicBezTo>
                    <a:pt x="128" y="53"/>
                    <a:pt x="129" y="47"/>
                    <a:pt x="130" y="42"/>
                  </a:cubicBezTo>
                  <a:cubicBezTo>
                    <a:pt x="127" y="42"/>
                    <a:pt x="124" y="42"/>
                    <a:pt x="124" y="42"/>
                  </a:cubicBezTo>
                  <a:close/>
                  <a:moveTo>
                    <a:pt x="99" y="69"/>
                  </a:moveTo>
                  <a:cubicBezTo>
                    <a:pt x="99" y="71"/>
                    <a:pt x="94" y="68"/>
                    <a:pt x="94" y="70"/>
                  </a:cubicBezTo>
                  <a:cubicBezTo>
                    <a:pt x="93" y="72"/>
                    <a:pt x="92" y="75"/>
                    <a:pt x="92" y="75"/>
                  </a:cubicBezTo>
                  <a:cubicBezTo>
                    <a:pt x="88" y="74"/>
                    <a:pt x="88" y="74"/>
                    <a:pt x="88" y="74"/>
                  </a:cubicBezTo>
                  <a:cubicBezTo>
                    <a:pt x="84" y="68"/>
                    <a:pt x="84" y="68"/>
                    <a:pt x="84" y="68"/>
                  </a:cubicBezTo>
                  <a:cubicBezTo>
                    <a:pt x="84" y="68"/>
                    <a:pt x="87" y="62"/>
                    <a:pt x="88" y="60"/>
                  </a:cubicBezTo>
                  <a:cubicBezTo>
                    <a:pt x="89" y="58"/>
                    <a:pt x="95" y="55"/>
                    <a:pt x="96" y="57"/>
                  </a:cubicBezTo>
                  <a:cubicBezTo>
                    <a:pt x="97" y="59"/>
                    <a:pt x="102" y="61"/>
                    <a:pt x="102" y="63"/>
                  </a:cubicBezTo>
                  <a:cubicBezTo>
                    <a:pt x="102" y="65"/>
                    <a:pt x="99" y="67"/>
                    <a:pt x="99" y="69"/>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69" name="Freeform 13">
              <a:extLst>
                <a:ext uri="{FF2B5EF4-FFF2-40B4-BE49-F238E27FC236}">
                  <a16:creationId xmlns:a16="http://schemas.microsoft.com/office/drawing/2014/main" xmlns="" id="{0332EE4E-2C8F-4D8A-BB47-087A058B6C4F}"/>
                </a:ext>
              </a:extLst>
            </p:cNvPr>
            <p:cNvSpPr>
              <a:spLocks/>
            </p:cNvSpPr>
            <p:nvPr/>
          </p:nvSpPr>
          <p:spPr bwMode="auto">
            <a:xfrm>
              <a:off x="16578484" y="4112291"/>
              <a:ext cx="246063" cy="261937"/>
            </a:xfrm>
            <a:custGeom>
              <a:avLst/>
              <a:gdLst>
                <a:gd name="T0" fmla="*/ 6 w 94"/>
                <a:gd name="T1" fmla="*/ 91 h 100"/>
                <a:gd name="T2" fmla="*/ 9 w 94"/>
                <a:gd name="T3" fmla="*/ 93 h 100"/>
                <a:gd name="T4" fmla="*/ 17 w 94"/>
                <a:gd name="T5" fmla="*/ 94 h 100"/>
                <a:gd name="T6" fmla="*/ 24 w 94"/>
                <a:gd name="T7" fmla="*/ 96 h 100"/>
                <a:gd name="T8" fmla="*/ 52 w 94"/>
                <a:gd name="T9" fmla="*/ 96 h 100"/>
                <a:gd name="T10" fmla="*/ 55 w 94"/>
                <a:gd name="T11" fmla="*/ 98 h 100"/>
                <a:gd name="T12" fmla="*/ 72 w 94"/>
                <a:gd name="T13" fmla="*/ 98 h 100"/>
                <a:gd name="T14" fmla="*/ 85 w 94"/>
                <a:gd name="T15" fmla="*/ 98 h 100"/>
                <a:gd name="T16" fmla="*/ 87 w 94"/>
                <a:gd name="T17" fmla="*/ 97 h 100"/>
                <a:gd name="T18" fmla="*/ 78 w 94"/>
                <a:gd name="T19" fmla="*/ 84 h 100"/>
                <a:gd name="T20" fmla="*/ 79 w 94"/>
                <a:gd name="T21" fmla="*/ 58 h 100"/>
                <a:gd name="T22" fmla="*/ 91 w 94"/>
                <a:gd name="T23" fmla="*/ 58 h 100"/>
                <a:gd name="T24" fmla="*/ 93 w 94"/>
                <a:gd name="T25" fmla="*/ 56 h 100"/>
                <a:gd name="T26" fmla="*/ 94 w 94"/>
                <a:gd name="T27" fmla="*/ 40 h 100"/>
                <a:gd name="T28" fmla="*/ 92 w 94"/>
                <a:gd name="T29" fmla="*/ 40 h 100"/>
                <a:gd name="T30" fmla="*/ 85 w 94"/>
                <a:gd name="T31" fmla="*/ 41 h 100"/>
                <a:gd name="T32" fmla="*/ 81 w 94"/>
                <a:gd name="T33" fmla="*/ 43 h 100"/>
                <a:gd name="T34" fmla="*/ 81 w 94"/>
                <a:gd name="T35" fmla="*/ 36 h 100"/>
                <a:gd name="T36" fmla="*/ 77 w 94"/>
                <a:gd name="T37" fmla="*/ 30 h 100"/>
                <a:gd name="T38" fmla="*/ 78 w 94"/>
                <a:gd name="T39" fmla="*/ 19 h 100"/>
                <a:gd name="T40" fmla="*/ 76 w 94"/>
                <a:gd name="T41" fmla="*/ 12 h 100"/>
                <a:gd name="T42" fmla="*/ 71 w 94"/>
                <a:gd name="T43" fmla="*/ 11 h 100"/>
                <a:gd name="T44" fmla="*/ 67 w 94"/>
                <a:gd name="T45" fmla="*/ 9 h 100"/>
                <a:gd name="T46" fmla="*/ 61 w 94"/>
                <a:gd name="T47" fmla="*/ 9 h 100"/>
                <a:gd name="T48" fmla="*/ 58 w 94"/>
                <a:gd name="T49" fmla="*/ 16 h 100"/>
                <a:gd name="T50" fmla="*/ 48 w 94"/>
                <a:gd name="T51" fmla="*/ 18 h 100"/>
                <a:gd name="T52" fmla="*/ 41 w 94"/>
                <a:gd name="T53" fmla="*/ 13 h 100"/>
                <a:gd name="T54" fmla="*/ 38 w 94"/>
                <a:gd name="T55" fmla="*/ 7 h 100"/>
                <a:gd name="T56" fmla="*/ 37 w 94"/>
                <a:gd name="T57" fmla="*/ 0 h 100"/>
                <a:gd name="T58" fmla="*/ 11 w 94"/>
                <a:gd name="T59" fmla="*/ 0 h 100"/>
                <a:gd name="T60" fmla="*/ 6 w 94"/>
                <a:gd name="T61" fmla="*/ 3 h 100"/>
                <a:gd name="T62" fmla="*/ 13 w 94"/>
                <a:gd name="T63" fmla="*/ 19 h 100"/>
                <a:gd name="T64" fmla="*/ 12 w 94"/>
                <a:gd name="T65" fmla="*/ 28 h 100"/>
                <a:gd name="T66" fmla="*/ 17 w 94"/>
                <a:gd name="T67" fmla="*/ 45 h 100"/>
                <a:gd name="T68" fmla="*/ 11 w 94"/>
                <a:gd name="T69" fmla="*/ 56 h 100"/>
                <a:gd name="T70" fmla="*/ 5 w 94"/>
                <a:gd name="T71" fmla="*/ 72 h 100"/>
                <a:gd name="T72" fmla="*/ 1 w 94"/>
                <a:gd name="T73" fmla="*/ 83 h 100"/>
                <a:gd name="T74" fmla="*/ 0 w 94"/>
                <a:gd name="T75" fmla="*/ 94 h 100"/>
                <a:gd name="T76" fmla="*/ 0 w 94"/>
                <a:gd name="T77" fmla="*/ 94 h 100"/>
                <a:gd name="T78" fmla="*/ 3 w 94"/>
                <a:gd name="T79" fmla="*/ 94 h 100"/>
                <a:gd name="T80" fmla="*/ 6 w 94"/>
                <a:gd name="T81" fmla="*/ 9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4" h="100">
                  <a:moveTo>
                    <a:pt x="6" y="91"/>
                  </a:moveTo>
                  <a:cubicBezTo>
                    <a:pt x="8" y="91"/>
                    <a:pt x="6" y="94"/>
                    <a:pt x="9" y="93"/>
                  </a:cubicBezTo>
                  <a:cubicBezTo>
                    <a:pt x="12" y="92"/>
                    <a:pt x="14" y="92"/>
                    <a:pt x="17" y="94"/>
                  </a:cubicBezTo>
                  <a:cubicBezTo>
                    <a:pt x="19" y="95"/>
                    <a:pt x="21" y="96"/>
                    <a:pt x="24" y="96"/>
                  </a:cubicBezTo>
                  <a:cubicBezTo>
                    <a:pt x="27" y="96"/>
                    <a:pt x="52" y="96"/>
                    <a:pt x="52" y="96"/>
                  </a:cubicBezTo>
                  <a:cubicBezTo>
                    <a:pt x="55" y="98"/>
                    <a:pt x="55" y="98"/>
                    <a:pt x="55" y="98"/>
                  </a:cubicBezTo>
                  <a:cubicBezTo>
                    <a:pt x="55" y="98"/>
                    <a:pt x="70" y="97"/>
                    <a:pt x="72" y="98"/>
                  </a:cubicBezTo>
                  <a:cubicBezTo>
                    <a:pt x="75" y="100"/>
                    <a:pt x="82" y="98"/>
                    <a:pt x="85" y="98"/>
                  </a:cubicBezTo>
                  <a:cubicBezTo>
                    <a:pt x="85" y="97"/>
                    <a:pt x="86" y="97"/>
                    <a:pt x="87" y="97"/>
                  </a:cubicBezTo>
                  <a:cubicBezTo>
                    <a:pt x="78" y="84"/>
                    <a:pt x="78" y="84"/>
                    <a:pt x="78" y="84"/>
                  </a:cubicBezTo>
                  <a:cubicBezTo>
                    <a:pt x="79" y="58"/>
                    <a:pt x="79" y="58"/>
                    <a:pt x="79" y="58"/>
                  </a:cubicBezTo>
                  <a:cubicBezTo>
                    <a:pt x="91" y="58"/>
                    <a:pt x="91" y="58"/>
                    <a:pt x="91" y="58"/>
                  </a:cubicBezTo>
                  <a:cubicBezTo>
                    <a:pt x="93" y="56"/>
                    <a:pt x="93" y="56"/>
                    <a:pt x="93" y="56"/>
                  </a:cubicBezTo>
                  <a:cubicBezTo>
                    <a:pt x="94" y="40"/>
                    <a:pt x="94" y="40"/>
                    <a:pt x="94" y="40"/>
                  </a:cubicBezTo>
                  <a:cubicBezTo>
                    <a:pt x="94" y="40"/>
                    <a:pt x="93" y="40"/>
                    <a:pt x="92" y="40"/>
                  </a:cubicBezTo>
                  <a:cubicBezTo>
                    <a:pt x="90" y="41"/>
                    <a:pt x="87" y="41"/>
                    <a:pt x="85" y="41"/>
                  </a:cubicBezTo>
                  <a:cubicBezTo>
                    <a:pt x="82" y="41"/>
                    <a:pt x="82" y="43"/>
                    <a:pt x="81" y="43"/>
                  </a:cubicBezTo>
                  <a:cubicBezTo>
                    <a:pt x="79" y="42"/>
                    <a:pt x="80" y="38"/>
                    <a:pt x="81" y="36"/>
                  </a:cubicBezTo>
                  <a:cubicBezTo>
                    <a:pt x="81" y="35"/>
                    <a:pt x="79" y="31"/>
                    <a:pt x="77" y="30"/>
                  </a:cubicBezTo>
                  <a:cubicBezTo>
                    <a:pt x="75" y="29"/>
                    <a:pt x="79" y="20"/>
                    <a:pt x="78" y="19"/>
                  </a:cubicBezTo>
                  <a:cubicBezTo>
                    <a:pt x="77" y="18"/>
                    <a:pt x="76" y="15"/>
                    <a:pt x="76" y="12"/>
                  </a:cubicBezTo>
                  <a:cubicBezTo>
                    <a:pt x="76" y="10"/>
                    <a:pt x="75" y="11"/>
                    <a:pt x="71" y="11"/>
                  </a:cubicBezTo>
                  <a:cubicBezTo>
                    <a:pt x="67" y="11"/>
                    <a:pt x="67" y="9"/>
                    <a:pt x="67" y="9"/>
                  </a:cubicBezTo>
                  <a:cubicBezTo>
                    <a:pt x="67" y="9"/>
                    <a:pt x="63" y="8"/>
                    <a:pt x="61" y="9"/>
                  </a:cubicBezTo>
                  <a:cubicBezTo>
                    <a:pt x="59" y="10"/>
                    <a:pt x="59" y="17"/>
                    <a:pt x="58" y="16"/>
                  </a:cubicBezTo>
                  <a:cubicBezTo>
                    <a:pt x="56" y="16"/>
                    <a:pt x="52" y="17"/>
                    <a:pt x="48" y="18"/>
                  </a:cubicBezTo>
                  <a:cubicBezTo>
                    <a:pt x="45" y="19"/>
                    <a:pt x="43" y="17"/>
                    <a:pt x="41" y="13"/>
                  </a:cubicBezTo>
                  <a:cubicBezTo>
                    <a:pt x="40" y="9"/>
                    <a:pt x="38" y="10"/>
                    <a:pt x="38" y="7"/>
                  </a:cubicBezTo>
                  <a:cubicBezTo>
                    <a:pt x="39" y="4"/>
                    <a:pt x="37" y="0"/>
                    <a:pt x="37" y="0"/>
                  </a:cubicBezTo>
                  <a:cubicBezTo>
                    <a:pt x="37" y="0"/>
                    <a:pt x="13" y="0"/>
                    <a:pt x="11" y="0"/>
                  </a:cubicBezTo>
                  <a:cubicBezTo>
                    <a:pt x="10" y="0"/>
                    <a:pt x="8" y="1"/>
                    <a:pt x="6" y="3"/>
                  </a:cubicBezTo>
                  <a:cubicBezTo>
                    <a:pt x="8" y="8"/>
                    <a:pt x="12" y="17"/>
                    <a:pt x="13" y="19"/>
                  </a:cubicBezTo>
                  <a:cubicBezTo>
                    <a:pt x="14" y="22"/>
                    <a:pt x="12" y="24"/>
                    <a:pt x="12" y="28"/>
                  </a:cubicBezTo>
                  <a:cubicBezTo>
                    <a:pt x="12" y="32"/>
                    <a:pt x="16" y="40"/>
                    <a:pt x="17" y="45"/>
                  </a:cubicBezTo>
                  <a:cubicBezTo>
                    <a:pt x="17" y="50"/>
                    <a:pt x="14" y="53"/>
                    <a:pt x="11" y="56"/>
                  </a:cubicBezTo>
                  <a:cubicBezTo>
                    <a:pt x="8" y="60"/>
                    <a:pt x="5" y="67"/>
                    <a:pt x="5" y="72"/>
                  </a:cubicBezTo>
                  <a:cubicBezTo>
                    <a:pt x="5" y="76"/>
                    <a:pt x="1" y="81"/>
                    <a:pt x="1" y="83"/>
                  </a:cubicBezTo>
                  <a:cubicBezTo>
                    <a:pt x="1" y="85"/>
                    <a:pt x="1" y="91"/>
                    <a:pt x="0" y="94"/>
                  </a:cubicBezTo>
                  <a:cubicBezTo>
                    <a:pt x="0" y="94"/>
                    <a:pt x="0" y="94"/>
                    <a:pt x="0" y="94"/>
                  </a:cubicBezTo>
                  <a:cubicBezTo>
                    <a:pt x="3" y="94"/>
                    <a:pt x="3" y="94"/>
                    <a:pt x="3" y="94"/>
                  </a:cubicBezTo>
                  <a:cubicBezTo>
                    <a:pt x="3" y="94"/>
                    <a:pt x="4" y="91"/>
                    <a:pt x="6" y="91"/>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71" name="Freeform 14">
              <a:extLst>
                <a:ext uri="{FF2B5EF4-FFF2-40B4-BE49-F238E27FC236}">
                  <a16:creationId xmlns:a16="http://schemas.microsoft.com/office/drawing/2014/main" xmlns="" id="{BF6AA426-96C3-425D-993A-4AF2837F501E}"/>
                </a:ext>
              </a:extLst>
            </p:cNvPr>
            <p:cNvSpPr>
              <a:spLocks/>
            </p:cNvSpPr>
            <p:nvPr/>
          </p:nvSpPr>
          <p:spPr bwMode="auto">
            <a:xfrm>
              <a:off x="16781684" y="4161504"/>
              <a:ext cx="239713" cy="212725"/>
            </a:xfrm>
            <a:custGeom>
              <a:avLst/>
              <a:gdLst>
                <a:gd name="T0" fmla="*/ 71 w 92"/>
                <a:gd name="T1" fmla="*/ 3 h 81"/>
                <a:gd name="T2" fmla="*/ 65 w 92"/>
                <a:gd name="T3" fmla="*/ 0 h 81"/>
                <a:gd name="T4" fmla="*/ 55 w 92"/>
                <a:gd name="T5" fmla="*/ 1 h 81"/>
                <a:gd name="T6" fmla="*/ 53 w 92"/>
                <a:gd name="T7" fmla="*/ 6 h 81"/>
                <a:gd name="T8" fmla="*/ 52 w 92"/>
                <a:gd name="T9" fmla="*/ 11 h 81"/>
                <a:gd name="T10" fmla="*/ 52 w 92"/>
                <a:gd name="T11" fmla="*/ 20 h 81"/>
                <a:gd name="T12" fmla="*/ 50 w 92"/>
                <a:gd name="T13" fmla="*/ 27 h 81"/>
                <a:gd name="T14" fmla="*/ 55 w 92"/>
                <a:gd name="T15" fmla="*/ 33 h 81"/>
                <a:gd name="T16" fmla="*/ 61 w 92"/>
                <a:gd name="T17" fmla="*/ 32 h 81"/>
                <a:gd name="T18" fmla="*/ 62 w 92"/>
                <a:gd name="T19" fmla="*/ 37 h 81"/>
                <a:gd name="T20" fmla="*/ 60 w 92"/>
                <a:gd name="T21" fmla="*/ 41 h 81"/>
                <a:gd name="T22" fmla="*/ 55 w 92"/>
                <a:gd name="T23" fmla="*/ 41 h 81"/>
                <a:gd name="T24" fmla="*/ 52 w 92"/>
                <a:gd name="T25" fmla="*/ 34 h 81"/>
                <a:gd name="T26" fmla="*/ 45 w 92"/>
                <a:gd name="T27" fmla="*/ 33 h 81"/>
                <a:gd name="T28" fmla="*/ 41 w 92"/>
                <a:gd name="T29" fmla="*/ 28 h 81"/>
                <a:gd name="T30" fmla="*/ 38 w 92"/>
                <a:gd name="T31" fmla="*/ 30 h 81"/>
                <a:gd name="T32" fmla="*/ 35 w 92"/>
                <a:gd name="T33" fmla="*/ 31 h 81"/>
                <a:gd name="T34" fmla="*/ 28 w 92"/>
                <a:gd name="T35" fmla="*/ 28 h 81"/>
                <a:gd name="T36" fmla="*/ 26 w 92"/>
                <a:gd name="T37" fmla="*/ 25 h 81"/>
                <a:gd name="T38" fmla="*/ 21 w 92"/>
                <a:gd name="T39" fmla="*/ 25 h 81"/>
                <a:gd name="T40" fmla="*/ 18 w 92"/>
                <a:gd name="T41" fmla="*/ 23 h 81"/>
                <a:gd name="T42" fmla="*/ 16 w 92"/>
                <a:gd name="T43" fmla="*/ 21 h 81"/>
                <a:gd name="T44" fmla="*/ 15 w 92"/>
                <a:gd name="T45" fmla="*/ 37 h 81"/>
                <a:gd name="T46" fmla="*/ 13 w 92"/>
                <a:gd name="T47" fmla="*/ 39 h 81"/>
                <a:gd name="T48" fmla="*/ 1 w 92"/>
                <a:gd name="T49" fmla="*/ 39 h 81"/>
                <a:gd name="T50" fmla="*/ 0 w 92"/>
                <a:gd name="T51" fmla="*/ 65 h 81"/>
                <a:gd name="T52" fmla="*/ 9 w 92"/>
                <a:gd name="T53" fmla="*/ 78 h 81"/>
                <a:gd name="T54" fmla="*/ 24 w 92"/>
                <a:gd name="T55" fmla="*/ 77 h 81"/>
                <a:gd name="T56" fmla="*/ 24 w 92"/>
                <a:gd name="T57" fmla="*/ 79 h 81"/>
                <a:gd name="T58" fmla="*/ 28 w 92"/>
                <a:gd name="T59" fmla="*/ 79 h 81"/>
                <a:gd name="T60" fmla="*/ 39 w 92"/>
                <a:gd name="T61" fmla="*/ 80 h 81"/>
                <a:gd name="T62" fmla="*/ 47 w 92"/>
                <a:gd name="T63" fmla="*/ 71 h 81"/>
                <a:gd name="T64" fmla="*/ 54 w 92"/>
                <a:gd name="T65" fmla="*/ 65 h 81"/>
                <a:gd name="T66" fmla="*/ 59 w 92"/>
                <a:gd name="T67" fmla="*/ 61 h 81"/>
                <a:gd name="T68" fmla="*/ 66 w 92"/>
                <a:gd name="T69" fmla="*/ 61 h 81"/>
                <a:gd name="T70" fmla="*/ 66 w 92"/>
                <a:gd name="T71" fmla="*/ 61 h 81"/>
                <a:gd name="T72" fmla="*/ 65 w 92"/>
                <a:gd name="T73" fmla="*/ 55 h 81"/>
                <a:gd name="T74" fmla="*/ 87 w 92"/>
                <a:gd name="T75" fmla="*/ 47 h 81"/>
                <a:gd name="T76" fmla="*/ 85 w 92"/>
                <a:gd name="T77" fmla="*/ 44 h 81"/>
                <a:gd name="T78" fmla="*/ 87 w 92"/>
                <a:gd name="T79" fmla="*/ 36 h 81"/>
                <a:gd name="T80" fmla="*/ 90 w 92"/>
                <a:gd name="T81" fmla="*/ 34 h 81"/>
                <a:gd name="T82" fmla="*/ 89 w 92"/>
                <a:gd name="T83" fmla="*/ 21 h 81"/>
                <a:gd name="T84" fmla="*/ 92 w 92"/>
                <a:gd name="T85" fmla="*/ 19 h 81"/>
                <a:gd name="T86" fmla="*/ 89 w 92"/>
                <a:gd name="T87" fmla="*/ 10 h 81"/>
                <a:gd name="T88" fmla="*/ 78 w 92"/>
                <a:gd name="T89" fmla="*/ 6 h 81"/>
                <a:gd name="T90" fmla="*/ 71 w 92"/>
                <a:gd name="T91" fmla="*/ 3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2" h="81">
                  <a:moveTo>
                    <a:pt x="71" y="3"/>
                  </a:moveTo>
                  <a:cubicBezTo>
                    <a:pt x="70" y="3"/>
                    <a:pt x="67" y="1"/>
                    <a:pt x="65" y="0"/>
                  </a:cubicBezTo>
                  <a:cubicBezTo>
                    <a:pt x="64" y="1"/>
                    <a:pt x="58" y="1"/>
                    <a:pt x="55" y="1"/>
                  </a:cubicBezTo>
                  <a:cubicBezTo>
                    <a:pt x="53" y="1"/>
                    <a:pt x="55" y="5"/>
                    <a:pt x="53" y="6"/>
                  </a:cubicBezTo>
                  <a:cubicBezTo>
                    <a:pt x="52" y="8"/>
                    <a:pt x="51" y="10"/>
                    <a:pt x="52" y="11"/>
                  </a:cubicBezTo>
                  <a:cubicBezTo>
                    <a:pt x="54" y="11"/>
                    <a:pt x="52" y="17"/>
                    <a:pt x="52" y="20"/>
                  </a:cubicBezTo>
                  <a:cubicBezTo>
                    <a:pt x="52" y="22"/>
                    <a:pt x="49" y="26"/>
                    <a:pt x="50" y="27"/>
                  </a:cubicBezTo>
                  <a:cubicBezTo>
                    <a:pt x="51" y="28"/>
                    <a:pt x="53" y="33"/>
                    <a:pt x="55" y="33"/>
                  </a:cubicBezTo>
                  <a:cubicBezTo>
                    <a:pt x="58" y="34"/>
                    <a:pt x="60" y="32"/>
                    <a:pt x="61" y="32"/>
                  </a:cubicBezTo>
                  <a:cubicBezTo>
                    <a:pt x="62" y="32"/>
                    <a:pt x="62" y="35"/>
                    <a:pt x="62" y="37"/>
                  </a:cubicBezTo>
                  <a:cubicBezTo>
                    <a:pt x="62" y="40"/>
                    <a:pt x="60" y="41"/>
                    <a:pt x="60" y="41"/>
                  </a:cubicBezTo>
                  <a:cubicBezTo>
                    <a:pt x="60" y="41"/>
                    <a:pt x="57" y="42"/>
                    <a:pt x="55" y="41"/>
                  </a:cubicBezTo>
                  <a:cubicBezTo>
                    <a:pt x="53" y="40"/>
                    <a:pt x="52" y="36"/>
                    <a:pt x="52" y="34"/>
                  </a:cubicBezTo>
                  <a:cubicBezTo>
                    <a:pt x="52" y="33"/>
                    <a:pt x="47" y="33"/>
                    <a:pt x="45" y="33"/>
                  </a:cubicBezTo>
                  <a:cubicBezTo>
                    <a:pt x="44" y="33"/>
                    <a:pt x="42" y="30"/>
                    <a:pt x="41" y="28"/>
                  </a:cubicBezTo>
                  <a:cubicBezTo>
                    <a:pt x="40" y="27"/>
                    <a:pt x="38" y="28"/>
                    <a:pt x="38" y="30"/>
                  </a:cubicBezTo>
                  <a:cubicBezTo>
                    <a:pt x="38" y="31"/>
                    <a:pt x="37" y="31"/>
                    <a:pt x="35" y="31"/>
                  </a:cubicBezTo>
                  <a:cubicBezTo>
                    <a:pt x="33" y="31"/>
                    <a:pt x="29" y="28"/>
                    <a:pt x="28" y="28"/>
                  </a:cubicBezTo>
                  <a:cubicBezTo>
                    <a:pt x="27" y="29"/>
                    <a:pt x="25" y="26"/>
                    <a:pt x="26" y="25"/>
                  </a:cubicBezTo>
                  <a:cubicBezTo>
                    <a:pt x="26" y="23"/>
                    <a:pt x="22" y="24"/>
                    <a:pt x="21" y="25"/>
                  </a:cubicBezTo>
                  <a:cubicBezTo>
                    <a:pt x="19" y="26"/>
                    <a:pt x="18" y="23"/>
                    <a:pt x="18" y="23"/>
                  </a:cubicBezTo>
                  <a:cubicBezTo>
                    <a:pt x="18" y="23"/>
                    <a:pt x="18" y="22"/>
                    <a:pt x="16" y="21"/>
                  </a:cubicBezTo>
                  <a:cubicBezTo>
                    <a:pt x="15" y="37"/>
                    <a:pt x="15" y="37"/>
                    <a:pt x="15" y="37"/>
                  </a:cubicBezTo>
                  <a:cubicBezTo>
                    <a:pt x="13" y="39"/>
                    <a:pt x="13" y="39"/>
                    <a:pt x="13" y="39"/>
                  </a:cubicBezTo>
                  <a:cubicBezTo>
                    <a:pt x="1" y="39"/>
                    <a:pt x="1" y="39"/>
                    <a:pt x="1" y="39"/>
                  </a:cubicBezTo>
                  <a:cubicBezTo>
                    <a:pt x="0" y="65"/>
                    <a:pt x="0" y="65"/>
                    <a:pt x="0" y="65"/>
                  </a:cubicBezTo>
                  <a:cubicBezTo>
                    <a:pt x="9" y="78"/>
                    <a:pt x="9" y="78"/>
                    <a:pt x="9" y="78"/>
                  </a:cubicBezTo>
                  <a:cubicBezTo>
                    <a:pt x="14" y="77"/>
                    <a:pt x="24" y="76"/>
                    <a:pt x="24" y="77"/>
                  </a:cubicBezTo>
                  <a:cubicBezTo>
                    <a:pt x="24" y="78"/>
                    <a:pt x="24" y="78"/>
                    <a:pt x="24" y="79"/>
                  </a:cubicBezTo>
                  <a:cubicBezTo>
                    <a:pt x="26" y="79"/>
                    <a:pt x="28" y="78"/>
                    <a:pt x="28" y="79"/>
                  </a:cubicBezTo>
                  <a:cubicBezTo>
                    <a:pt x="30" y="79"/>
                    <a:pt x="37" y="81"/>
                    <a:pt x="39" y="80"/>
                  </a:cubicBezTo>
                  <a:cubicBezTo>
                    <a:pt x="40" y="79"/>
                    <a:pt x="44" y="72"/>
                    <a:pt x="47" y="71"/>
                  </a:cubicBezTo>
                  <a:cubicBezTo>
                    <a:pt x="50" y="70"/>
                    <a:pt x="54" y="67"/>
                    <a:pt x="54" y="65"/>
                  </a:cubicBezTo>
                  <a:cubicBezTo>
                    <a:pt x="54" y="64"/>
                    <a:pt x="54" y="63"/>
                    <a:pt x="59" y="61"/>
                  </a:cubicBezTo>
                  <a:cubicBezTo>
                    <a:pt x="66" y="61"/>
                    <a:pt x="66" y="61"/>
                    <a:pt x="66" y="61"/>
                  </a:cubicBezTo>
                  <a:cubicBezTo>
                    <a:pt x="66" y="61"/>
                    <a:pt x="66" y="61"/>
                    <a:pt x="66" y="61"/>
                  </a:cubicBezTo>
                  <a:cubicBezTo>
                    <a:pt x="65" y="55"/>
                    <a:pt x="65" y="55"/>
                    <a:pt x="65" y="55"/>
                  </a:cubicBezTo>
                  <a:cubicBezTo>
                    <a:pt x="65" y="55"/>
                    <a:pt x="86" y="47"/>
                    <a:pt x="87" y="47"/>
                  </a:cubicBezTo>
                  <a:cubicBezTo>
                    <a:pt x="86" y="45"/>
                    <a:pt x="85" y="44"/>
                    <a:pt x="85" y="44"/>
                  </a:cubicBezTo>
                  <a:cubicBezTo>
                    <a:pt x="86" y="43"/>
                    <a:pt x="87" y="37"/>
                    <a:pt x="87" y="36"/>
                  </a:cubicBezTo>
                  <a:cubicBezTo>
                    <a:pt x="87" y="34"/>
                    <a:pt x="92" y="35"/>
                    <a:pt x="90" y="34"/>
                  </a:cubicBezTo>
                  <a:cubicBezTo>
                    <a:pt x="88" y="32"/>
                    <a:pt x="89" y="23"/>
                    <a:pt x="89" y="21"/>
                  </a:cubicBezTo>
                  <a:cubicBezTo>
                    <a:pt x="90" y="19"/>
                    <a:pt x="92" y="21"/>
                    <a:pt x="92" y="19"/>
                  </a:cubicBezTo>
                  <a:cubicBezTo>
                    <a:pt x="92" y="17"/>
                    <a:pt x="90" y="12"/>
                    <a:pt x="89" y="10"/>
                  </a:cubicBezTo>
                  <a:cubicBezTo>
                    <a:pt x="88" y="9"/>
                    <a:pt x="80" y="6"/>
                    <a:pt x="78" y="6"/>
                  </a:cubicBezTo>
                  <a:cubicBezTo>
                    <a:pt x="76" y="5"/>
                    <a:pt x="73" y="3"/>
                    <a:pt x="71" y="3"/>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72" name="Freeform 15">
              <a:extLst>
                <a:ext uri="{FF2B5EF4-FFF2-40B4-BE49-F238E27FC236}">
                  <a16:creationId xmlns:a16="http://schemas.microsoft.com/office/drawing/2014/main" xmlns="" id="{FE0B85D5-C248-4EE9-BFF7-D8B0548BD516}"/>
                </a:ext>
              </a:extLst>
            </p:cNvPr>
            <p:cNvSpPr>
              <a:spLocks/>
            </p:cNvSpPr>
            <p:nvPr/>
          </p:nvSpPr>
          <p:spPr bwMode="auto">
            <a:xfrm>
              <a:off x="16926147" y="4010691"/>
              <a:ext cx="41275" cy="36512"/>
            </a:xfrm>
            <a:custGeom>
              <a:avLst/>
              <a:gdLst>
                <a:gd name="T0" fmla="*/ 13 w 16"/>
                <a:gd name="T1" fmla="*/ 0 h 14"/>
                <a:gd name="T2" fmla="*/ 8 w 16"/>
                <a:gd name="T3" fmla="*/ 1 h 14"/>
                <a:gd name="T4" fmla="*/ 4 w 16"/>
                <a:gd name="T5" fmla="*/ 2 h 14"/>
                <a:gd name="T6" fmla="*/ 3 w 16"/>
                <a:gd name="T7" fmla="*/ 3 h 14"/>
                <a:gd name="T8" fmla="*/ 2 w 16"/>
                <a:gd name="T9" fmla="*/ 8 h 14"/>
                <a:gd name="T10" fmla="*/ 0 w 16"/>
                <a:gd name="T11" fmla="*/ 10 h 14"/>
                <a:gd name="T12" fmla="*/ 1 w 16"/>
                <a:gd name="T13" fmla="*/ 12 h 14"/>
                <a:gd name="T14" fmla="*/ 4 w 16"/>
                <a:gd name="T15" fmla="*/ 13 h 14"/>
                <a:gd name="T16" fmla="*/ 8 w 16"/>
                <a:gd name="T17" fmla="*/ 10 h 14"/>
                <a:gd name="T18" fmla="*/ 15 w 16"/>
                <a:gd name="T19" fmla="*/ 9 h 14"/>
                <a:gd name="T20" fmla="*/ 14 w 16"/>
                <a:gd name="T21" fmla="*/ 3 h 14"/>
                <a:gd name="T22" fmla="*/ 13 w 16"/>
                <a:gd name="T2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4">
                  <a:moveTo>
                    <a:pt x="13" y="0"/>
                  </a:moveTo>
                  <a:cubicBezTo>
                    <a:pt x="11" y="0"/>
                    <a:pt x="9" y="1"/>
                    <a:pt x="8" y="1"/>
                  </a:cubicBezTo>
                  <a:cubicBezTo>
                    <a:pt x="7" y="2"/>
                    <a:pt x="6" y="2"/>
                    <a:pt x="4" y="2"/>
                  </a:cubicBezTo>
                  <a:cubicBezTo>
                    <a:pt x="4" y="2"/>
                    <a:pt x="4" y="3"/>
                    <a:pt x="3" y="3"/>
                  </a:cubicBezTo>
                  <a:cubicBezTo>
                    <a:pt x="1" y="3"/>
                    <a:pt x="2" y="8"/>
                    <a:pt x="2" y="8"/>
                  </a:cubicBezTo>
                  <a:cubicBezTo>
                    <a:pt x="2" y="8"/>
                    <a:pt x="0" y="8"/>
                    <a:pt x="0" y="10"/>
                  </a:cubicBezTo>
                  <a:cubicBezTo>
                    <a:pt x="0" y="12"/>
                    <a:pt x="1" y="12"/>
                    <a:pt x="1" y="12"/>
                  </a:cubicBezTo>
                  <a:cubicBezTo>
                    <a:pt x="2" y="13"/>
                    <a:pt x="3" y="13"/>
                    <a:pt x="4" y="13"/>
                  </a:cubicBezTo>
                  <a:cubicBezTo>
                    <a:pt x="9" y="14"/>
                    <a:pt x="8" y="10"/>
                    <a:pt x="8" y="10"/>
                  </a:cubicBezTo>
                  <a:cubicBezTo>
                    <a:pt x="8" y="10"/>
                    <a:pt x="15" y="11"/>
                    <a:pt x="15" y="9"/>
                  </a:cubicBezTo>
                  <a:cubicBezTo>
                    <a:pt x="16" y="7"/>
                    <a:pt x="14" y="3"/>
                    <a:pt x="14" y="3"/>
                  </a:cubicBezTo>
                  <a:lnTo>
                    <a:pt x="13" y="0"/>
                  </a:ln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73" name="Freeform 16">
              <a:extLst>
                <a:ext uri="{FF2B5EF4-FFF2-40B4-BE49-F238E27FC236}">
                  <a16:creationId xmlns:a16="http://schemas.microsoft.com/office/drawing/2014/main" xmlns="" id="{4C70CDA5-0D5A-43F4-9E54-8490EE092E5E}"/>
                </a:ext>
              </a:extLst>
            </p:cNvPr>
            <p:cNvSpPr>
              <a:spLocks/>
            </p:cNvSpPr>
            <p:nvPr/>
          </p:nvSpPr>
          <p:spPr bwMode="auto">
            <a:xfrm>
              <a:off x="17178559" y="3728116"/>
              <a:ext cx="215900" cy="292100"/>
            </a:xfrm>
            <a:custGeom>
              <a:avLst/>
              <a:gdLst>
                <a:gd name="T0" fmla="*/ 19 w 83"/>
                <a:gd name="T1" fmla="*/ 21 h 112"/>
                <a:gd name="T2" fmla="*/ 24 w 83"/>
                <a:gd name="T3" fmla="*/ 26 h 112"/>
                <a:gd name="T4" fmla="*/ 41 w 83"/>
                <a:gd name="T5" fmla="*/ 31 h 112"/>
                <a:gd name="T6" fmla="*/ 52 w 83"/>
                <a:gd name="T7" fmla="*/ 34 h 112"/>
                <a:gd name="T8" fmla="*/ 55 w 83"/>
                <a:gd name="T9" fmla="*/ 36 h 112"/>
                <a:gd name="T10" fmla="*/ 33 w 83"/>
                <a:gd name="T11" fmla="*/ 57 h 112"/>
                <a:gd name="T12" fmla="*/ 24 w 83"/>
                <a:gd name="T13" fmla="*/ 59 h 112"/>
                <a:gd name="T14" fmla="*/ 14 w 83"/>
                <a:gd name="T15" fmla="*/ 64 h 112"/>
                <a:gd name="T16" fmla="*/ 7 w 83"/>
                <a:gd name="T17" fmla="*/ 65 h 112"/>
                <a:gd name="T18" fmla="*/ 3 w 83"/>
                <a:gd name="T19" fmla="*/ 71 h 112"/>
                <a:gd name="T20" fmla="*/ 0 w 83"/>
                <a:gd name="T21" fmla="*/ 77 h 112"/>
                <a:gd name="T22" fmla="*/ 0 w 83"/>
                <a:gd name="T23" fmla="*/ 106 h 112"/>
                <a:gd name="T24" fmla="*/ 4 w 83"/>
                <a:gd name="T25" fmla="*/ 112 h 112"/>
                <a:gd name="T26" fmla="*/ 22 w 83"/>
                <a:gd name="T27" fmla="*/ 93 h 112"/>
                <a:gd name="T28" fmla="*/ 36 w 83"/>
                <a:gd name="T29" fmla="*/ 82 h 112"/>
                <a:gd name="T30" fmla="*/ 56 w 83"/>
                <a:gd name="T31" fmla="*/ 63 h 112"/>
                <a:gd name="T32" fmla="*/ 65 w 83"/>
                <a:gd name="T33" fmla="*/ 48 h 112"/>
                <a:gd name="T34" fmla="*/ 72 w 83"/>
                <a:gd name="T35" fmla="*/ 35 h 112"/>
                <a:gd name="T36" fmla="*/ 80 w 83"/>
                <a:gd name="T37" fmla="*/ 19 h 112"/>
                <a:gd name="T38" fmla="*/ 83 w 83"/>
                <a:gd name="T39" fmla="*/ 5 h 112"/>
                <a:gd name="T40" fmla="*/ 77 w 83"/>
                <a:gd name="T41" fmla="*/ 3 h 112"/>
                <a:gd name="T42" fmla="*/ 59 w 83"/>
                <a:gd name="T43" fmla="*/ 7 h 112"/>
                <a:gd name="T44" fmla="*/ 47 w 83"/>
                <a:gd name="T45" fmla="*/ 10 h 112"/>
                <a:gd name="T46" fmla="*/ 36 w 83"/>
                <a:gd name="T47" fmla="*/ 12 h 112"/>
                <a:gd name="T48" fmla="*/ 23 w 83"/>
                <a:gd name="T49" fmla="*/ 11 h 112"/>
                <a:gd name="T50" fmla="*/ 19 w 83"/>
                <a:gd name="T51" fmla="*/ 7 h 112"/>
                <a:gd name="T52" fmla="*/ 14 w 83"/>
                <a:gd name="T53" fmla="*/ 14 h 112"/>
                <a:gd name="T54" fmla="*/ 19 w 83"/>
                <a:gd name="T55" fmla="*/ 2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3" h="112">
                  <a:moveTo>
                    <a:pt x="19" y="21"/>
                  </a:moveTo>
                  <a:cubicBezTo>
                    <a:pt x="20" y="22"/>
                    <a:pt x="23" y="25"/>
                    <a:pt x="24" y="26"/>
                  </a:cubicBezTo>
                  <a:cubicBezTo>
                    <a:pt x="26" y="26"/>
                    <a:pt x="35" y="29"/>
                    <a:pt x="41" y="31"/>
                  </a:cubicBezTo>
                  <a:cubicBezTo>
                    <a:pt x="46" y="34"/>
                    <a:pt x="50" y="34"/>
                    <a:pt x="52" y="34"/>
                  </a:cubicBezTo>
                  <a:cubicBezTo>
                    <a:pt x="53" y="34"/>
                    <a:pt x="56" y="35"/>
                    <a:pt x="55" y="36"/>
                  </a:cubicBezTo>
                  <a:cubicBezTo>
                    <a:pt x="53" y="37"/>
                    <a:pt x="35" y="55"/>
                    <a:pt x="33" y="57"/>
                  </a:cubicBezTo>
                  <a:cubicBezTo>
                    <a:pt x="31" y="60"/>
                    <a:pt x="29" y="59"/>
                    <a:pt x="24" y="59"/>
                  </a:cubicBezTo>
                  <a:cubicBezTo>
                    <a:pt x="19" y="59"/>
                    <a:pt x="15" y="64"/>
                    <a:pt x="14" y="64"/>
                  </a:cubicBezTo>
                  <a:cubicBezTo>
                    <a:pt x="13" y="64"/>
                    <a:pt x="10" y="65"/>
                    <a:pt x="7" y="65"/>
                  </a:cubicBezTo>
                  <a:cubicBezTo>
                    <a:pt x="3" y="71"/>
                    <a:pt x="3" y="71"/>
                    <a:pt x="3" y="71"/>
                  </a:cubicBezTo>
                  <a:cubicBezTo>
                    <a:pt x="0" y="77"/>
                    <a:pt x="0" y="77"/>
                    <a:pt x="0" y="77"/>
                  </a:cubicBezTo>
                  <a:cubicBezTo>
                    <a:pt x="0" y="106"/>
                    <a:pt x="0" y="106"/>
                    <a:pt x="0" y="106"/>
                  </a:cubicBezTo>
                  <a:cubicBezTo>
                    <a:pt x="4" y="112"/>
                    <a:pt x="4" y="112"/>
                    <a:pt x="4" y="112"/>
                  </a:cubicBezTo>
                  <a:cubicBezTo>
                    <a:pt x="7" y="108"/>
                    <a:pt x="16" y="100"/>
                    <a:pt x="22" y="93"/>
                  </a:cubicBezTo>
                  <a:cubicBezTo>
                    <a:pt x="29" y="86"/>
                    <a:pt x="32" y="84"/>
                    <a:pt x="36" y="82"/>
                  </a:cubicBezTo>
                  <a:cubicBezTo>
                    <a:pt x="40" y="80"/>
                    <a:pt x="49" y="71"/>
                    <a:pt x="56" y="63"/>
                  </a:cubicBezTo>
                  <a:cubicBezTo>
                    <a:pt x="60" y="57"/>
                    <a:pt x="65" y="52"/>
                    <a:pt x="65" y="48"/>
                  </a:cubicBezTo>
                  <a:cubicBezTo>
                    <a:pt x="66" y="44"/>
                    <a:pt x="70" y="39"/>
                    <a:pt x="72" y="35"/>
                  </a:cubicBezTo>
                  <a:cubicBezTo>
                    <a:pt x="75" y="32"/>
                    <a:pt x="80" y="22"/>
                    <a:pt x="80" y="19"/>
                  </a:cubicBezTo>
                  <a:cubicBezTo>
                    <a:pt x="80" y="17"/>
                    <a:pt x="82" y="10"/>
                    <a:pt x="83" y="5"/>
                  </a:cubicBezTo>
                  <a:cubicBezTo>
                    <a:pt x="83" y="0"/>
                    <a:pt x="79" y="0"/>
                    <a:pt x="77" y="3"/>
                  </a:cubicBezTo>
                  <a:cubicBezTo>
                    <a:pt x="76" y="5"/>
                    <a:pt x="66" y="7"/>
                    <a:pt x="59" y="7"/>
                  </a:cubicBezTo>
                  <a:cubicBezTo>
                    <a:pt x="53" y="8"/>
                    <a:pt x="49" y="8"/>
                    <a:pt x="47" y="10"/>
                  </a:cubicBezTo>
                  <a:cubicBezTo>
                    <a:pt x="44" y="13"/>
                    <a:pt x="38" y="10"/>
                    <a:pt x="36" y="12"/>
                  </a:cubicBezTo>
                  <a:cubicBezTo>
                    <a:pt x="34" y="15"/>
                    <a:pt x="25" y="17"/>
                    <a:pt x="23" y="11"/>
                  </a:cubicBezTo>
                  <a:cubicBezTo>
                    <a:pt x="22" y="9"/>
                    <a:pt x="20" y="8"/>
                    <a:pt x="19" y="7"/>
                  </a:cubicBezTo>
                  <a:cubicBezTo>
                    <a:pt x="16" y="9"/>
                    <a:pt x="14" y="13"/>
                    <a:pt x="14" y="14"/>
                  </a:cubicBezTo>
                  <a:cubicBezTo>
                    <a:pt x="15" y="15"/>
                    <a:pt x="18" y="20"/>
                    <a:pt x="19" y="21"/>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74" name="Freeform 17">
              <a:extLst>
                <a:ext uri="{FF2B5EF4-FFF2-40B4-BE49-F238E27FC236}">
                  <a16:creationId xmlns:a16="http://schemas.microsoft.com/office/drawing/2014/main" xmlns="" id="{BB1961AF-60F5-4941-8A09-1A7B030FDB8C}"/>
                </a:ext>
              </a:extLst>
            </p:cNvPr>
            <p:cNvSpPr>
              <a:spLocks/>
            </p:cNvSpPr>
            <p:nvPr/>
          </p:nvSpPr>
          <p:spPr bwMode="auto">
            <a:xfrm>
              <a:off x="16057784" y="3191541"/>
              <a:ext cx="252413" cy="201612"/>
            </a:xfrm>
            <a:custGeom>
              <a:avLst/>
              <a:gdLst>
                <a:gd name="T0" fmla="*/ 36 w 97"/>
                <a:gd name="T1" fmla="*/ 77 h 77"/>
                <a:gd name="T2" fmla="*/ 35 w 97"/>
                <a:gd name="T3" fmla="*/ 66 h 77"/>
                <a:gd name="T4" fmla="*/ 48 w 97"/>
                <a:gd name="T5" fmla="*/ 58 h 77"/>
                <a:gd name="T6" fmla="*/ 54 w 97"/>
                <a:gd name="T7" fmla="*/ 56 h 77"/>
                <a:gd name="T8" fmla="*/ 61 w 97"/>
                <a:gd name="T9" fmla="*/ 55 h 77"/>
                <a:gd name="T10" fmla="*/ 65 w 97"/>
                <a:gd name="T11" fmla="*/ 50 h 77"/>
                <a:gd name="T12" fmla="*/ 71 w 97"/>
                <a:gd name="T13" fmla="*/ 48 h 77"/>
                <a:gd name="T14" fmla="*/ 75 w 97"/>
                <a:gd name="T15" fmla="*/ 45 h 77"/>
                <a:gd name="T16" fmla="*/ 76 w 97"/>
                <a:gd name="T17" fmla="*/ 40 h 77"/>
                <a:gd name="T18" fmla="*/ 78 w 97"/>
                <a:gd name="T19" fmla="*/ 38 h 77"/>
                <a:gd name="T20" fmla="*/ 83 w 97"/>
                <a:gd name="T21" fmla="*/ 36 h 77"/>
                <a:gd name="T22" fmla="*/ 95 w 97"/>
                <a:gd name="T23" fmla="*/ 35 h 77"/>
                <a:gd name="T24" fmla="*/ 97 w 97"/>
                <a:gd name="T25" fmla="*/ 32 h 77"/>
                <a:gd name="T26" fmla="*/ 93 w 97"/>
                <a:gd name="T27" fmla="*/ 26 h 77"/>
                <a:gd name="T28" fmla="*/ 93 w 97"/>
                <a:gd name="T29" fmla="*/ 19 h 77"/>
                <a:gd name="T30" fmla="*/ 91 w 97"/>
                <a:gd name="T31" fmla="*/ 11 h 77"/>
                <a:gd name="T32" fmla="*/ 89 w 97"/>
                <a:gd name="T33" fmla="*/ 8 h 77"/>
                <a:gd name="T34" fmla="*/ 80 w 97"/>
                <a:gd name="T35" fmla="*/ 6 h 77"/>
                <a:gd name="T36" fmla="*/ 66 w 97"/>
                <a:gd name="T37" fmla="*/ 5 h 77"/>
                <a:gd name="T38" fmla="*/ 59 w 97"/>
                <a:gd name="T39" fmla="*/ 1 h 77"/>
                <a:gd name="T40" fmla="*/ 50 w 97"/>
                <a:gd name="T41" fmla="*/ 17 h 77"/>
                <a:gd name="T42" fmla="*/ 38 w 97"/>
                <a:gd name="T43" fmla="*/ 23 h 77"/>
                <a:gd name="T44" fmla="*/ 32 w 97"/>
                <a:gd name="T45" fmla="*/ 30 h 77"/>
                <a:gd name="T46" fmla="*/ 27 w 97"/>
                <a:gd name="T47" fmla="*/ 38 h 77"/>
                <a:gd name="T48" fmla="*/ 27 w 97"/>
                <a:gd name="T49" fmla="*/ 50 h 77"/>
                <a:gd name="T50" fmla="*/ 18 w 97"/>
                <a:gd name="T51" fmla="*/ 63 h 77"/>
                <a:gd name="T52" fmla="*/ 6 w 97"/>
                <a:gd name="T53" fmla="*/ 71 h 77"/>
                <a:gd name="T54" fmla="*/ 0 w 97"/>
                <a:gd name="T55" fmla="*/ 74 h 77"/>
                <a:gd name="T56" fmla="*/ 30 w 97"/>
                <a:gd name="T57" fmla="*/ 74 h 77"/>
                <a:gd name="T58" fmla="*/ 36 w 97"/>
                <a:gd name="T59"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7" h="77">
                  <a:moveTo>
                    <a:pt x="36" y="77"/>
                  </a:moveTo>
                  <a:cubicBezTo>
                    <a:pt x="36" y="72"/>
                    <a:pt x="35" y="67"/>
                    <a:pt x="35" y="66"/>
                  </a:cubicBezTo>
                  <a:cubicBezTo>
                    <a:pt x="36" y="65"/>
                    <a:pt x="46" y="59"/>
                    <a:pt x="48" y="58"/>
                  </a:cubicBezTo>
                  <a:cubicBezTo>
                    <a:pt x="50" y="57"/>
                    <a:pt x="54" y="58"/>
                    <a:pt x="54" y="56"/>
                  </a:cubicBezTo>
                  <a:cubicBezTo>
                    <a:pt x="54" y="54"/>
                    <a:pt x="58" y="55"/>
                    <a:pt x="61" y="55"/>
                  </a:cubicBezTo>
                  <a:cubicBezTo>
                    <a:pt x="63" y="54"/>
                    <a:pt x="65" y="52"/>
                    <a:pt x="65" y="50"/>
                  </a:cubicBezTo>
                  <a:cubicBezTo>
                    <a:pt x="65" y="48"/>
                    <a:pt x="69" y="48"/>
                    <a:pt x="71" y="48"/>
                  </a:cubicBezTo>
                  <a:cubicBezTo>
                    <a:pt x="73" y="48"/>
                    <a:pt x="73" y="45"/>
                    <a:pt x="75" y="45"/>
                  </a:cubicBezTo>
                  <a:cubicBezTo>
                    <a:pt x="76" y="45"/>
                    <a:pt x="75" y="43"/>
                    <a:pt x="76" y="40"/>
                  </a:cubicBezTo>
                  <a:cubicBezTo>
                    <a:pt x="76" y="38"/>
                    <a:pt x="76" y="38"/>
                    <a:pt x="78" y="38"/>
                  </a:cubicBezTo>
                  <a:cubicBezTo>
                    <a:pt x="81" y="38"/>
                    <a:pt x="83" y="37"/>
                    <a:pt x="83" y="36"/>
                  </a:cubicBezTo>
                  <a:cubicBezTo>
                    <a:pt x="83" y="34"/>
                    <a:pt x="93" y="35"/>
                    <a:pt x="95" y="35"/>
                  </a:cubicBezTo>
                  <a:cubicBezTo>
                    <a:pt x="96" y="35"/>
                    <a:pt x="97" y="33"/>
                    <a:pt x="97" y="32"/>
                  </a:cubicBezTo>
                  <a:cubicBezTo>
                    <a:pt x="96" y="31"/>
                    <a:pt x="95" y="27"/>
                    <a:pt x="93" y="26"/>
                  </a:cubicBezTo>
                  <a:cubicBezTo>
                    <a:pt x="92" y="26"/>
                    <a:pt x="93" y="22"/>
                    <a:pt x="93" y="19"/>
                  </a:cubicBezTo>
                  <a:cubicBezTo>
                    <a:pt x="93" y="16"/>
                    <a:pt x="92" y="13"/>
                    <a:pt x="91" y="11"/>
                  </a:cubicBezTo>
                  <a:cubicBezTo>
                    <a:pt x="90" y="10"/>
                    <a:pt x="90" y="9"/>
                    <a:pt x="89" y="8"/>
                  </a:cubicBezTo>
                  <a:cubicBezTo>
                    <a:pt x="86" y="8"/>
                    <a:pt x="83" y="6"/>
                    <a:pt x="80" y="6"/>
                  </a:cubicBezTo>
                  <a:cubicBezTo>
                    <a:pt x="76" y="6"/>
                    <a:pt x="69" y="8"/>
                    <a:pt x="66" y="5"/>
                  </a:cubicBezTo>
                  <a:cubicBezTo>
                    <a:pt x="63" y="1"/>
                    <a:pt x="61" y="0"/>
                    <a:pt x="59" y="1"/>
                  </a:cubicBezTo>
                  <a:cubicBezTo>
                    <a:pt x="56" y="2"/>
                    <a:pt x="52" y="14"/>
                    <a:pt x="50" y="17"/>
                  </a:cubicBezTo>
                  <a:cubicBezTo>
                    <a:pt x="48" y="21"/>
                    <a:pt x="41" y="23"/>
                    <a:pt x="38" y="23"/>
                  </a:cubicBezTo>
                  <a:cubicBezTo>
                    <a:pt x="34" y="23"/>
                    <a:pt x="34" y="28"/>
                    <a:pt x="32" y="30"/>
                  </a:cubicBezTo>
                  <a:cubicBezTo>
                    <a:pt x="29" y="32"/>
                    <a:pt x="30" y="35"/>
                    <a:pt x="27" y="38"/>
                  </a:cubicBezTo>
                  <a:cubicBezTo>
                    <a:pt x="24" y="40"/>
                    <a:pt x="26" y="47"/>
                    <a:pt x="27" y="50"/>
                  </a:cubicBezTo>
                  <a:cubicBezTo>
                    <a:pt x="29" y="53"/>
                    <a:pt x="22" y="61"/>
                    <a:pt x="18" y="63"/>
                  </a:cubicBezTo>
                  <a:cubicBezTo>
                    <a:pt x="14" y="66"/>
                    <a:pt x="12" y="70"/>
                    <a:pt x="6" y="71"/>
                  </a:cubicBezTo>
                  <a:cubicBezTo>
                    <a:pt x="3" y="72"/>
                    <a:pt x="1" y="73"/>
                    <a:pt x="0" y="74"/>
                  </a:cubicBezTo>
                  <a:cubicBezTo>
                    <a:pt x="10" y="74"/>
                    <a:pt x="25" y="74"/>
                    <a:pt x="30" y="74"/>
                  </a:cubicBezTo>
                  <a:cubicBezTo>
                    <a:pt x="36" y="74"/>
                    <a:pt x="35" y="75"/>
                    <a:pt x="36" y="77"/>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75" name="Freeform 18">
              <a:extLst>
                <a:ext uri="{FF2B5EF4-FFF2-40B4-BE49-F238E27FC236}">
                  <a16:creationId xmlns:a16="http://schemas.microsoft.com/office/drawing/2014/main" xmlns="" id="{3CD4B3FC-5B60-43AF-B5B7-7296721F9C62}"/>
                </a:ext>
              </a:extLst>
            </p:cNvPr>
            <p:cNvSpPr>
              <a:spLocks/>
            </p:cNvSpPr>
            <p:nvPr/>
          </p:nvSpPr>
          <p:spPr bwMode="auto">
            <a:xfrm>
              <a:off x="16487997" y="3155029"/>
              <a:ext cx="88900" cy="169862"/>
            </a:xfrm>
            <a:custGeom>
              <a:avLst/>
              <a:gdLst>
                <a:gd name="T0" fmla="*/ 9 w 34"/>
                <a:gd name="T1" fmla="*/ 17 h 65"/>
                <a:gd name="T2" fmla="*/ 7 w 34"/>
                <a:gd name="T3" fmla="*/ 25 h 65"/>
                <a:gd name="T4" fmla="*/ 2 w 34"/>
                <a:gd name="T5" fmla="*/ 31 h 65"/>
                <a:gd name="T6" fmla="*/ 5 w 34"/>
                <a:gd name="T7" fmla="*/ 39 h 65"/>
                <a:gd name="T8" fmla="*/ 8 w 34"/>
                <a:gd name="T9" fmla="*/ 44 h 65"/>
                <a:gd name="T10" fmla="*/ 15 w 34"/>
                <a:gd name="T11" fmla="*/ 49 h 65"/>
                <a:gd name="T12" fmla="*/ 18 w 34"/>
                <a:gd name="T13" fmla="*/ 63 h 65"/>
                <a:gd name="T14" fmla="*/ 19 w 34"/>
                <a:gd name="T15" fmla="*/ 65 h 65"/>
                <a:gd name="T16" fmla="*/ 22 w 34"/>
                <a:gd name="T17" fmla="*/ 63 h 65"/>
                <a:gd name="T18" fmla="*/ 24 w 34"/>
                <a:gd name="T19" fmla="*/ 56 h 65"/>
                <a:gd name="T20" fmla="*/ 25 w 34"/>
                <a:gd name="T21" fmla="*/ 53 h 65"/>
                <a:gd name="T22" fmla="*/ 31 w 34"/>
                <a:gd name="T23" fmla="*/ 47 h 65"/>
                <a:gd name="T24" fmla="*/ 34 w 34"/>
                <a:gd name="T25" fmla="*/ 44 h 65"/>
                <a:gd name="T26" fmla="*/ 34 w 34"/>
                <a:gd name="T27" fmla="*/ 40 h 65"/>
                <a:gd name="T28" fmla="*/ 31 w 34"/>
                <a:gd name="T29" fmla="*/ 37 h 65"/>
                <a:gd name="T30" fmla="*/ 28 w 34"/>
                <a:gd name="T31" fmla="*/ 34 h 65"/>
                <a:gd name="T32" fmla="*/ 22 w 34"/>
                <a:gd name="T33" fmla="*/ 31 h 65"/>
                <a:gd name="T34" fmla="*/ 28 w 34"/>
                <a:gd name="T35" fmla="*/ 26 h 65"/>
                <a:gd name="T36" fmla="*/ 28 w 34"/>
                <a:gd name="T37" fmla="*/ 15 h 65"/>
                <a:gd name="T38" fmla="*/ 30 w 34"/>
                <a:gd name="T39" fmla="*/ 8 h 65"/>
                <a:gd name="T40" fmla="*/ 29 w 34"/>
                <a:gd name="T41" fmla="*/ 5 h 65"/>
                <a:gd name="T42" fmla="*/ 25 w 34"/>
                <a:gd name="T43" fmla="*/ 4 h 65"/>
                <a:gd name="T44" fmla="*/ 14 w 34"/>
                <a:gd name="T45" fmla="*/ 3 h 65"/>
                <a:gd name="T46" fmla="*/ 9 w 34"/>
                <a:gd name="T47" fmla="*/ 4 h 65"/>
                <a:gd name="T48" fmla="*/ 9 w 34"/>
                <a:gd name="T49" fmla="*/ 1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 h="65">
                  <a:moveTo>
                    <a:pt x="9" y="17"/>
                  </a:moveTo>
                  <a:cubicBezTo>
                    <a:pt x="11" y="20"/>
                    <a:pt x="9" y="24"/>
                    <a:pt x="7" y="25"/>
                  </a:cubicBezTo>
                  <a:cubicBezTo>
                    <a:pt x="5" y="26"/>
                    <a:pt x="4" y="31"/>
                    <a:pt x="2" y="31"/>
                  </a:cubicBezTo>
                  <a:cubicBezTo>
                    <a:pt x="0" y="31"/>
                    <a:pt x="2" y="38"/>
                    <a:pt x="5" y="39"/>
                  </a:cubicBezTo>
                  <a:cubicBezTo>
                    <a:pt x="8" y="41"/>
                    <a:pt x="8" y="43"/>
                    <a:pt x="8" y="44"/>
                  </a:cubicBezTo>
                  <a:cubicBezTo>
                    <a:pt x="8" y="46"/>
                    <a:pt x="13" y="47"/>
                    <a:pt x="15" y="49"/>
                  </a:cubicBezTo>
                  <a:cubicBezTo>
                    <a:pt x="16" y="51"/>
                    <a:pt x="18" y="60"/>
                    <a:pt x="18" y="63"/>
                  </a:cubicBezTo>
                  <a:cubicBezTo>
                    <a:pt x="18" y="64"/>
                    <a:pt x="19" y="65"/>
                    <a:pt x="19" y="65"/>
                  </a:cubicBezTo>
                  <a:cubicBezTo>
                    <a:pt x="20" y="65"/>
                    <a:pt x="22" y="64"/>
                    <a:pt x="22" y="63"/>
                  </a:cubicBezTo>
                  <a:cubicBezTo>
                    <a:pt x="24" y="60"/>
                    <a:pt x="24" y="57"/>
                    <a:pt x="24" y="56"/>
                  </a:cubicBezTo>
                  <a:cubicBezTo>
                    <a:pt x="23" y="55"/>
                    <a:pt x="24" y="53"/>
                    <a:pt x="25" y="53"/>
                  </a:cubicBezTo>
                  <a:cubicBezTo>
                    <a:pt x="26" y="52"/>
                    <a:pt x="30" y="47"/>
                    <a:pt x="31" y="47"/>
                  </a:cubicBezTo>
                  <a:cubicBezTo>
                    <a:pt x="32" y="46"/>
                    <a:pt x="34" y="47"/>
                    <a:pt x="34" y="44"/>
                  </a:cubicBezTo>
                  <a:cubicBezTo>
                    <a:pt x="34" y="43"/>
                    <a:pt x="34" y="42"/>
                    <a:pt x="34" y="40"/>
                  </a:cubicBezTo>
                  <a:cubicBezTo>
                    <a:pt x="33" y="39"/>
                    <a:pt x="31" y="37"/>
                    <a:pt x="31" y="37"/>
                  </a:cubicBezTo>
                  <a:cubicBezTo>
                    <a:pt x="31" y="35"/>
                    <a:pt x="29" y="32"/>
                    <a:pt x="28" y="34"/>
                  </a:cubicBezTo>
                  <a:cubicBezTo>
                    <a:pt x="27" y="35"/>
                    <a:pt x="22" y="34"/>
                    <a:pt x="22" y="31"/>
                  </a:cubicBezTo>
                  <a:cubicBezTo>
                    <a:pt x="21" y="28"/>
                    <a:pt x="25" y="28"/>
                    <a:pt x="28" y="26"/>
                  </a:cubicBezTo>
                  <a:cubicBezTo>
                    <a:pt x="31" y="23"/>
                    <a:pt x="32" y="18"/>
                    <a:pt x="28" y="15"/>
                  </a:cubicBezTo>
                  <a:cubicBezTo>
                    <a:pt x="25" y="12"/>
                    <a:pt x="27" y="10"/>
                    <a:pt x="30" y="8"/>
                  </a:cubicBezTo>
                  <a:cubicBezTo>
                    <a:pt x="32" y="5"/>
                    <a:pt x="30" y="4"/>
                    <a:pt x="29" y="5"/>
                  </a:cubicBezTo>
                  <a:cubicBezTo>
                    <a:pt x="27" y="6"/>
                    <a:pt x="25" y="6"/>
                    <a:pt x="25" y="4"/>
                  </a:cubicBezTo>
                  <a:cubicBezTo>
                    <a:pt x="24" y="1"/>
                    <a:pt x="17" y="0"/>
                    <a:pt x="14" y="3"/>
                  </a:cubicBezTo>
                  <a:cubicBezTo>
                    <a:pt x="13" y="4"/>
                    <a:pt x="11" y="4"/>
                    <a:pt x="9" y="4"/>
                  </a:cubicBezTo>
                  <a:cubicBezTo>
                    <a:pt x="9" y="9"/>
                    <a:pt x="8" y="15"/>
                    <a:pt x="9" y="17"/>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76" name="Freeform 19">
              <a:extLst>
                <a:ext uri="{FF2B5EF4-FFF2-40B4-BE49-F238E27FC236}">
                  <a16:creationId xmlns:a16="http://schemas.microsoft.com/office/drawing/2014/main" xmlns="" id="{61AD70BC-C0E8-422F-9EF2-BE96D0FED5D2}"/>
                </a:ext>
              </a:extLst>
            </p:cNvPr>
            <p:cNvSpPr>
              <a:spLocks/>
            </p:cNvSpPr>
            <p:nvPr/>
          </p:nvSpPr>
          <p:spPr bwMode="auto">
            <a:xfrm>
              <a:off x="16149859" y="3161379"/>
              <a:ext cx="436563" cy="420687"/>
            </a:xfrm>
            <a:custGeom>
              <a:avLst/>
              <a:gdLst>
                <a:gd name="T0" fmla="*/ 58 w 168"/>
                <a:gd name="T1" fmla="*/ 31 h 161"/>
                <a:gd name="T2" fmla="*/ 58 w 168"/>
                <a:gd name="T3" fmla="*/ 38 h 161"/>
                <a:gd name="T4" fmla="*/ 62 w 168"/>
                <a:gd name="T5" fmla="*/ 44 h 161"/>
                <a:gd name="T6" fmla="*/ 60 w 168"/>
                <a:gd name="T7" fmla="*/ 47 h 161"/>
                <a:gd name="T8" fmla="*/ 48 w 168"/>
                <a:gd name="T9" fmla="*/ 48 h 161"/>
                <a:gd name="T10" fmla="*/ 43 w 168"/>
                <a:gd name="T11" fmla="*/ 50 h 161"/>
                <a:gd name="T12" fmla="*/ 41 w 168"/>
                <a:gd name="T13" fmla="*/ 52 h 161"/>
                <a:gd name="T14" fmla="*/ 40 w 168"/>
                <a:gd name="T15" fmla="*/ 57 h 161"/>
                <a:gd name="T16" fmla="*/ 36 w 168"/>
                <a:gd name="T17" fmla="*/ 60 h 161"/>
                <a:gd name="T18" fmla="*/ 30 w 168"/>
                <a:gd name="T19" fmla="*/ 62 h 161"/>
                <a:gd name="T20" fmla="*/ 26 w 168"/>
                <a:gd name="T21" fmla="*/ 67 h 161"/>
                <a:gd name="T22" fmla="*/ 19 w 168"/>
                <a:gd name="T23" fmla="*/ 68 h 161"/>
                <a:gd name="T24" fmla="*/ 13 w 168"/>
                <a:gd name="T25" fmla="*/ 70 h 161"/>
                <a:gd name="T26" fmla="*/ 0 w 168"/>
                <a:gd name="T27" fmla="*/ 78 h 161"/>
                <a:gd name="T28" fmla="*/ 1 w 168"/>
                <a:gd name="T29" fmla="*/ 89 h 161"/>
                <a:gd name="T30" fmla="*/ 2 w 168"/>
                <a:gd name="T31" fmla="*/ 91 h 161"/>
                <a:gd name="T32" fmla="*/ 80 w 168"/>
                <a:gd name="T33" fmla="*/ 143 h 161"/>
                <a:gd name="T34" fmla="*/ 85 w 168"/>
                <a:gd name="T35" fmla="*/ 150 h 161"/>
                <a:gd name="T36" fmla="*/ 94 w 168"/>
                <a:gd name="T37" fmla="*/ 153 h 161"/>
                <a:gd name="T38" fmla="*/ 98 w 168"/>
                <a:gd name="T39" fmla="*/ 161 h 161"/>
                <a:gd name="T40" fmla="*/ 106 w 168"/>
                <a:gd name="T41" fmla="*/ 160 h 161"/>
                <a:gd name="T42" fmla="*/ 119 w 168"/>
                <a:gd name="T43" fmla="*/ 156 h 161"/>
                <a:gd name="T44" fmla="*/ 133 w 168"/>
                <a:gd name="T45" fmla="*/ 144 h 161"/>
                <a:gd name="T46" fmla="*/ 168 w 168"/>
                <a:gd name="T47" fmla="*/ 122 h 161"/>
                <a:gd name="T48" fmla="*/ 168 w 168"/>
                <a:gd name="T49" fmla="*/ 122 h 161"/>
                <a:gd name="T50" fmla="*/ 164 w 168"/>
                <a:gd name="T51" fmla="*/ 115 h 161"/>
                <a:gd name="T52" fmla="*/ 158 w 168"/>
                <a:gd name="T53" fmla="*/ 114 h 161"/>
                <a:gd name="T54" fmla="*/ 152 w 168"/>
                <a:gd name="T55" fmla="*/ 110 h 161"/>
                <a:gd name="T56" fmla="*/ 151 w 168"/>
                <a:gd name="T57" fmla="*/ 104 h 161"/>
                <a:gd name="T58" fmla="*/ 148 w 168"/>
                <a:gd name="T59" fmla="*/ 99 h 161"/>
                <a:gd name="T60" fmla="*/ 151 w 168"/>
                <a:gd name="T61" fmla="*/ 95 h 161"/>
                <a:gd name="T62" fmla="*/ 150 w 168"/>
                <a:gd name="T63" fmla="*/ 91 h 161"/>
                <a:gd name="T64" fmla="*/ 150 w 168"/>
                <a:gd name="T65" fmla="*/ 86 h 161"/>
                <a:gd name="T66" fmla="*/ 151 w 168"/>
                <a:gd name="T67" fmla="*/ 81 h 161"/>
                <a:gd name="T68" fmla="*/ 151 w 168"/>
                <a:gd name="T69" fmla="*/ 73 h 161"/>
                <a:gd name="T70" fmla="*/ 147 w 168"/>
                <a:gd name="T71" fmla="*/ 65 h 161"/>
                <a:gd name="T72" fmla="*/ 149 w 168"/>
                <a:gd name="T73" fmla="*/ 63 h 161"/>
                <a:gd name="T74" fmla="*/ 148 w 168"/>
                <a:gd name="T75" fmla="*/ 61 h 161"/>
                <a:gd name="T76" fmla="*/ 145 w 168"/>
                <a:gd name="T77" fmla="*/ 47 h 161"/>
                <a:gd name="T78" fmla="*/ 138 w 168"/>
                <a:gd name="T79" fmla="*/ 42 h 161"/>
                <a:gd name="T80" fmla="*/ 135 w 168"/>
                <a:gd name="T81" fmla="*/ 37 h 161"/>
                <a:gd name="T82" fmla="*/ 132 w 168"/>
                <a:gd name="T83" fmla="*/ 29 h 161"/>
                <a:gd name="T84" fmla="*/ 137 w 168"/>
                <a:gd name="T85" fmla="*/ 23 h 161"/>
                <a:gd name="T86" fmla="*/ 139 w 168"/>
                <a:gd name="T87" fmla="*/ 15 h 161"/>
                <a:gd name="T88" fmla="*/ 139 w 168"/>
                <a:gd name="T89" fmla="*/ 2 h 161"/>
                <a:gd name="T90" fmla="*/ 132 w 168"/>
                <a:gd name="T91" fmla="*/ 1 h 161"/>
                <a:gd name="T92" fmla="*/ 124 w 168"/>
                <a:gd name="T93" fmla="*/ 2 h 161"/>
                <a:gd name="T94" fmla="*/ 113 w 168"/>
                <a:gd name="T95" fmla="*/ 4 h 161"/>
                <a:gd name="T96" fmla="*/ 82 w 168"/>
                <a:gd name="T97" fmla="*/ 6 h 161"/>
                <a:gd name="T98" fmla="*/ 70 w 168"/>
                <a:gd name="T99" fmla="*/ 12 h 161"/>
                <a:gd name="T100" fmla="*/ 57 w 168"/>
                <a:gd name="T101" fmla="*/ 19 h 161"/>
                <a:gd name="T102" fmla="*/ 54 w 168"/>
                <a:gd name="T103" fmla="*/ 20 h 161"/>
                <a:gd name="T104" fmla="*/ 56 w 168"/>
                <a:gd name="T105" fmla="*/ 23 h 161"/>
                <a:gd name="T106" fmla="*/ 58 w 168"/>
                <a:gd name="T107" fmla="*/ 3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8" h="161">
                  <a:moveTo>
                    <a:pt x="58" y="31"/>
                  </a:moveTo>
                  <a:cubicBezTo>
                    <a:pt x="58" y="34"/>
                    <a:pt x="57" y="38"/>
                    <a:pt x="58" y="38"/>
                  </a:cubicBezTo>
                  <a:cubicBezTo>
                    <a:pt x="60" y="39"/>
                    <a:pt x="61" y="43"/>
                    <a:pt x="62" y="44"/>
                  </a:cubicBezTo>
                  <a:cubicBezTo>
                    <a:pt x="62" y="45"/>
                    <a:pt x="61" y="47"/>
                    <a:pt x="60" y="47"/>
                  </a:cubicBezTo>
                  <a:cubicBezTo>
                    <a:pt x="58" y="47"/>
                    <a:pt x="48" y="46"/>
                    <a:pt x="48" y="48"/>
                  </a:cubicBezTo>
                  <a:cubicBezTo>
                    <a:pt x="48" y="49"/>
                    <a:pt x="46" y="50"/>
                    <a:pt x="43" y="50"/>
                  </a:cubicBezTo>
                  <a:cubicBezTo>
                    <a:pt x="41" y="50"/>
                    <a:pt x="41" y="50"/>
                    <a:pt x="41" y="52"/>
                  </a:cubicBezTo>
                  <a:cubicBezTo>
                    <a:pt x="40" y="55"/>
                    <a:pt x="41" y="57"/>
                    <a:pt x="40" y="57"/>
                  </a:cubicBezTo>
                  <a:cubicBezTo>
                    <a:pt x="38" y="57"/>
                    <a:pt x="38" y="60"/>
                    <a:pt x="36" y="60"/>
                  </a:cubicBezTo>
                  <a:cubicBezTo>
                    <a:pt x="34" y="60"/>
                    <a:pt x="30" y="60"/>
                    <a:pt x="30" y="62"/>
                  </a:cubicBezTo>
                  <a:cubicBezTo>
                    <a:pt x="30" y="64"/>
                    <a:pt x="28" y="66"/>
                    <a:pt x="26" y="67"/>
                  </a:cubicBezTo>
                  <a:cubicBezTo>
                    <a:pt x="23" y="67"/>
                    <a:pt x="19" y="66"/>
                    <a:pt x="19" y="68"/>
                  </a:cubicBezTo>
                  <a:cubicBezTo>
                    <a:pt x="19" y="70"/>
                    <a:pt x="15" y="69"/>
                    <a:pt x="13" y="70"/>
                  </a:cubicBezTo>
                  <a:cubicBezTo>
                    <a:pt x="11" y="71"/>
                    <a:pt x="1" y="77"/>
                    <a:pt x="0" y="78"/>
                  </a:cubicBezTo>
                  <a:cubicBezTo>
                    <a:pt x="0" y="79"/>
                    <a:pt x="1" y="84"/>
                    <a:pt x="1" y="89"/>
                  </a:cubicBezTo>
                  <a:cubicBezTo>
                    <a:pt x="1" y="90"/>
                    <a:pt x="1" y="90"/>
                    <a:pt x="2" y="91"/>
                  </a:cubicBezTo>
                  <a:cubicBezTo>
                    <a:pt x="6" y="93"/>
                    <a:pt x="78" y="140"/>
                    <a:pt x="80" y="143"/>
                  </a:cubicBezTo>
                  <a:cubicBezTo>
                    <a:pt x="83" y="145"/>
                    <a:pt x="85" y="150"/>
                    <a:pt x="85" y="150"/>
                  </a:cubicBezTo>
                  <a:cubicBezTo>
                    <a:pt x="85" y="150"/>
                    <a:pt x="90" y="151"/>
                    <a:pt x="94" y="153"/>
                  </a:cubicBezTo>
                  <a:cubicBezTo>
                    <a:pt x="98" y="155"/>
                    <a:pt x="98" y="161"/>
                    <a:pt x="98" y="161"/>
                  </a:cubicBezTo>
                  <a:cubicBezTo>
                    <a:pt x="98" y="161"/>
                    <a:pt x="103" y="160"/>
                    <a:pt x="106" y="160"/>
                  </a:cubicBezTo>
                  <a:cubicBezTo>
                    <a:pt x="109" y="159"/>
                    <a:pt x="119" y="156"/>
                    <a:pt x="119" y="156"/>
                  </a:cubicBezTo>
                  <a:cubicBezTo>
                    <a:pt x="133" y="144"/>
                    <a:pt x="133" y="144"/>
                    <a:pt x="133" y="144"/>
                  </a:cubicBezTo>
                  <a:cubicBezTo>
                    <a:pt x="168" y="122"/>
                    <a:pt x="168" y="122"/>
                    <a:pt x="168" y="122"/>
                  </a:cubicBezTo>
                  <a:cubicBezTo>
                    <a:pt x="168" y="122"/>
                    <a:pt x="168" y="122"/>
                    <a:pt x="168" y="122"/>
                  </a:cubicBezTo>
                  <a:cubicBezTo>
                    <a:pt x="167" y="118"/>
                    <a:pt x="166" y="115"/>
                    <a:pt x="164" y="115"/>
                  </a:cubicBezTo>
                  <a:cubicBezTo>
                    <a:pt x="162" y="115"/>
                    <a:pt x="160" y="114"/>
                    <a:pt x="158" y="114"/>
                  </a:cubicBezTo>
                  <a:cubicBezTo>
                    <a:pt x="156" y="114"/>
                    <a:pt x="153" y="112"/>
                    <a:pt x="152" y="110"/>
                  </a:cubicBezTo>
                  <a:cubicBezTo>
                    <a:pt x="152" y="108"/>
                    <a:pt x="153" y="107"/>
                    <a:pt x="151" y="104"/>
                  </a:cubicBezTo>
                  <a:cubicBezTo>
                    <a:pt x="150" y="101"/>
                    <a:pt x="148" y="100"/>
                    <a:pt x="148" y="99"/>
                  </a:cubicBezTo>
                  <a:cubicBezTo>
                    <a:pt x="148" y="98"/>
                    <a:pt x="151" y="96"/>
                    <a:pt x="151" y="95"/>
                  </a:cubicBezTo>
                  <a:cubicBezTo>
                    <a:pt x="152" y="95"/>
                    <a:pt x="150" y="93"/>
                    <a:pt x="150" y="91"/>
                  </a:cubicBezTo>
                  <a:cubicBezTo>
                    <a:pt x="150" y="90"/>
                    <a:pt x="149" y="88"/>
                    <a:pt x="150" y="86"/>
                  </a:cubicBezTo>
                  <a:cubicBezTo>
                    <a:pt x="151" y="85"/>
                    <a:pt x="152" y="84"/>
                    <a:pt x="151" y="81"/>
                  </a:cubicBezTo>
                  <a:cubicBezTo>
                    <a:pt x="149" y="78"/>
                    <a:pt x="153" y="76"/>
                    <a:pt x="151" y="73"/>
                  </a:cubicBezTo>
                  <a:cubicBezTo>
                    <a:pt x="149" y="69"/>
                    <a:pt x="147" y="66"/>
                    <a:pt x="147" y="65"/>
                  </a:cubicBezTo>
                  <a:cubicBezTo>
                    <a:pt x="147" y="65"/>
                    <a:pt x="148" y="64"/>
                    <a:pt x="149" y="63"/>
                  </a:cubicBezTo>
                  <a:cubicBezTo>
                    <a:pt x="149" y="63"/>
                    <a:pt x="148" y="62"/>
                    <a:pt x="148" y="61"/>
                  </a:cubicBezTo>
                  <a:cubicBezTo>
                    <a:pt x="148" y="58"/>
                    <a:pt x="146" y="49"/>
                    <a:pt x="145" y="47"/>
                  </a:cubicBezTo>
                  <a:cubicBezTo>
                    <a:pt x="143" y="45"/>
                    <a:pt x="138" y="44"/>
                    <a:pt x="138" y="42"/>
                  </a:cubicBezTo>
                  <a:cubicBezTo>
                    <a:pt x="138" y="41"/>
                    <a:pt x="138" y="39"/>
                    <a:pt x="135" y="37"/>
                  </a:cubicBezTo>
                  <a:cubicBezTo>
                    <a:pt x="132" y="36"/>
                    <a:pt x="130" y="29"/>
                    <a:pt x="132" y="29"/>
                  </a:cubicBezTo>
                  <a:cubicBezTo>
                    <a:pt x="134" y="29"/>
                    <a:pt x="135" y="24"/>
                    <a:pt x="137" y="23"/>
                  </a:cubicBezTo>
                  <a:cubicBezTo>
                    <a:pt x="139" y="22"/>
                    <a:pt x="141" y="18"/>
                    <a:pt x="139" y="15"/>
                  </a:cubicBezTo>
                  <a:cubicBezTo>
                    <a:pt x="138" y="13"/>
                    <a:pt x="139" y="7"/>
                    <a:pt x="139" y="2"/>
                  </a:cubicBezTo>
                  <a:cubicBezTo>
                    <a:pt x="136" y="2"/>
                    <a:pt x="133" y="1"/>
                    <a:pt x="132" y="1"/>
                  </a:cubicBezTo>
                  <a:cubicBezTo>
                    <a:pt x="130" y="0"/>
                    <a:pt x="126" y="1"/>
                    <a:pt x="124" y="2"/>
                  </a:cubicBezTo>
                  <a:cubicBezTo>
                    <a:pt x="121" y="2"/>
                    <a:pt x="115" y="6"/>
                    <a:pt x="113" y="4"/>
                  </a:cubicBezTo>
                  <a:cubicBezTo>
                    <a:pt x="110" y="2"/>
                    <a:pt x="89" y="5"/>
                    <a:pt x="82" y="6"/>
                  </a:cubicBezTo>
                  <a:cubicBezTo>
                    <a:pt x="76" y="6"/>
                    <a:pt x="74" y="12"/>
                    <a:pt x="70" y="12"/>
                  </a:cubicBezTo>
                  <a:cubicBezTo>
                    <a:pt x="66" y="12"/>
                    <a:pt x="60" y="15"/>
                    <a:pt x="57" y="19"/>
                  </a:cubicBezTo>
                  <a:cubicBezTo>
                    <a:pt x="56" y="20"/>
                    <a:pt x="55" y="20"/>
                    <a:pt x="54" y="20"/>
                  </a:cubicBezTo>
                  <a:cubicBezTo>
                    <a:pt x="55" y="21"/>
                    <a:pt x="55" y="22"/>
                    <a:pt x="56" y="23"/>
                  </a:cubicBezTo>
                  <a:cubicBezTo>
                    <a:pt x="57" y="25"/>
                    <a:pt x="58" y="28"/>
                    <a:pt x="58" y="31"/>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77" name="Freeform 20">
              <a:extLst>
                <a:ext uri="{FF2B5EF4-FFF2-40B4-BE49-F238E27FC236}">
                  <a16:creationId xmlns:a16="http://schemas.microsoft.com/office/drawing/2014/main" xmlns="" id="{64B83AD6-C72A-4647-9665-78756F389DB5}"/>
                </a:ext>
              </a:extLst>
            </p:cNvPr>
            <p:cNvSpPr>
              <a:spLocks/>
            </p:cNvSpPr>
            <p:nvPr/>
          </p:nvSpPr>
          <p:spPr bwMode="auto">
            <a:xfrm>
              <a:off x="16532447" y="3259804"/>
              <a:ext cx="320675" cy="306387"/>
            </a:xfrm>
            <a:custGeom>
              <a:avLst/>
              <a:gdLst>
                <a:gd name="T0" fmla="*/ 14 w 123"/>
                <a:gd name="T1" fmla="*/ 7 h 117"/>
                <a:gd name="T2" fmla="*/ 8 w 123"/>
                <a:gd name="T3" fmla="*/ 13 h 117"/>
                <a:gd name="T4" fmla="*/ 7 w 123"/>
                <a:gd name="T5" fmla="*/ 16 h 117"/>
                <a:gd name="T6" fmla="*/ 5 w 123"/>
                <a:gd name="T7" fmla="*/ 23 h 117"/>
                <a:gd name="T8" fmla="*/ 0 w 123"/>
                <a:gd name="T9" fmla="*/ 27 h 117"/>
                <a:gd name="T10" fmla="*/ 4 w 123"/>
                <a:gd name="T11" fmla="*/ 35 h 117"/>
                <a:gd name="T12" fmla="*/ 4 w 123"/>
                <a:gd name="T13" fmla="*/ 43 h 117"/>
                <a:gd name="T14" fmla="*/ 3 w 123"/>
                <a:gd name="T15" fmla="*/ 48 h 117"/>
                <a:gd name="T16" fmla="*/ 3 w 123"/>
                <a:gd name="T17" fmla="*/ 53 h 117"/>
                <a:gd name="T18" fmla="*/ 4 w 123"/>
                <a:gd name="T19" fmla="*/ 57 h 117"/>
                <a:gd name="T20" fmla="*/ 1 w 123"/>
                <a:gd name="T21" fmla="*/ 61 h 117"/>
                <a:gd name="T22" fmla="*/ 4 w 123"/>
                <a:gd name="T23" fmla="*/ 66 h 117"/>
                <a:gd name="T24" fmla="*/ 5 w 123"/>
                <a:gd name="T25" fmla="*/ 72 h 117"/>
                <a:gd name="T26" fmla="*/ 11 w 123"/>
                <a:gd name="T27" fmla="*/ 76 h 117"/>
                <a:gd name="T28" fmla="*/ 17 w 123"/>
                <a:gd name="T29" fmla="*/ 77 h 117"/>
                <a:gd name="T30" fmla="*/ 21 w 123"/>
                <a:gd name="T31" fmla="*/ 84 h 117"/>
                <a:gd name="T32" fmla="*/ 33 w 123"/>
                <a:gd name="T33" fmla="*/ 87 h 117"/>
                <a:gd name="T34" fmla="*/ 38 w 123"/>
                <a:gd name="T35" fmla="*/ 92 h 117"/>
                <a:gd name="T36" fmla="*/ 51 w 123"/>
                <a:gd name="T37" fmla="*/ 84 h 117"/>
                <a:gd name="T38" fmla="*/ 113 w 123"/>
                <a:gd name="T39" fmla="*/ 117 h 117"/>
                <a:gd name="T40" fmla="*/ 113 w 123"/>
                <a:gd name="T41" fmla="*/ 113 h 117"/>
                <a:gd name="T42" fmla="*/ 120 w 123"/>
                <a:gd name="T43" fmla="*/ 113 h 117"/>
                <a:gd name="T44" fmla="*/ 120 w 123"/>
                <a:gd name="T45" fmla="*/ 34 h 117"/>
                <a:gd name="T46" fmla="*/ 120 w 123"/>
                <a:gd name="T47" fmla="*/ 22 h 117"/>
                <a:gd name="T48" fmla="*/ 121 w 123"/>
                <a:gd name="T49" fmla="*/ 12 h 117"/>
                <a:gd name="T50" fmla="*/ 122 w 123"/>
                <a:gd name="T51" fmla="*/ 10 h 117"/>
                <a:gd name="T52" fmla="*/ 122 w 123"/>
                <a:gd name="T53" fmla="*/ 10 h 117"/>
                <a:gd name="T54" fmla="*/ 111 w 123"/>
                <a:gd name="T55" fmla="*/ 7 h 117"/>
                <a:gd name="T56" fmla="*/ 99 w 123"/>
                <a:gd name="T57" fmla="*/ 1 h 117"/>
                <a:gd name="T58" fmla="*/ 81 w 123"/>
                <a:gd name="T59" fmla="*/ 10 h 117"/>
                <a:gd name="T60" fmla="*/ 82 w 123"/>
                <a:gd name="T61" fmla="*/ 20 h 117"/>
                <a:gd name="T62" fmla="*/ 69 w 123"/>
                <a:gd name="T63" fmla="*/ 21 h 117"/>
                <a:gd name="T64" fmla="*/ 55 w 123"/>
                <a:gd name="T65" fmla="*/ 15 h 117"/>
                <a:gd name="T66" fmla="*/ 47 w 123"/>
                <a:gd name="T67" fmla="*/ 10 h 117"/>
                <a:gd name="T68" fmla="*/ 41 w 123"/>
                <a:gd name="T69" fmla="*/ 5 h 117"/>
                <a:gd name="T70" fmla="*/ 27 w 123"/>
                <a:gd name="T71" fmla="*/ 2 h 117"/>
                <a:gd name="T72" fmla="*/ 17 w 123"/>
                <a:gd name="T73" fmla="*/ 0 h 117"/>
                <a:gd name="T74" fmla="*/ 17 w 123"/>
                <a:gd name="T75" fmla="*/ 4 h 117"/>
                <a:gd name="T76" fmla="*/ 14 w 123"/>
                <a:gd name="T77" fmla="*/ 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3" h="117">
                  <a:moveTo>
                    <a:pt x="14" y="7"/>
                  </a:moveTo>
                  <a:cubicBezTo>
                    <a:pt x="13" y="7"/>
                    <a:pt x="9" y="12"/>
                    <a:pt x="8" y="13"/>
                  </a:cubicBezTo>
                  <a:cubicBezTo>
                    <a:pt x="7" y="13"/>
                    <a:pt x="6" y="15"/>
                    <a:pt x="7" y="16"/>
                  </a:cubicBezTo>
                  <a:cubicBezTo>
                    <a:pt x="7" y="17"/>
                    <a:pt x="7" y="20"/>
                    <a:pt x="5" y="23"/>
                  </a:cubicBezTo>
                  <a:cubicBezTo>
                    <a:pt x="4" y="25"/>
                    <a:pt x="1" y="26"/>
                    <a:pt x="0" y="27"/>
                  </a:cubicBezTo>
                  <a:cubicBezTo>
                    <a:pt x="0" y="28"/>
                    <a:pt x="2" y="31"/>
                    <a:pt x="4" y="35"/>
                  </a:cubicBezTo>
                  <a:cubicBezTo>
                    <a:pt x="6" y="38"/>
                    <a:pt x="2" y="40"/>
                    <a:pt x="4" y="43"/>
                  </a:cubicBezTo>
                  <a:cubicBezTo>
                    <a:pt x="5" y="46"/>
                    <a:pt x="4" y="47"/>
                    <a:pt x="3" y="48"/>
                  </a:cubicBezTo>
                  <a:cubicBezTo>
                    <a:pt x="2" y="50"/>
                    <a:pt x="3" y="52"/>
                    <a:pt x="3" y="53"/>
                  </a:cubicBezTo>
                  <a:cubicBezTo>
                    <a:pt x="3" y="55"/>
                    <a:pt x="5" y="57"/>
                    <a:pt x="4" y="57"/>
                  </a:cubicBezTo>
                  <a:cubicBezTo>
                    <a:pt x="4" y="58"/>
                    <a:pt x="1" y="60"/>
                    <a:pt x="1" y="61"/>
                  </a:cubicBezTo>
                  <a:cubicBezTo>
                    <a:pt x="1" y="62"/>
                    <a:pt x="3" y="63"/>
                    <a:pt x="4" y="66"/>
                  </a:cubicBezTo>
                  <a:cubicBezTo>
                    <a:pt x="6" y="69"/>
                    <a:pt x="5" y="70"/>
                    <a:pt x="5" y="72"/>
                  </a:cubicBezTo>
                  <a:cubicBezTo>
                    <a:pt x="6" y="74"/>
                    <a:pt x="9" y="76"/>
                    <a:pt x="11" y="76"/>
                  </a:cubicBezTo>
                  <a:cubicBezTo>
                    <a:pt x="13" y="76"/>
                    <a:pt x="15" y="77"/>
                    <a:pt x="17" y="77"/>
                  </a:cubicBezTo>
                  <a:cubicBezTo>
                    <a:pt x="19" y="77"/>
                    <a:pt x="20" y="80"/>
                    <a:pt x="21" y="84"/>
                  </a:cubicBezTo>
                  <a:cubicBezTo>
                    <a:pt x="22" y="84"/>
                    <a:pt x="30" y="84"/>
                    <a:pt x="33" y="87"/>
                  </a:cubicBezTo>
                  <a:cubicBezTo>
                    <a:pt x="36" y="89"/>
                    <a:pt x="38" y="92"/>
                    <a:pt x="38" y="92"/>
                  </a:cubicBezTo>
                  <a:cubicBezTo>
                    <a:pt x="51" y="84"/>
                    <a:pt x="51" y="84"/>
                    <a:pt x="51" y="84"/>
                  </a:cubicBezTo>
                  <a:cubicBezTo>
                    <a:pt x="113" y="117"/>
                    <a:pt x="113" y="117"/>
                    <a:pt x="113" y="117"/>
                  </a:cubicBezTo>
                  <a:cubicBezTo>
                    <a:pt x="113" y="113"/>
                    <a:pt x="113" y="113"/>
                    <a:pt x="113" y="113"/>
                  </a:cubicBezTo>
                  <a:cubicBezTo>
                    <a:pt x="120" y="113"/>
                    <a:pt x="120" y="113"/>
                    <a:pt x="120" y="113"/>
                  </a:cubicBezTo>
                  <a:cubicBezTo>
                    <a:pt x="120" y="113"/>
                    <a:pt x="120" y="40"/>
                    <a:pt x="120" y="34"/>
                  </a:cubicBezTo>
                  <a:cubicBezTo>
                    <a:pt x="120" y="29"/>
                    <a:pt x="118" y="25"/>
                    <a:pt x="120" y="22"/>
                  </a:cubicBezTo>
                  <a:cubicBezTo>
                    <a:pt x="123" y="19"/>
                    <a:pt x="119" y="18"/>
                    <a:pt x="121" y="12"/>
                  </a:cubicBezTo>
                  <a:cubicBezTo>
                    <a:pt x="121" y="12"/>
                    <a:pt x="122" y="11"/>
                    <a:pt x="122" y="10"/>
                  </a:cubicBezTo>
                  <a:cubicBezTo>
                    <a:pt x="122" y="10"/>
                    <a:pt x="122" y="10"/>
                    <a:pt x="122" y="10"/>
                  </a:cubicBezTo>
                  <a:cubicBezTo>
                    <a:pt x="121" y="8"/>
                    <a:pt x="118" y="8"/>
                    <a:pt x="111" y="7"/>
                  </a:cubicBezTo>
                  <a:cubicBezTo>
                    <a:pt x="104" y="6"/>
                    <a:pt x="107" y="1"/>
                    <a:pt x="99" y="1"/>
                  </a:cubicBezTo>
                  <a:cubicBezTo>
                    <a:pt x="91" y="0"/>
                    <a:pt x="81" y="7"/>
                    <a:pt x="81" y="10"/>
                  </a:cubicBezTo>
                  <a:cubicBezTo>
                    <a:pt x="81" y="13"/>
                    <a:pt x="84" y="17"/>
                    <a:pt x="82" y="20"/>
                  </a:cubicBezTo>
                  <a:cubicBezTo>
                    <a:pt x="79" y="24"/>
                    <a:pt x="73" y="24"/>
                    <a:pt x="69" y="21"/>
                  </a:cubicBezTo>
                  <a:cubicBezTo>
                    <a:pt x="65" y="17"/>
                    <a:pt x="59" y="15"/>
                    <a:pt x="55" y="15"/>
                  </a:cubicBezTo>
                  <a:cubicBezTo>
                    <a:pt x="50" y="15"/>
                    <a:pt x="46" y="12"/>
                    <a:pt x="47" y="10"/>
                  </a:cubicBezTo>
                  <a:cubicBezTo>
                    <a:pt x="47" y="7"/>
                    <a:pt x="45" y="6"/>
                    <a:pt x="41" y="5"/>
                  </a:cubicBezTo>
                  <a:cubicBezTo>
                    <a:pt x="37" y="4"/>
                    <a:pt x="34" y="1"/>
                    <a:pt x="27" y="2"/>
                  </a:cubicBezTo>
                  <a:cubicBezTo>
                    <a:pt x="23" y="3"/>
                    <a:pt x="20" y="1"/>
                    <a:pt x="17" y="0"/>
                  </a:cubicBezTo>
                  <a:cubicBezTo>
                    <a:pt x="17" y="2"/>
                    <a:pt x="17" y="3"/>
                    <a:pt x="17" y="4"/>
                  </a:cubicBezTo>
                  <a:cubicBezTo>
                    <a:pt x="17" y="7"/>
                    <a:pt x="15" y="6"/>
                    <a:pt x="14" y="7"/>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78" name="Freeform 21">
              <a:extLst>
                <a:ext uri="{FF2B5EF4-FFF2-40B4-BE49-F238E27FC236}">
                  <a16:creationId xmlns:a16="http://schemas.microsoft.com/office/drawing/2014/main" xmlns="" id="{C11D3831-7762-4622-99E5-0C2602D7DDF8}"/>
                </a:ext>
              </a:extLst>
            </p:cNvPr>
            <p:cNvSpPr>
              <a:spLocks/>
            </p:cNvSpPr>
            <p:nvPr/>
          </p:nvSpPr>
          <p:spPr bwMode="auto">
            <a:xfrm>
              <a:off x="15983172" y="3688429"/>
              <a:ext cx="60325" cy="20637"/>
            </a:xfrm>
            <a:custGeom>
              <a:avLst/>
              <a:gdLst>
                <a:gd name="T0" fmla="*/ 12 w 23"/>
                <a:gd name="T1" fmla="*/ 5 h 8"/>
                <a:gd name="T2" fmla="*/ 19 w 23"/>
                <a:gd name="T3" fmla="*/ 7 h 8"/>
                <a:gd name="T4" fmla="*/ 23 w 23"/>
                <a:gd name="T5" fmla="*/ 5 h 8"/>
                <a:gd name="T6" fmla="*/ 19 w 23"/>
                <a:gd name="T7" fmla="*/ 5 h 8"/>
                <a:gd name="T8" fmla="*/ 11 w 23"/>
                <a:gd name="T9" fmla="*/ 1 h 8"/>
                <a:gd name="T10" fmla="*/ 1 w 23"/>
                <a:gd name="T11" fmla="*/ 3 h 8"/>
                <a:gd name="T12" fmla="*/ 0 w 23"/>
                <a:gd name="T13" fmla="*/ 8 h 8"/>
                <a:gd name="T14" fmla="*/ 3 w 23"/>
                <a:gd name="T15" fmla="*/ 7 h 8"/>
                <a:gd name="T16" fmla="*/ 12 w 23"/>
                <a:gd name="T17"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8">
                  <a:moveTo>
                    <a:pt x="12" y="5"/>
                  </a:moveTo>
                  <a:cubicBezTo>
                    <a:pt x="13" y="3"/>
                    <a:pt x="16" y="6"/>
                    <a:pt x="19" y="7"/>
                  </a:cubicBezTo>
                  <a:cubicBezTo>
                    <a:pt x="21" y="7"/>
                    <a:pt x="23" y="5"/>
                    <a:pt x="23" y="5"/>
                  </a:cubicBezTo>
                  <a:cubicBezTo>
                    <a:pt x="23" y="5"/>
                    <a:pt x="23" y="5"/>
                    <a:pt x="19" y="5"/>
                  </a:cubicBezTo>
                  <a:cubicBezTo>
                    <a:pt x="15" y="4"/>
                    <a:pt x="15" y="0"/>
                    <a:pt x="11" y="1"/>
                  </a:cubicBezTo>
                  <a:cubicBezTo>
                    <a:pt x="8" y="3"/>
                    <a:pt x="6" y="3"/>
                    <a:pt x="1" y="3"/>
                  </a:cubicBezTo>
                  <a:cubicBezTo>
                    <a:pt x="1" y="4"/>
                    <a:pt x="0" y="6"/>
                    <a:pt x="0" y="8"/>
                  </a:cubicBezTo>
                  <a:cubicBezTo>
                    <a:pt x="1" y="8"/>
                    <a:pt x="2" y="7"/>
                    <a:pt x="3" y="7"/>
                  </a:cubicBezTo>
                  <a:cubicBezTo>
                    <a:pt x="5" y="7"/>
                    <a:pt x="10" y="6"/>
                    <a:pt x="12" y="5"/>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79" name="Freeform 22">
              <a:extLst>
                <a:ext uri="{FF2B5EF4-FFF2-40B4-BE49-F238E27FC236}">
                  <a16:creationId xmlns:a16="http://schemas.microsoft.com/office/drawing/2014/main" xmlns="" id="{4D0A4210-E3BF-401B-BD62-6F7061267C4D}"/>
                </a:ext>
              </a:extLst>
            </p:cNvPr>
            <p:cNvSpPr>
              <a:spLocks/>
            </p:cNvSpPr>
            <p:nvPr/>
          </p:nvSpPr>
          <p:spPr bwMode="auto">
            <a:xfrm>
              <a:off x="15970472" y="3631279"/>
              <a:ext cx="123825" cy="96837"/>
            </a:xfrm>
            <a:custGeom>
              <a:avLst/>
              <a:gdLst>
                <a:gd name="T0" fmla="*/ 11 w 48"/>
                <a:gd name="T1" fmla="*/ 36 h 37"/>
                <a:gd name="T2" fmla="*/ 16 w 48"/>
                <a:gd name="T3" fmla="*/ 34 h 37"/>
                <a:gd name="T4" fmla="*/ 27 w 48"/>
                <a:gd name="T5" fmla="*/ 33 h 37"/>
                <a:gd name="T6" fmla="*/ 29 w 48"/>
                <a:gd name="T7" fmla="*/ 34 h 37"/>
                <a:gd name="T8" fmla="*/ 29 w 48"/>
                <a:gd name="T9" fmla="*/ 33 h 37"/>
                <a:gd name="T10" fmla="*/ 35 w 48"/>
                <a:gd name="T11" fmla="*/ 35 h 37"/>
                <a:gd name="T12" fmla="*/ 47 w 48"/>
                <a:gd name="T13" fmla="*/ 36 h 37"/>
                <a:gd name="T14" fmla="*/ 48 w 48"/>
                <a:gd name="T15" fmla="*/ 36 h 37"/>
                <a:gd name="T16" fmla="*/ 48 w 48"/>
                <a:gd name="T17" fmla="*/ 30 h 37"/>
                <a:gd name="T18" fmla="*/ 43 w 48"/>
                <a:gd name="T19" fmla="*/ 25 h 37"/>
                <a:gd name="T20" fmla="*/ 42 w 48"/>
                <a:gd name="T21" fmla="*/ 20 h 37"/>
                <a:gd name="T22" fmla="*/ 41 w 48"/>
                <a:gd name="T23" fmla="*/ 18 h 37"/>
                <a:gd name="T24" fmla="*/ 36 w 48"/>
                <a:gd name="T25" fmla="*/ 12 h 37"/>
                <a:gd name="T26" fmla="*/ 31 w 48"/>
                <a:gd name="T27" fmla="*/ 5 h 37"/>
                <a:gd name="T28" fmla="*/ 28 w 48"/>
                <a:gd name="T29" fmla="*/ 5 h 37"/>
                <a:gd name="T30" fmla="*/ 23 w 48"/>
                <a:gd name="T31" fmla="*/ 1 h 37"/>
                <a:gd name="T32" fmla="*/ 17 w 48"/>
                <a:gd name="T33" fmla="*/ 2 h 37"/>
                <a:gd name="T34" fmla="*/ 10 w 48"/>
                <a:gd name="T35" fmla="*/ 2 h 37"/>
                <a:gd name="T36" fmla="*/ 5 w 48"/>
                <a:gd name="T37" fmla="*/ 6 h 37"/>
                <a:gd name="T38" fmla="*/ 5 w 48"/>
                <a:gd name="T39" fmla="*/ 6 h 37"/>
                <a:gd name="T40" fmla="*/ 3 w 48"/>
                <a:gd name="T41" fmla="*/ 12 h 37"/>
                <a:gd name="T42" fmla="*/ 6 w 48"/>
                <a:gd name="T43" fmla="*/ 24 h 37"/>
                <a:gd name="T44" fmla="*/ 6 w 48"/>
                <a:gd name="T45" fmla="*/ 25 h 37"/>
                <a:gd name="T46" fmla="*/ 16 w 48"/>
                <a:gd name="T47" fmla="*/ 23 h 37"/>
                <a:gd name="T48" fmla="*/ 24 w 48"/>
                <a:gd name="T49" fmla="*/ 27 h 37"/>
                <a:gd name="T50" fmla="*/ 28 w 48"/>
                <a:gd name="T51" fmla="*/ 27 h 37"/>
                <a:gd name="T52" fmla="*/ 24 w 48"/>
                <a:gd name="T53" fmla="*/ 29 h 37"/>
                <a:gd name="T54" fmla="*/ 17 w 48"/>
                <a:gd name="T55" fmla="*/ 27 h 37"/>
                <a:gd name="T56" fmla="*/ 8 w 48"/>
                <a:gd name="T57" fmla="*/ 29 h 37"/>
                <a:gd name="T58" fmla="*/ 5 w 48"/>
                <a:gd name="T59" fmla="*/ 30 h 37"/>
                <a:gd name="T60" fmla="*/ 6 w 48"/>
                <a:gd name="T61" fmla="*/ 34 h 37"/>
                <a:gd name="T62" fmla="*/ 7 w 48"/>
                <a:gd name="T63" fmla="*/ 35 h 37"/>
                <a:gd name="T64" fmla="*/ 11 w 48"/>
                <a:gd name="T65" fmla="*/ 3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 h="37">
                  <a:moveTo>
                    <a:pt x="11" y="36"/>
                  </a:moveTo>
                  <a:cubicBezTo>
                    <a:pt x="13" y="36"/>
                    <a:pt x="16" y="34"/>
                    <a:pt x="16" y="34"/>
                  </a:cubicBezTo>
                  <a:cubicBezTo>
                    <a:pt x="16" y="34"/>
                    <a:pt x="26" y="33"/>
                    <a:pt x="27" y="33"/>
                  </a:cubicBezTo>
                  <a:cubicBezTo>
                    <a:pt x="28" y="33"/>
                    <a:pt x="29" y="33"/>
                    <a:pt x="29" y="34"/>
                  </a:cubicBezTo>
                  <a:cubicBezTo>
                    <a:pt x="29" y="33"/>
                    <a:pt x="29" y="33"/>
                    <a:pt x="29" y="33"/>
                  </a:cubicBezTo>
                  <a:cubicBezTo>
                    <a:pt x="29" y="33"/>
                    <a:pt x="35" y="34"/>
                    <a:pt x="35" y="35"/>
                  </a:cubicBezTo>
                  <a:cubicBezTo>
                    <a:pt x="35" y="36"/>
                    <a:pt x="43" y="37"/>
                    <a:pt x="47" y="36"/>
                  </a:cubicBezTo>
                  <a:cubicBezTo>
                    <a:pt x="47" y="36"/>
                    <a:pt x="47" y="36"/>
                    <a:pt x="48" y="36"/>
                  </a:cubicBezTo>
                  <a:cubicBezTo>
                    <a:pt x="48" y="34"/>
                    <a:pt x="48" y="31"/>
                    <a:pt x="48" y="30"/>
                  </a:cubicBezTo>
                  <a:cubicBezTo>
                    <a:pt x="47" y="29"/>
                    <a:pt x="45" y="27"/>
                    <a:pt x="43" y="25"/>
                  </a:cubicBezTo>
                  <a:cubicBezTo>
                    <a:pt x="42" y="24"/>
                    <a:pt x="42" y="20"/>
                    <a:pt x="42" y="20"/>
                  </a:cubicBezTo>
                  <a:cubicBezTo>
                    <a:pt x="41" y="18"/>
                    <a:pt x="41" y="18"/>
                    <a:pt x="41" y="18"/>
                  </a:cubicBezTo>
                  <a:cubicBezTo>
                    <a:pt x="41" y="18"/>
                    <a:pt x="40" y="13"/>
                    <a:pt x="36" y="12"/>
                  </a:cubicBezTo>
                  <a:cubicBezTo>
                    <a:pt x="33" y="11"/>
                    <a:pt x="31" y="5"/>
                    <a:pt x="31" y="5"/>
                  </a:cubicBezTo>
                  <a:cubicBezTo>
                    <a:pt x="28" y="5"/>
                    <a:pt x="28" y="5"/>
                    <a:pt x="28" y="5"/>
                  </a:cubicBezTo>
                  <a:cubicBezTo>
                    <a:pt x="28" y="5"/>
                    <a:pt x="25" y="2"/>
                    <a:pt x="23" y="1"/>
                  </a:cubicBezTo>
                  <a:cubicBezTo>
                    <a:pt x="21" y="0"/>
                    <a:pt x="17" y="2"/>
                    <a:pt x="17" y="2"/>
                  </a:cubicBezTo>
                  <a:cubicBezTo>
                    <a:pt x="17" y="2"/>
                    <a:pt x="12" y="2"/>
                    <a:pt x="10" y="2"/>
                  </a:cubicBezTo>
                  <a:cubicBezTo>
                    <a:pt x="7" y="1"/>
                    <a:pt x="7" y="5"/>
                    <a:pt x="5" y="6"/>
                  </a:cubicBezTo>
                  <a:cubicBezTo>
                    <a:pt x="5" y="6"/>
                    <a:pt x="5" y="6"/>
                    <a:pt x="5" y="6"/>
                  </a:cubicBezTo>
                  <a:cubicBezTo>
                    <a:pt x="4" y="8"/>
                    <a:pt x="4" y="10"/>
                    <a:pt x="3" y="12"/>
                  </a:cubicBezTo>
                  <a:cubicBezTo>
                    <a:pt x="0" y="16"/>
                    <a:pt x="4" y="22"/>
                    <a:pt x="6" y="24"/>
                  </a:cubicBezTo>
                  <a:cubicBezTo>
                    <a:pt x="6" y="24"/>
                    <a:pt x="6" y="24"/>
                    <a:pt x="6" y="25"/>
                  </a:cubicBezTo>
                  <a:cubicBezTo>
                    <a:pt x="11" y="25"/>
                    <a:pt x="13" y="25"/>
                    <a:pt x="16" y="23"/>
                  </a:cubicBezTo>
                  <a:cubicBezTo>
                    <a:pt x="20" y="22"/>
                    <a:pt x="20" y="26"/>
                    <a:pt x="24" y="27"/>
                  </a:cubicBezTo>
                  <a:cubicBezTo>
                    <a:pt x="28" y="27"/>
                    <a:pt x="28" y="27"/>
                    <a:pt x="28" y="27"/>
                  </a:cubicBezTo>
                  <a:cubicBezTo>
                    <a:pt x="28" y="27"/>
                    <a:pt x="26" y="29"/>
                    <a:pt x="24" y="29"/>
                  </a:cubicBezTo>
                  <a:cubicBezTo>
                    <a:pt x="21" y="28"/>
                    <a:pt x="18" y="25"/>
                    <a:pt x="17" y="27"/>
                  </a:cubicBezTo>
                  <a:cubicBezTo>
                    <a:pt x="15" y="28"/>
                    <a:pt x="10" y="29"/>
                    <a:pt x="8" y="29"/>
                  </a:cubicBezTo>
                  <a:cubicBezTo>
                    <a:pt x="7" y="29"/>
                    <a:pt x="6" y="30"/>
                    <a:pt x="5" y="30"/>
                  </a:cubicBezTo>
                  <a:cubicBezTo>
                    <a:pt x="5" y="31"/>
                    <a:pt x="5" y="33"/>
                    <a:pt x="6" y="34"/>
                  </a:cubicBezTo>
                  <a:cubicBezTo>
                    <a:pt x="6" y="34"/>
                    <a:pt x="7" y="34"/>
                    <a:pt x="7" y="35"/>
                  </a:cubicBezTo>
                  <a:cubicBezTo>
                    <a:pt x="11" y="34"/>
                    <a:pt x="10" y="36"/>
                    <a:pt x="11" y="36"/>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80" name="Freeform 23">
              <a:extLst>
                <a:ext uri="{FF2B5EF4-FFF2-40B4-BE49-F238E27FC236}">
                  <a16:creationId xmlns:a16="http://schemas.microsoft.com/office/drawing/2014/main" xmlns="" id="{217AB091-D88E-4FC4-AAE2-011A675CB84F}"/>
                </a:ext>
              </a:extLst>
            </p:cNvPr>
            <p:cNvSpPr>
              <a:spLocks/>
            </p:cNvSpPr>
            <p:nvPr/>
          </p:nvSpPr>
          <p:spPr bwMode="auto">
            <a:xfrm>
              <a:off x="15987934" y="3717004"/>
              <a:ext cx="57150" cy="34925"/>
            </a:xfrm>
            <a:custGeom>
              <a:avLst/>
              <a:gdLst>
                <a:gd name="T0" fmla="*/ 12 w 22"/>
                <a:gd name="T1" fmla="*/ 12 h 13"/>
                <a:gd name="T2" fmla="*/ 18 w 22"/>
                <a:gd name="T3" fmla="*/ 9 h 13"/>
                <a:gd name="T4" fmla="*/ 21 w 22"/>
                <a:gd name="T5" fmla="*/ 7 h 13"/>
                <a:gd name="T6" fmla="*/ 21 w 22"/>
                <a:gd name="T7" fmla="*/ 4 h 13"/>
                <a:gd name="T8" fmla="*/ 22 w 22"/>
                <a:gd name="T9" fmla="*/ 1 h 13"/>
                <a:gd name="T10" fmla="*/ 20 w 22"/>
                <a:gd name="T11" fmla="*/ 0 h 13"/>
                <a:gd name="T12" fmla="*/ 9 w 22"/>
                <a:gd name="T13" fmla="*/ 1 h 13"/>
                <a:gd name="T14" fmla="*/ 4 w 22"/>
                <a:gd name="T15" fmla="*/ 3 h 13"/>
                <a:gd name="T16" fmla="*/ 0 w 22"/>
                <a:gd name="T17" fmla="*/ 2 h 13"/>
                <a:gd name="T18" fmla="*/ 6 w 22"/>
                <a:gd name="T19" fmla="*/ 7 h 13"/>
                <a:gd name="T20" fmla="*/ 10 w 22"/>
                <a:gd name="T21" fmla="*/ 13 h 13"/>
                <a:gd name="T22" fmla="*/ 11 w 22"/>
                <a:gd name="T23" fmla="*/ 13 h 13"/>
                <a:gd name="T24" fmla="*/ 12 w 22"/>
                <a:gd name="T25" fmla="*/ 1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13">
                  <a:moveTo>
                    <a:pt x="12" y="12"/>
                  </a:moveTo>
                  <a:cubicBezTo>
                    <a:pt x="13" y="11"/>
                    <a:pt x="17" y="8"/>
                    <a:pt x="18" y="9"/>
                  </a:cubicBezTo>
                  <a:cubicBezTo>
                    <a:pt x="19" y="9"/>
                    <a:pt x="21" y="8"/>
                    <a:pt x="21" y="7"/>
                  </a:cubicBezTo>
                  <a:cubicBezTo>
                    <a:pt x="21" y="7"/>
                    <a:pt x="19" y="4"/>
                    <a:pt x="21" y="4"/>
                  </a:cubicBezTo>
                  <a:cubicBezTo>
                    <a:pt x="22" y="3"/>
                    <a:pt x="22" y="2"/>
                    <a:pt x="22" y="1"/>
                  </a:cubicBezTo>
                  <a:cubicBezTo>
                    <a:pt x="22" y="0"/>
                    <a:pt x="21" y="0"/>
                    <a:pt x="20" y="0"/>
                  </a:cubicBezTo>
                  <a:cubicBezTo>
                    <a:pt x="19" y="0"/>
                    <a:pt x="9" y="1"/>
                    <a:pt x="9" y="1"/>
                  </a:cubicBezTo>
                  <a:cubicBezTo>
                    <a:pt x="9" y="1"/>
                    <a:pt x="6" y="3"/>
                    <a:pt x="4" y="3"/>
                  </a:cubicBezTo>
                  <a:cubicBezTo>
                    <a:pt x="3" y="3"/>
                    <a:pt x="4" y="1"/>
                    <a:pt x="0" y="2"/>
                  </a:cubicBezTo>
                  <a:cubicBezTo>
                    <a:pt x="2" y="4"/>
                    <a:pt x="2" y="5"/>
                    <a:pt x="6" y="7"/>
                  </a:cubicBezTo>
                  <a:cubicBezTo>
                    <a:pt x="11" y="8"/>
                    <a:pt x="6" y="10"/>
                    <a:pt x="10" y="13"/>
                  </a:cubicBezTo>
                  <a:cubicBezTo>
                    <a:pt x="10" y="13"/>
                    <a:pt x="10" y="13"/>
                    <a:pt x="11" y="13"/>
                  </a:cubicBezTo>
                  <a:cubicBezTo>
                    <a:pt x="11" y="13"/>
                    <a:pt x="11" y="13"/>
                    <a:pt x="12" y="12"/>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81" name="Freeform 24">
              <a:extLst>
                <a:ext uri="{FF2B5EF4-FFF2-40B4-BE49-F238E27FC236}">
                  <a16:creationId xmlns:a16="http://schemas.microsoft.com/office/drawing/2014/main" xmlns="" id="{A0C17889-DE7F-4128-A7D9-6D1B0D8D36E0}"/>
                </a:ext>
              </a:extLst>
            </p:cNvPr>
            <p:cNvSpPr>
              <a:spLocks/>
            </p:cNvSpPr>
            <p:nvPr/>
          </p:nvSpPr>
          <p:spPr bwMode="auto">
            <a:xfrm>
              <a:off x="16637222" y="3748754"/>
              <a:ext cx="257175" cy="182562"/>
            </a:xfrm>
            <a:custGeom>
              <a:avLst/>
              <a:gdLst>
                <a:gd name="T0" fmla="*/ 91 w 99"/>
                <a:gd name="T1" fmla="*/ 40 h 70"/>
                <a:gd name="T2" fmla="*/ 88 w 99"/>
                <a:gd name="T3" fmla="*/ 34 h 70"/>
                <a:gd name="T4" fmla="*/ 83 w 99"/>
                <a:gd name="T5" fmla="*/ 30 h 70"/>
                <a:gd name="T6" fmla="*/ 80 w 99"/>
                <a:gd name="T7" fmla="*/ 25 h 70"/>
                <a:gd name="T8" fmla="*/ 73 w 99"/>
                <a:gd name="T9" fmla="*/ 22 h 70"/>
                <a:gd name="T10" fmla="*/ 72 w 99"/>
                <a:gd name="T11" fmla="*/ 19 h 70"/>
                <a:gd name="T12" fmla="*/ 69 w 99"/>
                <a:gd name="T13" fmla="*/ 19 h 70"/>
                <a:gd name="T14" fmla="*/ 70 w 99"/>
                <a:gd name="T15" fmla="*/ 16 h 70"/>
                <a:gd name="T16" fmla="*/ 69 w 99"/>
                <a:gd name="T17" fmla="*/ 9 h 70"/>
                <a:gd name="T18" fmla="*/ 64 w 99"/>
                <a:gd name="T19" fmla="*/ 1 h 70"/>
                <a:gd name="T20" fmla="*/ 62 w 99"/>
                <a:gd name="T21" fmla="*/ 1 h 70"/>
                <a:gd name="T22" fmla="*/ 56 w 99"/>
                <a:gd name="T23" fmla="*/ 4 h 70"/>
                <a:gd name="T24" fmla="*/ 54 w 99"/>
                <a:gd name="T25" fmla="*/ 7 h 70"/>
                <a:gd name="T26" fmla="*/ 46 w 99"/>
                <a:gd name="T27" fmla="*/ 15 h 70"/>
                <a:gd name="T28" fmla="*/ 35 w 99"/>
                <a:gd name="T29" fmla="*/ 18 h 70"/>
                <a:gd name="T30" fmla="*/ 34 w 99"/>
                <a:gd name="T31" fmla="*/ 22 h 70"/>
                <a:gd name="T32" fmla="*/ 27 w 99"/>
                <a:gd name="T33" fmla="*/ 26 h 70"/>
                <a:gd name="T34" fmla="*/ 18 w 99"/>
                <a:gd name="T35" fmla="*/ 28 h 70"/>
                <a:gd name="T36" fmla="*/ 13 w 99"/>
                <a:gd name="T37" fmla="*/ 28 h 70"/>
                <a:gd name="T38" fmla="*/ 9 w 99"/>
                <a:gd name="T39" fmla="*/ 30 h 70"/>
                <a:gd name="T40" fmla="*/ 8 w 99"/>
                <a:gd name="T41" fmla="*/ 30 h 70"/>
                <a:gd name="T42" fmla="*/ 4 w 99"/>
                <a:gd name="T43" fmla="*/ 35 h 70"/>
                <a:gd name="T44" fmla="*/ 0 w 99"/>
                <a:gd name="T45" fmla="*/ 43 h 70"/>
                <a:gd name="T46" fmla="*/ 1 w 99"/>
                <a:gd name="T47" fmla="*/ 49 h 70"/>
                <a:gd name="T48" fmla="*/ 3 w 99"/>
                <a:gd name="T49" fmla="*/ 56 h 70"/>
                <a:gd name="T50" fmla="*/ 4 w 99"/>
                <a:gd name="T51" fmla="*/ 60 h 70"/>
                <a:gd name="T52" fmla="*/ 6 w 99"/>
                <a:gd name="T53" fmla="*/ 63 h 70"/>
                <a:gd name="T54" fmla="*/ 11 w 99"/>
                <a:gd name="T55" fmla="*/ 68 h 70"/>
                <a:gd name="T56" fmla="*/ 13 w 99"/>
                <a:gd name="T57" fmla="*/ 70 h 70"/>
                <a:gd name="T58" fmla="*/ 13 w 99"/>
                <a:gd name="T59" fmla="*/ 69 h 70"/>
                <a:gd name="T60" fmla="*/ 15 w 99"/>
                <a:gd name="T61" fmla="*/ 63 h 70"/>
                <a:gd name="T62" fmla="*/ 19 w 99"/>
                <a:gd name="T63" fmla="*/ 62 h 70"/>
                <a:gd name="T64" fmla="*/ 23 w 99"/>
                <a:gd name="T65" fmla="*/ 61 h 70"/>
                <a:gd name="T66" fmla="*/ 30 w 99"/>
                <a:gd name="T67" fmla="*/ 62 h 70"/>
                <a:gd name="T68" fmla="*/ 30 w 99"/>
                <a:gd name="T69" fmla="*/ 56 h 70"/>
                <a:gd name="T70" fmla="*/ 38 w 99"/>
                <a:gd name="T71" fmla="*/ 50 h 70"/>
                <a:gd name="T72" fmla="*/ 45 w 99"/>
                <a:gd name="T73" fmla="*/ 54 h 70"/>
                <a:gd name="T74" fmla="*/ 60 w 99"/>
                <a:gd name="T75" fmla="*/ 57 h 70"/>
                <a:gd name="T76" fmla="*/ 62 w 99"/>
                <a:gd name="T77" fmla="*/ 52 h 70"/>
                <a:gd name="T78" fmla="*/ 69 w 99"/>
                <a:gd name="T79" fmla="*/ 52 h 70"/>
                <a:gd name="T80" fmla="*/ 77 w 99"/>
                <a:gd name="T81" fmla="*/ 50 h 70"/>
                <a:gd name="T82" fmla="*/ 84 w 99"/>
                <a:gd name="T83" fmla="*/ 49 h 70"/>
                <a:gd name="T84" fmla="*/ 93 w 99"/>
                <a:gd name="T85" fmla="*/ 50 h 70"/>
                <a:gd name="T86" fmla="*/ 99 w 99"/>
                <a:gd name="T87" fmla="*/ 49 h 70"/>
                <a:gd name="T88" fmla="*/ 97 w 99"/>
                <a:gd name="T89" fmla="*/ 44 h 70"/>
                <a:gd name="T90" fmla="*/ 91 w 99"/>
                <a:gd name="T91" fmla="*/ 4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 h="70">
                  <a:moveTo>
                    <a:pt x="91" y="40"/>
                  </a:moveTo>
                  <a:cubicBezTo>
                    <a:pt x="91" y="38"/>
                    <a:pt x="91" y="37"/>
                    <a:pt x="88" y="34"/>
                  </a:cubicBezTo>
                  <a:cubicBezTo>
                    <a:pt x="85" y="32"/>
                    <a:pt x="83" y="31"/>
                    <a:pt x="83" y="30"/>
                  </a:cubicBezTo>
                  <a:cubicBezTo>
                    <a:pt x="83" y="28"/>
                    <a:pt x="82" y="28"/>
                    <a:pt x="80" y="25"/>
                  </a:cubicBezTo>
                  <a:cubicBezTo>
                    <a:pt x="77" y="22"/>
                    <a:pt x="73" y="22"/>
                    <a:pt x="73" y="22"/>
                  </a:cubicBezTo>
                  <a:cubicBezTo>
                    <a:pt x="72" y="19"/>
                    <a:pt x="72" y="19"/>
                    <a:pt x="72" y="19"/>
                  </a:cubicBezTo>
                  <a:cubicBezTo>
                    <a:pt x="69" y="19"/>
                    <a:pt x="69" y="19"/>
                    <a:pt x="69" y="19"/>
                  </a:cubicBezTo>
                  <a:cubicBezTo>
                    <a:pt x="69" y="19"/>
                    <a:pt x="67" y="17"/>
                    <a:pt x="70" y="16"/>
                  </a:cubicBezTo>
                  <a:cubicBezTo>
                    <a:pt x="73" y="14"/>
                    <a:pt x="70" y="10"/>
                    <a:pt x="69" y="9"/>
                  </a:cubicBezTo>
                  <a:cubicBezTo>
                    <a:pt x="69" y="8"/>
                    <a:pt x="65" y="2"/>
                    <a:pt x="64" y="1"/>
                  </a:cubicBezTo>
                  <a:cubicBezTo>
                    <a:pt x="63" y="1"/>
                    <a:pt x="63" y="1"/>
                    <a:pt x="62" y="1"/>
                  </a:cubicBezTo>
                  <a:cubicBezTo>
                    <a:pt x="61" y="0"/>
                    <a:pt x="57" y="2"/>
                    <a:pt x="56" y="4"/>
                  </a:cubicBezTo>
                  <a:cubicBezTo>
                    <a:pt x="54" y="5"/>
                    <a:pt x="55" y="6"/>
                    <a:pt x="54" y="7"/>
                  </a:cubicBezTo>
                  <a:cubicBezTo>
                    <a:pt x="53" y="9"/>
                    <a:pt x="49" y="12"/>
                    <a:pt x="46" y="15"/>
                  </a:cubicBezTo>
                  <a:cubicBezTo>
                    <a:pt x="43" y="19"/>
                    <a:pt x="37" y="17"/>
                    <a:pt x="35" y="18"/>
                  </a:cubicBezTo>
                  <a:cubicBezTo>
                    <a:pt x="33" y="19"/>
                    <a:pt x="36" y="21"/>
                    <a:pt x="34" y="22"/>
                  </a:cubicBezTo>
                  <a:cubicBezTo>
                    <a:pt x="33" y="23"/>
                    <a:pt x="28" y="25"/>
                    <a:pt x="27" y="26"/>
                  </a:cubicBezTo>
                  <a:cubicBezTo>
                    <a:pt x="26" y="27"/>
                    <a:pt x="20" y="26"/>
                    <a:pt x="18" y="28"/>
                  </a:cubicBezTo>
                  <a:cubicBezTo>
                    <a:pt x="17" y="31"/>
                    <a:pt x="15" y="26"/>
                    <a:pt x="13" y="28"/>
                  </a:cubicBezTo>
                  <a:cubicBezTo>
                    <a:pt x="11" y="31"/>
                    <a:pt x="9" y="31"/>
                    <a:pt x="9" y="30"/>
                  </a:cubicBezTo>
                  <a:cubicBezTo>
                    <a:pt x="8" y="30"/>
                    <a:pt x="8" y="30"/>
                    <a:pt x="8" y="30"/>
                  </a:cubicBezTo>
                  <a:cubicBezTo>
                    <a:pt x="6" y="31"/>
                    <a:pt x="4" y="33"/>
                    <a:pt x="4" y="35"/>
                  </a:cubicBezTo>
                  <a:cubicBezTo>
                    <a:pt x="3" y="38"/>
                    <a:pt x="0" y="41"/>
                    <a:pt x="0" y="43"/>
                  </a:cubicBezTo>
                  <a:cubicBezTo>
                    <a:pt x="0" y="44"/>
                    <a:pt x="1" y="46"/>
                    <a:pt x="1" y="49"/>
                  </a:cubicBezTo>
                  <a:cubicBezTo>
                    <a:pt x="1" y="52"/>
                    <a:pt x="2" y="53"/>
                    <a:pt x="3" y="56"/>
                  </a:cubicBezTo>
                  <a:cubicBezTo>
                    <a:pt x="5" y="58"/>
                    <a:pt x="4" y="60"/>
                    <a:pt x="4" y="60"/>
                  </a:cubicBezTo>
                  <a:cubicBezTo>
                    <a:pt x="4" y="60"/>
                    <a:pt x="5" y="61"/>
                    <a:pt x="6" y="63"/>
                  </a:cubicBezTo>
                  <a:cubicBezTo>
                    <a:pt x="8" y="65"/>
                    <a:pt x="11" y="67"/>
                    <a:pt x="11" y="68"/>
                  </a:cubicBezTo>
                  <a:cubicBezTo>
                    <a:pt x="12" y="69"/>
                    <a:pt x="12" y="69"/>
                    <a:pt x="13" y="70"/>
                  </a:cubicBezTo>
                  <a:cubicBezTo>
                    <a:pt x="13" y="69"/>
                    <a:pt x="13" y="69"/>
                    <a:pt x="13" y="69"/>
                  </a:cubicBezTo>
                  <a:cubicBezTo>
                    <a:pt x="15" y="66"/>
                    <a:pt x="15" y="63"/>
                    <a:pt x="15" y="63"/>
                  </a:cubicBezTo>
                  <a:cubicBezTo>
                    <a:pt x="19" y="62"/>
                    <a:pt x="19" y="62"/>
                    <a:pt x="19" y="62"/>
                  </a:cubicBezTo>
                  <a:cubicBezTo>
                    <a:pt x="23" y="61"/>
                    <a:pt x="23" y="61"/>
                    <a:pt x="23" y="61"/>
                  </a:cubicBezTo>
                  <a:cubicBezTo>
                    <a:pt x="30" y="62"/>
                    <a:pt x="30" y="62"/>
                    <a:pt x="30" y="62"/>
                  </a:cubicBezTo>
                  <a:cubicBezTo>
                    <a:pt x="30" y="56"/>
                    <a:pt x="30" y="56"/>
                    <a:pt x="30" y="56"/>
                  </a:cubicBezTo>
                  <a:cubicBezTo>
                    <a:pt x="30" y="56"/>
                    <a:pt x="35" y="50"/>
                    <a:pt x="38" y="50"/>
                  </a:cubicBezTo>
                  <a:cubicBezTo>
                    <a:pt x="42" y="50"/>
                    <a:pt x="45" y="54"/>
                    <a:pt x="45" y="54"/>
                  </a:cubicBezTo>
                  <a:cubicBezTo>
                    <a:pt x="60" y="57"/>
                    <a:pt x="60" y="57"/>
                    <a:pt x="60" y="57"/>
                  </a:cubicBezTo>
                  <a:cubicBezTo>
                    <a:pt x="60" y="57"/>
                    <a:pt x="61" y="53"/>
                    <a:pt x="62" y="52"/>
                  </a:cubicBezTo>
                  <a:cubicBezTo>
                    <a:pt x="64" y="51"/>
                    <a:pt x="67" y="53"/>
                    <a:pt x="69" y="52"/>
                  </a:cubicBezTo>
                  <a:cubicBezTo>
                    <a:pt x="71" y="51"/>
                    <a:pt x="74" y="50"/>
                    <a:pt x="77" y="50"/>
                  </a:cubicBezTo>
                  <a:cubicBezTo>
                    <a:pt x="81" y="50"/>
                    <a:pt x="82" y="51"/>
                    <a:pt x="84" y="49"/>
                  </a:cubicBezTo>
                  <a:cubicBezTo>
                    <a:pt x="85" y="46"/>
                    <a:pt x="93" y="50"/>
                    <a:pt x="93" y="50"/>
                  </a:cubicBezTo>
                  <a:cubicBezTo>
                    <a:pt x="99" y="49"/>
                    <a:pt x="99" y="49"/>
                    <a:pt x="99" y="49"/>
                  </a:cubicBezTo>
                  <a:cubicBezTo>
                    <a:pt x="97" y="44"/>
                    <a:pt x="97" y="44"/>
                    <a:pt x="97" y="44"/>
                  </a:cubicBezTo>
                  <a:cubicBezTo>
                    <a:pt x="97" y="44"/>
                    <a:pt x="91" y="41"/>
                    <a:pt x="91" y="40"/>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82" name="Freeform 25">
              <a:extLst>
                <a:ext uri="{FF2B5EF4-FFF2-40B4-BE49-F238E27FC236}">
                  <a16:creationId xmlns:a16="http://schemas.microsoft.com/office/drawing/2014/main" xmlns="" id="{D6111FAC-3CA8-49BE-B929-A6FEDD8D26DB}"/>
                </a:ext>
              </a:extLst>
            </p:cNvPr>
            <p:cNvSpPr>
              <a:spLocks/>
            </p:cNvSpPr>
            <p:nvPr/>
          </p:nvSpPr>
          <p:spPr bwMode="auto">
            <a:xfrm>
              <a:off x="16391159" y="3688429"/>
              <a:ext cx="250825" cy="209550"/>
            </a:xfrm>
            <a:custGeom>
              <a:avLst/>
              <a:gdLst>
                <a:gd name="T0" fmla="*/ 59 w 96"/>
                <a:gd name="T1" fmla="*/ 58 h 80"/>
                <a:gd name="T2" fmla="*/ 64 w 96"/>
                <a:gd name="T3" fmla="*/ 57 h 80"/>
                <a:gd name="T4" fmla="*/ 69 w 96"/>
                <a:gd name="T5" fmla="*/ 61 h 80"/>
                <a:gd name="T6" fmla="*/ 73 w 96"/>
                <a:gd name="T7" fmla="*/ 58 h 80"/>
                <a:gd name="T8" fmla="*/ 78 w 96"/>
                <a:gd name="T9" fmla="*/ 46 h 80"/>
                <a:gd name="T10" fmla="*/ 82 w 96"/>
                <a:gd name="T11" fmla="*/ 41 h 80"/>
                <a:gd name="T12" fmla="*/ 83 w 96"/>
                <a:gd name="T13" fmla="*/ 36 h 80"/>
                <a:gd name="T14" fmla="*/ 85 w 96"/>
                <a:gd name="T15" fmla="*/ 31 h 80"/>
                <a:gd name="T16" fmla="*/ 90 w 96"/>
                <a:gd name="T17" fmla="*/ 22 h 80"/>
                <a:gd name="T18" fmla="*/ 95 w 96"/>
                <a:gd name="T19" fmla="*/ 20 h 80"/>
                <a:gd name="T20" fmla="*/ 94 w 96"/>
                <a:gd name="T21" fmla="*/ 15 h 80"/>
                <a:gd name="T22" fmla="*/ 91 w 96"/>
                <a:gd name="T23" fmla="*/ 12 h 80"/>
                <a:gd name="T24" fmla="*/ 91 w 96"/>
                <a:gd name="T25" fmla="*/ 7 h 80"/>
                <a:gd name="T26" fmla="*/ 88 w 96"/>
                <a:gd name="T27" fmla="*/ 4 h 80"/>
                <a:gd name="T28" fmla="*/ 85 w 96"/>
                <a:gd name="T29" fmla="*/ 2 h 80"/>
                <a:gd name="T30" fmla="*/ 80 w 96"/>
                <a:gd name="T31" fmla="*/ 7 h 80"/>
                <a:gd name="T32" fmla="*/ 73 w 96"/>
                <a:gd name="T33" fmla="*/ 6 h 80"/>
                <a:gd name="T34" fmla="*/ 63 w 96"/>
                <a:gd name="T35" fmla="*/ 6 h 80"/>
                <a:gd name="T36" fmla="*/ 57 w 96"/>
                <a:gd name="T37" fmla="*/ 9 h 80"/>
                <a:gd name="T38" fmla="*/ 49 w 96"/>
                <a:gd name="T39" fmla="*/ 9 h 80"/>
                <a:gd name="T40" fmla="*/ 43 w 96"/>
                <a:gd name="T41" fmla="*/ 6 h 80"/>
                <a:gd name="T42" fmla="*/ 36 w 96"/>
                <a:gd name="T43" fmla="*/ 8 h 80"/>
                <a:gd name="T44" fmla="*/ 32 w 96"/>
                <a:gd name="T45" fmla="*/ 4 h 80"/>
                <a:gd name="T46" fmla="*/ 25 w 96"/>
                <a:gd name="T47" fmla="*/ 2 h 80"/>
                <a:gd name="T48" fmla="*/ 20 w 96"/>
                <a:gd name="T49" fmla="*/ 3 h 80"/>
                <a:gd name="T50" fmla="*/ 13 w 96"/>
                <a:gd name="T51" fmla="*/ 3 h 80"/>
                <a:gd name="T52" fmla="*/ 11 w 96"/>
                <a:gd name="T53" fmla="*/ 10 h 80"/>
                <a:gd name="T54" fmla="*/ 8 w 96"/>
                <a:gd name="T55" fmla="*/ 16 h 80"/>
                <a:gd name="T56" fmla="*/ 7 w 96"/>
                <a:gd name="T57" fmla="*/ 17 h 80"/>
                <a:gd name="T58" fmla="*/ 8 w 96"/>
                <a:gd name="T59" fmla="*/ 23 h 80"/>
                <a:gd name="T60" fmla="*/ 7 w 96"/>
                <a:gd name="T61" fmla="*/ 34 h 80"/>
                <a:gd name="T62" fmla="*/ 4 w 96"/>
                <a:gd name="T63" fmla="*/ 39 h 80"/>
                <a:gd name="T64" fmla="*/ 0 w 96"/>
                <a:gd name="T65" fmla="*/ 45 h 80"/>
                <a:gd name="T66" fmla="*/ 1 w 96"/>
                <a:gd name="T67" fmla="*/ 54 h 80"/>
                <a:gd name="T68" fmla="*/ 3 w 96"/>
                <a:gd name="T69" fmla="*/ 60 h 80"/>
                <a:gd name="T70" fmla="*/ 3 w 96"/>
                <a:gd name="T71" fmla="*/ 60 h 80"/>
                <a:gd name="T72" fmla="*/ 15 w 96"/>
                <a:gd name="T73" fmla="*/ 63 h 80"/>
                <a:gd name="T74" fmla="*/ 23 w 96"/>
                <a:gd name="T75" fmla="*/ 72 h 80"/>
                <a:gd name="T76" fmla="*/ 27 w 96"/>
                <a:gd name="T77" fmla="*/ 79 h 80"/>
                <a:gd name="T78" fmla="*/ 35 w 96"/>
                <a:gd name="T79" fmla="*/ 77 h 80"/>
                <a:gd name="T80" fmla="*/ 46 w 96"/>
                <a:gd name="T81" fmla="*/ 76 h 80"/>
                <a:gd name="T82" fmla="*/ 47 w 96"/>
                <a:gd name="T83" fmla="*/ 76 h 80"/>
                <a:gd name="T84" fmla="*/ 50 w 96"/>
                <a:gd name="T85" fmla="*/ 67 h 80"/>
                <a:gd name="T86" fmla="*/ 59 w 96"/>
                <a:gd name="T87" fmla="*/ 5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 h="80">
                  <a:moveTo>
                    <a:pt x="59" y="58"/>
                  </a:moveTo>
                  <a:cubicBezTo>
                    <a:pt x="60" y="58"/>
                    <a:pt x="62" y="59"/>
                    <a:pt x="64" y="57"/>
                  </a:cubicBezTo>
                  <a:cubicBezTo>
                    <a:pt x="65" y="56"/>
                    <a:pt x="69" y="59"/>
                    <a:pt x="69" y="61"/>
                  </a:cubicBezTo>
                  <a:cubicBezTo>
                    <a:pt x="70" y="64"/>
                    <a:pt x="71" y="61"/>
                    <a:pt x="73" y="58"/>
                  </a:cubicBezTo>
                  <a:cubicBezTo>
                    <a:pt x="74" y="55"/>
                    <a:pt x="78" y="47"/>
                    <a:pt x="78" y="46"/>
                  </a:cubicBezTo>
                  <a:cubicBezTo>
                    <a:pt x="78" y="44"/>
                    <a:pt x="82" y="42"/>
                    <a:pt x="82" y="41"/>
                  </a:cubicBezTo>
                  <a:cubicBezTo>
                    <a:pt x="82" y="40"/>
                    <a:pt x="82" y="37"/>
                    <a:pt x="83" y="36"/>
                  </a:cubicBezTo>
                  <a:cubicBezTo>
                    <a:pt x="84" y="36"/>
                    <a:pt x="85" y="32"/>
                    <a:pt x="85" y="31"/>
                  </a:cubicBezTo>
                  <a:cubicBezTo>
                    <a:pt x="85" y="30"/>
                    <a:pt x="89" y="23"/>
                    <a:pt x="90" y="22"/>
                  </a:cubicBezTo>
                  <a:cubicBezTo>
                    <a:pt x="91" y="22"/>
                    <a:pt x="94" y="22"/>
                    <a:pt x="95" y="20"/>
                  </a:cubicBezTo>
                  <a:cubicBezTo>
                    <a:pt x="95" y="18"/>
                    <a:pt x="96" y="15"/>
                    <a:pt x="94" y="15"/>
                  </a:cubicBezTo>
                  <a:cubicBezTo>
                    <a:pt x="93" y="14"/>
                    <a:pt x="91" y="13"/>
                    <a:pt x="91" y="12"/>
                  </a:cubicBezTo>
                  <a:cubicBezTo>
                    <a:pt x="91" y="11"/>
                    <a:pt x="91" y="9"/>
                    <a:pt x="91" y="7"/>
                  </a:cubicBezTo>
                  <a:cubicBezTo>
                    <a:pt x="89" y="7"/>
                    <a:pt x="89" y="5"/>
                    <a:pt x="88" y="4"/>
                  </a:cubicBezTo>
                  <a:cubicBezTo>
                    <a:pt x="87" y="3"/>
                    <a:pt x="87" y="2"/>
                    <a:pt x="85" y="2"/>
                  </a:cubicBezTo>
                  <a:cubicBezTo>
                    <a:pt x="84" y="3"/>
                    <a:pt x="82" y="7"/>
                    <a:pt x="80" y="7"/>
                  </a:cubicBezTo>
                  <a:cubicBezTo>
                    <a:pt x="78" y="8"/>
                    <a:pt x="74" y="7"/>
                    <a:pt x="73" y="6"/>
                  </a:cubicBezTo>
                  <a:cubicBezTo>
                    <a:pt x="72" y="5"/>
                    <a:pt x="65" y="6"/>
                    <a:pt x="63" y="6"/>
                  </a:cubicBezTo>
                  <a:cubicBezTo>
                    <a:pt x="61" y="5"/>
                    <a:pt x="59" y="8"/>
                    <a:pt x="57" y="9"/>
                  </a:cubicBezTo>
                  <a:cubicBezTo>
                    <a:pt x="55" y="10"/>
                    <a:pt x="50" y="10"/>
                    <a:pt x="49" y="9"/>
                  </a:cubicBezTo>
                  <a:cubicBezTo>
                    <a:pt x="48" y="9"/>
                    <a:pt x="44" y="6"/>
                    <a:pt x="43" y="6"/>
                  </a:cubicBezTo>
                  <a:cubicBezTo>
                    <a:pt x="41" y="6"/>
                    <a:pt x="39" y="7"/>
                    <a:pt x="36" y="8"/>
                  </a:cubicBezTo>
                  <a:cubicBezTo>
                    <a:pt x="34" y="9"/>
                    <a:pt x="33" y="5"/>
                    <a:pt x="32" y="4"/>
                  </a:cubicBezTo>
                  <a:cubicBezTo>
                    <a:pt x="30" y="2"/>
                    <a:pt x="27" y="3"/>
                    <a:pt x="25" y="2"/>
                  </a:cubicBezTo>
                  <a:cubicBezTo>
                    <a:pt x="23" y="0"/>
                    <a:pt x="22" y="4"/>
                    <a:pt x="20" y="3"/>
                  </a:cubicBezTo>
                  <a:cubicBezTo>
                    <a:pt x="19" y="3"/>
                    <a:pt x="15" y="2"/>
                    <a:pt x="13" y="3"/>
                  </a:cubicBezTo>
                  <a:cubicBezTo>
                    <a:pt x="12" y="5"/>
                    <a:pt x="12" y="9"/>
                    <a:pt x="11" y="10"/>
                  </a:cubicBezTo>
                  <a:cubicBezTo>
                    <a:pt x="10" y="11"/>
                    <a:pt x="8" y="14"/>
                    <a:pt x="8" y="16"/>
                  </a:cubicBezTo>
                  <a:cubicBezTo>
                    <a:pt x="8" y="16"/>
                    <a:pt x="7" y="17"/>
                    <a:pt x="7" y="17"/>
                  </a:cubicBezTo>
                  <a:cubicBezTo>
                    <a:pt x="7" y="19"/>
                    <a:pt x="8" y="22"/>
                    <a:pt x="8" y="23"/>
                  </a:cubicBezTo>
                  <a:cubicBezTo>
                    <a:pt x="8" y="24"/>
                    <a:pt x="9" y="32"/>
                    <a:pt x="7" y="34"/>
                  </a:cubicBezTo>
                  <a:cubicBezTo>
                    <a:pt x="5" y="36"/>
                    <a:pt x="4" y="39"/>
                    <a:pt x="4" y="39"/>
                  </a:cubicBezTo>
                  <a:cubicBezTo>
                    <a:pt x="4" y="39"/>
                    <a:pt x="1" y="41"/>
                    <a:pt x="0" y="45"/>
                  </a:cubicBezTo>
                  <a:cubicBezTo>
                    <a:pt x="0" y="48"/>
                    <a:pt x="1" y="51"/>
                    <a:pt x="1" y="54"/>
                  </a:cubicBezTo>
                  <a:cubicBezTo>
                    <a:pt x="1" y="56"/>
                    <a:pt x="2" y="58"/>
                    <a:pt x="3" y="60"/>
                  </a:cubicBezTo>
                  <a:cubicBezTo>
                    <a:pt x="3" y="60"/>
                    <a:pt x="3" y="60"/>
                    <a:pt x="3" y="60"/>
                  </a:cubicBezTo>
                  <a:cubicBezTo>
                    <a:pt x="5" y="62"/>
                    <a:pt x="11" y="63"/>
                    <a:pt x="15" y="63"/>
                  </a:cubicBezTo>
                  <a:cubicBezTo>
                    <a:pt x="19" y="64"/>
                    <a:pt x="23" y="70"/>
                    <a:pt x="23" y="72"/>
                  </a:cubicBezTo>
                  <a:cubicBezTo>
                    <a:pt x="23" y="74"/>
                    <a:pt x="25" y="78"/>
                    <a:pt x="27" y="79"/>
                  </a:cubicBezTo>
                  <a:cubicBezTo>
                    <a:pt x="29" y="80"/>
                    <a:pt x="33" y="77"/>
                    <a:pt x="35" y="77"/>
                  </a:cubicBezTo>
                  <a:cubicBezTo>
                    <a:pt x="37" y="77"/>
                    <a:pt x="44" y="77"/>
                    <a:pt x="46" y="76"/>
                  </a:cubicBezTo>
                  <a:cubicBezTo>
                    <a:pt x="46" y="75"/>
                    <a:pt x="47" y="75"/>
                    <a:pt x="47" y="76"/>
                  </a:cubicBezTo>
                  <a:cubicBezTo>
                    <a:pt x="49" y="71"/>
                    <a:pt x="50" y="67"/>
                    <a:pt x="50" y="67"/>
                  </a:cubicBezTo>
                  <a:cubicBezTo>
                    <a:pt x="50" y="67"/>
                    <a:pt x="58" y="58"/>
                    <a:pt x="59" y="58"/>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83" name="Freeform 26">
              <a:extLst>
                <a:ext uri="{FF2B5EF4-FFF2-40B4-BE49-F238E27FC236}">
                  <a16:creationId xmlns:a16="http://schemas.microsoft.com/office/drawing/2014/main" xmlns="" id="{3A8F943D-6D96-4B95-8B81-D43F18ACEF24}"/>
                </a:ext>
              </a:extLst>
            </p:cNvPr>
            <p:cNvSpPr>
              <a:spLocks/>
            </p:cNvSpPr>
            <p:nvPr/>
          </p:nvSpPr>
          <p:spPr bwMode="auto">
            <a:xfrm>
              <a:off x="16349884" y="3720179"/>
              <a:ext cx="65088" cy="133350"/>
            </a:xfrm>
            <a:custGeom>
              <a:avLst/>
              <a:gdLst>
                <a:gd name="T0" fmla="*/ 16 w 25"/>
                <a:gd name="T1" fmla="*/ 33 h 51"/>
                <a:gd name="T2" fmla="*/ 20 w 25"/>
                <a:gd name="T3" fmla="*/ 27 h 51"/>
                <a:gd name="T4" fmla="*/ 23 w 25"/>
                <a:gd name="T5" fmla="*/ 22 h 51"/>
                <a:gd name="T6" fmla="*/ 24 w 25"/>
                <a:gd name="T7" fmla="*/ 11 h 51"/>
                <a:gd name="T8" fmla="*/ 23 w 25"/>
                <a:gd name="T9" fmla="*/ 5 h 51"/>
                <a:gd name="T10" fmla="*/ 20 w 25"/>
                <a:gd name="T11" fmla="*/ 5 h 51"/>
                <a:gd name="T12" fmla="*/ 18 w 25"/>
                <a:gd name="T13" fmla="*/ 1 h 51"/>
                <a:gd name="T14" fmla="*/ 15 w 25"/>
                <a:gd name="T15" fmla="*/ 5 h 51"/>
                <a:gd name="T16" fmla="*/ 13 w 25"/>
                <a:gd name="T17" fmla="*/ 8 h 51"/>
                <a:gd name="T18" fmla="*/ 6 w 25"/>
                <a:gd name="T19" fmla="*/ 10 h 51"/>
                <a:gd name="T20" fmla="*/ 2 w 25"/>
                <a:gd name="T21" fmla="*/ 13 h 51"/>
                <a:gd name="T22" fmla="*/ 0 w 25"/>
                <a:gd name="T23" fmla="*/ 13 h 51"/>
                <a:gd name="T24" fmla="*/ 5 w 25"/>
                <a:gd name="T25" fmla="*/ 20 h 51"/>
                <a:gd name="T26" fmla="*/ 6 w 25"/>
                <a:gd name="T27" fmla="*/ 26 h 51"/>
                <a:gd name="T28" fmla="*/ 7 w 25"/>
                <a:gd name="T29" fmla="*/ 36 h 51"/>
                <a:gd name="T30" fmla="*/ 8 w 25"/>
                <a:gd name="T31" fmla="*/ 51 h 51"/>
                <a:gd name="T32" fmla="*/ 14 w 25"/>
                <a:gd name="T33" fmla="*/ 50 h 51"/>
                <a:gd name="T34" fmla="*/ 19 w 25"/>
                <a:gd name="T35" fmla="*/ 48 h 51"/>
                <a:gd name="T36" fmla="*/ 17 w 25"/>
                <a:gd name="T37" fmla="*/ 42 h 51"/>
                <a:gd name="T38" fmla="*/ 16 w 25"/>
                <a:gd name="T39" fmla="*/ 3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51">
                  <a:moveTo>
                    <a:pt x="16" y="33"/>
                  </a:moveTo>
                  <a:cubicBezTo>
                    <a:pt x="17" y="29"/>
                    <a:pt x="20" y="27"/>
                    <a:pt x="20" y="27"/>
                  </a:cubicBezTo>
                  <a:cubicBezTo>
                    <a:pt x="20" y="27"/>
                    <a:pt x="21" y="24"/>
                    <a:pt x="23" y="22"/>
                  </a:cubicBezTo>
                  <a:cubicBezTo>
                    <a:pt x="25" y="20"/>
                    <a:pt x="24" y="12"/>
                    <a:pt x="24" y="11"/>
                  </a:cubicBezTo>
                  <a:cubicBezTo>
                    <a:pt x="24" y="10"/>
                    <a:pt x="23" y="7"/>
                    <a:pt x="23" y="5"/>
                  </a:cubicBezTo>
                  <a:cubicBezTo>
                    <a:pt x="22" y="6"/>
                    <a:pt x="21" y="6"/>
                    <a:pt x="20" y="5"/>
                  </a:cubicBezTo>
                  <a:cubicBezTo>
                    <a:pt x="18" y="4"/>
                    <a:pt x="20" y="2"/>
                    <a:pt x="18" y="1"/>
                  </a:cubicBezTo>
                  <a:cubicBezTo>
                    <a:pt x="15" y="0"/>
                    <a:pt x="14" y="3"/>
                    <a:pt x="15" y="5"/>
                  </a:cubicBezTo>
                  <a:cubicBezTo>
                    <a:pt x="15" y="7"/>
                    <a:pt x="14" y="7"/>
                    <a:pt x="13" y="8"/>
                  </a:cubicBezTo>
                  <a:cubicBezTo>
                    <a:pt x="12" y="9"/>
                    <a:pt x="7" y="10"/>
                    <a:pt x="6" y="10"/>
                  </a:cubicBezTo>
                  <a:cubicBezTo>
                    <a:pt x="5" y="10"/>
                    <a:pt x="3" y="12"/>
                    <a:pt x="2" y="13"/>
                  </a:cubicBezTo>
                  <a:cubicBezTo>
                    <a:pt x="1" y="13"/>
                    <a:pt x="1" y="13"/>
                    <a:pt x="0" y="13"/>
                  </a:cubicBezTo>
                  <a:cubicBezTo>
                    <a:pt x="1" y="19"/>
                    <a:pt x="2" y="18"/>
                    <a:pt x="5" y="20"/>
                  </a:cubicBezTo>
                  <a:cubicBezTo>
                    <a:pt x="8" y="22"/>
                    <a:pt x="5" y="25"/>
                    <a:pt x="6" y="26"/>
                  </a:cubicBezTo>
                  <a:cubicBezTo>
                    <a:pt x="8" y="28"/>
                    <a:pt x="7" y="31"/>
                    <a:pt x="7" y="36"/>
                  </a:cubicBezTo>
                  <a:cubicBezTo>
                    <a:pt x="8" y="38"/>
                    <a:pt x="8" y="45"/>
                    <a:pt x="8" y="51"/>
                  </a:cubicBezTo>
                  <a:cubicBezTo>
                    <a:pt x="10" y="50"/>
                    <a:pt x="12" y="50"/>
                    <a:pt x="14" y="50"/>
                  </a:cubicBezTo>
                  <a:cubicBezTo>
                    <a:pt x="16" y="50"/>
                    <a:pt x="18" y="47"/>
                    <a:pt x="19" y="48"/>
                  </a:cubicBezTo>
                  <a:cubicBezTo>
                    <a:pt x="18" y="46"/>
                    <a:pt x="17" y="44"/>
                    <a:pt x="17" y="42"/>
                  </a:cubicBezTo>
                  <a:cubicBezTo>
                    <a:pt x="17" y="39"/>
                    <a:pt x="16" y="36"/>
                    <a:pt x="16" y="33"/>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84" name="Freeform 27">
              <a:extLst>
                <a:ext uri="{FF2B5EF4-FFF2-40B4-BE49-F238E27FC236}">
                  <a16:creationId xmlns:a16="http://schemas.microsoft.com/office/drawing/2014/main" xmlns="" id="{24D2C8FD-B2E7-4239-B6CD-BACA31CE2645}"/>
                </a:ext>
              </a:extLst>
            </p:cNvPr>
            <p:cNvSpPr>
              <a:spLocks/>
            </p:cNvSpPr>
            <p:nvPr/>
          </p:nvSpPr>
          <p:spPr bwMode="auto">
            <a:xfrm>
              <a:off x="16332422" y="3751929"/>
              <a:ext cx="38100" cy="106362"/>
            </a:xfrm>
            <a:custGeom>
              <a:avLst/>
              <a:gdLst>
                <a:gd name="T0" fmla="*/ 13 w 15"/>
                <a:gd name="T1" fmla="*/ 14 h 41"/>
                <a:gd name="T2" fmla="*/ 12 w 15"/>
                <a:gd name="T3" fmla="*/ 8 h 41"/>
                <a:gd name="T4" fmla="*/ 7 w 15"/>
                <a:gd name="T5" fmla="*/ 1 h 41"/>
                <a:gd name="T6" fmla="*/ 1 w 15"/>
                <a:gd name="T7" fmla="*/ 0 h 41"/>
                <a:gd name="T8" fmla="*/ 0 w 15"/>
                <a:gd name="T9" fmla="*/ 0 h 41"/>
                <a:gd name="T10" fmla="*/ 2 w 15"/>
                <a:gd name="T11" fmla="*/ 5 h 41"/>
                <a:gd name="T12" fmla="*/ 4 w 15"/>
                <a:gd name="T13" fmla="*/ 10 h 41"/>
                <a:gd name="T14" fmla="*/ 4 w 15"/>
                <a:gd name="T15" fmla="*/ 21 h 41"/>
                <a:gd name="T16" fmla="*/ 6 w 15"/>
                <a:gd name="T17" fmla="*/ 32 h 41"/>
                <a:gd name="T18" fmla="*/ 9 w 15"/>
                <a:gd name="T19" fmla="*/ 41 h 41"/>
                <a:gd name="T20" fmla="*/ 11 w 15"/>
                <a:gd name="T21" fmla="*/ 40 h 41"/>
                <a:gd name="T22" fmla="*/ 15 w 15"/>
                <a:gd name="T23" fmla="*/ 39 h 41"/>
                <a:gd name="T24" fmla="*/ 14 w 15"/>
                <a:gd name="T25" fmla="*/ 24 h 41"/>
                <a:gd name="T26" fmla="*/ 13 w 15"/>
                <a:gd name="T27" fmla="*/ 1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41">
                  <a:moveTo>
                    <a:pt x="13" y="14"/>
                  </a:moveTo>
                  <a:cubicBezTo>
                    <a:pt x="12" y="13"/>
                    <a:pt x="15" y="10"/>
                    <a:pt x="12" y="8"/>
                  </a:cubicBezTo>
                  <a:cubicBezTo>
                    <a:pt x="9" y="6"/>
                    <a:pt x="8" y="7"/>
                    <a:pt x="7" y="1"/>
                  </a:cubicBezTo>
                  <a:cubicBezTo>
                    <a:pt x="6" y="1"/>
                    <a:pt x="3" y="0"/>
                    <a:pt x="1" y="0"/>
                  </a:cubicBezTo>
                  <a:cubicBezTo>
                    <a:pt x="1" y="0"/>
                    <a:pt x="0" y="0"/>
                    <a:pt x="0" y="0"/>
                  </a:cubicBezTo>
                  <a:cubicBezTo>
                    <a:pt x="1" y="2"/>
                    <a:pt x="1" y="5"/>
                    <a:pt x="2" y="5"/>
                  </a:cubicBezTo>
                  <a:cubicBezTo>
                    <a:pt x="3" y="6"/>
                    <a:pt x="4" y="7"/>
                    <a:pt x="4" y="10"/>
                  </a:cubicBezTo>
                  <a:cubicBezTo>
                    <a:pt x="4" y="12"/>
                    <a:pt x="3" y="18"/>
                    <a:pt x="4" y="21"/>
                  </a:cubicBezTo>
                  <a:cubicBezTo>
                    <a:pt x="5" y="24"/>
                    <a:pt x="6" y="28"/>
                    <a:pt x="6" y="32"/>
                  </a:cubicBezTo>
                  <a:cubicBezTo>
                    <a:pt x="6" y="35"/>
                    <a:pt x="8" y="38"/>
                    <a:pt x="9" y="41"/>
                  </a:cubicBezTo>
                  <a:cubicBezTo>
                    <a:pt x="10" y="41"/>
                    <a:pt x="10" y="41"/>
                    <a:pt x="11" y="40"/>
                  </a:cubicBezTo>
                  <a:cubicBezTo>
                    <a:pt x="12" y="39"/>
                    <a:pt x="13" y="39"/>
                    <a:pt x="15" y="39"/>
                  </a:cubicBezTo>
                  <a:cubicBezTo>
                    <a:pt x="15" y="33"/>
                    <a:pt x="15" y="26"/>
                    <a:pt x="14" y="24"/>
                  </a:cubicBezTo>
                  <a:cubicBezTo>
                    <a:pt x="14" y="19"/>
                    <a:pt x="15" y="16"/>
                    <a:pt x="13" y="14"/>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85" name="Freeform 28">
              <a:extLst>
                <a:ext uri="{FF2B5EF4-FFF2-40B4-BE49-F238E27FC236}">
                  <a16:creationId xmlns:a16="http://schemas.microsoft.com/office/drawing/2014/main" xmlns="" id="{682C8345-A772-439B-AD51-47A515F3156F}"/>
                </a:ext>
              </a:extLst>
            </p:cNvPr>
            <p:cNvSpPr>
              <a:spLocks/>
            </p:cNvSpPr>
            <p:nvPr/>
          </p:nvSpPr>
          <p:spPr bwMode="auto">
            <a:xfrm>
              <a:off x="16513397" y="3707479"/>
              <a:ext cx="157163" cy="242887"/>
            </a:xfrm>
            <a:custGeom>
              <a:avLst/>
              <a:gdLst>
                <a:gd name="T0" fmla="*/ 25 w 60"/>
                <a:gd name="T1" fmla="*/ 88 h 93"/>
                <a:gd name="T2" fmla="*/ 46 w 60"/>
                <a:gd name="T3" fmla="*/ 89 h 93"/>
                <a:gd name="T4" fmla="*/ 58 w 60"/>
                <a:gd name="T5" fmla="*/ 93 h 93"/>
                <a:gd name="T6" fmla="*/ 60 w 60"/>
                <a:gd name="T7" fmla="*/ 86 h 93"/>
                <a:gd name="T8" fmla="*/ 58 w 60"/>
                <a:gd name="T9" fmla="*/ 84 h 93"/>
                <a:gd name="T10" fmla="*/ 53 w 60"/>
                <a:gd name="T11" fmla="*/ 79 h 93"/>
                <a:gd name="T12" fmla="*/ 51 w 60"/>
                <a:gd name="T13" fmla="*/ 76 h 93"/>
                <a:gd name="T14" fmla="*/ 50 w 60"/>
                <a:gd name="T15" fmla="*/ 72 h 93"/>
                <a:gd name="T16" fmla="*/ 48 w 60"/>
                <a:gd name="T17" fmla="*/ 65 h 93"/>
                <a:gd name="T18" fmla="*/ 47 w 60"/>
                <a:gd name="T19" fmla="*/ 59 h 93"/>
                <a:gd name="T20" fmla="*/ 51 w 60"/>
                <a:gd name="T21" fmla="*/ 51 h 93"/>
                <a:gd name="T22" fmla="*/ 55 w 60"/>
                <a:gd name="T23" fmla="*/ 46 h 93"/>
                <a:gd name="T24" fmla="*/ 52 w 60"/>
                <a:gd name="T25" fmla="*/ 40 h 93"/>
                <a:gd name="T26" fmla="*/ 46 w 60"/>
                <a:gd name="T27" fmla="*/ 33 h 93"/>
                <a:gd name="T28" fmla="*/ 44 w 60"/>
                <a:gd name="T29" fmla="*/ 27 h 93"/>
                <a:gd name="T30" fmla="*/ 51 w 60"/>
                <a:gd name="T31" fmla="*/ 26 h 93"/>
                <a:gd name="T32" fmla="*/ 54 w 60"/>
                <a:gd name="T33" fmla="*/ 25 h 93"/>
                <a:gd name="T34" fmla="*/ 51 w 60"/>
                <a:gd name="T35" fmla="*/ 15 h 93"/>
                <a:gd name="T36" fmla="*/ 50 w 60"/>
                <a:gd name="T37" fmla="*/ 8 h 93"/>
                <a:gd name="T38" fmla="*/ 45 w 60"/>
                <a:gd name="T39" fmla="*/ 0 h 93"/>
                <a:gd name="T40" fmla="*/ 44 w 60"/>
                <a:gd name="T41" fmla="*/ 0 h 93"/>
                <a:gd name="T42" fmla="*/ 44 w 60"/>
                <a:gd name="T43" fmla="*/ 5 h 93"/>
                <a:gd name="T44" fmla="*/ 47 w 60"/>
                <a:gd name="T45" fmla="*/ 8 h 93"/>
                <a:gd name="T46" fmla="*/ 48 w 60"/>
                <a:gd name="T47" fmla="*/ 13 h 93"/>
                <a:gd name="T48" fmla="*/ 43 w 60"/>
                <a:gd name="T49" fmla="*/ 15 h 93"/>
                <a:gd name="T50" fmla="*/ 38 w 60"/>
                <a:gd name="T51" fmla="*/ 24 h 93"/>
                <a:gd name="T52" fmla="*/ 36 w 60"/>
                <a:gd name="T53" fmla="*/ 29 h 93"/>
                <a:gd name="T54" fmla="*/ 35 w 60"/>
                <a:gd name="T55" fmla="*/ 34 h 93"/>
                <a:gd name="T56" fmla="*/ 31 w 60"/>
                <a:gd name="T57" fmla="*/ 39 h 93"/>
                <a:gd name="T58" fmla="*/ 26 w 60"/>
                <a:gd name="T59" fmla="*/ 51 h 93"/>
                <a:gd name="T60" fmla="*/ 22 w 60"/>
                <a:gd name="T61" fmla="*/ 54 h 93"/>
                <a:gd name="T62" fmla="*/ 17 w 60"/>
                <a:gd name="T63" fmla="*/ 50 h 93"/>
                <a:gd name="T64" fmla="*/ 12 w 60"/>
                <a:gd name="T65" fmla="*/ 51 h 93"/>
                <a:gd name="T66" fmla="*/ 3 w 60"/>
                <a:gd name="T67" fmla="*/ 60 h 93"/>
                <a:gd name="T68" fmla="*/ 0 w 60"/>
                <a:gd name="T69" fmla="*/ 69 h 93"/>
                <a:gd name="T70" fmla="*/ 4 w 60"/>
                <a:gd name="T71" fmla="*/ 73 h 93"/>
                <a:gd name="T72" fmla="*/ 10 w 60"/>
                <a:gd name="T73" fmla="*/ 74 h 93"/>
                <a:gd name="T74" fmla="*/ 12 w 60"/>
                <a:gd name="T75" fmla="*/ 82 h 93"/>
                <a:gd name="T76" fmla="*/ 10 w 60"/>
                <a:gd name="T77" fmla="*/ 89 h 93"/>
                <a:gd name="T78" fmla="*/ 22 w 60"/>
                <a:gd name="T79" fmla="*/ 89 h 93"/>
                <a:gd name="T80" fmla="*/ 25 w 60"/>
                <a:gd name="T81" fmla="*/ 88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0" h="93">
                  <a:moveTo>
                    <a:pt x="25" y="88"/>
                  </a:moveTo>
                  <a:cubicBezTo>
                    <a:pt x="25" y="88"/>
                    <a:pt x="44" y="89"/>
                    <a:pt x="46" y="89"/>
                  </a:cubicBezTo>
                  <a:cubicBezTo>
                    <a:pt x="49" y="88"/>
                    <a:pt x="58" y="93"/>
                    <a:pt x="58" y="93"/>
                  </a:cubicBezTo>
                  <a:cubicBezTo>
                    <a:pt x="58" y="93"/>
                    <a:pt x="58" y="88"/>
                    <a:pt x="60" y="86"/>
                  </a:cubicBezTo>
                  <a:cubicBezTo>
                    <a:pt x="59" y="85"/>
                    <a:pt x="59" y="85"/>
                    <a:pt x="58" y="84"/>
                  </a:cubicBezTo>
                  <a:cubicBezTo>
                    <a:pt x="58" y="83"/>
                    <a:pt x="55" y="81"/>
                    <a:pt x="53" y="79"/>
                  </a:cubicBezTo>
                  <a:cubicBezTo>
                    <a:pt x="52" y="77"/>
                    <a:pt x="51" y="76"/>
                    <a:pt x="51" y="76"/>
                  </a:cubicBezTo>
                  <a:cubicBezTo>
                    <a:pt x="51" y="76"/>
                    <a:pt x="52" y="74"/>
                    <a:pt x="50" y="72"/>
                  </a:cubicBezTo>
                  <a:cubicBezTo>
                    <a:pt x="49" y="69"/>
                    <a:pt x="48" y="68"/>
                    <a:pt x="48" y="65"/>
                  </a:cubicBezTo>
                  <a:cubicBezTo>
                    <a:pt x="48" y="62"/>
                    <a:pt x="47" y="60"/>
                    <a:pt x="47" y="59"/>
                  </a:cubicBezTo>
                  <a:cubicBezTo>
                    <a:pt x="47" y="57"/>
                    <a:pt x="50" y="54"/>
                    <a:pt x="51" y="51"/>
                  </a:cubicBezTo>
                  <a:cubicBezTo>
                    <a:pt x="51" y="49"/>
                    <a:pt x="53" y="47"/>
                    <a:pt x="55" y="46"/>
                  </a:cubicBezTo>
                  <a:cubicBezTo>
                    <a:pt x="54" y="44"/>
                    <a:pt x="53" y="42"/>
                    <a:pt x="52" y="40"/>
                  </a:cubicBezTo>
                  <a:cubicBezTo>
                    <a:pt x="51" y="37"/>
                    <a:pt x="49" y="36"/>
                    <a:pt x="46" y="33"/>
                  </a:cubicBezTo>
                  <a:cubicBezTo>
                    <a:pt x="43" y="30"/>
                    <a:pt x="44" y="28"/>
                    <a:pt x="44" y="27"/>
                  </a:cubicBezTo>
                  <a:cubicBezTo>
                    <a:pt x="44" y="26"/>
                    <a:pt x="48" y="26"/>
                    <a:pt x="51" y="26"/>
                  </a:cubicBezTo>
                  <a:cubicBezTo>
                    <a:pt x="54" y="26"/>
                    <a:pt x="55" y="26"/>
                    <a:pt x="54" y="25"/>
                  </a:cubicBezTo>
                  <a:cubicBezTo>
                    <a:pt x="53" y="24"/>
                    <a:pt x="51" y="19"/>
                    <a:pt x="51" y="15"/>
                  </a:cubicBezTo>
                  <a:cubicBezTo>
                    <a:pt x="51" y="11"/>
                    <a:pt x="50" y="10"/>
                    <a:pt x="50" y="8"/>
                  </a:cubicBezTo>
                  <a:cubicBezTo>
                    <a:pt x="50" y="6"/>
                    <a:pt x="47" y="0"/>
                    <a:pt x="45" y="0"/>
                  </a:cubicBezTo>
                  <a:cubicBezTo>
                    <a:pt x="45" y="0"/>
                    <a:pt x="45" y="0"/>
                    <a:pt x="44" y="0"/>
                  </a:cubicBezTo>
                  <a:cubicBezTo>
                    <a:pt x="44" y="2"/>
                    <a:pt x="44" y="4"/>
                    <a:pt x="44" y="5"/>
                  </a:cubicBezTo>
                  <a:cubicBezTo>
                    <a:pt x="44" y="6"/>
                    <a:pt x="46" y="7"/>
                    <a:pt x="47" y="8"/>
                  </a:cubicBezTo>
                  <a:cubicBezTo>
                    <a:pt x="49" y="8"/>
                    <a:pt x="48" y="11"/>
                    <a:pt x="48" y="13"/>
                  </a:cubicBezTo>
                  <a:cubicBezTo>
                    <a:pt x="47" y="15"/>
                    <a:pt x="44" y="15"/>
                    <a:pt x="43" y="15"/>
                  </a:cubicBezTo>
                  <a:cubicBezTo>
                    <a:pt x="42" y="16"/>
                    <a:pt x="38" y="23"/>
                    <a:pt x="38" y="24"/>
                  </a:cubicBezTo>
                  <a:cubicBezTo>
                    <a:pt x="38" y="25"/>
                    <a:pt x="37" y="29"/>
                    <a:pt x="36" y="29"/>
                  </a:cubicBezTo>
                  <a:cubicBezTo>
                    <a:pt x="35" y="30"/>
                    <a:pt x="35" y="33"/>
                    <a:pt x="35" y="34"/>
                  </a:cubicBezTo>
                  <a:cubicBezTo>
                    <a:pt x="35" y="35"/>
                    <a:pt x="31" y="37"/>
                    <a:pt x="31" y="39"/>
                  </a:cubicBezTo>
                  <a:cubicBezTo>
                    <a:pt x="31" y="40"/>
                    <a:pt x="27" y="48"/>
                    <a:pt x="26" y="51"/>
                  </a:cubicBezTo>
                  <a:cubicBezTo>
                    <a:pt x="24" y="54"/>
                    <a:pt x="23" y="57"/>
                    <a:pt x="22" y="54"/>
                  </a:cubicBezTo>
                  <a:cubicBezTo>
                    <a:pt x="22" y="52"/>
                    <a:pt x="18" y="49"/>
                    <a:pt x="17" y="50"/>
                  </a:cubicBezTo>
                  <a:cubicBezTo>
                    <a:pt x="15" y="52"/>
                    <a:pt x="13" y="51"/>
                    <a:pt x="12" y="51"/>
                  </a:cubicBezTo>
                  <a:cubicBezTo>
                    <a:pt x="11" y="51"/>
                    <a:pt x="3" y="60"/>
                    <a:pt x="3" y="60"/>
                  </a:cubicBezTo>
                  <a:cubicBezTo>
                    <a:pt x="3" y="60"/>
                    <a:pt x="2" y="64"/>
                    <a:pt x="0" y="69"/>
                  </a:cubicBezTo>
                  <a:cubicBezTo>
                    <a:pt x="1" y="69"/>
                    <a:pt x="2" y="71"/>
                    <a:pt x="4" y="73"/>
                  </a:cubicBezTo>
                  <a:cubicBezTo>
                    <a:pt x="5" y="75"/>
                    <a:pt x="8" y="74"/>
                    <a:pt x="10" y="74"/>
                  </a:cubicBezTo>
                  <a:cubicBezTo>
                    <a:pt x="11" y="75"/>
                    <a:pt x="12" y="81"/>
                    <a:pt x="12" y="82"/>
                  </a:cubicBezTo>
                  <a:cubicBezTo>
                    <a:pt x="12" y="84"/>
                    <a:pt x="10" y="87"/>
                    <a:pt x="10" y="89"/>
                  </a:cubicBezTo>
                  <a:cubicBezTo>
                    <a:pt x="22" y="89"/>
                    <a:pt x="22" y="89"/>
                    <a:pt x="22" y="89"/>
                  </a:cubicBezTo>
                  <a:lnTo>
                    <a:pt x="25" y="88"/>
                  </a:ln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86" name="Freeform 29">
              <a:extLst>
                <a:ext uri="{FF2B5EF4-FFF2-40B4-BE49-F238E27FC236}">
                  <a16:creationId xmlns:a16="http://schemas.microsoft.com/office/drawing/2014/main" xmlns="" id="{69DEF640-D756-409D-A9B4-05DFC14911D3}"/>
                </a:ext>
              </a:extLst>
            </p:cNvPr>
            <p:cNvSpPr>
              <a:spLocks/>
            </p:cNvSpPr>
            <p:nvPr/>
          </p:nvSpPr>
          <p:spPr bwMode="auto">
            <a:xfrm>
              <a:off x="16151447" y="3759866"/>
              <a:ext cx="130175" cy="133350"/>
            </a:xfrm>
            <a:custGeom>
              <a:avLst/>
              <a:gdLst>
                <a:gd name="T0" fmla="*/ 47 w 50"/>
                <a:gd name="T1" fmla="*/ 42 h 51"/>
                <a:gd name="T2" fmla="*/ 44 w 50"/>
                <a:gd name="T3" fmla="*/ 34 h 51"/>
                <a:gd name="T4" fmla="*/ 47 w 50"/>
                <a:gd name="T5" fmla="*/ 26 h 51"/>
                <a:gd name="T6" fmla="*/ 50 w 50"/>
                <a:gd name="T7" fmla="*/ 20 h 51"/>
                <a:gd name="T8" fmla="*/ 47 w 50"/>
                <a:gd name="T9" fmla="*/ 8 h 51"/>
                <a:gd name="T10" fmla="*/ 46 w 50"/>
                <a:gd name="T11" fmla="*/ 7 h 51"/>
                <a:gd name="T12" fmla="*/ 36 w 50"/>
                <a:gd name="T13" fmla="*/ 8 h 51"/>
                <a:gd name="T14" fmla="*/ 29 w 50"/>
                <a:gd name="T15" fmla="*/ 5 h 51"/>
                <a:gd name="T16" fmla="*/ 23 w 50"/>
                <a:gd name="T17" fmla="*/ 3 h 51"/>
                <a:gd name="T18" fmla="*/ 20 w 50"/>
                <a:gd name="T19" fmla="*/ 2 h 51"/>
                <a:gd name="T20" fmla="*/ 16 w 50"/>
                <a:gd name="T21" fmla="*/ 2 h 51"/>
                <a:gd name="T22" fmla="*/ 11 w 50"/>
                <a:gd name="T23" fmla="*/ 5 h 51"/>
                <a:gd name="T24" fmla="*/ 7 w 50"/>
                <a:gd name="T25" fmla="*/ 3 h 51"/>
                <a:gd name="T26" fmla="*/ 5 w 50"/>
                <a:gd name="T27" fmla="*/ 4 h 51"/>
                <a:gd name="T28" fmla="*/ 5 w 50"/>
                <a:gd name="T29" fmla="*/ 10 h 51"/>
                <a:gd name="T30" fmla="*/ 6 w 50"/>
                <a:gd name="T31" fmla="*/ 14 h 51"/>
                <a:gd name="T32" fmla="*/ 7 w 50"/>
                <a:gd name="T33" fmla="*/ 19 h 51"/>
                <a:gd name="T34" fmla="*/ 4 w 50"/>
                <a:gd name="T35" fmla="*/ 20 h 51"/>
                <a:gd name="T36" fmla="*/ 4 w 50"/>
                <a:gd name="T37" fmla="*/ 24 h 51"/>
                <a:gd name="T38" fmla="*/ 2 w 50"/>
                <a:gd name="T39" fmla="*/ 29 h 51"/>
                <a:gd name="T40" fmla="*/ 1 w 50"/>
                <a:gd name="T41" fmla="*/ 35 h 51"/>
                <a:gd name="T42" fmla="*/ 4 w 50"/>
                <a:gd name="T43" fmla="*/ 37 h 51"/>
                <a:gd name="T44" fmla="*/ 10 w 50"/>
                <a:gd name="T45" fmla="*/ 43 h 51"/>
                <a:gd name="T46" fmla="*/ 8 w 50"/>
                <a:gd name="T47" fmla="*/ 51 h 51"/>
                <a:gd name="T48" fmla="*/ 32 w 50"/>
                <a:gd name="T49" fmla="*/ 46 h 51"/>
                <a:gd name="T50" fmla="*/ 47 w 50"/>
                <a:gd name="T51" fmla="*/ 46 h 51"/>
                <a:gd name="T52" fmla="*/ 47 w 50"/>
                <a:gd name="T53" fmla="*/ 4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0" h="51">
                  <a:moveTo>
                    <a:pt x="47" y="42"/>
                  </a:moveTo>
                  <a:cubicBezTo>
                    <a:pt x="46" y="41"/>
                    <a:pt x="44" y="35"/>
                    <a:pt x="44" y="34"/>
                  </a:cubicBezTo>
                  <a:cubicBezTo>
                    <a:pt x="44" y="32"/>
                    <a:pt x="47" y="28"/>
                    <a:pt x="47" y="26"/>
                  </a:cubicBezTo>
                  <a:cubicBezTo>
                    <a:pt x="47" y="24"/>
                    <a:pt x="50" y="22"/>
                    <a:pt x="50" y="20"/>
                  </a:cubicBezTo>
                  <a:cubicBezTo>
                    <a:pt x="50" y="19"/>
                    <a:pt x="49" y="12"/>
                    <a:pt x="47" y="8"/>
                  </a:cubicBezTo>
                  <a:cubicBezTo>
                    <a:pt x="47" y="8"/>
                    <a:pt x="46" y="8"/>
                    <a:pt x="46" y="7"/>
                  </a:cubicBezTo>
                  <a:cubicBezTo>
                    <a:pt x="44" y="6"/>
                    <a:pt x="38" y="6"/>
                    <a:pt x="36" y="8"/>
                  </a:cubicBezTo>
                  <a:cubicBezTo>
                    <a:pt x="34" y="11"/>
                    <a:pt x="30" y="6"/>
                    <a:pt x="29" y="5"/>
                  </a:cubicBezTo>
                  <a:cubicBezTo>
                    <a:pt x="28" y="4"/>
                    <a:pt x="25" y="1"/>
                    <a:pt x="23" y="3"/>
                  </a:cubicBezTo>
                  <a:cubicBezTo>
                    <a:pt x="20" y="5"/>
                    <a:pt x="20" y="4"/>
                    <a:pt x="20" y="2"/>
                  </a:cubicBezTo>
                  <a:cubicBezTo>
                    <a:pt x="20" y="0"/>
                    <a:pt x="16" y="0"/>
                    <a:pt x="16" y="2"/>
                  </a:cubicBezTo>
                  <a:cubicBezTo>
                    <a:pt x="15" y="4"/>
                    <a:pt x="12" y="6"/>
                    <a:pt x="11" y="5"/>
                  </a:cubicBezTo>
                  <a:cubicBezTo>
                    <a:pt x="10" y="3"/>
                    <a:pt x="8" y="1"/>
                    <a:pt x="7" y="3"/>
                  </a:cubicBezTo>
                  <a:cubicBezTo>
                    <a:pt x="7" y="5"/>
                    <a:pt x="6" y="5"/>
                    <a:pt x="5" y="4"/>
                  </a:cubicBezTo>
                  <a:cubicBezTo>
                    <a:pt x="4" y="7"/>
                    <a:pt x="3" y="10"/>
                    <a:pt x="5" y="10"/>
                  </a:cubicBezTo>
                  <a:cubicBezTo>
                    <a:pt x="6" y="11"/>
                    <a:pt x="6" y="13"/>
                    <a:pt x="6" y="14"/>
                  </a:cubicBezTo>
                  <a:cubicBezTo>
                    <a:pt x="6" y="15"/>
                    <a:pt x="9" y="18"/>
                    <a:pt x="7" y="19"/>
                  </a:cubicBezTo>
                  <a:cubicBezTo>
                    <a:pt x="6" y="20"/>
                    <a:pt x="5" y="18"/>
                    <a:pt x="4" y="20"/>
                  </a:cubicBezTo>
                  <a:cubicBezTo>
                    <a:pt x="3" y="21"/>
                    <a:pt x="6" y="23"/>
                    <a:pt x="4" y="24"/>
                  </a:cubicBezTo>
                  <a:cubicBezTo>
                    <a:pt x="3" y="26"/>
                    <a:pt x="2" y="26"/>
                    <a:pt x="2" y="29"/>
                  </a:cubicBezTo>
                  <a:cubicBezTo>
                    <a:pt x="2" y="32"/>
                    <a:pt x="2" y="34"/>
                    <a:pt x="1" y="35"/>
                  </a:cubicBezTo>
                  <a:cubicBezTo>
                    <a:pt x="0" y="36"/>
                    <a:pt x="1" y="36"/>
                    <a:pt x="4" y="37"/>
                  </a:cubicBezTo>
                  <a:cubicBezTo>
                    <a:pt x="6" y="39"/>
                    <a:pt x="11" y="41"/>
                    <a:pt x="10" y="43"/>
                  </a:cubicBezTo>
                  <a:cubicBezTo>
                    <a:pt x="10" y="46"/>
                    <a:pt x="9" y="46"/>
                    <a:pt x="8" y="51"/>
                  </a:cubicBezTo>
                  <a:cubicBezTo>
                    <a:pt x="13" y="51"/>
                    <a:pt x="21" y="47"/>
                    <a:pt x="32" y="46"/>
                  </a:cubicBezTo>
                  <a:cubicBezTo>
                    <a:pt x="38" y="44"/>
                    <a:pt x="43" y="45"/>
                    <a:pt x="47" y="46"/>
                  </a:cubicBezTo>
                  <a:cubicBezTo>
                    <a:pt x="48" y="45"/>
                    <a:pt x="48" y="43"/>
                    <a:pt x="47" y="42"/>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87" name="Freeform 30">
              <a:extLst>
                <a:ext uri="{FF2B5EF4-FFF2-40B4-BE49-F238E27FC236}">
                  <a16:creationId xmlns:a16="http://schemas.microsoft.com/office/drawing/2014/main" xmlns="" id="{82EA9890-9B0B-45C1-BDBF-73F997D267D5}"/>
                </a:ext>
              </a:extLst>
            </p:cNvPr>
            <p:cNvSpPr>
              <a:spLocks/>
            </p:cNvSpPr>
            <p:nvPr/>
          </p:nvSpPr>
          <p:spPr bwMode="auto">
            <a:xfrm>
              <a:off x="16267334" y="3751929"/>
              <a:ext cx="87313" cy="134937"/>
            </a:xfrm>
            <a:custGeom>
              <a:avLst/>
              <a:gdLst>
                <a:gd name="T0" fmla="*/ 29 w 34"/>
                <a:gd name="T1" fmla="*/ 21 h 52"/>
                <a:gd name="T2" fmla="*/ 29 w 34"/>
                <a:gd name="T3" fmla="*/ 10 h 52"/>
                <a:gd name="T4" fmla="*/ 27 w 34"/>
                <a:gd name="T5" fmla="*/ 5 h 52"/>
                <a:gd name="T6" fmla="*/ 25 w 34"/>
                <a:gd name="T7" fmla="*/ 0 h 52"/>
                <a:gd name="T8" fmla="*/ 23 w 34"/>
                <a:gd name="T9" fmla="*/ 2 h 52"/>
                <a:gd name="T10" fmla="*/ 3 w 34"/>
                <a:gd name="T11" fmla="*/ 1 h 52"/>
                <a:gd name="T12" fmla="*/ 4 w 34"/>
                <a:gd name="T13" fmla="*/ 9 h 52"/>
                <a:gd name="T14" fmla="*/ 3 w 34"/>
                <a:gd name="T15" fmla="*/ 11 h 52"/>
                <a:gd name="T16" fmla="*/ 6 w 34"/>
                <a:gd name="T17" fmla="*/ 23 h 52"/>
                <a:gd name="T18" fmla="*/ 3 w 34"/>
                <a:gd name="T19" fmla="*/ 29 h 52"/>
                <a:gd name="T20" fmla="*/ 0 w 34"/>
                <a:gd name="T21" fmla="*/ 37 h 52"/>
                <a:gd name="T22" fmla="*/ 3 w 34"/>
                <a:gd name="T23" fmla="*/ 45 h 52"/>
                <a:gd name="T24" fmla="*/ 3 w 34"/>
                <a:gd name="T25" fmla="*/ 49 h 52"/>
                <a:gd name="T26" fmla="*/ 9 w 34"/>
                <a:gd name="T27" fmla="*/ 52 h 52"/>
                <a:gd name="T28" fmla="*/ 25 w 34"/>
                <a:gd name="T29" fmla="*/ 45 h 52"/>
                <a:gd name="T30" fmla="*/ 34 w 34"/>
                <a:gd name="T31" fmla="*/ 41 h 52"/>
                <a:gd name="T32" fmla="*/ 31 w 34"/>
                <a:gd name="T33" fmla="*/ 32 h 52"/>
                <a:gd name="T34" fmla="*/ 29 w 34"/>
                <a:gd name="T35" fmla="*/ 2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 h="52">
                  <a:moveTo>
                    <a:pt x="29" y="21"/>
                  </a:moveTo>
                  <a:cubicBezTo>
                    <a:pt x="28" y="18"/>
                    <a:pt x="29" y="12"/>
                    <a:pt x="29" y="10"/>
                  </a:cubicBezTo>
                  <a:cubicBezTo>
                    <a:pt x="29" y="7"/>
                    <a:pt x="28" y="6"/>
                    <a:pt x="27" y="5"/>
                  </a:cubicBezTo>
                  <a:cubicBezTo>
                    <a:pt x="26" y="5"/>
                    <a:pt x="26" y="2"/>
                    <a:pt x="25" y="0"/>
                  </a:cubicBezTo>
                  <a:cubicBezTo>
                    <a:pt x="24" y="0"/>
                    <a:pt x="24" y="3"/>
                    <a:pt x="23" y="2"/>
                  </a:cubicBezTo>
                  <a:cubicBezTo>
                    <a:pt x="22" y="1"/>
                    <a:pt x="4" y="0"/>
                    <a:pt x="3" y="1"/>
                  </a:cubicBezTo>
                  <a:cubicBezTo>
                    <a:pt x="2" y="3"/>
                    <a:pt x="5" y="8"/>
                    <a:pt x="4" y="9"/>
                  </a:cubicBezTo>
                  <a:cubicBezTo>
                    <a:pt x="4" y="10"/>
                    <a:pt x="4" y="11"/>
                    <a:pt x="3" y="11"/>
                  </a:cubicBezTo>
                  <a:cubicBezTo>
                    <a:pt x="5" y="15"/>
                    <a:pt x="6" y="22"/>
                    <a:pt x="6" y="23"/>
                  </a:cubicBezTo>
                  <a:cubicBezTo>
                    <a:pt x="6" y="25"/>
                    <a:pt x="3" y="27"/>
                    <a:pt x="3" y="29"/>
                  </a:cubicBezTo>
                  <a:cubicBezTo>
                    <a:pt x="3" y="31"/>
                    <a:pt x="0" y="35"/>
                    <a:pt x="0" y="37"/>
                  </a:cubicBezTo>
                  <a:cubicBezTo>
                    <a:pt x="0" y="38"/>
                    <a:pt x="2" y="44"/>
                    <a:pt x="3" y="45"/>
                  </a:cubicBezTo>
                  <a:cubicBezTo>
                    <a:pt x="4" y="46"/>
                    <a:pt x="4" y="48"/>
                    <a:pt x="3" y="49"/>
                  </a:cubicBezTo>
                  <a:cubicBezTo>
                    <a:pt x="6" y="50"/>
                    <a:pt x="8" y="51"/>
                    <a:pt x="9" y="52"/>
                  </a:cubicBezTo>
                  <a:cubicBezTo>
                    <a:pt x="11" y="52"/>
                    <a:pt x="21" y="47"/>
                    <a:pt x="25" y="45"/>
                  </a:cubicBezTo>
                  <a:cubicBezTo>
                    <a:pt x="28" y="44"/>
                    <a:pt x="32" y="43"/>
                    <a:pt x="34" y="41"/>
                  </a:cubicBezTo>
                  <a:cubicBezTo>
                    <a:pt x="33" y="38"/>
                    <a:pt x="31" y="35"/>
                    <a:pt x="31" y="32"/>
                  </a:cubicBezTo>
                  <a:cubicBezTo>
                    <a:pt x="31" y="28"/>
                    <a:pt x="30" y="24"/>
                    <a:pt x="29" y="21"/>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88" name="Freeform 31">
              <a:extLst>
                <a:ext uri="{FF2B5EF4-FFF2-40B4-BE49-F238E27FC236}">
                  <a16:creationId xmlns:a16="http://schemas.microsoft.com/office/drawing/2014/main" xmlns="" id="{9345BC96-F5D4-4FBD-BA5E-E9FE054CD98C}"/>
                </a:ext>
              </a:extLst>
            </p:cNvPr>
            <p:cNvSpPr>
              <a:spLocks/>
            </p:cNvSpPr>
            <p:nvPr/>
          </p:nvSpPr>
          <p:spPr bwMode="auto">
            <a:xfrm>
              <a:off x="16016509" y="3717004"/>
              <a:ext cx="158750" cy="120650"/>
            </a:xfrm>
            <a:custGeom>
              <a:avLst/>
              <a:gdLst>
                <a:gd name="T0" fmla="*/ 20 w 61"/>
                <a:gd name="T1" fmla="*/ 24 h 46"/>
                <a:gd name="T2" fmla="*/ 24 w 61"/>
                <a:gd name="T3" fmla="*/ 23 h 46"/>
                <a:gd name="T4" fmla="*/ 30 w 61"/>
                <a:gd name="T5" fmla="*/ 22 h 46"/>
                <a:gd name="T6" fmla="*/ 36 w 61"/>
                <a:gd name="T7" fmla="*/ 30 h 46"/>
                <a:gd name="T8" fmla="*/ 37 w 61"/>
                <a:gd name="T9" fmla="*/ 35 h 46"/>
                <a:gd name="T10" fmla="*/ 38 w 61"/>
                <a:gd name="T11" fmla="*/ 36 h 46"/>
                <a:gd name="T12" fmla="*/ 43 w 61"/>
                <a:gd name="T13" fmla="*/ 34 h 46"/>
                <a:gd name="T14" fmla="*/ 46 w 61"/>
                <a:gd name="T15" fmla="*/ 41 h 46"/>
                <a:gd name="T16" fmla="*/ 50 w 61"/>
                <a:gd name="T17" fmla="*/ 44 h 46"/>
                <a:gd name="T18" fmla="*/ 53 w 61"/>
                <a:gd name="T19" fmla="*/ 42 h 46"/>
                <a:gd name="T20" fmla="*/ 54 w 61"/>
                <a:gd name="T21" fmla="*/ 43 h 46"/>
                <a:gd name="T22" fmla="*/ 56 w 61"/>
                <a:gd name="T23" fmla="*/ 40 h 46"/>
                <a:gd name="T24" fmla="*/ 56 w 61"/>
                <a:gd name="T25" fmla="*/ 36 h 46"/>
                <a:gd name="T26" fmla="*/ 59 w 61"/>
                <a:gd name="T27" fmla="*/ 35 h 46"/>
                <a:gd name="T28" fmla="*/ 58 w 61"/>
                <a:gd name="T29" fmla="*/ 30 h 46"/>
                <a:gd name="T30" fmla="*/ 57 w 61"/>
                <a:gd name="T31" fmla="*/ 26 h 46"/>
                <a:gd name="T32" fmla="*/ 57 w 61"/>
                <a:gd name="T33" fmla="*/ 20 h 46"/>
                <a:gd name="T34" fmla="*/ 56 w 61"/>
                <a:gd name="T35" fmla="*/ 19 h 46"/>
                <a:gd name="T36" fmla="*/ 54 w 61"/>
                <a:gd name="T37" fmla="*/ 14 h 46"/>
                <a:gd name="T38" fmla="*/ 54 w 61"/>
                <a:gd name="T39" fmla="*/ 11 h 46"/>
                <a:gd name="T40" fmla="*/ 51 w 61"/>
                <a:gd name="T41" fmla="*/ 8 h 46"/>
                <a:gd name="T42" fmla="*/ 48 w 61"/>
                <a:gd name="T43" fmla="*/ 2 h 46"/>
                <a:gd name="T44" fmla="*/ 42 w 61"/>
                <a:gd name="T45" fmla="*/ 6 h 46"/>
                <a:gd name="T46" fmla="*/ 37 w 61"/>
                <a:gd name="T47" fmla="*/ 5 h 46"/>
                <a:gd name="T48" fmla="*/ 32 w 61"/>
                <a:gd name="T49" fmla="*/ 6 h 46"/>
                <a:gd name="T50" fmla="*/ 30 w 61"/>
                <a:gd name="T51" fmla="*/ 4 h 46"/>
                <a:gd name="T52" fmla="*/ 30 w 61"/>
                <a:gd name="T53" fmla="*/ 3 h 46"/>
                <a:gd name="T54" fmla="*/ 29 w 61"/>
                <a:gd name="T55" fmla="*/ 3 h 46"/>
                <a:gd name="T56" fmla="*/ 17 w 61"/>
                <a:gd name="T57" fmla="*/ 2 h 46"/>
                <a:gd name="T58" fmla="*/ 11 w 61"/>
                <a:gd name="T59" fmla="*/ 0 h 46"/>
                <a:gd name="T60" fmla="*/ 10 w 61"/>
                <a:gd name="T61" fmla="*/ 4 h 46"/>
                <a:gd name="T62" fmla="*/ 10 w 61"/>
                <a:gd name="T63" fmla="*/ 7 h 46"/>
                <a:gd name="T64" fmla="*/ 7 w 61"/>
                <a:gd name="T65" fmla="*/ 9 h 46"/>
                <a:gd name="T66" fmla="*/ 1 w 61"/>
                <a:gd name="T67" fmla="*/ 12 h 46"/>
                <a:gd name="T68" fmla="*/ 0 w 61"/>
                <a:gd name="T69" fmla="*/ 13 h 46"/>
                <a:gd name="T70" fmla="*/ 6 w 61"/>
                <a:gd name="T71" fmla="*/ 20 h 46"/>
                <a:gd name="T72" fmla="*/ 15 w 61"/>
                <a:gd name="T73" fmla="*/ 30 h 46"/>
                <a:gd name="T74" fmla="*/ 20 w 61"/>
                <a:gd name="T75" fmla="*/ 2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 h="46">
                  <a:moveTo>
                    <a:pt x="20" y="24"/>
                  </a:moveTo>
                  <a:cubicBezTo>
                    <a:pt x="20" y="22"/>
                    <a:pt x="22" y="23"/>
                    <a:pt x="24" y="23"/>
                  </a:cubicBezTo>
                  <a:cubicBezTo>
                    <a:pt x="26" y="24"/>
                    <a:pt x="28" y="22"/>
                    <a:pt x="30" y="22"/>
                  </a:cubicBezTo>
                  <a:cubicBezTo>
                    <a:pt x="32" y="22"/>
                    <a:pt x="36" y="28"/>
                    <a:pt x="36" y="30"/>
                  </a:cubicBezTo>
                  <a:cubicBezTo>
                    <a:pt x="36" y="32"/>
                    <a:pt x="36" y="34"/>
                    <a:pt x="37" y="35"/>
                  </a:cubicBezTo>
                  <a:cubicBezTo>
                    <a:pt x="37" y="35"/>
                    <a:pt x="38" y="35"/>
                    <a:pt x="38" y="36"/>
                  </a:cubicBezTo>
                  <a:cubicBezTo>
                    <a:pt x="41" y="35"/>
                    <a:pt x="43" y="34"/>
                    <a:pt x="43" y="34"/>
                  </a:cubicBezTo>
                  <a:cubicBezTo>
                    <a:pt x="44" y="34"/>
                    <a:pt x="46" y="39"/>
                    <a:pt x="46" y="41"/>
                  </a:cubicBezTo>
                  <a:cubicBezTo>
                    <a:pt x="45" y="44"/>
                    <a:pt x="48" y="46"/>
                    <a:pt x="50" y="44"/>
                  </a:cubicBezTo>
                  <a:cubicBezTo>
                    <a:pt x="51" y="42"/>
                    <a:pt x="52" y="40"/>
                    <a:pt x="53" y="42"/>
                  </a:cubicBezTo>
                  <a:cubicBezTo>
                    <a:pt x="53" y="42"/>
                    <a:pt x="53" y="43"/>
                    <a:pt x="54" y="43"/>
                  </a:cubicBezTo>
                  <a:cubicBezTo>
                    <a:pt x="55" y="42"/>
                    <a:pt x="56" y="41"/>
                    <a:pt x="56" y="40"/>
                  </a:cubicBezTo>
                  <a:cubicBezTo>
                    <a:pt x="58" y="39"/>
                    <a:pt x="55" y="37"/>
                    <a:pt x="56" y="36"/>
                  </a:cubicBezTo>
                  <a:cubicBezTo>
                    <a:pt x="57" y="34"/>
                    <a:pt x="58" y="36"/>
                    <a:pt x="59" y="35"/>
                  </a:cubicBezTo>
                  <a:cubicBezTo>
                    <a:pt x="61" y="34"/>
                    <a:pt x="58" y="31"/>
                    <a:pt x="58" y="30"/>
                  </a:cubicBezTo>
                  <a:cubicBezTo>
                    <a:pt x="58" y="29"/>
                    <a:pt x="58" y="27"/>
                    <a:pt x="57" y="26"/>
                  </a:cubicBezTo>
                  <a:cubicBezTo>
                    <a:pt x="55" y="26"/>
                    <a:pt x="56" y="23"/>
                    <a:pt x="57" y="20"/>
                  </a:cubicBezTo>
                  <a:cubicBezTo>
                    <a:pt x="56" y="20"/>
                    <a:pt x="56" y="19"/>
                    <a:pt x="56" y="19"/>
                  </a:cubicBezTo>
                  <a:cubicBezTo>
                    <a:pt x="55" y="17"/>
                    <a:pt x="55" y="14"/>
                    <a:pt x="54" y="14"/>
                  </a:cubicBezTo>
                  <a:cubicBezTo>
                    <a:pt x="52" y="14"/>
                    <a:pt x="52" y="12"/>
                    <a:pt x="54" y="11"/>
                  </a:cubicBezTo>
                  <a:cubicBezTo>
                    <a:pt x="55" y="11"/>
                    <a:pt x="51" y="9"/>
                    <a:pt x="51" y="8"/>
                  </a:cubicBezTo>
                  <a:cubicBezTo>
                    <a:pt x="51" y="6"/>
                    <a:pt x="49" y="2"/>
                    <a:pt x="48" y="2"/>
                  </a:cubicBezTo>
                  <a:cubicBezTo>
                    <a:pt x="47" y="1"/>
                    <a:pt x="43" y="6"/>
                    <a:pt x="42" y="6"/>
                  </a:cubicBezTo>
                  <a:cubicBezTo>
                    <a:pt x="41" y="6"/>
                    <a:pt x="37" y="3"/>
                    <a:pt x="37" y="5"/>
                  </a:cubicBezTo>
                  <a:cubicBezTo>
                    <a:pt x="36" y="8"/>
                    <a:pt x="33" y="4"/>
                    <a:pt x="32" y="6"/>
                  </a:cubicBezTo>
                  <a:cubicBezTo>
                    <a:pt x="31" y="8"/>
                    <a:pt x="30" y="4"/>
                    <a:pt x="30" y="4"/>
                  </a:cubicBezTo>
                  <a:cubicBezTo>
                    <a:pt x="30" y="4"/>
                    <a:pt x="30" y="3"/>
                    <a:pt x="30" y="3"/>
                  </a:cubicBezTo>
                  <a:cubicBezTo>
                    <a:pt x="29" y="3"/>
                    <a:pt x="29" y="3"/>
                    <a:pt x="29" y="3"/>
                  </a:cubicBezTo>
                  <a:cubicBezTo>
                    <a:pt x="25" y="4"/>
                    <a:pt x="17" y="3"/>
                    <a:pt x="17" y="2"/>
                  </a:cubicBezTo>
                  <a:cubicBezTo>
                    <a:pt x="17" y="1"/>
                    <a:pt x="11" y="0"/>
                    <a:pt x="11" y="0"/>
                  </a:cubicBezTo>
                  <a:cubicBezTo>
                    <a:pt x="11" y="0"/>
                    <a:pt x="12" y="3"/>
                    <a:pt x="10" y="4"/>
                  </a:cubicBezTo>
                  <a:cubicBezTo>
                    <a:pt x="8" y="4"/>
                    <a:pt x="10" y="7"/>
                    <a:pt x="10" y="7"/>
                  </a:cubicBezTo>
                  <a:cubicBezTo>
                    <a:pt x="10" y="8"/>
                    <a:pt x="8" y="9"/>
                    <a:pt x="7" y="9"/>
                  </a:cubicBezTo>
                  <a:cubicBezTo>
                    <a:pt x="6" y="8"/>
                    <a:pt x="2" y="11"/>
                    <a:pt x="1" y="12"/>
                  </a:cubicBezTo>
                  <a:cubicBezTo>
                    <a:pt x="0" y="13"/>
                    <a:pt x="0" y="13"/>
                    <a:pt x="0" y="13"/>
                  </a:cubicBezTo>
                  <a:cubicBezTo>
                    <a:pt x="3" y="16"/>
                    <a:pt x="2" y="18"/>
                    <a:pt x="6" y="20"/>
                  </a:cubicBezTo>
                  <a:cubicBezTo>
                    <a:pt x="8" y="23"/>
                    <a:pt x="12" y="26"/>
                    <a:pt x="15" y="30"/>
                  </a:cubicBezTo>
                  <a:cubicBezTo>
                    <a:pt x="17" y="28"/>
                    <a:pt x="20" y="26"/>
                    <a:pt x="20" y="24"/>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89" name="Freeform 32">
              <a:extLst>
                <a:ext uri="{FF2B5EF4-FFF2-40B4-BE49-F238E27FC236}">
                  <a16:creationId xmlns:a16="http://schemas.microsoft.com/office/drawing/2014/main" xmlns="" id="{70B28C94-E372-4B75-8EC5-699796C83DBB}"/>
                </a:ext>
              </a:extLst>
            </p:cNvPr>
            <p:cNvSpPr>
              <a:spLocks/>
            </p:cNvSpPr>
            <p:nvPr/>
          </p:nvSpPr>
          <p:spPr bwMode="auto">
            <a:xfrm>
              <a:off x="16092709" y="3805904"/>
              <a:ext cx="87313" cy="87312"/>
            </a:xfrm>
            <a:custGeom>
              <a:avLst/>
              <a:gdLst>
                <a:gd name="T0" fmla="*/ 27 w 34"/>
                <a:gd name="T1" fmla="*/ 19 h 33"/>
                <a:gd name="T2" fmla="*/ 24 w 34"/>
                <a:gd name="T3" fmla="*/ 17 h 33"/>
                <a:gd name="T4" fmla="*/ 25 w 34"/>
                <a:gd name="T5" fmla="*/ 11 h 33"/>
                <a:gd name="T6" fmla="*/ 25 w 34"/>
                <a:gd name="T7" fmla="*/ 9 h 33"/>
                <a:gd name="T8" fmla="*/ 24 w 34"/>
                <a:gd name="T9" fmla="*/ 8 h 33"/>
                <a:gd name="T10" fmla="*/ 21 w 34"/>
                <a:gd name="T11" fmla="*/ 10 h 33"/>
                <a:gd name="T12" fmla="*/ 17 w 34"/>
                <a:gd name="T13" fmla="*/ 7 h 33"/>
                <a:gd name="T14" fmla="*/ 14 w 34"/>
                <a:gd name="T15" fmla="*/ 0 h 33"/>
                <a:gd name="T16" fmla="*/ 9 w 34"/>
                <a:gd name="T17" fmla="*/ 2 h 33"/>
                <a:gd name="T18" fmla="*/ 8 w 34"/>
                <a:gd name="T19" fmla="*/ 6 h 33"/>
                <a:gd name="T20" fmla="*/ 1 w 34"/>
                <a:gd name="T21" fmla="*/ 11 h 33"/>
                <a:gd name="T22" fmla="*/ 0 w 34"/>
                <a:gd name="T23" fmla="*/ 14 h 33"/>
                <a:gd name="T24" fmla="*/ 10 w 34"/>
                <a:gd name="T25" fmla="*/ 21 h 33"/>
                <a:gd name="T26" fmla="*/ 29 w 34"/>
                <a:gd name="T27" fmla="*/ 32 h 33"/>
                <a:gd name="T28" fmla="*/ 31 w 34"/>
                <a:gd name="T29" fmla="*/ 33 h 33"/>
                <a:gd name="T30" fmla="*/ 33 w 34"/>
                <a:gd name="T31" fmla="*/ 25 h 33"/>
                <a:gd name="T32" fmla="*/ 27 w 34"/>
                <a:gd name="T33" fmla="*/ 1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33">
                  <a:moveTo>
                    <a:pt x="27" y="19"/>
                  </a:moveTo>
                  <a:cubicBezTo>
                    <a:pt x="24" y="18"/>
                    <a:pt x="23" y="18"/>
                    <a:pt x="24" y="17"/>
                  </a:cubicBezTo>
                  <a:cubicBezTo>
                    <a:pt x="25" y="16"/>
                    <a:pt x="25" y="14"/>
                    <a:pt x="25" y="11"/>
                  </a:cubicBezTo>
                  <a:cubicBezTo>
                    <a:pt x="25" y="10"/>
                    <a:pt x="25" y="9"/>
                    <a:pt x="25" y="9"/>
                  </a:cubicBezTo>
                  <a:cubicBezTo>
                    <a:pt x="24" y="9"/>
                    <a:pt x="24" y="8"/>
                    <a:pt x="24" y="8"/>
                  </a:cubicBezTo>
                  <a:cubicBezTo>
                    <a:pt x="23" y="6"/>
                    <a:pt x="22" y="8"/>
                    <a:pt x="21" y="10"/>
                  </a:cubicBezTo>
                  <a:cubicBezTo>
                    <a:pt x="19" y="12"/>
                    <a:pt x="16" y="10"/>
                    <a:pt x="17" y="7"/>
                  </a:cubicBezTo>
                  <a:cubicBezTo>
                    <a:pt x="17" y="5"/>
                    <a:pt x="15" y="0"/>
                    <a:pt x="14" y="0"/>
                  </a:cubicBezTo>
                  <a:cubicBezTo>
                    <a:pt x="14" y="0"/>
                    <a:pt x="12" y="1"/>
                    <a:pt x="9" y="2"/>
                  </a:cubicBezTo>
                  <a:cubicBezTo>
                    <a:pt x="9" y="3"/>
                    <a:pt x="8" y="4"/>
                    <a:pt x="8" y="6"/>
                  </a:cubicBezTo>
                  <a:cubicBezTo>
                    <a:pt x="7" y="7"/>
                    <a:pt x="3" y="10"/>
                    <a:pt x="1" y="11"/>
                  </a:cubicBezTo>
                  <a:cubicBezTo>
                    <a:pt x="1" y="11"/>
                    <a:pt x="0" y="12"/>
                    <a:pt x="0" y="14"/>
                  </a:cubicBezTo>
                  <a:cubicBezTo>
                    <a:pt x="3" y="16"/>
                    <a:pt x="7" y="18"/>
                    <a:pt x="10" y="21"/>
                  </a:cubicBezTo>
                  <a:cubicBezTo>
                    <a:pt x="16" y="25"/>
                    <a:pt x="25" y="31"/>
                    <a:pt x="29" y="32"/>
                  </a:cubicBezTo>
                  <a:cubicBezTo>
                    <a:pt x="29" y="33"/>
                    <a:pt x="30" y="33"/>
                    <a:pt x="31" y="33"/>
                  </a:cubicBezTo>
                  <a:cubicBezTo>
                    <a:pt x="32" y="28"/>
                    <a:pt x="33" y="28"/>
                    <a:pt x="33" y="25"/>
                  </a:cubicBezTo>
                  <a:cubicBezTo>
                    <a:pt x="34" y="23"/>
                    <a:pt x="29" y="21"/>
                    <a:pt x="27" y="19"/>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90" name="Freeform 33">
              <a:extLst>
                <a:ext uri="{FF2B5EF4-FFF2-40B4-BE49-F238E27FC236}">
                  <a16:creationId xmlns:a16="http://schemas.microsoft.com/office/drawing/2014/main" xmlns="" id="{0A9272F8-193D-4FCF-9216-2A4BD0474DC8}"/>
                </a:ext>
              </a:extLst>
            </p:cNvPr>
            <p:cNvSpPr>
              <a:spLocks/>
            </p:cNvSpPr>
            <p:nvPr/>
          </p:nvSpPr>
          <p:spPr bwMode="auto">
            <a:xfrm>
              <a:off x="16056197" y="3775741"/>
              <a:ext cx="58738" cy="66675"/>
            </a:xfrm>
            <a:custGeom>
              <a:avLst/>
              <a:gdLst>
                <a:gd name="T0" fmla="*/ 22 w 23"/>
                <a:gd name="T1" fmla="*/ 18 h 26"/>
                <a:gd name="T2" fmla="*/ 22 w 23"/>
                <a:gd name="T3" fmla="*/ 13 h 26"/>
                <a:gd name="T4" fmla="*/ 21 w 23"/>
                <a:gd name="T5" fmla="*/ 8 h 26"/>
                <a:gd name="T6" fmla="*/ 15 w 23"/>
                <a:gd name="T7" fmla="*/ 0 h 26"/>
                <a:gd name="T8" fmla="*/ 9 w 23"/>
                <a:gd name="T9" fmla="*/ 1 h 26"/>
                <a:gd name="T10" fmla="*/ 5 w 23"/>
                <a:gd name="T11" fmla="*/ 2 h 26"/>
                <a:gd name="T12" fmla="*/ 0 w 23"/>
                <a:gd name="T13" fmla="*/ 8 h 26"/>
                <a:gd name="T14" fmla="*/ 1 w 23"/>
                <a:gd name="T15" fmla="*/ 11 h 26"/>
                <a:gd name="T16" fmla="*/ 7 w 23"/>
                <a:gd name="T17" fmla="*/ 21 h 26"/>
                <a:gd name="T18" fmla="*/ 14 w 23"/>
                <a:gd name="T19" fmla="*/ 26 h 26"/>
                <a:gd name="T20" fmla="*/ 15 w 23"/>
                <a:gd name="T21" fmla="*/ 23 h 26"/>
                <a:gd name="T22" fmla="*/ 22 w 23"/>
                <a:gd name="T23" fmla="*/ 1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26">
                  <a:moveTo>
                    <a:pt x="22" y="18"/>
                  </a:moveTo>
                  <a:cubicBezTo>
                    <a:pt x="22" y="16"/>
                    <a:pt x="23" y="14"/>
                    <a:pt x="22" y="13"/>
                  </a:cubicBezTo>
                  <a:cubicBezTo>
                    <a:pt x="21" y="12"/>
                    <a:pt x="21" y="10"/>
                    <a:pt x="21" y="8"/>
                  </a:cubicBezTo>
                  <a:cubicBezTo>
                    <a:pt x="21" y="6"/>
                    <a:pt x="17" y="0"/>
                    <a:pt x="15" y="0"/>
                  </a:cubicBezTo>
                  <a:cubicBezTo>
                    <a:pt x="13" y="0"/>
                    <a:pt x="11" y="2"/>
                    <a:pt x="9" y="1"/>
                  </a:cubicBezTo>
                  <a:cubicBezTo>
                    <a:pt x="7" y="1"/>
                    <a:pt x="5" y="0"/>
                    <a:pt x="5" y="2"/>
                  </a:cubicBezTo>
                  <a:cubicBezTo>
                    <a:pt x="5" y="4"/>
                    <a:pt x="2" y="6"/>
                    <a:pt x="0" y="8"/>
                  </a:cubicBezTo>
                  <a:cubicBezTo>
                    <a:pt x="0" y="9"/>
                    <a:pt x="0" y="10"/>
                    <a:pt x="1" y="11"/>
                  </a:cubicBezTo>
                  <a:cubicBezTo>
                    <a:pt x="3" y="18"/>
                    <a:pt x="4" y="19"/>
                    <a:pt x="7" y="21"/>
                  </a:cubicBezTo>
                  <a:cubicBezTo>
                    <a:pt x="8" y="22"/>
                    <a:pt x="11" y="24"/>
                    <a:pt x="14" y="26"/>
                  </a:cubicBezTo>
                  <a:cubicBezTo>
                    <a:pt x="14" y="24"/>
                    <a:pt x="15" y="23"/>
                    <a:pt x="15" y="23"/>
                  </a:cubicBezTo>
                  <a:cubicBezTo>
                    <a:pt x="17" y="22"/>
                    <a:pt x="21" y="19"/>
                    <a:pt x="22" y="18"/>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91" name="Freeform 34">
              <a:extLst>
                <a:ext uri="{FF2B5EF4-FFF2-40B4-BE49-F238E27FC236}">
                  <a16:creationId xmlns:a16="http://schemas.microsoft.com/office/drawing/2014/main" xmlns="" id="{FCAFA1D2-23C5-4B3B-B9F0-4AA1BAF51DFB}"/>
                </a:ext>
              </a:extLst>
            </p:cNvPr>
            <p:cNvSpPr>
              <a:spLocks/>
            </p:cNvSpPr>
            <p:nvPr/>
          </p:nvSpPr>
          <p:spPr bwMode="auto">
            <a:xfrm>
              <a:off x="15975234" y="3385216"/>
              <a:ext cx="176213" cy="144462"/>
            </a:xfrm>
            <a:custGeom>
              <a:avLst/>
              <a:gdLst>
                <a:gd name="T0" fmla="*/ 32 w 68"/>
                <a:gd name="T1" fmla="*/ 42 h 55"/>
                <a:gd name="T2" fmla="*/ 40 w 68"/>
                <a:gd name="T3" fmla="*/ 36 h 55"/>
                <a:gd name="T4" fmla="*/ 40 w 68"/>
                <a:gd name="T5" fmla="*/ 15 h 55"/>
                <a:gd name="T6" fmla="*/ 67 w 68"/>
                <a:gd name="T7" fmla="*/ 15 h 55"/>
                <a:gd name="T8" fmla="*/ 68 w 68"/>
                <a:gd name="T9" fmla="*/ 3 h 55"/>
                <a:gd name="T10" fmla="*/ 62 w 68"/>
                <a:gd name="T11" fmla="*/ 0 h 55"/>
                <a:gd name="T12" fmla="*/ 32 w 68"/>
                <a:gd name="T13" fmla="*/ 0 h 55"/>
                <a:gd name="T14" fmla="*/ 28 w 68"/>
                <a:gd name="T15" fmla="*/ 7 h 55"/>
                <a:gd name="T16" fmla="*/ 17 w 68"/>
                <a:gd name="T17" fmla="*/ 22 h 55"/>
                <a:gd name="T18" fmla="*/ 3 w 68"/>
                <a:gd name="T19" fmla="*/ 47 h 55"/>
                <a:gd name="T20" fmla="*/ 0 w 68"/>
                <a:gd name="T21" fmla="*/ 55 h 55"/>
                <a:gd name="T22" fmla="*/ 32 w 68"/>
                <a:gd name="T23" fmla="*/ 55 h 55"/>
                <a:gd name="T24" fmla="*/ 32 w 68"/>
                <a:gd name="T25" fmla="*/ 4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55">
                  <a:moveTo>
                    <a:pt x="32" y="42"/>
                  </a:moveTo>
                  <a:cubicBezTo>
                    <a:pt x="32" y="40"/>
                    <a:pt x="40" y="38"/>
                    <a:pt x="40" y="36"/>
                  </a:cubicBezTo>
                  <a:cubicBezTo>
                    <a:pt x="40" y="34"/>
                    <a:pt x="40" y="15"/>
                    <a:pt x="40" y="15"/>
                  </a:cubicBezTo>
                  <a:cubicBezTo>
                    <a:pt x="40" y="15"/>
                    <a:pt x="67" y="15"/>
                    <a:pt x="67" y="15"/>
                  </a:cubicBezTo>
                  <a:cubicBezTo>
                    <a:pt x="68" y="14"/>
                    <a:pt x="68" y="9"/>
                    <a:pt x="68" y="3"/>
                  </a:cubicBezTo>
                  <a:cubicBezTo>
                    <a:pt x="67" y="1"/>
                    <a:pt x="68" y="0"/>
                    <a:pt x="62" y="0"/>
                  </a:cubicBezTo>
                  <a:cubicBezTo>
                    <a:pt x="57" y="0"/>
                    <a:pt x="42" y="0"/>
                    <a:pt x="32" y="0"/>
                  </a:cubicBezTo>
                  <a:cubicBezTo>
                    <a:pt x="30" y="2"/>
                    <a:pt x="28" y="5"/>
                    <a:pt x="28" y="7"/>
                  </a:cubicBezTo>
                  <a:cubicBezTo>
                    <a:pt x="26" y="11"/>
                    <a:pt x="17" y="17"/>
                    <a:pt x="17" y="22"/>
                  </a:cubicBezTo>
                  <a:cubicBezTo>
                    <a:pt x="17" y="28"/>
                    <a:pt x="8" y="36"/>
                    <a:pt x="3" y="47"/>
                  </a:cubicBezTo>
                  <a:cubicBezTo>
                    <a:pt x="1" y="50"/>
                    <a:pt x="1" y="53"/>
                    <a:pt x="0" y="55"/>
                  </a:cubicBezTo>
                  <a:cubicBezTo>
                    <a:pt x="32" y="55"/>
                    <a:pt x="32" y="55"/>
                    <a:pt x="32" y="55"/>
                  </a:cubicBezTo>
                  <a:cubicBezTo>
                    <a:pt x="32" y="55"/>
                    <a:pt x="32" y="44"/>
                    <a:pt x="32" y="42"/>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92" name="Freeform 35">
              <a:extLst>
                <a:ext uri="{FF2B5EF4-FFF2-40B4-BE49-F238E27FC236}">
                  <a16:creationId xmlns:a16="http://schemas.microsoft.com/office/drawing/2014/main" xmlns="" id="{10CEFA31-4440-4E19-B73F-543FA9C57412}"/>
                </a:ext>
              </a:extLst>
            </p:cNvPr>
            <p:cNvSpPr>
              <a:spLocks/>
            </p:cNvSpPr>
            <p:nvPr/>
          </p:nvSpPr>
          <p:spPr bwMode="auto">
            <a:xfrm>
              <a:off x="15975234" y="3393154"/>
              <a:ext cx="255588" cy="279400"/>
            </a:xfrm>
            <a:custGeom>
              <a:avLst/>
              <a:gdLst>
                <a:gd name="T0" fmla="*/ 8 w 98"/>
                <a:gd name="T1" fmla="*/ 93 h 107"/>
                <a:gd name="T2" fmla="*/ 15 w 98"/>
                <a:gd name="T3" fmla="*/ 93 h 107"/>
                <a:gd name="T4" fmla="*/ 21 w 98"/>
                <a:gd name="T5" fmla="*/ 92 h 107"/>
                <a:gd name="T6" fmla="*/ 26 w 98"/>
                <a:gd name="T7" fmla="*/ 96 h 107"/>
                <a:gd name="T8" fmla="*/ 29 w 98"/>
                <a:gd name="T9" fmla="*/ 96 h 107"/>
                <a:gd name="T10" fmla="*/ 34 w 98"/>
                <a:gd name="T11" fmla="*/ 103 h 107"/>
                <a:gd name="T12" fmla="*/ 38 w 98"/>
                <a:gd name="T13" fmla="*/ 107 h 107"/>
                <a:gd name="T14" fmla="*/ 42 w 98"/>
                <a:gd name="T15" fmla="*/ 105 h 107"/>
                <a:gd name="T16" fmla="*/ 47 w 98"/>
                <a:gd name="T17" fmla="*/ 103 h 107"/>
                <a:gd name="T18" fmla="*/ 51 w 98"/>
                <a:gd name="T19" fmla="*/ 102 h 107"/>
                <a:gd name="T20" fmla="*/ 57 w 98"/>
                <a:gd name="T21" fmla="*/ 102 h 107"/>
                <a:gd name="T22" fmla="*/ 62 w 98"/>
                <a:gd name="T23" fmla="*/ 101 h 107"/>
                <a:gd name="T24" fmla="*/ 93 w 98"/>
                <a:gd name="T25" fmla="*/ 101 h 107"/>
                <a:gd name="T26" fmla="*/ 94 w 98"/>
                <a:gd name="T27" fmla="*/ 94 h 107"/>
                <a:gd name="T28" fmla="*/ 92 w 98"/>
                <a:gd name="T29" fmla="*/ 91 h 107"/>
                <a:gd name="T30" fmla="*/ 84 w 98"/>
                <a:gd name="T31" fmla="*/ 20 h 107"/>
                <a:gd name="T32" fmla="*/ 98 w 98"/>
                <a:gd name="T33" fmla="*/ 20 h 107"/>
                <a:gd name="T34" fmla="*/ 69 w 98"/>
                <a:gd name="T35" fmla="*/ 2 h 107"/>
                <a:gd name="T36" fmla="*/ 68 w 98"/>
                <a:gd name="T37" fmla="*/ 0 h 107"/>
                <a:gd name="T38" fmla="*/ 67 w 98"/>
                <a:gd name="T39" fmla="*/ 12 h 107"/>
                <a:gd name="T40" fmla="*/ 40 w 98"/>
                <a:gd name="T41" fmla="*/ 12 h 107"/>
                <a:gd name="T42" fmla="*/ 40 w 98"/>
                <a:gd name="T43" fmla="*/ 33 h 107"/>
                <a:gd name="T44" fmla="*/ 32 w 98"/>
                <a:gd name="T45" fmla="*/ 39 h 107"/>
                <a:gd name="T46" fmla="*/ 32 w 98"/>
                <a:gd name="T47" fmla="*/ 52 h 107"/>
                <a:gd name="T48" fmla="*/ 0 w 98"/>
                <a:gd name="T49" fmla="*/ 52 h 107"/>
                <a:gd name="T50" fmla="*/ 5 w 98"/>
                <a:gd name="T51" fmla="*/ 61 h 107"/>
                <a:gd name="T52" fmla="*/ 7 w 98"/>
                <a:gd name="T53" fmla="*/ 74 h 107"/>
                <a:gd name="T54" fmla="*/ 4 w 98"/>
                <a:gd name="T55" fmla="*/ 90 h 107"/>
                <a:gd name="T56" fmla="*/ 3 w 98"/>
                <a:gd name="T57" fmla="*/ 97 h 107"/>
                <a:gd name="T58" fmla="*/ 3 w 98"/>
                <a:gd name="T59" fmla="*/ 97 h 107"/>
                <a:gd name="T60" fmla="*/ 8 w 98"/>
                <a:gd name="T61" fmla="*/ 9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8" h="107">
                  <a:moveTo>
                    <a:pt x="8" y="93"/>
                  </a:moveTo>
                  <a:cubicBezTo>
                    <a:pt x="10" y="93"/>
                    <a:pt x="15" y="93"/>
                    <a:pt x="15" y="93"/>
                  </a:cubicBezTo>
                  <a:cubicBezTo>
                    <a:pt x="15" y="93"/>
                    <a:pt x="19" y="91"/>
                    <a:pt x="21" y="92"/>
                  </a:cubicBezTo>
                  <a:cubicBezTo>
                    <a:pt x="23" y="93"/>
                    <a:pt x="26" y="96"/>
                    <a:pt x="26" y="96"/>
                  </a:cubicBezTo>
                  <a:cubicBezTo>
                    <a:pt x="29" y="96"/>
                    <a:pt x="29" y="96"/>
                    <a:pt x="29" y="96"/>
                  </a:cubicBezTo>
                  <a:cubicBezTo>
                    <a:pt x="29" y="96"/>
                    <a:pt x="31" y="102"/>
                    <a:pt x="34" y="103"/>
                  </a:cubicBezTo>
                  <a:cubicBezTo>
                    <a:pt x="36" y="104"/>
                    <a:pt x="37" y="106"/>
                    <a:pt x="38" y="107"/>
                  </a:cubicBezTo>
                  <a:cubicBezTo>
                    <a:pt x="40" y="107"/>
                    <a:pt x="42" y="106"/>
                    <a:pt x="42" y="105"/>
                  </a:cubicBezTo>
                  <a:cubicBezTo>
                    <a:pt x="42" y="102"/>
                    <a:pt x="43" y="100"/>
                    <a:pt x="47" y="103"/>
                  </a:cubicBezTo>
                  <a:cubicBezTo>
                    <a:pt x="51" y="106"/>
                    <a:pt x="51" y="103"/>
                    <a:pt x="51" y="102"/>
                  </a:cubicBezTo>
                  <a:cubicBezTo>
                    <a:pt x="52" y="101"/>
                    <a:pt x="55" y="102"/>
                    <a:pt x="57" y="102"/>
                  </a:cubicBezTo>
                  <a:cubicBezTo>
                    <a:pt x="59" y="102"/>
                    <a:pt x="62" y="101"/>
                    <a:pt x="62" y="101"/>
                  </a:cubicBezTo>
                  <a:cubicBezTo>
                    <a:pt x="62" y="101"/>
                    <a:pt x="92" y="101"/>
                    <a:pt x="93" y="101"/>
                  </a:cubicBezTo>
                  <a:cubicBezTo>
                    <a:pt x="95" y="100"/>
                    <a:pt x="94" y="94"/>
                    <a:pt x="94" y="94"/>
                  </a:cubicBezTo>
                  <a:cubicBezTo>
                    <a:pt x="92" y="91"/>
                    <a:pt x="92" y="91"/>
                    <a:pt x="92" y="91"/>
                  </a:cubicBezTo>
                  <a:cubicBezTo>
                    <a:pt x="84" y="20"/>
                    <a:pt x="84" y="20"/>
                    <a:pt x="84" y="20"/>
                  </a:cubicBezTo>
                  <a:cubicBezTo>
                    <a:pt x="98" y="20"/>
                    <a:pt x="98" y="20"/>
                    <a:pt x="98" y="20"/>
                  </a:cubicBezTo>
                  <a:cubicBezTo>
                    <a:pt x="83" y="11"/>
                    <a:pt x="71" y="2"/>
                    <a:pt x="69" y="2"/>
                  </a:cubicBezTo>
                  <a:cubicBezTo>
                    <a:pt x="68" y="1"/>
                    <a:pt x="68" y="1"/>
                    <a:pt x="68" y="0"/>
                  </a:cubicBezTo>
                  <a:cubicBezTo>
                    <a:pt x="68" y="6"/>
                    <a:pt x="68" y="11"/>
                    <a:pt x="67" y="12"/>
                  </a:cubicBezTo>
                  <a:cubicBezTo>
                    <a:pt x="67" y="12"/>
                    <a:pt x="40" y="12"/>
                    <a:pt x="40" y="12"/>
                  </a:cubicBezTo>
                  <a:cubicBezTo>
                    <a:pt x="40" y="12"/>
                    <a:pt x="40" y="31"/>
                    <a:pt x="40" y="33"/>
                  </a:cubicBezTo>
                  <a:cubicBezTo>
                    <a:pt x="40" y="35"/>
                    <a:pt x="32" y="37"/>
                    <a:pt x="32" y="39"/>
                  </a:cubicBezTo>
                  <a:cubicBezTo>
                    <a:pt x="32" y="41"/>
                    <a:pt x="32" y="52"/>
                    <a:pt x="32" y="52"/>
                  </a:cubicBezTo>
                  <a:cubicBezTo>
                    <a:pt x="0" y="52"/>
                    <a:pt x="0" y="52"/>
                    <a:pt x="0" y="52"/>
                  </a:cubicBezTo>
                  <a:cubicBezTo>
                    <a:pt x="0" y="57"/>
                    <a:pt x="3" y="59"/>
                    <a:pt x="5" y="61"/>
                  </a:cubicBezTo>
                  <a:cubicBezTo>
                    <a:pt x="7" y="64"/>
                    <a:pt x="3" y="69"/>
                    <a:pt x="7" y="74"/>
                  </a:cubicBezTo>
                  <a:cubicBezTo>
                    <a:pt x="10" y="79"/>
                    <a:pt x="6" y="87"/>
                    <a:pt x="4" y="90"/>
                  </a:cubicBezTo>
                  <a:cubicBezTo>
                    <a:pt x="3" y="91"/>
                    <a:pt x="3" y="94"/>
                    <a:pt x="3" y="97"/>
                  </a:cubicBezTo>
                  <a:cubicBezTo>
                    <a:pt x="3" y="97"/>
                    <a:pt x="3" y="97"/>
                    <a:pt x="3" y="97"/>
                  </a:cubicBezTo>
                  <a:cubicBezTo>
                    <a:pt x="5" y="96"/>
                    <a:pt x="5" y="92"/>
                    <a:pt x="8" y="93"/>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93" name="Freeform 36">
              <a:extLst>
                <a:ext uri="{FF2B5EF4-FFF2-40B4-BE49-F238E27FC236}">
                  <a16:creationId xmlns:a16="http://schemas.microsoft.com/office/drawing/2014/main" xmlns="" id="{266439FC-F4F5-466F-A191-D883EC58B292}"/>
                </a:ext>
              </a:extLst>
            </p:cNvPr>
            <p:cNvSpPr>
              <a:spLocks/>
            </p:cNvSpPr>
            <p:nvPr/>
          </p:nvSpPr>
          <p:spPr bwMode="auto">
            <a:xfrm>
              <a:off x="16073659" y="3445541"/>
              <a:ext cx="349250" cy="330200"/>
            </a:xfrm>
            <a:custGeom>
              <a:avLst/>
              <a:gdLst>
                <a:gd name="T0" fmla="*/ 127 w 134"/>
                <a:gd name="T1" fmla="*/ 52 h 126"/>
                <a:gd name="T2" fmla="*/ 123 w 134"/>
                <a:gd name="T3" fmla="*/ 44 h 126"/>
                <a:gd name="T4" fmla="*/ 114 w 134"/>
                <a:gd name="T5" fmla="*/ 41 h 126"/>
                <a:gd name="T6" fmla="*/ 109 w 134"/>
                <a:gd name="T7" fmla="*/ 34 h 126"/>
                <a:gd name="T8" fmla="*/ 60 w 134"/>
                <a:gd name="T9" fmla="*/ 0 h 126"/>
                <a:gd name="T10" fmla="*/ 46 w 134"/>
                <a:gd name="T11" fmla="*/ 0 h 126"/>
                <a:gd name="T12" fmla="*/ 54 w 134"/>
                <a:gd name="T13" fmla="*/ 71 h 126"/>
                <a:gd name="T14" fmla="*/ 56 w 134"/>
                <a:gd name="T15" fmla="*/ 74 h 126"/>
                <a:gd name="T16" fmla="*/ 55 w 134"/>
                <a:gd name="T17" fmla="*/ 81 h 126"/>
                <a:gd name="T18" fmla="*/ 24 w 134"/>
                <a:gd name="T19" fmla="*/ 81 h 126"/>
                <a:gd name="T20" fmla="*/ 19 w 134"/>
                <a:gd name="T21" fmla="*/ 82 h 126"/>
                <a:gd name="T22" fmla="*/ 13 w 134"/>
                <a:gd name="T23" fmla="*/ 82 h 126"/>
                <a:gd name="T24" fmla="*/ 9 w 134"/>
                <a:gd name="T25" fmla="*/ 83 h 126"/>
                <a:gd name="T26" fmla="*/ 4 w 134"/>
                <a:gd name="T27" fmla="*/ 85 h 126"/>
                <a:gd name="T28" fmla="*/ 0 w 134"/>
                <a:gd name="T29" fmla="*/ 87 h 126"/>
                <a:gd name="T30" fmla="*/ 1 w 134"/>
                <a:gd name="T31" fmla="*/ 89 h 126"/>
                <a:gd name="T32" fmla="*/ 2 w 134"/>
                <a:gd name="T33" fmla="*/ 91 h 126"/>
                <a:gd name="T34" fmla="*/ 3 w 134"/>
                <a:gd name="T35" fmla="*/ 96 h 126"/>
                <a:gd name="T36" fmla="*/ 8 w 134"/>
                <a:gd name="T37" fmla="*/ 101 h 126"/>
                <a:gd name="T38" fmla="*/ 8 w 134"/>
                <a:gd name="T39" fmla="*/ 108 h 126"/>
                <a:gd name="T40" fmla="*/ 10 w 134"/>
                <a:gd name="T41" fmla="*/ 110 h 126"/>
                <a:gd name="T42" fmla="*/ 15 w 134"/>
                <a:gd name="T43" fmla="*/ 109 h 126"/>
                <a:gd name="T44" fmla="*/ 20 w 134"/>
                <a:gd name="T45" fmla="*/ 110 h 126"/>
                <a:gd name="T46" fmla="*/ 26 w 134"/>
                <a:gd name="T47" fmla="*/ 106 h 126"/>
                <a:gd name="T48" fmla="*/ 29 w 134"/>
                <a:gd name="T49" fmla="*/ 112 h 126"/>
                <a:gd name="T50" fmla="*/ 32 w 134"/>
                <a:gd name="T51" fmla="*/ 115 h 126"/>
                <a:gd name="T52" fmla="*/ 32 w 134"/>
                <a:gd name="T53" fmla="*/ 118 h 126"/>
                <a:gd name="T54" fmla="*/ 34 w 134"/>
                <a:gd name="T55" fmla="*/ 123 h 126"/>
                <a:gd name="T56" fmla="*/ 37 w 134"/>
                <a:gd name="T57" fmla="*/ 123 h 126"/>
                <a:gd name="T58" fmla="*/ 41 w 134"/>
                <a:gd name="T59" fmla="*/ 125 h 126"/>
                <a:gd name="T60" fmla="*/ 46 w 134"/>
                <a:gd name="T61" fmla="*/ 122 h 126"/>
                <a:gd name="T62" fmla="*/ 50 w 134"/>
                <a:gd name="T63" fmla="*/ 122 h 126"/>
                <a:gd name="T64" fmla="*/ 53 w 134"/>
                <a:gd name="T65" fmla="*/ 123 h 126"/>
                <a:gd name="T66" fmla="*/ 55 w 134"/>
                <a:gd name="T67" fmla="*/ 122 h 126"/>
                <a:gd name="T68" fmla="*/ 57 w 134"/>
                <a:gd name="T69" fmla="*/ 116 h 126"/>
                <a:gd name="T70" fmla="*/ 57 w 134"/>
                <a:gd name="T71" fmla="*/ 111 h 126"/>
                <a:gd name="T72" fmla="*/ 63 w 134"/>
                <a:gd name="T73" fmla="*/ 108 h 126"/>
                <a:gd name="T74" fmla="*/ 66 w 134"/>
                <a:gd name="T75" fmla="*/ 103 h 126"/>
                <a:gd name="T76" fmla="*/ 69 w 134"/>
                <a:gd name="T77" fmla="*/ 97 h 126"/>
                <a:gd name="T78" fmla="*/ 74 w 134"/>
                <a:gd name="T79" fmla="*/ 97 h 126"/>
                <a:gd name="T80" fmla="*/ 77 w 134"/>
                <a:gd name="T81" fmla="*/ 94 h 126"/>
                <a:gd name="T82" fmla="*/ 81 w 134"/>
                <a:gd name="T83" fmla="*/ 92 h 126"/>
                <a:gd name="T84" fmla="*/ 84 w 134"/>
                <a:gd name="T85" fmla="*/ 90 h 126"/>
                <a:gd name="T86" fmla="*/ 91 w 134"/>
                <a:gd name="T87" fmla="*/ 87 h 126"/>
                <a:gd name="T88" fmla="*/ 97 w 134"/>
                <a:gd name="T89" fmla="*/ 85 h 126"/>
                <a:gd name="T90" fmla="*/ 107 w 134"/>
                <a:gd name="T91" fmla="*/ 85 h 126"/>
                <a:gd name="T92" fmla="*/ 113 w 134"/>
                <a:gd name="T93" fmla="*/ 83 h 126"/>
                <a:gd name="T94" fmla="*/ 126 w 134"/>
                <a:gd name="T95" fmla="*/ 82 h 126"/>
                <a:gd name="T96" fmla="*/ 131 w 134"/>
                <a:gd name="T97" fmla="*/ 78 h 126"/>
                <a:gd name="T98" fmla="*/ 134 w 134"/>
                <a:gd name="T99" fmla="*/ 72 h 126"/>
                <a:gd name="T100" fmla="*/ 134 w 134"/>
                <a:gd name="T101" fmla="*/ 51 h 126"/>
                <a:gd name="T102" fmla="*/ 127 w 134"/>
                <a:gd name="T103" fmla="*/ 5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4" h="126">
                  <a:moveTo>
                    <a:pt x="127" y="52"/>
                  </a:moveTo>
                  <a:cubicBezTo>
                    <a:pt x="127" y="52"/>
                    <a:pt x="127" y="46"/>
                    <a:pt x="123" y="44"/>
                  </a:cubicBezTo>
                  <a:cubicBezTo>
                    <a:pt x="119" y="42"/>
                    <a:pt x="114" y="41"/>
                    <a:pt x="114" y="41"/>
                  </a:cubicBezTo>
                  <a:cubicBezTo>
                    <a:pt x="114" y="41"/>
                    <a:pt x="112" y="36"/>
                    <a:pt x="109" y="34"/>
                  </a:cubicBezTo>
                  <a:cubicBezTo>
                    <a:pt x="108" y="32"/>
                    <a:pt x="81" y="15"/>
                    <a:pt x="60" y="0"/>
                  </a:cubicBezTo>
                  <a:cubicBezTo>
                    <a:pt x="46" y="0"/>
                    <a:pt x="46" y="0"/>
                    <a:pt x="46" y="0"/>
                  </a:cubicBezTo>
                  <a:cubicBezTo>
                    <a:pt x="54" y="71"/>
                    <a:pt x="54" y="71"/>
                    <a:pt x="54" y="71"/>
                  </a:cubicBezTo>
                  <a:cubicBezTo>
                    <a:pt x="56" y="74"/>
                    <a:pt x="56" y="74"/>
                    <a:pt x="56" y="74"/>
                  </a:cubicBezTo>
                  <a:cubicBezTo>
                    <a:pt x="56" y="74"/>
                    <a:pt x="57" y="80"/>
                    <a:pt x="55" y="81"/>
                  </a:cubicBezTo>
                  <a:cubicBezTo>
                    <a:pt x="54" y="81"/>
                    <a:pt x="24" y="81"/>
                    <a:pt x="24" y="81"/>
                  </a:cubicBezTo>
                  <a:cubicBezTo>
                    <a:pt x="24" y="81"/>
                    <a:pt x="21" y="82"/>
                    <a:pt x="19" y="82"/>
                  </a:cubicBezTo>
                  <a:cubicBezTo>
                    <a:pt x="17" y="82"/>
                    <a:pt x="14" y="81"/>
                    <a:pt x="13" y="82"/>
                  </a:cubicBezTo>
                  <a:cubicBezTo>
                    <a:pt x="13" y="83"/>
                    <a:pt x="13" y="86"/>
                    <a:pt x="9" y="83"/>
                  </a:cubicBezTo>
                  <a:cubicBezTo>
                    <a:pt x="5" y="80"/>
                    <a:pt x="4" y="82"/>
                    <a:pt x="4" y="85"/>
                  </a:cubicBezTo>
                  <a:cubicBezTo>
                    <a:pt x="4" y="86"/>
                    <a:pt x="2" y="87"/>
                    <a:pt x="0" y="87"/>
                  </a:cubicBezTo>
                  <a:cubicBezTo>
                    <a:pt x="0" y="88"/>
                    <a:pt x="1" y="89"/>
                    <a:pt x="1" y="89"/>
                  </a:cubicBezTo>
                  <a:cubicBezTo>
                    <a:pt x="2" y="91"/>
                    <a:pt x="2" y="91"/>
                    <a:pt x="2" y="91"/>
                  </a:cubicBezTo>
                  <a:cubicBezTo>
                    <a:pt x="2" y="91"/>
                    <a:pt x="2" y="95"/>
                    <a:pt x="3" y="96"/>
                  </a:cubicBezTo>
                  <a:cubicBezTo>
                    <a:pt x="5" y="98"/>
                    <a:pt x="7" y="100"/>
                    <a:pt x="8" y="101"/>
                  </a:cubicBezTo>
                  <a:cubicBezTo>
                    <a:pt x="8" y="103"/>
                    <a:pt x="8" y="108"/>
                    <a:pt x="8" y="108"/>
                  </a:cubicBezTo>
                  <a:cubicBezTo>
                    <a:pt x="8" y="108"/>
                    <a:pt x="9" y="112"/>
                    <a:pt x="10" y="110"/>
                  </a:cubicBezTo>
                  <a:cubicBezTo>
                    <a:pt x="11" y="108"/>
                    <a:pt x="14" y="112"/>
                    <a:pt x="15" y="109"/>
                  </a:cubicBezTo>
                  <a:cubicBezTo>
                    <a:pt x="15" y="107"/>
                    <a:pt x="19" y="110"/>
                    <a:pt x="20" y="110"/>
                  </a:cubicBezTo>
                  <a:cubicBezTo>
                    <a:pt x="21" y="110"/>
                    <a:pt x="25" y="105"/>
                    <a:pt x="26" y="106"/>
                  </a:cubicBezTo>
                  <a:cubicBezTo>
                    <a:pt x="27" y="106"/>
                    <a:pt x="29" y="110"/>
                    <a:pt x="29" y="112"/>
                  </a:cubicBezTo>
                  <a:cubicBezTo>
                    <a:pt x="29" y="113"/>
                    <a:pt x="33" y="115"/>
                    <a:pt x="32" y="115"/>
                  </a:cubicBezTo>
                  <a:cubicBezTo>
                    <a:pt x="30" y="116"/>
                    <a:pt x="30" y="118"/>
                    <a:pt x="32" y="118"/>
                  </a:cubicBezTo>
                  <a:cubicBezTo>
                    <a:pt x="33" y="118"/>
                    <a:pt x="33" y="121"/>
                    <a:pt x="34" y="123"/>
                  </a:cubicBezTo>
                  <a:cubicBezTo>
                    <a:pt x="35" y="124"/>
                    <a:pt x="36" y="125"/>
                    <a:pt x="37" y="123"/>
                  </a:cubicBezTo>
                  <a:cubicBezTo>
                    <a:pt x="38" y="121"/>
                    <a:pt x="40" y="123"/>
                    <a:pt x="41" y="125"/>
                  </a:cubicBezTo>
                  <a:cubicBezTo>
                    <a:pt x="42" y="126"/>
                    <a:pt x="45" y="124"/>
                    <a:pt x="46" y="122"/>
                  </a:cubicBezTo>
                  <a:cubicBezTo>
                    <a:pt x="46" y="120"/>
                    <a:pt x="50" y="120"/>
                    <a:pt x="50" y="122"/>
                  </a:cubicBezTo>
                  <a:cubicBezTo>
                    <a:pt x="50" y="124"/>
                    <a:pt x="50" y="125"/>
                    <a:pt x="53" y="123"/>
                  </a:cubicBezTo>
                  <a:cubicBezTo>
                    <a:pt x="54" y="122"/>
                    <a:pt x="54" y="122"/>
                    <a:pt x="55" y="122"/>
                  </a:cubicBezTo>
                  <a:cubicBezTo>
                    <a:pt x="56" y="120"/>
                    <a:pt x="57" y="117"/>
                    <a:pt x="57" y="116"/>
                  </a:cubicBezTo>
                  <a:cubicBezTo>
                    <a:pt x="58" y="115"/>
                    <a:pt x="56" y="111"/>
                    <a:pt x="57" y="111"/>
                  </a:cubicBezTo>
                  <a:cubicBezTo>
                    <a:pt x="58" y="110"/>
                    <a:pt x="62" y="111"/>
                    <a:pt x="63" y="108"/>
                  </a:cubicBezTo>
                  <a:cubicBezTo>
                    <a:pt x="64" y="105"/>
                    <a:pt x="66" y="103"/>
                    <a:pt x="66" y="103"/>
                  </a:cubicBezTo>
                  <a:cubicBezTo>
                    <a:pt x="66" y="103"/>
                    <a:pt x="66" y="96"/>
                    <a:pt x="69" y="97"/>
                  </a:cubicBezTo>
                  <a:cubicBezTo>
                    <a:pt x="71" y="98"/>
                    <a:pt x="73" y="100"/>
                    <a:pt x="74" y="97"/>
                  </a:cubicBezTo>
                  <a:cubicBezTo>
                    <a:pt x="74" y="95"/>
                    <a:pt x="76" y="96"/>
                    <a:pt x="77" y="94"/>
                  </a:cubicBezTo>
                  <a:cubicBezTo>
                    <a:pt x="78" y="91"/>
                    <a:pt x="79" y="91"/>
                    <a:pt x="81" y="92"/>
                  </a:cubicBezTo>
                  <a:cubicBezTo>
                    <a:pt x="83" y="92"/>
                    <a:pt x="84" y="91"/>
                    <a:pt x="84" y="90"/>
                  </a:cubicBezTo>
                  <a:cubicBezTo>
                    <a:pt x="84" y="89"/>
                    <a:pt x="88" y="89"/>
                    <a:pt x="91" y="87"/>
                  </a:cubicBezTo>
                  <a:cubicBezTo>
                    <a:pt x="94" y="85"/>
                    <a:pt x="96" y="83"/>
                    <a:pt x="97" y="85"/>
                  </a:cubicBezTo>
                  <a:cubicBezTo>
                    <a:pt x="98" y="86"/>
                    <a:pt x="106" y="86"/>
                    <a:pt x="107" y="85"/>
                  </a:cubicBezTo>
                  <a:cubicBezTo>
                    <a:pt x="108" y="85"/>
                    <a:pt x="111" y="82"/>
                    <a:pt x="113" y="83"/>
                  </a:cubicBezTo>
                  <a:cubicBezTo>
                    <a:pt x="116" y="83"/>
                    <a:pt x="123" y="82"/>
                    <a:pt x="126" y="82"/>
                  </a:cubicBezTo>
                  <a:cubicBezTo>
                    <a:pt x="129" y="82"/>
                    <a:pt x="130" y="79"/>
                    <a:pt x="131" y="78"/>
                  </a:cubicBezTo>
                  <a:cubicBezTo>
                    <a:pt x="132" y="77"/>
                    <a:pt x="133" y="73"/>
                    <a:pt x="134" y="72"/>
                  </a:cubicBezTo>
                  <a:cubicBezTo>
                    <a:pt x="134" y="72"/>
                    <a:pt x="134" y="57"/>
                    <a:pt x="134" y="51"/>
                  </a:cubicBezTo>
                  <a:cubicBezTo>
                    <a:pt x="131" y="51"/>
                    <a:pt x="127" y="52"/>
                    <a:pt x="127" y="52"/>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94" name="Freeform 37">
              <a:extLst>
                <a:ext uri="{FF2B5EF4-FFF2-40B4-BE49-F238E27FC236}">
                  <a16:creationId xmlns:a16="http://schemas.microsoft.com/office/drawing/2014/main" xmlns="" id="{01589E0F-D0AB-4A80-BB3A-8952A10C6B42}"/>
                </a:ext>
              </a:extLst>
            </p:cNvPr>
            <p:cNvSpPr>
              <a:spLocks/>
            </p:cNvSpPr>
            <p:nvPr/>
          </p:nvSpPr>
          <p:spPr bwMode="auto">
            <a:xfrm>
              <a:off x="16216534" y="3663029"/>
              <a:ext cx="173038" cy="125412"/>
            </a:xfrm>
            <a:custGeom>
              <a:avLst/>
              <a:gdLst>
                <a:gd name="T0" fmla="*/ 66 w 66"/>
                <a:gd name="T1" fmla="*/ 27 h 48"/>
                <a:gd name="T2" fmla="*/ 63 w 66"/>
                <a:gd name="T3" fmla="*/ 25 h 48"/>
                <a:gd name="T4" fmla="*/ 62 w 66"/>
                <a:gd name="T5" fmla="*/ 21 h 48"/>
                <a:gd name="T6" fmla="*/ 58 w 66"/>
                <a:gd name="T7" fmla="*/ 22 h 48"/>
                <a:gd name="T8" fmla="*/ 55 w 66"/>
                <a:gd name="T9" fmla="*/ 19 h 48"/>
                <a:gd name="T10" fmla="*/ 53 w 66"/>
                <a:gd name="T11" fmla="*/ 16 h 48"/>
                <a:gd name="T12" fmla="*/ 50 w 66"/>
                <a:gd name="T13" fmla="*/ 11 h 48"/>
                <a:gd name="T14" fmla="*/ 47 w 66"/>
                <a:gd name="T15" fmla="*/ 7 h 48"/>
                <a:gd name="T16" fmla="*/ 47 w 66"/>
                <a:gd name="T17" fmla="*/ 2 h 48"/>
                <a:gd name="T18" fmla="*/ 42 w 66"/>
                <a:gd name="T19" fmla="*/ 2 h 48"/>
                <a:gd name="T20" fmla="*/ 36 w 66"/>
                <a:gd name="T21" fmla="*/ 4 h 48"/>
                <a:gd name="T22" fmla="*/ 29 w 66"/>
                <a:gd name="T23" fmla="*/ 7 h 48"/>
                <a:gd name="T24" fmla="*/ 26 w 66"/>
                <a:gd name="T25" fmla="*/ 9 h 48"/>
                <a:gd name="T26" fmla="*/ 22 w 66"/>
                <a:gd name="T27" fmla="*/ 11 h 48"/>
                <a:gd name="T28" fmla="*/ 19 w 66"/>
                <a:gd name="T29" fmla="*/ 14 h 48"/>
                <a:gd name="T30" fmla="*/ 14 w 66"/>
                <a:gd name="T31" fmla="*/ 14 h 48"/>
                <a:gd name="T32" fmla="*/ 11 w 66"/>
                <a:gd name="T33" fmla="*/ 20 h 48"/>
                <a:gd name="T34" fmla="*/ 8 w 66"/>
                <a:gd name="T35" fmla="*/ 25 h 48"/>
                <a:gd name="T36" fmla="*/ 2 w 66"/>
                <a:gd name="T37" fmla="*/ 28 h 48"/>
                <a:gd name="T38" fmla="*/ 2 w 66"/>
                <a:gd name="T39" fmla="*/ 33 h 48"/>
                <a:gd name="T40" fmla="*/ 0 w 66"/>
                <a:gd name="T41" fmla="*/ 39 h 48"/>
                <a:gd name="T42" fmla="*/ 4 w 66"/>
                <a:gd name="T43" fmla="*/ 42 h 48"/>
                <a:gd name="T44" fmla="*/ 11 w 66"/>
                <a:gd name="T45" fmla="*/ 45 h 48"/>
                <a:gd name="T46" fmla="*/ 21 w 66"/>
                <a:gd name="T47" fmla="*/ 44 h 48"/>
                <a:gd name="T48" fmla="*/ 23 w 66"/>
                <a:gd name="T49" fmla="*/ 43 h 48"/>
                <a:gd name="T50" fmla="*/ 22 w 66"/>
                <a:gd name="T51" fmla="*/ 35 h 48"/>
                <a:gd name="T52" fmla="*/ 42 w 66"/>
                <a:gd name="T53" fmla="*/ 36 h 48"/>
                <a:gd name="T54" fmla="*/ 45 w 66"/>
                <a:gd name="T55" fmla="*/ 34 h 48"/>
                <a:gd name="T56" fmla="*/ 53 w 66"/>
                <a:gd name="T57" fmla="*/ 35 h 48"/>
                <a:gd name="T58" fmla="*/ 57 w 66"/>
                <a:gd name="T59" fmla="*/ 32 h 48"/>
                <a:gd name="T60" fmla="*/ 64 w 66"/>
                <a:gd name="T61" fmla="*/ 30 h 48"/>
                <a:gd name="T62" fmla="*/ 66 w 66"/>
                <a:gd name="T63" fmla="*/ 27 h 48"/>
                <a:gd name="T64" fmla="*/ 66 w 66"/>
                <a:gd name="T65" fmla="*/ 27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6" h="48">
                  <a:moveTo>
                    <a:pt x="66" y="27"/>
                  </a:moveTo>
                  <a:cubicBezTo>
                    <a:pt x="65" y="26"/>
                    <a:pt x="63" y="25"/>
                    <a:pt x="63" y="25"/>
                  </a:cubicBezTo>
                  <a:cubicBezTo>
                    <a:pt x="62" y="25"/>
                    <a:pt x="62" y="22"/>
                    <a:pt x="62" y="21"/>
                  </a:cubicBezTo>
                  <a:cubicBezTo>
                    <a:pt x="62" y="20"/>
                    <a:pt x="59" y="22"/>
                    <a:pt x="58" y="22"/>
                  </a:cubicBezTo>
                  <a:cubicBezTo>
                    <a:pt x="57" y="21"/>
                    <a:pt x="56" y="19"/>
                    <a:pt x="55" y="19"/>
                  </a:cubicBezTo>
                  <a:cubicBezTo>
                    <a:pt x="53" y="19"/>
                    <a:pt x="53" y="17"/>
                    <a:pt x="53" y="16"/>
                  </a:cubicBezTo>
                  <a:cubicBezTo>
                    <a:pt x="53" y="14"/>
                    <a:pt x="51" y="12"/>
                    <a:pt x="50" y="11"/>
                  </a:cubicBezTo>
                  <a:cubicBezTo>
                    <a:pt x="48" y="10"/>
                    <a:pt x="48" y="7"/>
                    <a:pt x="47" y="7"/>
                  </a:cubicBezTo>
                  <a:cubicBezTo>
                    <a:pt x="46" y="6"/>
                    <a:pt x="47" y="4"/>
                    <a:pt x="47" y="2"/>
                  </a:cubicBezTo>
                  <a:cubicBezTo>
                    <a:pt x="45" y="2"/>
                    <a:pt x="42" y="2"/>
                    <a:pt x="42" y="2"/>
                  </a:cubicBezTo>
                  <a:cubicBezTo>
                    <a:pt x="41" y="0"/>
                    <a:pt x="39" y="2"/>
                    <a:pt x="36" y="4"/>
                  </a:cubicBezTo>
                  <a:cubicBezTo>
                    <a:pt x="33" y="6"/>
                    <a:pt x="29" y="6"/>
                    <a:pt x="29" y="7"/>
                  </a:cubicBezTo>
                  <a:cubicBezTo>
                    <a:pt x="29" y="8"/>
                    <a:pt x="28" y="9"/>
                    <a:pt x="26" y="9"/>
                  </a:cubicBezTo>
                  <a:cubicBezTo>
                    <a:pt x="24" y="8"/>
                    <a:pt x="23" y="8"/>
                    <a:pt x="22" y="11"/>
                  </a:cubicBezTo>
                  <a:cubicBezTo>
                    <a:pt x="21" y="13"/>
                    <a:pt x="19" y="12"/>
                    <a:pt x="19" y="14"/>
                  </a:cubicBezTo>
                  <a:cubicBezTo>
                    <a:pt x="18" y="17"/>
                    <a:pt x="16" y="15"/>
                    <a:pt x="14" y="14"/>
                  </a:cubicBezTo>
                  <a:cubicBezTo>
                    <a:pt x="11" y="13"/>
                    <a:pt x="11" y="20"/>
                    <a:pt x="11" y="20"/>
                  </a:cubicBezTo>
                  <a:cubicBezTo>
                    <a:pt x="11" y="20"/>
                    <a:pt x="9" y="22"/>
                    <a:pt x="8" y="25"/>
                  </a:cubicBezTo>
                  <a:cubicBezTo>
                    <a:pt x="7" y="28"/>
                    <a:pt x="3" y="27"/>
                    <a:pt x="2" y="28"/>
                  </a:cubicBezTo>
                  <a:cubicBezTo>
                    <a:pt x="1" y="28"/>
                    <a:pt x="3" y="32"/>
                    <a:pt x="2" y="33"/>
                  </a:cubicBezTo>
                  <a:cubicBezTo>
                    <a:pt x="2" y="34"/>
                    <a:pt x="1" y="37"/>
                    <a:pt x="0" y="39"/>
                  </a:cubicBezTo>
                  <a:cubicBezTo>
                    <a:pt x="2" y="40"/>
                    <a:pt x="4" y="41"/>
                    <a:pt x="4" y="42"/>
                  </a:cubicBezTo>
                  <a:cubicBezTo>
                    <a:pt x="5" y="43"/>
                    <a:pt x="9" y="48"/>
                    <a:pt x="11" y="45"/>
                  </a:cubicBezTo>
                  <a:cubicBezTo>
                    <a:pt x="13" y="43"/>
                    <a:pt x="19" y="43"/>
                    <a:pt x="21" y="44"/>
                  </a:cubicBezTo>
                  <a:cubicBezTo>
                    <a:pt x="22" y="46"/>
                    <a:pt x="23" y="45"/>
                    <a:pt x="23" y="43"/>
                  </a:cubicBezTo>
                  <a:cubicBezTo>
                    <a:pt x="24" y="42"/>
                    <a:pt x="21" y="37"/>
                    <a:pt x="22" y="35"/>
                  </a:cubicBezTo>
                  <a:cubicBezTo>
                    <a:pt x="23" y="34"/>
                    <a:pt x="41" y="35"/>
                    <a:pt x="42" y="36"/>
                  </a:cubicBezTo>
                  <a:cubicBezTo>
                    <a:pt x="43" y="37"/>
                    <a:pt x="43" y="33"/>
                    <a:pt x="45" y="34"/>
                  </a:cubicBezTo>
                  <a:cubicBezTo>
                    <a:pt x="48" y="34"/>
                    <a:pt x="51" y="35"/>
                    <a:pt x="53" y="35"/>
                  </a:cubicBezTo>
                  <a:cubicBezTo>
                    <a:pt x="54" y="34"/>
                    <a:pt x="56" y="32"/>
                    <a:pt x="57" y="32"/>
                  </a:cubicBezTo>
                  <a:cubicBezTo>
                    <a:pt x="58" y="32"/>
                    <a:pt x="63" y="31"/>
                    <a:pt x="64" y="30"/>
                  </a:cubicBezTo>
                  <a:cubicBezTo>
                    <a:pt x="65" y="29"/>
                    <a:pt x="66" y="29"/>
                    <a:pt x="66" y="27"/>
                  </a:cubicBezTo>
                  <a:cubicBezTo>
                    <a:pt x="66" y="27"/>
                    <a:pt x="66" y="27"/>
                    <a:pt x="66" y="27"/>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95" name="Freeform 38">
              <a:extLst>
                <a:ext uri="{FF2B5EF4-FFF2-40B4-BE49-F238E27FC236}">
                  <a16:creationId xmlns:a16="http://schemas.microsoft.com/office/drawing/2014/main" xmlns="" id="{598E112B-8FEC-467D-967F-04DA6001C01D}"/>
                </a:ext>
              </a:extLst>
            </p:cNvPr>
            <p:cNvSpPr>
              <a:spLocks/>
            </p:cNvSpPr>
            <p:nvPr/>
          </p:nvSpPr>
          <p:spPr bwMode="auto">
            <a:xfrm>
              <a:off x="16337184" y="3478879"/>
              <a:ext cx="325438" cy="257175"/>
            </a:xfrm>
            <a:custGeom>
              <a:avLst/>
              <a:gdLst>
                <a:gd name="T0" fmla="*/ 120 w 125"/>
                <a:gd name="T1" fmla="*/ 14 h 98"/>
                <a:gd name="T2" fmla="*/ 119 w 125"/>
                <a:gd name="T3" fmla="*/ 4 h 98"/>
                <a:gd name="T4" fmla="*/ 113 w 125"/>
                <a:gd name="T5" fmla="*/ 8 h 98"/>
                <a:gd name="T6" fmla="*/ 108 w 125"/>
                <a:gd name="T7" fmla="*/ 3 h 98"/>
                <a:gd name="T8" fmla="*/ 96 w 125"/>
                <a:gd name="T9" fmla="*/ 0 h 98"/>
                <a:gd name="T10" fmla="*/ 61 w 125"/>
                <a:gd name="T11" fmla="*/ 22 h 98"/>
                <a:gd name="T12" fmla="*/ 47 w 125"/>
                <a:gd name="T13" fmla="*/ 34 h 98"/>
                <a:gd name="T14" fmla="*/ 34 w 125"/>
                <a:gd name="T15" fmla="*/ 38 h 98"/>
                <a:gd name="T16" fmla="*/ 33 w 125"/>
                <a:gd name="T17" fmla="*/ 38 h 98"/>
                <a:gd name="T18" fmla="*/ 33 w 125"/>
                <a:gd name="T19" fmla="*/ 59 h 98"/>
                <a:gd name="T20" fmla="*/ 30 w 125"/>
                <a:gd name="T21" fmla="*/ 65 h 98"/>
                <a:gd name="T22" fmla="*/ 25 w 125"/>
                <a:gd name="T23" fmla="*/ 69 h 98"/>
                <a:gd name="T24" fmla="*/ 12 w 125"/>
                <a:gd name="T25" fmla="*/ 70 h 98"/>
                <a:gd name="T26" fmla="*/ 6 w 125"/>
                <a:gd name="T27" fmla="*/ 72 h 98"/>
                <a:gd name="T28" fmla="*/ 1 w 125"/>
                <a:gd name="T29" fmla="*/ 72 h 98"/>
                <a:gd name="T30" fmla="*/ 1 w 125"/>
                <a:gd name="T31" fmla="*/ 77 h 98"/>
                <a:gd name="T32" fmla="*/ 4 w 125"/>
                <a:gd name="T33" fmla="*/ 81 h 98"/>
                <a:gd name="T34" fmla="*/ 7 w 125"/>
                <a:gd name="T35" fmla="*/ 86 h 98"/>
                <a:gd name="T36" fmla="*/ 9 w 125"/>
                <a:gd name="T37" fmla="*/ 89 h 98"/>
                <a:gd name="T38" fmla="*/ 12 w 125"/>
                <a:gd name="T39" fmla="*/ 92 h 98"/>
                <a:gd name="T40" fmla="*/ 16 w 125"/>
                <a:gd name="T41" fmla="*/ 91 h 98"/>
                <a:gd name="T42" fmla="*/ 17 w 125"/>
                <a:gd name="T43" fmla="*/ 95 h 98"/>
                <a:gd name="T44" fmla="*/ 20 w 125"/>
                <a:gd name="T45" fmla="*/ 97 h 98"/>
                <a:gd name="T46" fmla="*/ 23 w 125"/>
                <a:gd name="T47" fmla="*/ 93 h 98"/>
                <a:gd name="T48" fmla="*/ 25 w 125"/>
                <a:gd name="T49" fmla="*/ 97 h 98"/>
                <a:gd name="T50" fmla="*/ 29 w 125"/>
                <a:gd name="T51" fmla="*/ 96 h 98"/>
                <a:gd name="T52" fmla="*/ 32 w 125"/>
                <a:gd name="T53" fmla="*/ 90 h 98"/>
                <a:gd name="T54" fmla="*/ 34 w 125"/>
                <a:gd name="T55" fmla="*/ 83 h 98"/>
                <a:gd name="T56" fmla="*/ 41 w 125"/>
                <a:gd name="T57" fmla="*/ 83 h 98"/>
                <a:gd name="T58" fmla="*/ 46 w 125"/>
                <a:gd name="T59" fmla="*/ 82 h 98"/>
                <a:gd name="T60" fmla="*/ 53 w 125"/>
                <a:gd name="T61" fmla="*/ 84 h 98"/>
                <a:gd name="T62" fmla="*/ 57 w 125"/>
                <a:gd name="T63" fmla="*/ 88 h 98"/>
                <a:gd name="T64" fmla="*/ 64 w 125"/>
                <a:gd name="T65" fmla="*/ 86 h 98"/>
                <a:gd name="T66" fmla="*/ 70 w 125"/>
                <a:gd name="T67" fmla="*/ 89 h 98"/>
                <a:gd name="T68" fmla="*/ 78 w 125"/>
                <a:gd name="T69" fmla="*/ 89 h 98"/>
                <a:gd name="T70" fmla="*/ 84 w 125"/>
                <a:gd name="T71" fmla="*/ 86 h 98"/>
                <a:gd name="T72" fmla="*/ 94 w 125"/>
                <a:gd name="T73" fmla="*/ 86 h 98"/>
                <a:gd name="T74" fmla="*/ 101 w 125"/>
                <a:gd name="T75" fmla="*/ 87 h 98"/>
                <a:gd name="T76" fmla="*/ 106 w 125"/>
                <a:gd name="T77" fmla="*/ 82 h 98"/>
                <a:gd name="T78" fmla="*/ 108 w 125"/>
                <a:gd name="T79" fmla="*/ 82 h 98"/>
                <a:gd name="T80" fmla="*/ 108 w 125"/>
                <a:gd name="T81" fmla="*/ 80 h 98"/>
                <a:gd name="T82" fmla="*/ 109 w 125"/>
                <a:gd name="T83" fmla="*/ 73 h 98"/>
                <a:gd name="T84" fmla="*/ 122 w 125"/>
                <a:gd name="T85" fmla="*/ 57 h 98"/>
                <a:gd name="T86" fmla="*/ 123 w 125"/>
                <a:gd name="T87" fmla="*/ 37 h 98"/>
                <a:gd name="T88" fmla="*/ 124 w 125"/>
                <a:gd name="T89" fmla="*/ 28 h 98"/>
                <a:gd name="T90" fmla="*/ 123 w 125"/>
                <a:gd name="T91" fmla="*/ 22 h 98"/>
                <a:gd name="T92" fmla="*/ 120 w 125"/>
                <a:gd name="T93" fmla="*/ 14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5" h="98">
                  <a:moveTo>
                    <a:pt x="120" y="14"/>
                  </a:moveTo>
                  <a:cubicBezTo>
                    <a:pt x="120" y="13"/>
                    <a:pt x="119" y="8"/>
                    <a:pt x="119" y="4"/>
                  </a:cubicBezTo>
                  <a:cubicBezTo>
                    <a:pt x="113" y="8"/>
                    <a:pt x="113" y="8"/>
                    <a:pt x="113" y="8"/>
                  </a:cubicBezTo>
                  <a:cubicBezTo>
                    <a:pt x="113" y="8"/>
                    <a:pt x="111" y="5"/>
                    <a:pt x="108" y="3"/>
                  </a:cubicBezTo>
                  <a:cubicBezTo>
                    <a:pt x="104" y="0"/>
                    <a:pt x="96" y="0"/>
                    <a:pt x="96" y="0"/>
                  </a:cubicBezTo>
                  <a:cubicBezTo>
                    <a:pt x="61" y="22"/>
                    <a:pt x="61" y="22"/>
                    <a:pt x="61" y="22"/>
                  </a:cubicBezTo>
                  <a:cubicBezTo>
                    <a:pt x="47" y="34"/>
                    <a:pt x="47" y="34"/>
                    <a:pt x="47" y="34"/>
                  </a:cubicBezTo>
                  <a:cubicBezTo>
                    <a:pt x="47" y="34"/>
                    <a:pt x="37" y="37"/>
                    <a:pt x="34" y="38"/>
                  </a:cubicBezTo>
                  <a:cubicBezTo>
                    <a:pt x="34" y="38"/>
                    <a:pt x="34" y="38"/>
                    <a:pt x="33" y="38"/>
                  </a:cubicBezTo>
                  <a:cubicBezTo>
                    <a:pt x="33" y="44"/>
                    <a:pt x="33" y="59"/>
                    <a:pt x="33" y="59"/>
                  </a:cubicBezTo>
                  <a:cubicBezTo>
                    <a:pt x="32" y="60"/>
                    <a:pt x="31" y="64"/>
                    <a:pt x="30" y="65"/>
                  </a:cubicBezTo>
                  <a:cubicBezTo>
                    <a:pt x="29" y="66"/>
                    <a:pt x="28" y="69"/>
                    <a:pt x="25" y="69"/>
                  </a:cubicBezTo>
                  <a:cubicBezTo>
                    <a:pt x="22" y="69"/>
                    <a:pt x="15" y="70"/>
                    <a:pt x="12" y="70"/>
                  </a:cubicBezTo>
                  <a:cubicBezTo>
                    <a:pt x="10" y="69"/>
                    <a:pt x="7" y="72"/>
                    <a:pt x="6" y="72"/>
                  </a:cubicBezTo>
                  <a:cubicBezTo>
                    <a:pt x="5" y="72"/>
                    <a:pt x="3" y="72"/>
                    <a:pt x="1" y="72"/>
                  </a:cubicBezTo>
                  <a:cubicBezTo>
                    <a:pt x="1" y="74"/>
                    <a:pt x="0" y="76"/>
                    <a:pt x="1" y="77"/>
                  </a:cubicBezTo>
                  <a:cubicBezTo>
                    <a:pt x="2" y="77"/>
                    <a:pt x="2" y="80"/>
                    <a:pt x="4" y="81"/>
                  </a:cubicBezTo>
                  <a:cubicBezTo>
                    <a:pt x="5" y="82"/>
                    <a:pt x="7" y="84"/>
                    <a:pt x="7" y="86"/>
                  </a:cubicBezTo>
                  <a:cubicBezTo>
                    <a:pt x="7" y="87"/>
                    <a:pt x="7" y="89"/>
                    <a:pt x="9" y="89"/>
                  </a:cubicBezTo>
                  <a:cubicBezTo>
                    <a:pt x="10" y="89"/>
                    <a:pt x="11" y="91"/>
                    <a:pt x="12" y="92"/>
                  </a:cubicBezTo>
                  <a:cubicBezTo>
                    <a:pt x="13" y="92"/>
                    <a:pt x="16" y="90"/>
                    <a:pt x="16" y="91"/>
                  </a:cubicBezTo>
                  <a:cubicBezTo>
                    <a:pt x="16" y="92"/>
                    <a:pt x="16" y="95"/>
                    <a:pt x="17" y="95"/>
                  </a:cubicBezTo>
                  <a:cubicBezTo>
                    <a:pt x="17" y="95"/>
                    <a:pt x="19" y="96"/>
                    <a:pt x="20" y="97"/>
                  </a:cubicBezTo>
                  <a:cubicBezTo>
                    <a:pt x="19" y="95"/>
                    <a:pt x="20" y="92"/>
                    <a:pt x="23" y="93"/>
                  </a:cubicBezTo>
                  <a:cubicBezTo>
                    <a:pt x="25" y="94"/>
                    <a:pt x="23" y="96"/>
                    <a:pt x="25" y="97"/>
                  </a:cubicBezTo>
                  <a:cubicBezTo>
                    <a:pt x="27" y="98"/>
                    <a:pt x="29" y="97"/>
                    <a:pt x="29" y="96"/>
                  </a:cubicBezTo>
                  <a:cubicBezTo>
                    <a:pt x="29" y="94"/>
                    <a:pt x="31" y="91"/>
                    <a:pt x="32" y="90"/>
                  </a:cubicBezTo>
                  <a:cubicBezTo>
                    <a:pt x="33" y="89"/>
                    <a:pt x="33" y="85"/>
                    <a:pt x="34" y="83"/>
                  </a:cubicBezTo>
                  <a:cubicBezTo>
                    <a:pt x="36" y="82"/>
                    <a:pt x="40" y="83"/>
                    <a:pt x="41" y="83"/>
                  </a:cubicBezTo>
                  <a:cubicBezTo>
                    <a:pt x="43" y="84"/>
                    <a:pt x="44" y="80"/>
                    <a:pt x="46" y="82"/>
                  </a:cubicBezTo>
                  <a:cubicBezTo>
                    <a:pt x="48" y="83"/>
                    <a:pt x="51" y="82"/>
                    <a:pt x="53" y="84"/>
                  </a:cubicBezTo>
                  <a:cubicBezTo>
                    <a:pt x="54" y="85"/>
                    <a:pt x="55" y="89"/>
                    <a:pt x="57" y="88"/>
                  </a:cubicBezTo>
                  <a:cubicBezTo>
                    <a:pt x="60" y="87"/>
                    <a:pt x="62" y="86"/>
                    <a:pt x="64" y="86"/>
                  </a:cubicBezTo>
                  <a:cubicBezTo>
                    <a:pt x="65" y="86"/>
                    <a:pt x="69" y="89"/>
                    <a:pt x="70" y="89"/>
                  </a:cubicBezTo>
                  <a:cubicBezTo>
                    <a:pt x="71" y="90"/>
                    <a:pt x="76" y="90"/>
                    <a:pt x="78" y="89"/>
                  </a:cubicBezTo>
                  <a:cubicBezTo>
                    <a:pt x="80" y="88"/>
                    <a:pt x="82" y="85"/>
                    <a:pt x="84" y="86"/>
                  </a:cubicBezTo>
                  <a:cubicBezTo>
                    <a:pt x="86" y="86"/>
                    <a:pt x="93" y="85"/>
                    <a:pt x="94" y="86"/>
                  </a:cubicBezTo>
                  <a:cubicBezTo>
                    <a:pt x="95" y="87"/>
                    <a:pt x="99" y="88"/>
                    <a:pt x="101" y="87"/>
                  </a:cubicBezTo>
                  <a:cubicBezTo>
                    <a:pt x="103" y="87"/>
                    <a:pt x="105" y="83"/>
                    <a:pt x="106" y="82"/>
                  </a:cubicBezTo>
                  <a:cubicBezTo>
                    <a:pt x="107" y="82"/>
                    <a:pt x="107" y="82"/>
                    <a:pt x="108" y="82"/>
                  </a:cubicBezTo>
                  <a:cubicBezTo>
                    <a:pt x="108" y="81"/>
                    <a:pt x="108" y="80"/>
                    <a:pt x="108" y="80"/>
                  </a:cubicBezTo>
                  <a:cubicBezTo>
                    <a:pt x="108" y="75"/>
                    <a:pt x="109" y="77"/>
                    <a:pt x="109" y="73"/>
                  </a:cubicBezTo>
                  <a:cubicBezTo>
                    <a:pt x="110" y="68"/>
                    <a:pt x="121" y="57"/>
                    <a:pt x="122" y="57"/>
                  </a:cubicBezTo>
                  <a:cubicBezTo>
                    <a:pt x="123" y="56"/>
                    <a:pt x="123" y="39"/>
                    <a:pt x="123" y="37"/>
                  </a:cubicBezTo>
                  <a:cubicBezTo>
                    <a:pt x="123" y="34"/>
                    <a:pt x="124" y="31"/>
                    <a:pt x="124" y="28"/>
                  </a:cubicBezTo>
                  <a:cubicBezTo>
                    <a:pt x="125" y="25"/>
                    <a:pt x="123" y="25"/>
                    <a:pt x="123" y="22"/>
                  </a:cubicBezTo>
                  <a:cubicBezTo>
                    <a:pt x="123" y="19"/>
                    <a:pt x="120" y="16"/>
                    <a:pt x="120" y="14"/>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96" name="Freeform 39">
              <a:extLst>
                <a:ext uri="{FF2B5EF4-FFF2-40B4-BE49-F238E27FC236}">
                  <a16:creationId xmlns:a16="http://schemas.microsoft.com/office/drawing/2014/main" xmlns="" id="{F58A8836-9674-4343-8418-13D85C4E747C}"/>
                </a:ext>
              </a:extLst>
            </p:cNvPr>
            <p:cNvSpPr>
              <a:spLocks/>
            </p:cNvSpPr>
            <p:nvPr/>
          </p:nvSpPr>
          <p:spPr bwMode="auto">
            <a:xfrm>
              <a:off x="16618172" y="3478879"/>
              <a:ext cx="207963" cy="350837"/>
            </a:xfrm>
            <a:custGeom>
              <a:avLst/>
              <a:gdLst>
                <a:gd name="T0" fmla="*/ 80 w 80"/>
                <a:gd name="T1" fmla="*/ 33 h 134"/>
                <a:gd name="T2" fmla="*/ 18 w 80"/>
                <a:gd name="T3" fmla="*/ 0 h 134"/>
                <a:gd name="T4" fmla="*/ 11 w 80"/>
                <a:gd name="T5" fmla="*/ 4 h 134"/>
                <a:gd name="T6" fmla="*/ 12 w 80"/>
                <a:gd name="T7" fmla="*/ 14 h 134"/>
                <a:gd name="T8" fmla="*/ 15 w 80"/>
                <a:gd name="T9" fmla="*/ 22 h 134"/>
                <a:gd name="T10" fmla="*/ 16 w 80"/>
                <a:gd name="T11" fmla="*/ 28 h 134"/>
                <a:gd name="T12" fmla="*/ 15 w 80"/>
                <a:gd name="T13" fmla="*/ 37 h 134"/>
                <a:gd name="T14" fmla="*/ 14 w 80"/>
                <a:gd name="T15" fmla="*/ 57 h 134"/>
                <a:gd name="T16" fmla="*/ 1 w 80"/>
                <a:gd name="T17" fmla="*/ 73 h 134"/>
                <a:gd name="T18" fmla="*/ 0 w 80"/>
                <a:gd name="T19" fmla="*/ 80 h 134"/>
                <a:gd name="T20" fmla="*/ 0 w 80"/>
                <a:gd name="T21" fmla="*/ 82 h 134"/>
                <a:gd name="T22" fmla="*/ 1 w 80"/>
                <a:gd name="T23" fmla="*/ 84 h 134"/>
                <a:gd name="T24" fmla="*/ 5 w 80"/>
                <a:gd name="T25" fmla="*/ 87 h 134"/>
                <a:gd name="T26" fmla="*/ 10 w 80"/>
                <a:gd name="T27" fmla="*/ 95 h 134"/>
                <a:gd name="T28" fmla="*/ 11 w 80"/>
                <a:gd name="T29" fmla="*/ 102 h 134"/>
                <a:gd name="T30" fmla="*/ 14 w 80"/>
                <a:gd name="T31" fmla="*/ 112 h 134"/>
                <a:gd name="T32" fmla="*/ 11 w 80"/>
                <a:gd name="T33" fmla="*/ 113 h 134"/>
                <a:gd name="T34" fmla="*/ 4 w 80"/>
                <a:gd name="T35" fmla="*/ 114 h 134"/>
                <a:gd name="T36" fmla="*/ 6 w 80"/>
                <a:gd name="T37" fmla="*/ 120 h 134"/>
                <a:gd name="T38" fmla="*/ 12 w 80"/>
                <a:gd name="T39" fmla="*/ 127 h 134"/>
                <a:gd name="T40" fmla="*/ 16 w 80"/>
                <a:gd name="T41" fmla="*/ 133 h 134"/>
                <a:gd name="T42" fmla="*/ 20 w 80"/>
                <a:gd name="T43" fmla="*/ 131 h 134"/>
                <a:gd name="T44" fmla="*/ 25 w 80"/>
                <a:gd name="T45" fmla="*/ 131 h 134"/>
                <a:gd name="T46" fmla="*/ 34 w 80"/>
                <a:gd name="T47" fmla="*/ 129 h 134"/>
                <a:gd name="T48" fmla="*/ 41 w 80"/>
                <a:gd name="T49" fmla="*/ 125 h 134"/>
                <a:gd name="T50" fmla="*/ 42 w 80"/>
                <a:gd name="T51" fmla="*/ 121 h 134"/>
                <a:gd name="T52" fmla="*/ 53 w 80"/>
                <a:gd name="T53" fmla="*/ 118 h 134"/>
                <a:gd name="T54" fmla="*/ 61 w 80"/>
                <a:gd name="T55" fmla="*/ 110 h 134"/>
                <a:gd name="T56" fmla="*/ 63 w 80"/>
                <a:gd name="T57" fmla="*/ 107 h 134"/>
                <a:gd name="T58" fmla="*/ 69 w 80"/>
                <a:gd name="T59" fmla="*/ 104 h 134"/>
                <a:gd name="T60" fmla="*/ 71 w 80"/>
                <a:gd name="T61" fmla="*/ 104 h 134"/>
                <a:gd name="T62" fmla="*/ 70 w 80"/>
                <a:gd name="T63" fmla="*/ 104 h 134"/>
                <a:gd name="T64" fmla="*/ 71 w 80"/>
                <a:gd name="T65" fmla="*/ 100 h 134"/>
                <a:gd name="T66" fmla="*/ 67 w 80"/>
                <a:gd name="T67" fmla="*/ 95 h 134"/>
                <a:gd name="T68" fmla="*/ 66 w 80"/>
                <a:gd name="T69" fmla="*/ 90 h 134"/>
                <a:gd name="T70" fmla="*/ 65 w 80"/>
                <a:gd name="T71" fmla="*/ 85 h 134"/>
                <a:gd name="T72" fmla="*/ 65 w 80"/>
                <a:gd name="T73" fmla="*/ 79 h 134"/>
                <a:gd name="T74" fmla="*/ 69 w 80"/>
                <a:gd name="T75" fmla="*/ 73 h 134"/>
                <a:gd name="T76" fmla="*/ 72 w 80"/>
                <a:gd name="T77" fmla="*/ 68 h 134"/>
                <a:gd name="T78" fmla="*/ 79 w 80"/>
                <a:gd name="T79" fmla="*/ 64 h 134"/>
                <a:gd name="T80" fmla="*/ 80 w 80"/>
                <a:gd name="T81" fmla="*/ 55 h 134"/>
                <a:gd name="T82" fmla="*/ 80 w 80"/>
                <a:gd name="T83" fmla="*/ 33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0" h="134">
                  <a:moveTo>
                    <a:pt x="80" y="33"/>
                  </a:moveTo>
                  <a:cubicBezTo>
                    <a:pt x="18" y="0"/>
                    <a:pt x="18" y="0"/>
                    <a:pt x="18" y="0"/>
                  </a:cubicBezTo>
                  <a:cubicBezTo>
                    <a:pt x="11" y="4"/>
                    <a:pt x="11" y="4"/>
                    <a:pt x="11" y="4"/>
                  </a:cubicBezTo>
                  <a:cubicBezTo>
                    <a:pt x="11" y="8"/>
                    <a:pt x="12" y="13"/>
                    <a:pt x="12" y="14"/>
                  </a:cubicBezTo>
                  <a:cubicBezTo>
                    <a:pt x="12" y="16"/>
                    <a:pt x="15" y="19"/>
                    <a:pt x="15" y="22"/>
                  </a:cubicBezTo>
                  <a:cubicBezTo>
                    <a:pt x="15" y="25"/>
                    <a:pt x="17" y="25"/>
                    <a:pt x="16" y="28"/>
                  </a:cubicBezTo>
                  <a:cubicBezTo>
                    <a:pt x="16" y="31"/>
                    <a:pt x="15" y="34"/>
                    <a:pt x="15" y="37"/>
                  </a:cubicBezTo>
                  <a:cubicBezTo>
                    <a:pt x="15" y="39"/>
                    <a:pt x="15" y="56"/>
                    <a:pt x="14" y="57"/>
                  </a:cubicBezTo>
                  <a:cubicBezTo>
                    <a:pt x="13" y="57"/>
                    <a:pt x="2" y="68"/>
                    <a:pt x="1" y="73"/>
                  </a:cubicBezTo>
                  <a:cubicBezTo>
                    <a:pt x="1" y="77"/>
                    <a:pt x="0" y="75"/>
                    <a:pt x="0" y="80"/>
                  </a:cubicBezTo>
                  <a:cubicBezTo>
                    <a:pt x="0" y="80"/>
                    <a:pt x="0" y="81"/>
                    <a:pt x="0" y="82"/>
                  </a:cubicBezTo>
                  <a:cubicBezTo>
                    <a:pt x="0" y="82"/>
                    <a:pt x="0" y="83"/>
                    <a:pt x="1" y="84"/>
                  </a:cubicBezTo>
                  <a:cubicBezTo>
                    <a:pt x="2" y="85"/>
                    <a:pt x="2" y="87"/>
                    <a:pt x="5" y="87"/>
                  </a:cubicBezTo>
                  <a:cubicBezTo>
                    <a:pt x="7" y="87"/>
                    <a:pt x="10" y="93"/>
                    <a:pt x="10" y="95"/>
                  </a:cubicBezTo>
                  <a:cubicBezTo>
                    <a:pt x="10" y="97"/>
                    <a:pt x="11" y="98"/>
                    <a:pt x="11" y="102"/>
                  </a:cubicBezTo>
                  <a:cubicBezTo>
                    <a:pt x="11" y="106"/>
                    <a:pt x="13" y="111"/>
                    <a:pt x="14" y="112"/>
                  </a:cubicBezTo>
                  <a:cubicBezTo>
                    <a:pt x="15" y="113"/>
                    <a:pt x="14" y="113"/>
                    <a:pt x="11" y="113"/>
                  </a:cubicBezTo>
                  <a:cubicBezTo>
                    <a:pt x="8" y="113"/>
                    <a:pt x="4" y="113"/>
                    <a:pt x="4" y="114"/>
                  </a:cubicBezTo>
                  <a:cubicBezTo>
                    <a:pt x="4" y="115"/>
                    <a:pt x="3" y="117"/>
                    <a:pt x="6" y="120"/>
                  </a:cubicBezTo>
                  <a:cubicBezTo>
                    <a:pt x="9" y="123"/>
                    <a:pt x="11" y="124"/>
                    <a:pt x="12" y="127"/>
                  </a:cubicBezTo>
                  <a:cubicBezTo>
                    <a:pt x="13" y="130"/>
                    <a:pt x="15" y="133"/>
                    <a:pt x="16" y="133"/>
                  </a:cubicBezTo>
                  <a:cubicBezTo>
                    <a:pt x="16" y="134"/>
                    <a:pt x="18" y="134"/>
                    <a:pt x="20" y="131"/>
                  </a:cubicBezTo>
                  <a:cubicBezTo>
                    <a:pt x="22" y="129"/>
                    <a:pt x="24" y="134"/>
                    <a:pt x="25" y="131"/>
                  </a:cubicBezTo>
                  <a:cubicBezTo>
                    <a:pt x="27" y="129"/>
                    <a:pt x="33" y="130"/>
                    <a:pt x="34" y="129"/>
                  </a:cubicBezTo>
                  <a:cubicBezTo>
                    <a:pt x="35" y="128"/>
                    <a:pt x="40" y="126"/>
                    <a:pt x="41" y="125"/>
                  </a:cubicBezTo>
                  <a:cubicBezTo>
                    <a:pt x="43" y="124"/>
                    <a:pt x="40" y="122"/>
                    <a:pt x="42" y="121"/>
                  </a:cubicBezTo>
                  <a:cubicBezTo>
                    <a:pt x="44" y="120"/>
                    <a:pt x="50" y="122"/>
                    <a:pt x="53" y="118"/>
                  </a:cubicBezTo>
                  <a:cubicBezTo>
                    <a:pt x="56" y="115"/>
                    <a:pt x="60" y="112"/>
                    <a:pt x="61" y="110"/>
                  </a:cubicBezTo>
                  <a:cubicBezTo>
                    <a:pt x="62" y="109"/>
                    <a:pt x="61" y="108"/>
                    <a:pt x="63" y="107"/>
                  </a:cubicBezTo>
                  <a:cubicBezTo>
                    <a:pt x="64" y="105"/>
                    <a:pt x="68" y="103"/>
                    <a:pt x="69" y="104"/>
                  </a:cubicBezTo>
                  <a:cubicBezTo>
                    <a:pt x="70" y="104"/>
                    <a:pt x="70" y="104"/>
                    <a:pt x="71" y="104"/>
                  </a:cubicBezTo>
                  <a:cubicBezTo>
                    <a:pt x="70" y="104"/>
                    <a:pt x="70" y="104"/>
                    <a:pt x="70" y="104"/>
                  </a:cubicBezTo>
                  <a:cubicBezTo>
                    <a:pt x="71" y="100"/>
                    <a:pt x="71" y="100"/>
                    <a:pt x="71" y="100"/>
                  </a:cubicBezTo>
                  <a:cubicBezTo>
                    <a:pt x="71" y="100"/>
                    <a:pt x="67" y="98"/>
                    <a:pt x="67" y="95"/>
                  </a:cubicBezTo>
                  <a:cubicBezTo>
                    <a:pt x="67" y="92"/>
                    <a:pt x="68" y="90"/>
                    <a:pt x="66" y="90"/>
                  </a:cubicBezTo>
                  <a:cubicBezTo>
                    <a:pt x="63" y="90"/>
                    <a:pt x="63" y="87"/>
                    <a:pt x="65" y="85"/>
                  </a:cubicBezTo>
                  <a:cubicBezTo>
                    <a:pt x="67" y="83"/>
                    <a:pt x="62" y="79"/>
                    <a:pt x="65" y="79"/>
                  </a:cubicBezTo>
                  <a:cubicBezTo>
                    <a:pt x="69" y="79"/>
                    <a:pt x="66" y="74"/>
                    <a:pt x="69" y="73"/>
                  </a:cubicBezTo>
                  <a:cubicBezTo>
                    <a:pt x="71" y="73"/>
                    <a:pt x="72" y="71"/>
                    <a:pt x="72" y="68"/>
                  </a:cubicBezTo>
                  <a:cubicBezTo>
                    <a:pt x="72" y="66"/>
                    <a:pt x="77" y="64"/>
                    <a:pt x="79" y="64"/>
                  </a:cubicBezTo>
                  <a:cubicBezTo>
                    <a:pt x="80" y="63"/>
                    <a:pt x="80" y="55"/>
                    <a:pt x="80" y="55"/>
                  </a:cubicBezTo>
                  <a:lnTo>
                    <a:pt x="80" y="33"/>
                  </a:ln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97" name="Freeform 40">
              <a:extLst>
                <a:ext uri="{FF2B5EF4-FFF2-40B4-BE49-F238E27FC236}">
                  <a16:creationId xmlns:a16="http://schemas.microsoft.com/office/drawing/2014/main" xmlns="" id="{07CBA58D-EBE6-402D-8537-6B19EBFD7F23}"/>
                </a:ext>
              </a:extLst>
            </p:cNvPr>
            <p:cNvSpPr>
              <a:spLocks/>
            </p:cNvSpPr>
            <p:nvPr/>
          </p:nvSpPr>
          <p:spPr bwMode="auto">
            <a:xfrm>
              <a:off x="16838834" y="3286791"/>
              <a:ext cx="230188" cy="230187"/>
            </a:xfrm>
            <a:custGeom>
              <a:avLst/>
              <a:gdLst>
                <a:gd name="T0" fmla="*/ 82 w 88"/>
                <a:gd name="T1" fmla="*/ 19 h 88"/>
                <a:gd name="T2" fmla="*/ 76 w 88"/>
                <a:gd name="T3" fmla="*/ 5 h 88"/>
                <a:gd name="T4" fmla="*/ 75 w 88"/>
                <a:gd name="T5" fmla="*/ 6 h 88"/>
                <a:gd name="T6" fmla="*/ 67 w 88"/>
                <a:gd name="T7" fmla="*/ 6 h 88"/>
                <a:gd name="T8" fmla="*/ 57 w 88"/>
                <a:gd name="T9" fmla="*/ 4 h 88"/>
                <a:gd name="T10" fmla="*/ 40 w 88"/>
                <a:gd name="T11" fmla="*/ 7 h 88"/>
                <a:gd name="T12" fmla="*/ 31 w 88"/>
                <a:gd name="T13" fmla="*/ 7 h 88"/>
                <a:gd name="T14" fmla="*/ 16 w 88"/>
                <a:gd name="T15" fmla="*/ 3 h 88"/>
                <a:gd name="T16" fmla="*/ 4 w 88"/>
                <a:gd name="T17" fmla="*/ 0 h 88"/>
                <a:gd name="T18" fmla="*/ 3 w 88"/>
                <a:gd name="T19" fmla="*/ 2 h 88"/>
                <a:gd name="T20" fmla="*/ 2 w 88"/>
                <a:gd name="T21" fmla="*/ 12 h 88"/>
                <a:gd name="T22" fmla="*/ 2 w 88"/>
                <a:gd name="T23" fmla="*/ 24 h 88"/>
                <a:gd name="T24" fmla="*/ 2 w 88"/>
                <a:gd name="T25" fmla="*/ 86 h 88"/>
                <a:gd name="T26" fmla="*/ 51 w 88"/>
                <a:gd name="T27" fmla="*/ 86 h 88"/>
                <a:gd name="T28" fmla="*/ 54 w 88"/>
                <a:gd name="T29" fmla="*/ 84 h 88"/>
                <a:gd name="T30" fmla="*/ 58 w 88"/>
                <a:gd name="T31" fmla="*/ 86 h 88"/>
                <a:gd name="T32" fmla="*/ 68 w 88"/>
                <a:gd name="T33" fmla="*/ 86 h 88"/>
                <a:gd name="T34" fmla="*/ 73 w 88"/>
                <a:gd name="T35" fmla="*/ 88 h 88"/>
                <a:gd name="T36" fmla="*/ 77 w 88"/>
                <a:gd name="T37" fmla="*/ 84 h 88"/>
                <a:gd name="T38" fmla="*/ 83 w 88"/>
                <a:gd name="T39" fmla="*/ 78 h 88"/>
                <a:gd name="T40" fmla="*/ 87 w 88"/>
                <a:gd name="T41" fmla="*/ 76 h 88"/>
                <a:gd name="T42" fmla="*/ 87 w 88"/>
                <a:gd name="T43" fmla="*/ 75 h 88"/>
                <a:gd name="T44" fmla="*/ 87 w 88"/>
                <a:gd name="T45" fmla="*/ 72 h 88"/>
                <a:gd name="T46" fmla="*/ 84 w 88"/>
                <a:gd name="T47" fmla="*/ 63 h 88"/>
                <a:gd name="T48" fmla="*/ 75 w 88"/>
                <a:gd name="T49" fmla="*/ 47 h 88"/>
                <a:gd name="T50" fmla="*/ 71 w 88"/>
                <a:gd name="T51" fmla="*/ 39 h 88"/>
                <a:gd name="T52" fmla="*/ 66 w 88"/>
                <a:gd name="T53" fmla="*/ 30 h 88"/>
                <a:gd name="T54" fmla="*/ 62 w 88"/>
                <a:gd name="T55" fmla="*/ 15 h 88"/>
                <a:gd name="T56" fmla="*/ 67 w 88"/>
                <a:gd name="T57" fmla="*/ 25 h 88"/>
                <a:gd name="T58" fmla="*/ 75 w 88"/>
                <a:gd name="T59" fmla="*/ 36 h 88"/>
                <a:gd name="T60" fmla="*/ 80 w 88"/>
                <a:gd name="T61" fmla="*/ 24 h 88"/>
                <a:gd name="T62" fmla="*/ 81 w 88"/>
                <a:gd name="T63" fmla="*/ 25 h 88"/>
                <a:gd name="T64" fmla="*/ 81 w 88"/>
                <a:gd name="T65" fmla="*/ 23 h 88"/>
                <a:gd name="T66" fmla="*/ 82 w 88"/>
                <a:gd name="T67" fmla="*/ 19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8" h="88">
                  <a:moveTo>
                    <a:pt x="82" y="19"/>
                  </a:moveTo>
                  <a:cubicBezTo>
                    <a:pt x="76" y="5"/>
                    <a:pt x="76" y="5"/>
                    <a:pt x="76" y="5"/>
                  </a:cubicBezTo>
                  <a:cubicBezTo>
                    <a:pt x="76" y="6"/>
                    <a:pt x="76" y="6"/>
                    <a:pt x="75" y="6"/>
                  </a:cubicBezTo>
                  <a:cubicBezTo>
                    <a:pt x="74" y="7"/>
                    <a:pt x="70" y="5"/>
                    <a:pt x="67" y="6"/>
                  </a:cubicBezTo>
                  <a:cubicBezTo>
                    <a:pt x="63" y="7"/>
                    <a:pt x="60" y="6"/>
                    <a:pt x="57" y="4"/>
                  </a:cubicBezTo>
                  <a:cubicBezTo>
                    <a:pt x="53" y="2"/>
                    <a:pt x="41" y="4"/>
                    <a:pt x="40" y="7"/>
                  </a:cubicBezTo>
                  <a:cubicBezTo>
                    <a:pt x="38" y="9"/>
                    <a:pt x="34" y="9"/>
                    <a:pt x="31" y="7"/>
                  </a:cubicBezTo>
                  <a:cubicBezTo>
                    <a:pt x="27" y="6"/>
                    <a:pt x="23" y="4"/>
                    <a:pt x="16" y="3"/>
                  </a:cubicBezTo>
                  <a:cubicBezTo>
                    <a:pt x="10" y="3"/>
                    <a:pt x="5" y="2"/>
                    <a:pt x="4" y="0"/>
                  </a:cubicBezTo>
                  <a:cubicBezTo>
                    <a:pt x="4" y="1"/>
                    <a:pt x="3" y="2"/>
                    <a:pt x="3" y="2"/>
                  </a:cubicBezTo>
                  <a:cubicBezTo>
                    <a:pt x="1" y="8"/>
                    <a:pt x="5" y="9"/>
                    <a:pt x="2" y="12"/>
                  </a:cubicBezTo>
                  <a:cubicBezTo>
                    <a:pt x="0" y="15"/>
                    <a:pt x="2" y="19"/>
                    <a:pt x="2" y="24"/>
                  </a:cubicBezTo>
                  <a:cubicBezTo>
                    <a:pt x="2" y="28"/>
                    <a:pt x="2" y="64"/>
                    <a:pt x="2" y="86"/>
                  </a:cubicBezTo>
                  <a:cubicBezTo>
                    <a:pt x="51" y="86"/>
                    <a:pt x="51" y="86"/>
                    <a:pt x="51" y="86"/>
                  </a:cubicBezTo>
                  <a:cubicBezTo>
                    <a:pt x="51" y="86"/>
                    <a:pt x="53" y="85"/>
                    <a:pt x="54" y="84"/>
                  </a:cubicBezTo>
                  <a:cubicBezTo>
                    <a:pt x="56" y="83"/>
                    <a:pt x="58" y="86"/>
                    <a:pt x="58" y="86"/>
                  </a:cubicBezTo>
                  <a:cubicBezTo>
                    <a:pt x="68" y="86"/>
                    <a:pt x="68" y="86"/>
                    <a:pt x="68" y="86"/>
                  </a:cubicBezTo>
                  <a:cubicBezTo>
                    <a:pt x="68" y="86"/>
                    <a:pt x="70" y="88"/>
                    <a:pt x="73" y="88"/>
                  </a:cubicBezTo>
                  <a:cubicBezTo>
                    <a:pt x="75" y="88"/>
                    <a:pt x="74" y="84"/>
                    <a:pt x="77" y="84"/>
                  </a:cubicBezTo>
                  <a:cubicBezTo>
                    <a:pt x="81" y="84"/>
                    <a:pt x="80" y="78"/>
                    <a:pt x="83" y="78"/>
                  </a:cubicBezTo>
                  <a:cubicBezTo>
                    <a:pt x="85" y="78"/>
                    <a:pt x="85" y="79"/>
                    <a:pt x="87" y="76"/>
                  </a:cubicBezTo>
                  <a:cubicBezTo>
                    <a:pt x="87" y="76"/>
                    <a:pt x="87" y="75"/>
                    <a:pt x="87" y="75"/>
                  </a:cubicBezTo>
                  <a:cubicBezTo>
                    <a:pt x="87" y="74"/>
                    <a:pt x="87" y="73"/>
                    <a:pt x="87" y="72"/>
                  </a:cubicBezTo>
                  <a:cubicBezTo>
                    <a:pt x="88" y="68"/>
                    <a:pt x="85" y="69"/>
                    <a:pt x="84" y="63"/>
                  </a:cubicBezTo>
                  <a:cubicBezTo>
                    <a:pt x="82" y="58"/>
                    <a:pt x="75" y="50"/>
                    <a:pt x="75" y="47"/>
                  </a:cubicBezTo>
                  <a:cubicBezTo>
                    <a:pt x="75" y="44"/>
                    <a:pt x="71" y="42"/>
                    <a:pt x="71" y="39"/>
                  </a:cubicBezTo>
                  <a:cubicBezTo>
                    <a:pt x="71" y="35"/>
                    <a:pt x="69" y="35"/>
                    <a:pt x="66" y="30"/>
                  </a:cubicBezTo>
                  <a:cubicBezTo>
                    <a:pt x="62" y="24"/>
                    <a:pt x="61" y="15"/>
                    <a:pt x="62" y="15"/>
                  </a:cubicBezTo>
                  <a:cubicBezTo>
                    <a:pt x="63" y="15"/>
                    <a:pt x="66" y="23"/>
                    <a:pt x="67" y="25"/>
                  </a:cubicBezTo>
                  <a:cubicBezTo>
                    <a:pt x="69" y="28"/>
                    <a:pt x="73" y="36"/>
                    <a:pt x="75" y="36"/>
                  </a:cubicBezTo>
                  <a:cubicBezTo>
                    <a:pt x="78" y="36"/>
                    <a:pt x="79" y="24"/>
                    <a:pt x="80" y="24"/>
                  </a:cubicBezTo>
                  <a:cubicBezTo>
                    <a:pt x="80" y="24"/>
                    <a:pt x="80" y="25"/>
                    <a:pt x="81" y="25"/>
                  </a:cubicBezTo>
                  <a:cubicBezTo>
                    <a:pt x="81" y="23"/>
                    <a:pt x="81" y="23"/>
                    <a:pt x="81" y="23"/>
                  </a:cubicBezTo>
                  <a:lnTo>
                    <a:pt x="82" y="19"/>
                  </a:ln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98" name="Freeform 41">
              <a:extLst>
                <a:ext uri="{FF2B5EF4-FFF2-40B4-BE49-F238E27FC236}">
                  <a16:creationId xmlns:a16="http://schemas.microsoft.com/office/drawing/2014/main" xmlns="" id="{36BEED31-D190-4FD8-B1FC-13D9E4123803}"/>
                </a:ext>
              </a:extLst>
            </p:cNvPr>
            <p:cNvSpPr>
              <a:spLocks/>
            </p:cNvSpPr>
            <p:nvPr/>
          </p:nvSpPr>
          <p:spPr bwMode="auto">
            <a:xfrm>
              <a:off x="16516572" y="3937666"/>
              <a:ext cx="120650" cy="133350"/>
            </a:xfrm>
            <a:custGeom>
              <a:avLst/>
              <a:gdLst>
                <a:gd name="T0" fmla="*/ 23 w 46"/>
                <a:gd name="T1" fmla="*/ 48 h 51"/>
                <a:gd name="T2" fmla="*/ 24 w 46"/>
                <a:gd name="T3" fmla="*/ 42 h 51"/>
                <a:gd name="T4" fmla="*/ 29 w 46"/>
                <a:gd name="T5" fmla="*/ 38 h 51"/>
                <a:gd name="T6" fmla="*/ 33 w 46"/>
                <a:gd name="T7" fmla="*/ 34 h 51"/>
                <a:gd name="T8" fmla="*/ 37 w 46"/>
                <a:gd name="T9" fmla="*/ 39 h 51"/>
                <a:gd name="T10" fmla="*/ 43 w 46"/>
                <a:gd name="T11" fmla="*/ 40 h 51"/>
                <a:gd name="T12" fmla="*/ 46 w 46"/>
                <a:gd name="T13" fmla="*/ 30 h 51"/>
                <a:gd name="T14" fmla="*/ 44 w 46"/>
                <a:gd name="T15" fmla="*/ 22 h 51"/>
                <a:gd name="T16" fmla="*/ 42 w 46"/>
                <a:gd name="T17" fmla="*/ 16 h 51"/>
                <a:gd name="T18" fmla="*/ 43 w 46"/>
                <a:gd name="T19" fmla="*/ 9 h 51"/>
                <a:gd name="T20" fmla="*/ 35 w 46"/>
                <a:gd name="T21" fmla="*/ 9 h 51"/>
                <a:gd name="T22" fmla="*/ 36 w 46"/>
                <a:gd name="T23" fmla="*/ 1 h 51"/>
                <a:gd name="T24" fmla="*/ 24 w 46"/>
                <a:gd name="T25" fmla="*/ 0 h 51"/>
                <a:gd name="T26" fmla="*/ 23 w 46"/>
                <a:gd name="T27" fmla="*/ 1 h 51"/>
                <a:gd name="T28" fmla="*/ 22 w 46"/>
                <a:gd name="T29" fmla="*/ 11 h 51"/>
                <a:gd name="T30" fmla="*/ 11 w 46"/>
                <a:gd name="T31" fmla="*/ 12 h 51"/>
                <a:gd name="T32" fmla="*/ 8 w 46"/>
                <a:gd name="T33" fmla="*/ 12 h 51"/>
                <a:gd name="T34" fmla="*/ 6 w 46"/>
                <a:gd name="T35" fmla="*/ 14 h 51"/>
                <a:gd name="T36" fmla="*/ 9 w 46"/>
                <a:gd name="T37" fmla="*/ 18 h 51"/>
                <a:gd name="T38" fmla="*/ 5 w 46"/>
                <a:gd name="T39" fmla="*/ 21 h 51"/>
                <a:gd name="T40" fmla="*/ 2 w 46"/>
                <a:gd name="T41" fmla="*/ 26 h 51"/>
                <a:gd name="T42" fmla="*/ 6 w 46"/>
                <a:gd name="T43" fmla="*/ 33 h 51"/>
                <a:gd name="T44" fmla="*/ 11 w 46"/>
                <a:gd name="T45" fmla="*/ 41 h 51"/>
                <a:gd name="T46" fmla="*/ 19 w 46"/>
                <a:gd name="T47" fmla="*/ 51 h 51"/>
                <a:gd name="T48" fmla="*/ 23 w 46"/>
                <a:gd name="T49" fmla="*/ 4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6" h="51">
                  <a:moveTo>
                    <a:pt x="23" y="48"/>
                  </a:moveTo>
                  <a:cubicBezTo>
                    <a:pt x="27" y="48"/>
                    <a:pt x="26" y="46"/>
                    <a:pt x="24" y="42"/>
                  </a:cubicBezTo>
                  <a:cubicBezTo>
                    <a:pt x="23" y="38"/>
                    <a:pt x="27" y="38"/>
                    <a:pt x="29" y="38"/>
                  </a:cubicBezTo>
                  <a:cubicBezTo>
                    <a:pt x="32" y="38"/>
                    <a:pt x="31" y="34"/>
                    <a:pt x="33" y="34"/>
                  </a:cubicBezTo>
                  <a:cubicBezTo>
                    <a:pt x="35" y="34"/>
                    <a:pt x="35" y="39"/>
                    <a:pt x="37" y="39"/>
                  </a:cubicBezTo>
                  <a:cubicBezTo>
                    <a:pt x="39" y="38"/>
                    <a:pt x="41" y="40"/>
                    <a:pt x="43" y="40"/>
                  </a:cubicBezTo>
                  <a:cubicBezTo>
                    <a:pt x="46" y="39"/>
                    <a:pt x="46" y="34"/>
                    <a:pt x="46" y="30"/>
                  </a:cubicBezTo>
                  <a:cubicBezTo>
                    <a:pt x="46" y="27"/>
                    <a:pt x="46" y="24"/>
                    <a:pt x="44" y="22"/>
                  </a:cubicBezTo>
                  <a:cubicBezTo>
                    <a:pt x="41" y="21"/>
                    <a:pt x="39" y="17"/>
                    <a:pt x="42" y="16"/>
                  </a:cubicBezTo>
                  <a:cubicBezTo>
                    <a:pt x="45" y="14"/>
                    <a:pt x="46" y="11"/>
                    <a:pt x="43" y="9"/>
                  </a:cubicBezTo>
                  <a:cubicBezTo>
                    <a:pt x="41" y="7"/>
                    <a:pt x="35" y="11"/>
                    <a:pt x="35" y="9"/>
                  </a:cubicBezTo>
                  <a:cubicBezTo>
                    <a:pt x="35" y="8"/>
                    <a:pt x="36" y="4"/>
                    <a:pt x="36" y="1"/>
                  </a:cubicBezTo>
                  <a:cubicBezTo>
                    <a:pt x="30" y="1"/>
                    <a:pt x="24" y="0"/>
                    <a:pt x="24" y="0"/>
                  </a:cubicBezTo>
                  <a:cubicBezTo>
                    <a:pt x="23" y="1"/>
                    <a:pt x="23" y="1"/>
                    <a:pt x="23" y="1"/>
                  </a:cubicBezTo>
                  <a:cubicBezTo>
                    <a:pt x="23" y="7"/>
                    <a:pt x="22" y="11"/>
                    <a:pt x="22" y="11"/>
                  </a:cubicBezTo>
                  <a:cubicBezTo>
                    <a:pt x="22" y="11"/>
                    <a:pt x="13" y="12"/>
                    <a:pt x="11" y="12"/>
                  </a:cubicBezTo>
                  <a:cubicBezTo>
                    <a:pt x="11" y="12"/>
                    <a:pt x="10" y="12"/>
                    <a:pt x="8" y="12"/>
                  </a:cubicBezTo>
                  <a:cubicBezTo>
                    <a:pt x="7" y="13"/>
                    <a:pt x="7" y="13"/>
                    <a:pt x="6" y="14"/>
                  </a:cubicBezTo>
                  <a:cubicBezTo>
                    <a:pt x="5" y="15"/>
                    <a:pt x="9" y="16"/>
                    <a:pt x="9" y="18"/>
                  </a:cubicBezTo>
                  <a:cubicBezTo>
                    <a:pt x="10" y="19"/>
                    <a:pt x="5" y="19"/>
                    <a:pt x="5" y="21"/>
                  </a:cubicBezTo>
                  <a:cubicBezTo>
                    <a:pt x="5" y="23"/>
                    <a:pt x="3" y="25"/>
                    <a:pt x="2" y="26"/>
                  </a:cubicBezTo>
                  <a:cubicBezTo>
                    <a:pt x="0" y="27"/>
                    <a:pt x="6" y="32"/>
                    <a:pt x="6" y="33"/>
                  </a:cubicBezTo>
                  <a:cubicBezTo>
                    <a:pt x="6" y="35"/>
                    <a:pt x="7" y="36"/>
                    <a:pt x="11" y="41"/>
                  </a:cubicBezTo>
                  <a:cubicBezTo>
                    <a:pt x="16" y="45"/>
                    <a:pt x="14" y="46"/>
                    <a:pt x="19" y="51"/>
                  </a:cubicBezTo>
                  <a:cubicBezTo>
                    <a:pt x="20" y="50"/>
                    <a:pt x="21" y="48"/>
                    <a:pt x="23" y="48"/>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99" name="Freeform 42">
              <a:extLst>
                <a:ext uri="{FF2B5EF4-FFF2-40B4-BE49-F238E27FC236}">
                  <a16:creationId xmlns:a16="http://schemas.microsoft.com/office/drawing/2014/main" xmlns="" id="{F5215494-CA72-4251-A243-F2FAE040506B}"/>
                </a:ext>
              </a:extLst>
            </p:cNvPr>
            <p:cNvSpPr>
              <a:spLocks/>
            </p:cNvSpPr>
            <p:nvPr/>
          </p:nvSpPr>
          <p:spPr bwMode="auto">
            <a:xfrm>
              <a:off x="16529272" y="3939254"/>
              <a:ext cx="47625" cy="28575"/>
            </a:xfrm>
            <a:custGeom>
              <a:avLst/>
              <a:gdLst>
                <a:gd name="T0" fmla="*/ 17 w 18"/>
                <a:gd name="T1" fmla="*/ 10 h 11"/>
                <a:gd name="T2" fmla="*/ 18 w 18"/>
                <a:gd name="T3" fmla="*/ 0 h 11"/>
                <a:gd name="T4" fmla="*/ 16 w 18"/>
                <a:gd name="T5" fmla="*/ 0 h 11"/>
                <a:gd name="T6" fmla="*/ 4 w 18"/>
                <a:gd name="T7" fmla="*/ 0 h 11"/>
                <a:gd name="T8" fmla="*/ 5 w 18"/>
                <a:gd name="T9" fmla="*/ 1 h 11"/>
                <a:gd name="T10" fmla="*/ 3 w 18"/>
                <a:gd name="T11" fmla="*/ 6 h 11"/>
                <a:gd name="T12" fmla="*/ 2 w 18"/>
                <a:gd name="T13" fmla="*/ 9 h 11"/>
                <a:gd name="T14" fmla="*/ 3 w 18"/>
                <a:gd name="T15" fmla="*/ 11 h 11"/>
                <a:gd name="T16" fmla="*/ 6 w 18"/>
                <a:gd name="T17" fmla="*/ 11 h 11"/>
                <a:gd name="T18" fmla="*/ 17 w 18"/>
                <a:gd name="T19"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11">
                  <a:moveTo>
                    <a:pt x="17" y="10"/>
                  </a:moveTo>
                  <a:cubicBezTo>
                    <a:pt x="17" y="10"/>
                    <a:pt x="18" y="6"/>
                    <a:pt x="18" y="0"/>
                  </a:cubicBezTo>
                  <a:cubicBezTo>
                    <a:pt x="16" y="0"/>
                    <a:pt x="16" y="0"/>
                    <a:pt x="16" y="0"/>
                  </a:cubicBezTo>
                  <a:cubicBezTo>
                    <a:pt x="4" y="0"/>
                    <a:pt x="4" y="0"/>
                    <a:pt x="4" y="0"/>
                  </a:cubicBezTo>
                  <a:cubicBezTo>
                    <a:pt x="5" y="0"/>
                    <a:pt x="5" y="0"/>
                    <a:pt x="5" y="1"/>
                  </a:cubicBezTo>
                  <a:cubicBezTo>
                    <a:pt x="6" y="2"/>
                    <a:pt x="5" y="5"/>
                    <a:pt x="3" y="6"/>
                  </a:cubicBezTo>
                  <a:cubicBezTo>
                    <a:pt x="0" y="7"/>
                    <a:pt x="0" y="9"/>
                    <a:pt x="2" y="9"/>
                  </a:cubicBezTo>
                  <a:cubicBezTo>
                    <a:pt x="4" y="9"/>
                    <a:pt x="3" y="10"/>
                    <a:pt x="3" y="11"/>
                  </a:cubicBezTo>
                  <a:cubicBezTo>
                    <a:pt x="5" y="11"/>
                    <a:pt x="6" y="11"/>
                    <a:pt x="6" y="11"/>
                  </a:cubicBezTo>
                  <a:cubicBezTo>
                    <a:pt x="8" y="11"/>
                    <a:pt x="17" y="10"/>
                    <a:pt x="17" y="10"/>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00" name="Freeform 43">
              <a:extLst>
                <a:ext uri="{FF2B5EF4-FFF2-40B4-BE49-F238E27FC236}">
                  <a16:creationId xmlns:a16="http://schemas.microsoft.com/office/drawing/2014/main" xmlns="" id="{E002F2F2-0688-4D26-9015-FE194F5DBF3D}"/>
                </a:ext>
              </a:extLst>
            </p:cNvPr>
            <p:cNvSpPr>
              <a:spLocks/>
            </p:cNvSpPr>
            <p:nvPr/>
          </p:nvSpPr>
          <p:spPr bwMode="auto">
            <a:xfrm>
              <a:off x="16565784" y="3907504"/>
              <a:ext cx="149225" cy="185737"/>
            </a:xfrm>
            <a:custGeom>
              <a:avLst/>
              <a:gdLst>
                <a:gd name="T0" fmla="*/ 16 w 57"/>
                <a:gd name="T1" fmla="*/ 67 h 71"/>
                <a:gd name="T2" fmla="*/ 21 w 57"/>
                <a:gd name="T3" fmla="*/ 67 h 71"/>
                <a:gd name="T4" fmla="*/ 28 w 57"/>
                <a:gd name="T5" fmla="*/ 68 h 71"/>
                <a:gd name="T6" fmla="*/ 31 w 57"/>
                <a:gd name="T7" fmla="*/ 67 h 71"/>
                <a:gd name="T8" fmla="*/ 36 w 57"/>
                <a:gd name="T9" fmla="*/ 63 h 71"/>
                <a:gd name="T10" fmla="*/ 39 w 57"/>
                <a:gd name="T11" fmla="*/ 57 h 71"/>
                <a:gd name="T12" fmla="*/ 40 w 57"/>
                <a:gd name="T13" fmla="*/ 43 h 71"/>
                <a:gd name="T14" fmla="*/ 47 w 57"/>
                <a:gd name="T15" fmla="*/ 35 h 71"/>
                <a:gd name="T16" fmla="*/ 52 w 57"/>
                <a:gd name="T17" fmla="*/ 18 h 71"/>
                <a:gd name="T18" fmla="*/ 55 w 57"/>
                <a:gd name="T19" fmla="*/ 9 h 71"/>
                <a:gd name="T20" fmla="*/ 57 w 57"/>
                <a:gd name="T21" fmla="*/ 1 h 71"/>
                <a:gd name="T22" fmla="*/ 57 w 57"/>
                <a:gd name="T23" fmla="*/ 1 h 71"/>
                <a:gd name="T24" fmla="*/ 50 w 57"/>
                <a:gd name="T25" fmla="*/ 0 h 71"/>
                <a:gd name="T26" fmla="*/ 46 w 57"/>
                <a:gd name="T27" fmla="*/ 1 h 71"/>
                <a:gd name="T28" fmla="*/ 42 w 57"/>
                <a:gd name="T29" fmla="*/ 2 h 71"/>
                <a:gd name="T30" fmla="*/ 40 w 57"/>
                <a:gd name="T31" fmla="*/ 8 h 71"/>
                <a:gd name="T32" fmla="*/ 38 w 57"/>
                <a:gd name="T33" fmla="*/ 16 h 71"/>
                <a:gd name="T34" fmla="*/ 26 w 57"/>
                <a:gd name="T35" fmla="*/ 12 h 71"/>
                <a:gd name="T36" fmla="*/ 17 w 57"/>
                <a:gd name="T37" fmla="*/ 12 h 71"/>
                <a:gd name="T38" fmla="*/ 16 w 57"/>
                <a:gd name="T39" fmla="*/ 20 h 71"/>
                <a:gd name="T40" fmla="*/ 24 w 57"/>
                <a:gd name="T41" fmla="*/ 20 h 71"/>
                <a:gd name="T42" fmla="*/ 23 w 57"/>
                <a:gd name="T43" fmla="*/ 27 h 71"/>
                <a:gd name="T44" fmla="*/ 25 w 57"/>
                <a:gd name="T45" fmla="*/ 33 h 71"/>
                <a:gd name="T46" fmla="*/ 27 w 57"/>
                <a:gd name="T47" fmla="*/ 41 h 71"/>
                <a:gd name="T48" fmla="*/ 24 w 57"/>
                <a:gd name="T49" fmla="*/ 51 h 71"/>
                <a:gd name="T50" fmla="*/ 18 w 57"/>
                <a:gd name="T51" fmla="*/ 50 h 71"/>
                <a:gd name="T52" fmla="*/ 14 w 57"/>
                <a:gd name="T53" fmla="*/ 45 h 71"/>
                <a:gd name="T54" fmla="*/ 10 w 57"/>
                <a:gd name="T55" fmla="*/ 49 h 71"/>
                <a:gd name="T56" fmla="*/ 5 w 57"/>
                <a:gd name="T57" fmla="*/ 53 h 71"/>
                <a:gd name="T58" fmla="*/ 4 w 57"/>
                <a:gd name="T59" fmla="*/ 59 h 71"/>
                <a:gd name="T60" fmla="*/ 0 w 57"/>
                <a:gd name="T61" fmla="*/ 62 h 71"/>
                <a:gd name="T62" fmla="*/ 1 w 57"/>
                <a:gd name="T63" fmla="*/ 62 h 71"/>
                <a:gd name="T64" fmla="*/ 8 w 57"/>
                <a:gd name="T65" fmla="*/ 71 h 71"/>
                <a:gd name="T66" fmla="*/ 16 w 57"/>
                <a:gd name="T67" fmla="*/ 6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7" h="71">
                  <a:moveTo>
                    <a:pt x="16" y="67"/>
                  </a:moveTo>
                  <a:cubicBezTo>
                    <a:pt x="17" y="67"/>
                    <a:pt x="18" y="70"/>
                    <a:pt x="21" y="67"/>
                  </a:cubicBezTo>
                  <a:cubicBezTo>
                    <a:pt x="24" y="65"/>
                    <a:pt x="28" y="65"/>
                    <a:pt x="28" y="68"/>
                  </a:cubicBezTo>
                  <a:cubicBezTo>
                    <a:pt x="28" y="70"/>
                    <a:pt x="29" y="70"/>
                    <a:pt x="31" y="67"/>
                  </a:cubicBezTo>
                  <a:cubicBezTo>
                    <a:pt x="34" y="65"/>
                    <a:pt x="36" y="68"/>
                    <a:pt x="36" y="63"/>
                  </a:cubicBezTo>
                  <a:cubicBezTo>
                    <a:pt x="36" y="58"/>
                    <a:pt x="39" y="62"/>
                    <a:pt x="39" y="57"/>
                  </a:cubicBezTo>
                  <a:cubicBezTo>
                    <a:pt x="39" y="51"/>
                    <a:pt x="40" y="46"/>
                    <a:pt x="40" y="43"/>
                  </a:cubicBezTo>
                  <a:cubicBezTo>
                    <a:pt x="40" y="41"/>
                    <a:pt x="47" y="39"/>
                    <a:pt x="47" y="35"/>
                  </a:cubicBezTo>
                  <a:cubicBezTo>
                    <a:pt x="47" y="31"/>
                    <a:pt x="52" y="23"/>
                    <a:pt x="52" y="18"/>
                  </a:cubicBezTo>
                  <a:cubicBezTo>
                    <a:pt x="52" y="13"/>
                    <a:pt x="54" y="12"/>
                    <a:pt x="55" y="9"/>
                  </a:cubicBezTo>
                  <a:cubicBezTo>
                    <a:pt x="57" y="7"/>
                    <a:pt x="57" y="4"/>
                    <a:pt x="57" y="1"/>
                  </a:cubicBezTo>
                  <a:cubicBezTo>
                    <a:pt x="57" y="1"/>
                    <a:pt x="57" y="1"/>
                    <a:pt x="57" y="1"/>
                  </a:cubicBezTo>
                  <a:cubicBezTo>
                    <a:pt x="50" y="0"/>
                    <a:pt x="50" y="0"/>
                    <a:pt x="50" y="0"/>
                  </a:cubicBezTo>
                  <a:cubicBezTo>
                    <a:pt x="46" y="1"/>
                    <a:pt x="46" y="1"/>
                    <a:pt x="46" y="1"/>
                  </a:cubicBezTo>
                  <a:cubicBezTo>
                    <a:pt x="42" y="2"/>
                    <a:pt x="42" y="2"/>
                    <a:pt x="42" y="2"/>
                  </a:cubicBezTo>
                  <a:cubicBezTo>
                    <a:pt x="42" y="2"/>
                    <a:pt x="42" y="5"/>
                    <a:pt x="40" y="8"/>
                  </a:cubicBezTo>
                  <a:cubicBezTo>
                    <a:pt x="38" y="10"/>
                    <a:pt x="38" y="16"/>
                    <a:pt x="38" y="16"/>
                  </a:cubicBezTo>
                  <a:cubicBezTo>
                    <a:pt x="38" y="16"/>
                    <a:pt x="29" y="11"/>
                    <a:pt x="26" y="12"/>
                  </a:cubicBezTo>
                  <a:cubicBezTo>
                    <a:pt x="25" y="12"/>
                    <a:pt x="21" y="12"/>
                    <a:pt x="17" y="12"/>
                  </a:cubicBezTo>
                  <a:cubicBezTo>
                    <a:pt x="17" y="15"/>
                    <a:pt x="16" y="19"/>
                    <a:pt x="16" y="20"/>
                  </a:cubicBezTo>
                  <a:cubicBezTo>
                    <a:pt x="16" y="22"/>
                    <a:pt x="22" y="18"/>
                    <a:pt x="24" y="20"/>
                  </a:cubicBezTo>
                  <a:cubicBezTo>
                    <a:pt x="27" y="22"/>
                    <a:pt x="26" y="25"/>
                    <a:pt x="23" y="27"/>
                  </a:cubicBezTo>
                  <a:cubicBezTo>
                    <a:pt x="20" y="28"/>
                    <a:pt x="22" y="32"/>
                    <a:pt x="25" y="33"/>
                  </a:cubicBezTo>
                  <a:cubicBezTo>
                    <a:pt x="27" y="35"/>
                    <a:pt x="27" y="38"/>
                    <a:pt x="27" y="41"/>
                  </a:cubicBezTo>
                  <a:cubicBezTo>
                    <a:pt x="27" y="45"/>
                    <a:pt x="27" y="50"/>
                    <a:pt x="24" y="51"/>
                  </a:cubicBezTo>
                  <a:cubicBezTo>
                    <a:pt x="22" y="51"/>
                    <a:pt x="20" y="49"/>
                    <a:pt x="18" y="50"/>
                  </a:cubicBezTo>
                  <a:cubicBezTo>
                    <a:pt x="16" y="50"/>
                    <a:pt x="16" y="45"/>
                    <a:pt x="14" y="45"/>
                  </a:cubicBezTo>
                  <a:cubicBezTo>
                    <a:pt x="12" y="45"/>
                    <a:pt x="13" y="49"/>
                    <a:pt x="10" y="49"/>
                  </a:cubicBezTo>
                  <a:cubicBezTo>
                    <a:pt x="8" y="49"/>
                    <a:pt x="4" y="49"/>
                    <a:pt x="5" y="53"/>
                  </a:cubicBezTo>
                  <a:cubicBezTo>
                    <a:pt x="7" y="57"/>
                    <a:pt x="8" y="59"/>
                    <a:pt x="4" y="59"/>
                  </a:cubicBezTo>
                  <a:cubicBezTo>
                    <a:pt x="2" y="59"/>
                    <a:pt x="1" y="61"/>
                    <a:pt x="0" y="62"/>
                  </a:cubicBezTo>
                  <a:cubicBezTo>
                    <a:pt x="1" y="62"/>
                    <a:pt x="1" y="62"/>
                    <a:pt x="1" y="62"/>
                  </a:cubicBezTo>
                  <a:cubicBezTo>
                    <a:pt x="5" y="65"/>
                    <a:pt x="7" y="68"/>
                    <a:pt x="8" y="71"/>
                  </a:cubicBezTo>
                  <a:cubicBezTo>
                    <a:pt x="11" y="69"/>
                    <a:pt x="15" y="67"/>
                    <a:pt x="16" y="67"/>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01" name="Freeform 44">
              <a:extLst>
                <a:ext uri="{FF2B5EF4-FFF2-40B4-BE49-F238E27FC236}">
                  <a16:creationId xmlns:a16="http://schemas.microsoft.com/office/drawing/2014/main" xmlns="" id="{B0A0744B-7A58-4A8B-A9CD-79754122F3BF}"/>
                </a:ext>
              </a:extLst>
            </p:cNvPr>
            <p:cNvSpPr>
              <a:spLocks/>
            </p:cNvSpPr>
            <p:nvPr/>
          </p:nvSpPr>
          <p:spPr bwMode="auto">
            <a:xfrm>
              <a:off x="16780097" y="3482054"/>
              <a:ext cx="346075" cy="431800"/>
            </a:xfrm>
            <a:custGeom>
              <a:avLst/>
              <a:gdLst>
                <a:gd name="T0" fmla="*/ 100 w 133"/>
                <a:gd name="T1" fmla="*/ 9 h 165"/>
                <a:gd name="T2" fmla="*/ 91 w 133"/>
                <a:gd name="T3" fmla="*/ 11 h 165"/>
                <a:gd name="T4" fmla="*/ 77 w 133"/>
                <a:gd name="T5" fmla="*/ 9 h 165"/>
                <a:gd name="T6" fmla="*/ 25 w 133"/>
                <a:gd name="T7" fmla="*/ 11 h 165"/>
                <a:gd name="T8" fmla="*/ 18 w 133"/>
                <a:gd name="T9" fmla="*/ 28 h 165"/>
                <a:gd name="T10" fmla="*/ 17 w 133"/>
                <a:gd name="T11" fmla="*/ 63 h 165"/>
                <a:gd name="T12" fmla="*/ 7 w 133"/>
                <a:gd name="T13" fmla="*/ 72 h 165"/>
                <a:gd name="T14" fmla="*/ 3 w 133"/>
                <a:gd name="T15" fmla="*/ 84 h 165"/>
                <a:gd name="T16" fmla="*/ 5 w 133"/>
                <a:gd name="T17" fmla="*/ 94 h 165"/>
                <a:gd name="T18" fmla="*/ 8 w 133"/>
                <a:gd name="T19" fmla="*/ 103 h 165"/>
                <a:gd name="T20" fmla="*/ 15 w 133"/>
                <a:gd name="T21" fmla="*/ 118 h 165"/>
                <a:gd name="T22" fmla="*/ 17 w 133"/>
                <a:gd name="T23" fmla="*/ 121 h 165"/>
                <a:gd name="T24" fmla="*/ 25 w 133"/>
                <a:gd name="T25" fmla="*/ 127 h 165"/>
                <a:gd name="T26" fmla="*/ 33 w 133"/>
                <a:gd name="T27" fmla="*/ 136 h 165"/>
                <a:gd name="T28" fmla="*/ 42 w 133"/>
                <a:gd name="T29" fmla="*/ 146 h 165"/>
                <a:gd name="T30" fmla="*/ 46 w 133"/>
                <a:gd name="T31" fmla="*/ 152 h 165"/>
                <a:gd name="T32" fmla="*/ 54 w 133"/>
                <a:gd name="T33" fmla="*/ 156 h 165"/>
                <a:gd name="T34" fmla="*/ 62 w 133"/>
                <a:gd name="T35" fmla="*/ 156 h 165"/>
                <a:gd name="T36" fmla="*/ 78 w 133"/>
                <a:gd name="T37" fmla="*/ 162 h 165"/>
                <a:gd name="T38" fmla="*/ 89 w 133"/>
                <a:gd name="T39" fmla="*/ 162 h 165"/>
                <a:gd name="T40" fmla="*/ 96 w 133"/>
                <a:gd name="T41" fmla="*/ 159 h 165"/>
                <a:gd name="T42" fmla="*/ 104 w 133"/>
                <a:gd name="T43" fmla="*/ 153 h 165"/>
                <a:gd name="T44" fmla="*/ 111 w 133"/>
                <a:gd name="T45" fmla="*/ 155 h 165"/>
                <a:gd name="T46" fmla="*/ 103 w 133"/>
                <a:gd name="T47" fmla="*/ 142 h 165"/>
                <a:gd name="T48" fmla="*/ 89 w 133"/>
                <a:gd name="T49" fmla="*/ 129 h 165"/>
                <a:gd name="T50" fmla="*/ 97 w 133"/>
                <a:gd name="T51" fmla="*/ 123 h 165"/>
                <a:gd name="T52" fmla="*/ 100 w 133"/>
                <a:gd name="T53" fmla="*/ 107 h 165"/>
                <a:gd name="T54" fmla="*/ 106 w 133"/>
                <a:gd name="T55" fmla="*/ 95 h 165"/>
                <a:gd name="T56" fmla="*/ 115 w 133"/>
                <a:gd name="T57" fmla="*/ 85 h 165"/>
                <a:gd name="T58" fmla="*/ 118 w 133"/>
                <a:gd name="T59" fmla="*/ 65 h 165"/>
                <a:gd name="T60" fmla="*/ 126 w 133"/>
                <a:gd name="T61" fmla="*/ 52 h 165"/>
                <a:gd name="T62" fmla="*/ 128 w 133"/>
                <a:gd name="T63" fmla="*/ 41 h 165"/>
                <a:gd name="T64" fmla="*/ 122 w 133"/>
                <a:gd name="T65" fmla="*/ 15 h 165"/>
                <a:gd name="T66" fmla="*/ 110 w 133"/>
                <a:gd name="T67" fmla="*/ 0 h 165"/>
                <a:gd name="T68" fmla="*/ 106 w 133"/>
                <a:gd name="T69" fmla="*/ 3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3" h="165">
                  <a:moveTo>
                    <a:pt x="106" y="3"/>
                  </a:moveTo>
                  <a:cubicBezTo>
                    <a:pt x="103" y="3"/>
                    <a:pt x="104" y="9"/>
                    <a:pt x="100" y="9"/>
                  </a:cubicBezTo>
                  <a:cubicBezTo>
                    <a:pt x="97" y="9"/>
                    <a:pt x="98" y="13"/>
                    <a:pt x="96" y="13"/>
                  </a:cubicBezTo>
                  <a:cubicBezTo>
                    <a:pt x="93" y="13"/>
                    <a:pt x="91" y="11"/>
                    <a:pt x="91" y="11"/>
                  </a:cubicBezTo>
                  <a:cubicBezTo>
                    <a:pt x="81" y="11"/>
                    <a:pt x="81" y="11"/>
                    <a:pt x="81" y="11"/>
                  </a:cubicBezTo>
                  <a:cubicBezTo>
                    <a:pt x="81" y="11"/>
                    <a:pt x="79" y="8"/>
                    <a:pt x="77" y="9"/>
                  </a:cubicBezTo>
                  <a:cubicBezTo>
                    <a:pt x="76" y="10"/>
                    <a:pt x="74" y="11"/>
                    <a:pt x="74" y="11"/>
                  </a:cubicBezTo>
                  <a:cubicBezTo>
                    <a:pt x="25" y="11"/>
                    <a:pt x="25" y="11"/>
                    <a:pt x="25" y="11"/>
                  </a:cubicBezTo>
                  <a:cubicBezTo>
                    <a:pt x="25" y="21"/>
                    <a:pt x="25" y="28"/>
                    <a:pt x="25" y="28"/>
                  </a:cubicBezTo>
                  <a:cubicBezTo>
                    <a:pt x="18" y="28"/>
                    <a:pt x="18" y="28"/>
                    <a:pt x="18" y="28"/>
                  </a:cubicBezTo>
                  <a:cubicBezTo>
                    <a:pt x="18" y="54"/>
                    <a:pt x="18" y="54"/>
                    <a:pt x="18" y="54"/>
                  </a:cubicBezTo>
                  <a:cubicBezTo>
                    <a:pt x="18" y="54"/>
                    <a:pt x="18" y="62"/>
                    <a:pt x="17" y="63"/>
                  </a:cubicBezTo>
                  <a:cubicBezTo>
                    <a:pt x="15" y="63"/>
                    <a:pt x="10" y="65"/>
                    <a:pt x="10" y="67"/>
                  </a:cubicBezTo>
                  <a:cubicBezTo>
                    <a:pt x="10" y="70"/>
                    <a:pt x="9" y="72"/>
                    <a:pt x="7" y="72"/>
                  </a:cubicBezTo>
                  <a:cubicBezTo>
                    <a:pt x="4" y="73"/>
                    <a:pt x="7" y="78"/>
                    <a:pt x="3" y="78"/>
                  </a:cubicBezTo>
                  <a:cubicBezTo>
                    <a:pt x="0" y="78"/>
                    <a:pt x="5" y="82"/>
                    <a:pt x="3" y="84"/>
                  </a:cubicBezTo>
                  <a:cubicBezTo>
                    <a:pt x="1" y="86"/>
                    <a:pt x="1" y="89"/>
                    <a:pt x="4" y="89"/>
                  </a:cubicBezTo>
                  <a:cubicBezTo>
                    <a:pt x="6" y="89"/>
                    <a:pt x="5" y="91"/>
                    <a:pt x="5" y="94"/>
                  </a:cubicBezTo>
                  <a:cubicBezTo>
                    <a:pt x="5" y="97"/>
                    <a:pt x="9" y="99"/>
                    <a:pt x="9" y="99"/>
                  </a:cubicBezTo>
                  <a:cubicBezTo>
                    <a:pt x="8" y="103"/>
                    <a:pt x="8" y="103"/>
                    <a:pt x="8" y="103"/>
                  </a:cubicBezTo>
                  <a:cubicBezTo>
                    <a:pt x="8" y="103"/>
                    <a:pt x="14" y="109"/>
                    <a:pt x="14" y="111"/>
                  </a:cubicBezTo>
                  <a:cubicBezTo>
                    <a:pt x="15" y="112"/>
                    <a:pt x="18" y="116"/>
                    <a:pt x="15" y="118"/>
                  </a:cubicBezTo>
                  <a:cubicBezTo>
                    <a:pt x="12" y="119"/>
                    <a:pt x="14" y="121"/>
                    <a:pt x="14" y="121"/>
                  </a:cubicBezTo>
                  <a:cubicBezTo>
                    <a:pt x="17" y="121"/>
                    <a:pt x="17" y="121"/>
                    <a:pt x="17" y="121"/>
                  </a:cubicBezTo>
                  <a:cubicBezTo>
                    <a:pt x="18" y="124"/>
                    <a:pt x="18" y="124"/>
                    <a:pt x="18" y="124"/>
                  </a:cubicBezTo>
                  <a:cubicBezTo>
                    <a:pt x="18" y="124"/>
                    <a:pt x="22" y="124"/>
                    <a:pt x="25" y="127"/>
                  </a:cubicBezTo>
                  <a:cubicBezTo>
                    <a:pt x="27" y="130"/>
                    <a:pt x="28" y="130"/>
                    <a:pt x="28" y="132"/>
                  </a:cubicBezTo>
                  <a:cubicBezTo>
                    <a:pt x="28" y="133"/>
                    <a:pt x="30" y="134"/>
                    <a:pt x="33" y="136"/>
                  </a:cubicBezTo>
                  <a:cubicBezTo>
                    <a:pt x="36" y="139"/>
                    <a:pt x="36" y="140"/>
                    <a:pt x="36" y="142"/>
                  </a:cubicBezTo>
                  <a:cubicBezTo>
                    <a:pt x="36" y="143"/>
                    <a:pt x="42" y="146"/>
                    <a:pt x="42" y="146"/>
                  </a:cubicBezTo>
                  <a:cubicBezTo>
                    <a:pt x="43" y="150"/>
                    <a:pt x="43" y="150"/>
                    <a:pt x="43" y="150"/>
                  </a:cubicBezTo>
                  <a:cubicBezTo>
                    <a:pt x="44" y="151"/>
                    <a:pt x="45" y="151"/>
                    <a:pt x="46" y="152"/>
                  </a:cubicBezTo>
                  <a:cubicBezTo>
                    <a:pt x="47" y="155"/>
                    <a:pt x="49" y="156"/>
                    <a:pt x="49" y="156"/>
                  </a:cubicBezTo>
                  <a:cubicBezTo>
                    <a:pt x="49" y="156"/>
                    <a:pt x="52" y="158"/>
                    <a:pt x="54" y="156"/>
                  </a:cubicBezTo>
                  <a:cubicBezTo>
                    <a:pt x="56" y="154"/>
                    <a:pt x="58" y="157"/>
                    <a:pt x="58" y="157"/>
                  </a:cubicBezTo>
                  <a:cubicBezTo>
                    <a:pt x="58" y="157"/>
                    <a:pt x="61" y="155"/>
                    <a:pt x="62" y="156"/>
                  </a:cubicBezTo>
                  <a:cubicBezTo>
                    <a:pt x="63" y="156"/>
                    <a:pt x="68" y="160"/>
                    <a:pt x="72" y="164"/>
                  </a:cubicBezTo>
                  <a:cubicBezTo>
                    <a:pt x="72" y="163"/>
                    <a:pt x="76" y="162"/>
                    <a:pt x="78" y="162"/>
                  </a:cubicBezTo>
                  <a:cubicBezTo>
                    <a:pt x="79" y="162"/>
                    <a:pt x="82" y="165"/>
                    <a:pt x="83" y="164"/>
                  </a:cubicBezTo>
                  <a:cubicBezTo>
                    <a:pt x="83" y="163"/>
                    <a:pt x="87" y="161"/>
                    <a:pt x="89" y="162"/>
                  </a:cubicBezTo>
                  <a:cubicBezTo>
                    <a:pt x="90" y="162"/>
                    <a:pt x="93" y="163"/>
                    <a:pt x="94" y="161"/>
                  </a:cubicBezTo>
                  <a:cubicBezTo>
                    <a:pt x="94" y="160"/>
                    <a:pt x="95" y="160"/>
                    <a:pt x="96" y="159"/>
                  </a:cubicBezTo>
                  <a:cubicBezTo>
                    <a:pt x="97" y="158"/>
                    <a:pt x="97" y="158"/>
                    <a:pt x="97" y="157"/>
                  </a:cubicBezTo>
                  <a:cubicBezTo>
                    <a:pt x="98" y="156"/>
                    <a:pt x="102" y="153"/>
                    <a:pt x="104" y="153"/>
                  </a:cubicBezTo>
                  <a:cubicBezTo>
                    <a:pt x="106" y="153"/>
                    <a:pt x="108" y="153"/>
                    <a:pt x="109" y="154"/>
                  </a:cubicBezTo>
                  <a:cubicBezTo>
                    <a:pt x="109" y="154"/>
                    <a:pt x="110" y="155"/>
                    <a:pt x="111" y="155"/>
                  </a:cubicBezTo>
                  <a:cubicBezTo>
                    <a:pt x="111" y="150"/>
                    <a:pt x="112" y="148"/>
                    <a:pt x="111" y="148"/>
                  </a:cubicBezTo>
                  <a:cubicBezTo>
                    <a:pt x="109" y="148"/>
                    <a:pt x="105" y="146"/>
                    <a:pt x="103" y="142"/>
                  </a:cubicBezTo>
                  <a:cubicBezTo>
                    <a:pt x="102" y="138"/>
                    <a:pt x="97" y="135"/>
                    <a:pt x="96" y="133"/>
                  </a:cubicBezTo>
                  <a:cubicBezTo>
                    <a:pt x="95" y="130"/>
                    <a:pt x="90" y="131"/>
                    <a:pt x="89" y="129"/>
                  </a:cubicBezTo>
                  <a:cubicBezTo>
                    <a:pt x="88" y="127"/>
                    <a:pt x="90" y="127"/>
                    <a:pt x="90" y="124"/>
                  </a:cubicBezTo>
                  <a:cubicBezTo>
                    <a:pt x="90" y="122"/>
                    <a:pt x="96" y="123"/>
                    <a:pt x="97" y="123"/>
                  </a:cubicBezTo>
                  <a:cubicBezTo>
                    <a:pt x="97" y="122"/>
                    <a:pt x="98" y="117"/>
                    <a:pt x="98" y="114"/>
                  </a:cubicBezTo>
                  <a:cubicBezTo>
                    <a:pt x="98" y="111"/>
                    <a:pt x="102" y="108"/>
                    <a:pt x="100" y="107"/>
                  </a:cubicBezTo>
                  <a:cubicBezTo>
                    <a:pt x="99" y="105"/>
                    <a:pt x="102" y="105"/>
                    <a:pt x="104" y="103"/>
                  </a:cubicBezTo>
                  <a:cubicBezTo>
                    <a:pt x="106" y="102"/>
                    <a:pt x="104" y="97"/>
                    <a:pt x="106" y="95"/>
                  </a:cubicBezTo>
                  <a:cubicBezTo>
                    <a:pt x="108" y="93"/>
                    <a:pt x="110" y="89"/>
                    <a:pt x="111" y="89"/>
                  </a:cubicBezTo>
                  <a:cubicBezTo>
                    <a:pt x="113" y="89"/>
                    <a:pt x="115" y="87"/>
                    <a:pt x="115" y="85"/>
                  </a:cubicBezTo>
                  <a:cubicBezTo>
                    <a:pt x="115" y="83"/>
                    <a:pt x="118" y="79"/>
                    <a:pt x="118" y="76"/>
                  </a:cubicBezTo>
                  <a:cubicBezTo>
                    <a:pt x="117" y="72"/>
                    <a:pt x="116" y="68"/>
                    <a:pt x="118" y="65"/>
                  </a:cubicBezTo>
                  <a:cubicBezTo>
                    <a:pt x="121" y="62"/>
                    <a:pt x="122" y="59"/>
                    <a:pt x="121" y="57"/>
                  </a:cubicBezTo>
                  <a:cubicBezTo>
                    <a:pt x="121" y="54"/>
                    <a:pt x="124" y="54"/>
                    <a:pt x="126" y="52"/>
                  </a:cubicBezTo>
                  <a:cubicBezTo>
                    <a:pt x="127" y="51"/>
                    <a:pt x="130" y="50"/>
                    <a:pt x="133" y="45"/>
                  </a:cubicBezTo>
                  <a:cubicBezTo>
                    <a:pt x="131" y="43"/>
                    <a:pt x="130" y="41"/>
                    <a:pt x="128" y="41"/>
                  </a:cubicBezTo>
                  <a:cubicBezTo>
                    <a:pt x="125" y="39"/>
                    <a:pt x="124" y="34"/>
                    <a:pt x="124" y="28"/>
                  </a:cubicBezTo>
                  <a:cubicBezTo>
                    <a:pt x="124" y="22"/>
                    <a:pt x="122" y="17"/>
                    <a:pt x="122" y="15"/>
                  </a:cubicBezTo>
                  <a:cubicBezTo>
                    <a:pt x="122" y="13"/>
                    <a:pt x="118" y="8"/>
                    <a:pt x="115" y="6"/>
                  </a:cubicBezTo>
                  <a:cubicBezTo>
                    <a:pt x="112" y="5"/>
                    <a:pt x="111" y="3"/>
                    <a:pt x="110" y="0"/>
                  </a:cubicBezTo>
                  <a:cubicBezTo>
                    <a:pt x="110" y="0"/>
                    <a:pt x="110" y="1"/>
                    <a:pt x="110" y="1"/>
                  </a:cubicBezTo>
                  <a:cubicBezTo>
                    <a:pt x="108" y="4"/>
                    <a:pt x="108" y="3"/>
                    <a:pt x="106" y="3"/>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02" name="Freeform 45">
              <a:extLst>
                <a:ext uri="{FF2B5EF4-FFF2-40B4-BE49-F238E27FC236}">
                  <a16:creationId xmlns:a16="http://schemas.microsoft.com/office/drawing/2014/main" xmlns="" id="{3D52C2F0-5A32-4338-8782-30162CA7EE74}"/>
                </a:ext>
              </a:extLst>
            </p:cNvPr>
            <p:cNvSpPr>
              <a:spLocks/>
            </p:cNvSpPr>
            <p:nvPr/>
          </p:nvSpPr>
          <p:spPr bwMode="auto">
            <a:xfrm>
              <a:off x="17191259" y="3715416"/>
              <a:ext cx="41275" cy="41275"/>
            </a:xfrm>
            <a:custGeom>
              <a:avLst/>
              <a:gdLst>
                <a:gd name="T0" fmla="*/ 6 w 16"/>
                <a:gd name="T1" fmla="*/ 2 h 16"/>
                <a:gd name="T2" fmla="*/ 2 w 16"/>
                <a:gd name="T3" fmla="*/ 8 h 16"/>
                <a:gd name="T4" fmla="*/ 2 w 16"/>
                <a:gd name="T5" fmla="*/ 15 h 16"/>
                <a:gd name="T6" fmla="*/ 6 w 16"/>
                <a:gd name="T7" fmla="*/ 14 h 16"/>
                <a:gd name="T8" fmla="*/ 10 w 16"/>
                <a:gd name="T9" fmla="*/ 16 h 16"/>
                <a:gd name="T10" fmla="*/ 14 w 16"/>
                <a:gd name="T11" fmla="*/ 12 h 16"/>
                <a:gd name="T12" fmla="*/ 9 w 16"/>
                <a:gd name="T13" fmla="*/ 10 h 16"/>
                <a:gd name="T14" fmla="*/ 14 w 16"/>
                <a:gd name="T15" fmla="*/ 6 h 16"/>
                <a:gd name="T16" fmla="*/ 13 w 16"/>
                <a:gd name="T17" fmla="*/ 1 h 16"/>
                <a:gd name="T18" fmla="*/ 12 w 16"/>
                <a:gd name="T19" fmla="*/ 0 h 16"/>
                <a:gd name="T20" fmla="*/ 10 w 16"/>
                <a:gd name="T21" fmla="*/ 2 h 16"/>
                <a:gd name="T22" fmla="*/ 6 w 16"/>
                <a:gd name="T23" fmla="*/ 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6">
                  <a:moveTo>
                    <a:pt x="6" y="2"/>
                  </a:moveTo>
                  <a:cubicBezTo>
                    <a:pt x="6" y="3"/>
                    <a:pt x="4" y="6"/>
                    <a:pt x="2" y="8"/>
                  </a:cubicBezTo>
                  <a:cubicBezTo>
                    <a:pt x="0" y="10"/>
                    <a:pt x="1" y="14"/>
                    <a:pt x="2" y="15"/>
                  </a:cubicBezTo>
                  <a:cubicBezTo>
                    <a:pt x="2" y="16"/>
                    <a:pt x="5" y="15"/>
                    <a:pt x="6" y="14"/>
                  </a:cubicBezTo>
                  <a:cubicBezTo>
                    <a:pt x="8" y="14"/>
                    <a:pt x="9" y="14"/>
                    <a:pt x="10" y="16"/>
                  </a:cubicBezTo>
                  <a:cubicBezTo>
                    <a:pt x="11" y="14"/>
                    <a:pt x="12" y="13"/>
                    <a:pt x="14" y="12"/>
                  </a:cubicBezTo>
                  <a:cubicBezTo>
                    <a:pt x="12" y="11"/>
                    <a:pt x="10" y="10"/>
                    <a:pt x="9" y="10"/>
                  </a:cubicBezTo>
                  <a:cubicBezTo>
                    <a:pt x="8" y="9"/>
                    <a:pt x="12" y="7"/>
                    <a:pt x="14" y="6"/>
                  </a:cubicBezTo>
                  <a:cubicBezTo>
                    <a:pt x="16" y="6"/>
                    <a:pt x="15" y="3"/>
                    <a:pt x="13" y="1"/>
                  </a:cubicBezTo>
                  <a:cubicBezTo>
                    <a:pt x="13" y="1"/>
                    <a:pt x="13" y="1"/>
                    <a:pt x="12" y="0"/>
                  </a:cubicBezTo>
                  <a:cubicBezTo>
                    <a:pt x="11" y="1"/>
                    <a:pt x="10" y="2"/>
                    <a:pt x="10" y="2"/>
                  </a:cubicBezTo>
                  <a:cubicBezTo>
                    <a:pt x="9" y="3"/>
                    <a:pt x="8" y="2"/>
                    <a:pt x="6" y="2"/>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03" name="Freeform 46">
              <a:extLst>
                <a:ext uri="{FF2B5EF4-FFF2-40B4-BE49-F238E27FC236}">
                  <a16:creationId xmlns:a16="http://schemas.microsoft.com/office/drawing/2014/main" xmlns="" id="{D97EEA2E-2D52-472E-80F0-ABC6C3902E0C}"/>
                </a:ext>
              </a:extLst>
            </p:cNvPr>
            <p:cNvSpPr>
              <a:spLocks/>
            </p:cNvSpPr>
            <p:nvPr/>
          </p:nvSpPr>
          <p:spPr bwMode="auto">
            <a:xfrm>
              <a:off x="17081722" y="3599529"/>
              <a:ext cx="141288" cy="123825"/>
            </a:xfrm>
            <a:custGeom>
              <a:avLst/>
              <a:gdLst>
                <a:gd name="T0" fmla="*/ 10 w 54"/>
                <a:gd name="T1" fmla="*/ 7 h 47"/>
                <a:gd name="T2" fmla="*/ 5 w 54"/>
                <a:gd name="T3" fmla="*/ 12 h 47"/>
                <a:gd name="T4" fmla="*/ 2 w 54"/>
                <a:gd name="T5" fmla="*/ 20 h 47"/>
                <a:gd name="T6" fmla="*/ 2 w 54"/>
                <a:gd name="T7" fmla="*/ 31 h 47"/>
                <a:gd name="T8" fmla="*/ 8 w 54"/>
                <a:gd name="T9" fmla="*/ 31 h 47"/>
                <a:gd name="T10" fmla="*/ 11 w 54"/>
                <a:gd name="T11" fmla="*/ 29 h 47"/>
                <a:gd name="T12" fmla="*/ 15 w 54"/>
                <a:gd name="T13" fmla="*/ 28 h 47"/>
                <a:gd name="T14" fmla="*/ 20 w 54"/>
                <a:gd name="T15" fmla="*/ 30 h 47"/>
                <a:gd name="T16" fmla="*/ 23 w 54"/>
                <a:gd name="T17" fmla="*/ 30 h 47"/>
                <a:gd name="T18" fmla="*/ 31 w 54"/>
                <a:gd name="T19" fmla="*/ 30 h 47"/>
                <a:gd name="T20" fmla="*/ 48 w 54"/>
                <a:gd name="T21" fmla="*/ 46 h 47"/>
                <a:gd name="T22" fmla="*/ 48 w 54"/>
                <a:gd name="T23" fmla="*/ 46 h 47"/>
                <a:gd name="T24" fmla="*/ 52 w 54"/>
                <a:gd name="T25" fmla="*/ 46 h 47"/>
                <a:gd name="T26" fmla="*/ 54 w 54"/>
                <a:gd name="T27" fmla="*/ 44 h 47"/>
                <a:gd name="T28" fmla="*/ 46 w 54"/>
                <a:gd name="T29" fmla="*/ 35 h 47"/>
                <a:gd name="T30" fmla="*/ 33 w 54"/>
                <a:gd name="T31" fmla="*/ 26 h 47"/>
                <a:gd name="T32" fmla="*/ 28 w 54"/>
                <a:gd name="T33" fmla="*/ 21 h 47"/>
                <a:gd name="T34" fmla="*/ 22 w 54"/>
                <a:gd name="T35" fmla="*/ 9 h 47"/>
                <a:gd name="T36" fmla="*/ 17 w 54"/>
                <a:gd name="T37" fmla="*/ 0 h 47"/>
                <a:gd name="T38" fmla="*/ 10 w 54"/>
                <a:gd name="T39" fmla="*/ 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4" h="47">
                  <a:moveTo>
                    <a:pt x="10" y="7"/>
                  </a:moveTo>
                  <a:cubicBezTo>
                    <a:pt x="8" y="9"/>
                    <a:pt x="5" y="9"/>
                    <a:pt x="5" y="12"/>
                  </a:cubicBezTo>
                  <a:cubicBezTo>
                    <a:pt x="6" y="14"/>
                    <a:pt x="5" y="17"/>
                    <a:pt x="2" y="20"/>
                  </a:cubicBezTo>
                  <a:cubicBezTo>
                    <a:pt x="0" y="23"/>
                    <a:pt x="1" y="27"/>
                    <a:pt x="2" y="31"/>
                  </a:cubicBezTo>
                  <a:cubicBezTo>
                    <a:pt x="5" y="30"/>
                    <a:pt x="8" y="30"/>
                    <a:pt x="8" y="31"/>
                  </a:cubicBezTo>
                  <a:cubicBezTo>
                    <a:pt x="10" y="32"/>
                    <a:pt x="10" y="31"/>
                    <a:pt x="11" y="29"/>
                  </a:cubicBezTo>
                  <a:cubicBezTo>
                    <a:pt x="12" y="26"/>
                    <a:pt x="13" y="26"/>
                    <a:pt x="15" y="28"/>
                  </a:cubicBezTo>
                  <a:cubicBezTo>
                    <a:pt x="16" y="29"/>
                    <a:pt x="17" y="31"/>
                    <a:pt x="20" y="30"/>
                  </a:cubicBezTo>
                  <a:cubicBezTo>
                    <a:pt x="22" y="28"/>
                    <a:pt x="22" y="29"/>
                    <a:pt x="23" y="30"/>
                  </a:cubicBezTo>
                  <a:cubicBezTo>
                    <a:pt x="24" y="30"/>
                    <a:pt x="29" y="29"/>
                    <a:pt x="31" y="30"/>
                  </a:cubicBezTo>
                  <a:cubicBezTo>
                    <a:pt x="33" y="30"/>
                    <a:pt x="48" y="46"/>
                    <a:pt x="48" y="46"/>
                  </a:cubicBezTo>
                  <a:cubicBezTo>
                    <a:pt x="48" y="46"/>
                    <a:pt x="48" y="46"/>
                    <a:pt x="48" y="46"/>
                  </a:cubicBezTo>
                  <a:cubicBezTo>
                    <a:pt x="50" y="46"/>
                    <a:pt x="51" y="47"/>
                    <a:pt x="52" y="46"/>
                  </a:cubicBezTo>
                  <a:cubicBezTo>
                    <a:pt x="52" y="46"/>
                    <a:pt x="53" y="45"/>
                    <a:pt x="54" y="44"/>
                  </a:cubicBezTo>
                  <a:cubicBezTo>
                    <a:pt x="52" y="43"/>
                    <a:pt x="49" y="40"/>
                    <a:pt x="46" y="35"/>
                  </a:cubicBezTo>
                  <a:cubicBezTo>
                    <a:pt x="41" y="29"/>
                    <a:pt x="36" y="26"/>
                    <a:pt x="33" y="26"/>
                  </a:cubicBezTo>
                  <a:cubicBezTo>
                    <a:pt x="30" y="26"/>
                    <a:pt x="30" y="21"/>
                    <a:pt x="28" y="21"/>
                  </a:cubicBezTo>
                  <a:cubicBezTo>
                    <a:pt x="26" y="21"/>
                    <a:pt x="22" y="14"/>
                    <a:pt x="22" y="9"/>
                  </a:cubicBezTo>
                  <a:cubicBezTo>
                    <a:pt x="22" y="7"/>
                    <a:pt x="20" y="3"/>
                    <a:pt x="17" y="0"/>
                  </a:cubicBezTo>
                  <a:cubicBezTo>
                    <a:pt x="14" y="5"/>
                    <a:pt x="11" y="6"/>
                    <a:pt x="10" y="7"/>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04" name="Freeform 47">
              <a:extLst>
                <a:ext uri="{FF2B5EF4-FFF2-40B4-BE49-F238E27FC236}">
                  <a16:creationId xmlns:a16="http://schemas.microsoft.com/office/drawing/2014/main" xmlns="" id="{3E000618-C888-4E73-BDBD-CDCD23AF5342}"/>
                </a:ext>
              </a:extLst>
            </p:cNvPr>
            <p:cNvSpPr>
              <a:spLocks/>
            </p:cNvSpPr>
            <p:nvPr/>
          </p:nvSpPr>
          <p:spPr bwMode="auto">
            <a:xfrm>
              <a:off x="17008697" y="3667791"/>
              <a:ext cx="315913" cy="246062"/>
            </a:xfrm>
            <a:custGeom>
              <a:avLst/>
              <a:gdLst>
                <a:gd name="T0" fmla="*/ 8 w 121"/>
                <a:gd name="T1" fmla="*/ 62 h 94"/>
                <a:gd name="T2" fmla="*/ 15 w 121"/>
                <a:gd name="T3" fmla="*/ 71 h 94"/>
                <a:gd name="T4" fmla="*/ 23 w 121"/>
                <a:gd name="T5" fmla="*/ 77 h 94"/>
                <a:gd name="T6" fmla="*/ 23 w 121"/>
                <a:gd name="T7" fmla="*/ 84 h 94"/>
                <a:gd name="T8" fmla="*/ 25 w 121"/>
                <a:gd name="T9" fmla="*/ 85 h 94"/>
                <a:gd name="T10" fmla="*/ 33 w 121"/>
                <a:gd name="T11" fmla="*/ 87 h 94"/>
                <a:gd name="T12" fmla="*/ 43 w 121"/>
                <a:gd name="T13" fmla="*/ 92 h 94"/>
                <a:gd name="T14" fmla="*/ 52 w 121"/>
                <a:gd name="T15" fmla="*/ 94 h 94"/>
                <a:gd name="T16" fmla="*/ 57 w 121"/>
                <a:gd name="T17" fmla="*/ 89 h 94"/>
                <a:gd name="T18" fmla="*/ 64 w 121"/>
                <a:gd name="T19" fmla="*/ 88 h 94"/>
                <a:gd name="T20" fmla="*/ 68 w 121"/>
                <a:gd name="T21" fmla="*/ 89 h 94"/>
                <a:gd name="T22" fmla="*/ 72 w 121"/>
                <a:gd name="T23" fmla="*/ 88 h 94"/>
                <a:gd name="T24" fmla="*/ 79 w 121"/>
                <a:gd name="T25" fmla="*/ 87 h 94"/>
                <a:gd name="T26" fmla="*/ 89 w 121"/>
                <a:gd name="T27" fmla="*/ 82 h 94"/>
                <a:gd name="T28" fmla="*/ 98 w 121"/>
                <a:gd name="T29" fmla="*/ 80 h 94"/>
                <a:gd name="T30" fmla="*/ 120 w 121"/>
                <a:gd name="T31" fmla="*/ 59 h 94"/>
                <a:gd name="T32" fmla="*/ 117 w 121"/>
                <a:gd name="T33" fmla="*/ 57 h 94"/>
                <a:gd name="T34" fmla="*/ 106 w 121"/>
                <a:gd name="T35" fmla="*/ 54 h 94"/>
                <a:gd name="T36" fmla="*/ 89 w 121"/>
                <a:gd name="T37" fmla="*/ 49 h 94"/>
                <a:gd name="T38" fmla="*/ 84 w 121"/>
                <a:gd name="T39" fmla="*/ 44 h 94"/>
                <a:gd name="T40" fmla="*/ 79 w 121"/>
                <a:gd name="T41" fmla="*/ 37 h 94"/>
                <a:gd name="T42" fmla="*/ 80 w 121"/>
                <a:gd name="T43" fmla="*/ 34 h 94"/>
                <a:gd name="T44" fmla="*/ 76 w 121"/>
                <a:gd name="T45" fmla="*/ 32 h 94"/>
                <a:gd name="T46" fmla="*/ 72 w 121"/>
                <a:gd name="T47" fmla="*/ 33 h 94"/>
                <a:gd name="T48" fmla="*/ 72 w 121"/>
                <a:gd name="T49" fmla="*/ 26 h 94"/>
                <a:gd name="T50" fmla="*/ 76 w 121"/>
                <a:gd name="T51" fmla="*/ 20 h 94"/>
                <a:gd name="T52" fmla="*/ 59 w 121"/>
                <a:gd name="T53" fmla="*/ 4 h 94"/>
                <a:gd name="T54" fmla="*/ 51 w 121"/>
                <a:gd name="T55" fmla="*/ 4 h 94"/>
                <a:gd name="T56" fmla="*/ 48 w 121"/>
                <a:gd name="T57" fmla="*/ 4 h 94"/>
                <a:gd name="T58" fmla="*/ 43 w 121"/>
                <a:gd name="T59" fmla="*/ 2 h 94"/>
                <a:gd name="T60" fmla="*/ 39 w 121"/>
                <a:gd name="T61" fmla="*/ 3 h 94"/>
                <a:gd name="T62" fmla="*/ 36 w 121"/>
                <a:gd name="T63" fmla="*/ 5 h 94"/>
                <a:gd name="T64" fmla="*/ 30 w 121"/>
                <a:gd name="T65" fmla="*/ 5 h 94"/>
                <a:gd name="T66" fmla="*/ 30 w 121"/>
                <a:gd name="T67" fmla="*/ 5 h 94"/>
                <a:gd name="T68" fmla="*/ 27 w 121"/>
                <a:gd name="T69" fmla="*/ 14 h 94"/>
                <a:gd name="T70" fmla="*/ 23 w 121"/>
                <a:gd name="T71" fmla="*/ 18 h 94"/>
                <a:gd name="T72" fmla="*/ 18 w 121"/>
                <a:gd name="T73" fmla="*/ 24 h 94"/>
                <a:gd name="T74" fmla="*/ 16 w 121"/>
                <a:gd name="T75" fmla="*/ 32 h 94"/>
                <a:gd name="T76" fmla="*/ 12 w 121"/>
                <a:gd name="T77" fmla="*/ 36 h 94"/>
                <a:gd name="T78" fmla="*/ 10 w 121"/>
                <a:gd name="T79" fmla="*/ 43 h 94"/>
                <a:gd name="T80" fmla="*/ 9 w 121"/>
                <a:gd name="T81" fmla="*/ 52 h 94"/>
                <a:gd name="T82" fmla="*/ 2 w 121"/>
                <a:gd name="T83" fmla="*/ 53 h 94"/>
                <a:gd name="T84" fmla="*/ 1 w 121"/>
                <a:gd name="T85" fmla="*/ 58 h 94"/>
                <a:gd name="T86" fmla="*/ 8 w 121"/>
                <a:gd name="T87" fmla="*/ 6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1" h="94">
                  <a:moveTo>
                    <a:pt x="8" y="62"/>
                  </a:moveTo>
                  <a:cubicBezTo>
                    <a:pt x="9" y="64"/>
                    <a:pt x="14" y="67"/>
                    <a:pt x="15" y="71"/>
                  </a:cubicBezTo>
                  <a:cubicBezTo>
                    <a:pt x="17" y="75"/>
                    <a:pt x="21" y="77"/>
                    <a:pt x="23" y="77"/>
                  </a:cubicBezTo>
                  <a:cubicBezTo>
                    <a:pt x="24" y="77"/>
                    <a:pt x="23" y="79"/>
                    <a:pt x="23" y="84"/>
                  </a:cubicBezTo>
                  <a:cubicBezTo>
                    <a:pt x="24" y="84"/>
                    <a:pt x="25" y="85"/>
                    <a:pt x="25" y="85"/>
                  </a:cubicBezTo>
                  <a:cubicBezTo>
                    <a:pt x="26" y="86"/>
                    <a:pt x="32" y="85"/>
                    <a:pt x="33" y="87"/>
                  </a:cubicBezTo>
                  <a:cubicBezTo>
                    <a:pt x="35" y="88"/>
                    <a:pt x="41" y="92"/>
                    <a:pt x="43" y="92"/>
                  </a:cubicBezTo>
                  <a:cubicBezTo>
                    <a:pt x="44" y="92"/>
                    <a:pt x="51" y="93"/>
                    <a:pt x="52" y="94"/>
                  </a:cubicBezTo>
                  <a:cubicBezTo>
                    <a:pt x="53" y="94"/>
                    <a:pt x="54" y="91"/>
                    <a:pt x="57" y="89"/>
                  </a:cubicBezTo>
                  <a:cubicBezTo>
                    <a:pt x="60" y="88"/>
                    <a:pt x="64" y="87"/>
                    <a:pt x="64" y="88"/>
                  </a:cubicBezTo>
                  <a:cubicBezTo>
                    <a:pt x="65" y="89"/>
                    <a:pt x="67" y="90"/>
                    <a:pt x="68" y="89"/>
                  </a:cubicBezTo>
                  <a:cubicBezTo>
                    <a:pt x="69" y="89"/>
                    <a:pt x="70" y="89"/>
                    <a:pt x="72" y="88"/>
                  </a:cubicBezTo>
                  <a:cubicBezTo>
                    <a:pt x="75" y="88"/>
                    <a:pt x="78" y="87"/>
                    <a:pt x="79" y="87"/>
                  </a:cubicBezTo>
                  <a:cubicBezTo>
                    <a:pt x="80" y="87"/>
                    <a:pt x="84" y="82"/>
                    <a:pt x="89" y="82"/>
                  </a:cubicBezTo>
                  <a:cubicBezTo>
                    <a:pt x="94" y="82"/>
                    <a:pt x="96" y="83"/>
                    <a:pt x="98" y="80"/>
                  </a:cubicBezTo>
                  <a:cubicBezTo>
                    <a:pt x="100" y="78"/>
                    <a:pt x="118" y="60"/>
                    <a:pt x="120" y="59"/>
                  </a:cubicBezTo>
                  <a:cubicBezTo>
                    <a:pt x="121" y="58"/>
                    <a:pt x="118" y="57"/>
                    <a:pt x="117" y="57"/>
                  </a:cubicBezTo>
                  <a:cubicBezTo>
                    <a:pt x="115" y="57"/>
                    <a:pt x="111" y="57"/>
                    <a:pt x="106" y="54"/>
                  </a:cubicBezTo>
                  <a:cubicBezTo>
                    <a:pt x="100" y="52"/>
                    <a:pt x="91" y="49"/>
                    <a:pt x="89" y="49"/>
                  </a:cubicBezTo>
                  <a:cubicBezTo>
                    <a:pt x="88" y="48"/>
                    <a:pt x="85" y="45"/>
                    <a:pt x="84" y="44"/>
                  </a:cubicBezTo>
                  <a:cubicBezTo>
                    <a:pt x="83" y="43"/>
                    <a:pt x="80" y="38"/>
                    <a:pt x="79" y="37"/>
                  </a:cubicBezTo>
                  <a:cubicBezTo>
                    <a:pt x="79" y="36"/>
                    <a:pt x="79" y="35"/>
                    <a:pt x="80" y="34"/>
                  </a:cubicBezTo>
                  <a:cubicBezTo>
                    <a:pt x="79" y="32"/>
                    <a:pt x="78" y="32"/>
                    <a:pt x="76" y="32"/>
                  </a:cubicBezTo>
                  <a:cubicBezTo>
                    <a:pt x="75" y="33"/>
                    <a:pt x="72" y="34"/>
                    <a:pt x="72" y="33"/>
                  </a:cubicBezTo>
                  <a:cubicBezTo>
                    <a:pt x="71" y="32"/>
                    <a:pt x="70" y="28"/>
                    <a:pt x="72" y="26"/>
                  </a:cubicBezTo>
                  <a:cubicBezTo>
                    <a:pt x="74" y="24"/>
                    <a:pt x="76" y="20"/>
                    <a:pt x="76" y="20"/>
                  </a:cubicBezTo>
                  <a:cubicBezTo>
                    <a:pt x="76" y="20"/>
                    <a:pt x="61" y="4"/>
                    <a:pt x="59" y="4"/>
                  </a:cubicBezTo>
                  <a:cubicBezTo>
                    <a:pt x="57" y="3"/>
                    <a:pt x="52" y="4"/>
                    <a:pt x="51" y="4"/>
                  </a:cubicBezTo>
                  <a:cubicBezTo>
                    <a:pt x="50" y="3"/>
                    <a:pt x="50" y="2"/>
                    <a:pt x="48" y="4"/>
                  </a:cubicBezTo>
                  <a:cubicBezTo>
                    <a:pt x="45" y="5"/>
                    <a:pt x="44" y="3"/>
                    <a:pt x="43" y="2"/>
                  </a:cubicBezTo>
                  <a:cubicBezTo>
                    <a:pt x="41" y="0"/>
                    <a:pt x="40" y="0"/>
                    <a:pt x="39" y="3"/>
                  </a:cubicBezTo>
                  <a:cubicBezTo>
                    <a:pt x="38" y="5"/>
                    <a:pt x="38" y="6"/>
                    <a:pt x="36" y="5"/>
                  </a:cubicBezTo>
                  <a:cubicBezTo>
                    <a:pt x="36" y="4"/>
                    <a:pt x="33" y="4"/>
                    <a:pt x="30" y="5"/>
                  </a:cubicBezTo>
                  <a:cubicBezTo>
                    <a:pt x="30" y="5"/>
                    <a:pt x="30" y="5"/>
                    <a:pt x="30" y="5"/>
                  </a:cubicBezTo>
                  <a:cubicBezTo>
                    <a:pt x="30" y="8"/>
                    <a:pt x="27" y="12"/>
                    <a:pt x="27" y="14"/>
                  </a:cubicBezTo>
                  <a:cubicBezTo>
                    <a:pt x="27" y="16"/>
                    <a:pt x="25" y="18"/>
                    <a:pt x="23" y="18"/>
                  </a:cubicBezTo>
                  <a:cubicBezTo>
                    <a:pt x="22" y="18"/>
                    <a:pt x="20" y="22"/>
                    <a:pt x="18" y="24"/>
                  </a:cubicBezTo>
                  <a:cubicBezTo>
                    <a:pt x="16" y="26"/>
                    <a:pt x="18" y="31"/>
                    <a:pt x="16" y="32"/>
                  </a:cubicBezTo>
                  <a:cubicBezTo>
                    <a:pt x="14" y="34"/>
                    <a:pt x="11" y="34"/>
                    <a:pt x="12" y="36"/>
                  </a:cubicBezTo>
                  <a:cubicBezTo>
                    <a:pt x="14" y="37"/>
                    <a:pt x="10" y="40"/>
                    <a:pt x="10" y="43"/>
                  </a:cubicBezTo>
                  <a:cubicBezTo>
                    <a:pt x="10" y="46"/>
                    <a:pt x="9" y="51"/>
                    <a:pt x="9" y="52"/>
                  </a:cubicBezTo>
                  <a:cubicBezTo>
                    <a:pt x="8" y="52"/>
                    <a:pt x="2" y="51"/>
                    <a:pt x="2" y="53"/>
                  </a:cubicBezTo>
                  <a:cubicBezTo>
                    <a:pt x="2" y="56"/>
                    <a:pt x="0" y="56"/>
                    <a:pt x="1" y="58"/>
                  </a:cubicBezTo>
                  <a:cubicBezTo>
                    <a:pt x="2" y="60"/>
                    <a:pt x="7" y="59"/>
                    <a:pt x="8" y="62"/>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05" name="Freeform 48">
              <a:extLst>
                <a:ext uri="{FF2B5EF4-FFF2-40B4-BE49-F238E27FC236}">
                  <a16:creationId xmlns:a16="http://schemas.microsoft.com/office/drawing/2014/main" xmlns="" id="{B1C597C0-B2C7-4A64-8324-567B01F9860E}"/>
                </a:ext>
              </a:extLst>
            </p:cNvPr>
            <p:cNvSpPr>
              <a:spLocks/>
            </p:cNvSpPr>
            <p:nvPr/>
          </p:nvSpPr>
          <p:spPr bwMode="auto">
            <a:xfrm>
              <a:off x="17057909" y="3218529"/>
              <a:ext cx="31750" cy="39687"/>
            </a:xfrm>
            <a:custGeom>
              <a:avLst/>
              <a:gdLst>
                <a:gd name="T0" fmla="*/ 10 w 12"/>
                <a:gd name="T1" fmla="*/ 6 h 15"/>
                <a:gd name="T2" fmla="*/ 6 w 12"/>
                <a:gd name="T3" fmla="*/ 0 h 15"/>
                <a:gd name="T4" fmla="*/ 6 w 12"/>
                <a:gd name="T5" fmla="*/ 1 h 15"/>
                <a:gd name="T6" fmla="*/ 0 w 12"/>
                <a:gd name="T7" fmla="*/ 13 h 15"/>
                <a:gd name="T8" fmla="*/ 4 w 12"/>
                <a:gd name="T9" fmla="*/ 15 h 15"/>
                <a:gd name="T10" fmla="*/ 10 w 12"/>
                <a:gd name="T11" fmla="*/ 6 h 15"/>
              </a:gdLst>
              <a:ahLst/>
              <a:cxnLst>
                <a:cxn ang="0">
                  <a:pos x="T0" y="T1"/>
                </a:cxn>
                <a:cxn ang="0">
                  <a:pos x="T2" y="T3"/>
                </a:cxn>
                <a:cxn ang="0">
                  <a:pos x="T4" y="T5"/>
                </a:cxn>
                <a:cxn ang="0">
                  <a:pos x="T6" y="T7"/>
                </a:cxn>
                <a:cxn ang="0">
                  <a:pos x="T8" y="T9"/>
                </a:cxn>
                <a:cxn ang="0">
                  <a:pos x="T10" y="T11"/>
                </a:cxn>
              </a:cxnLst>
              <a:rect l="0" t="0" r="r" b="b"/>
              <a:pathLst>
                <a:path w="12" h="15">
                  <a:moveTo>
                    <a:pt x="10" y="6"/>
                  </a:moveTo>
                  <a:cubicBezTo>
                    <a:pt x="11" y="5"/>
                    <a:pt x="12" y="0"/>
                    <a:pt x="6" y="0"/>
                  </a:cubicBezTo>
                  <a:cubicBezTo>
                    <a:pt x="6" y="0"/>
                    <a:pt x="6" y="1"/>
                    <a:pt x="6" y="1"/>
                  </a:cubicBezTo>
                  <a:cubicBezTo>
                    <a:pt x="6" y="3"/>
                    <a:pt x="2" y="9"/>
                    <a:pt x="0" y="13"/>
                  </a:cubicBezTo>
                  <a:cubicBezTo>
                    <a:pt x="4" y="15"/>
                    <a:pt x="4" y="15"/>
                    <a:pt x="4" y="15"/>
                  </a:cubicBezTo>
                  <a:cubicBezTo>
                    <a:pt x="6" y="11"/>
                    <a:pt x="9" y="7"/>
                    <a:pt x="10" y="6"/>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06" name="Freeform 49">
              <a:extLst>
                <a:ext uri="{FF2B5EF4-FFF2-40B4-BE49-F238E27FC236}">
                  <a16:creationId xmlns:a16="http://schemas.microsoft.com/office/drawing/2014/main" xmlns="" id="{396433E9-F640-4B38-A912-A685A243D1E0}"/>
                </a:ext>
              </a:extLst>
            </p:cNvPr>
            <p:cNvSpPr>
              <a:spLocks/>
            </p:cNvSpPr>
            <p:nvPr/>
          </p:nvSpPr>
          <p:spPr bwMode="auto">
            <a:xfrm>
              <a:off x="17069022" y="3158204"/>
              <a:ext cx="142875" cy="117475"/>
            </a:xfrm>
            <a:custGeom>
              <a:avLst/>
              <a:gdLst>
                <a:gd name="T0" fmla="*/ 6 w 55"/>
                <a:gd name="T1" fmla="*/ 29 h 45"/>
                <a:gd name="T2" fmla="*/ 0 w 55"/>
                <a:gd name="T3" fmla="*/ 38 h 45"/>
                <a:gd name="T4" fmla="*/ 0 w 55"/>
                <a:gd name="T5" fmla="*/ 38 h 45"/>
                <a:gd name="T6" fmla="*/ 1 w 55"/>
                <a:gd name="T7" fmla="*/ 41 h 45"/>
                <a:gd name="T8" fmla="*/ 8 w 55"/>
                <a:gd name="T9" fmla="*/ 45 h 45"/>
                <a:gd name="T10" fmla="*/ 16 w 55"/>
                <a:gd name="T11" fmla="*/ 40 h 45"/>
                <a:gd name="T12" fmla="*/ 43 w 55"/>
                <a:gd name="T13" fmla="*/ 26 h 45"/>
                <a:gd name="T14" fmla="*/ 45 w 55"/>
                <a:gd name="T15" fmla="*/ 22 h 45"/>
                <a:gd name="T16" fmla="*/ 46 w 55"/>
                <a:gd name="T17" fmla="*/ 15 h 45"/>
                <a:gd name="T18" fmla="*/ 45 w 55"/>
                <a:gd name="T19" fmla="*/ 9 h 45"/>
                <a:gd name="T20" fmla="*/ 50 w 55"/>
                <a:gd name="T21" fmla="*/ 5 h 45"/>
                <a:gd name="T22" fmla="*/ 55 w 55"/>
                <a:gd name="T23" fmla="*/ 1 h 45"/>
                <a:gd name="T24" fmla="*/ 52 w 55"/>
                <a:gd name="T25" fmla="*/ 0 h 45"/>
                <a:gd name="T26" fmla="*/ 43 w 55"/>
                <a:gd name="T27" fmla="*/ 2 h 45"/>
                <a:gd name="T28" fmla="*/ 32 w 55"/>
                <a:gd name="T29" fmla="*/ 5 h 45"/>
                <a:gd name="T30" fmla="*/ 23 w 55"/>
                <a:gd name="T31" fmla="*/ 5 h 45"/>
                <a:gd name="T32" fmla="*/ 18 w 55"/>
                <a:gd name="T33" fmla="*/ 6 h 45"/>
                <a:gd name="T34" fmla="*/ 11 w 55"/>
                <a:gd name="T35" fmla="*/ 6 h 45"/>
                <a:gd name="T36" fmla="*/ 7 w 55"/>
                <a:gd name="T37" fmla="*/ 7 h 45"/>
                <a:gd name="T38" fmla="*/ 3 w 55"/>
                <a:gd name="T39" fmla="*/ 13 h 45"/>
                <a:gd name="T40" fmla="*/ 3 w 55"/>
                <a:gd name="T41" fmla="*/ 17 h 45"/>
                <a:gd name="T42" fmla="*/ 2 w 55"/>
                <a:gd name="T43" fmla="*/ 23 h 45"/>
                <a:gd name="T44" fmla="*/ 6 w 55"/>
                <a:gd name="T45" fmla="*/ 29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5" h="45">
                  <a:moveTo>
                    <a:pt x="6" y="29"/>
                  </a:moveTo>
                  <a:cubicBezTo>
                    <a:pt x="5" y="30"/>
                    <a:pt x="2" y="34"/>
                    <a:pt x="0" y="38"/>
                  </a:cubicBezTo>
                  <a:cubicBezTo>
                    <a:pt x="0" y="38"/>
                    <a:pt x="0" y="38"/>
                    <a:pt x="0" y="38"/>
                  </a:cubicBezTo>
                  <a:cubicBezTo>
                    <a:pt x="1" y="41"/>
                    <a:pt x="1" y="41"/>
                    <a:pt x="1" y="41"/>
                  </a:cubicBezTo>
                  <a:cubicBezTo>
                    <a:pt x="8" y="45"/>
                    <a:pt x="8" y="45"/>
                    <a:pt x="8" y="45"/>
                  </a:cubicBezTo>
                  <a:cubicBezTo>
                    <a:pt x="8" y="45"/>
                    <a:pt x="13" y="41"/>
                    <a:pt x="16" y="40"/>
                  </a:cubicBezTo>
                  <a:cubicBezTo>
                    <a:pt x="18" y="40"/>
                    <a:pt x="43" y="26"/>
                    <a:pt x="43" y="26"/>
                  </a:cubicBezTo>
                  <a:cubicBezTo>
                    <a:pt x="43" y="26"/>
                    <a:pt x="45" y="23"/>
                    <a:pt x="45" y="22"/>
                  </a:cubicBezTo>
                  <a:cubicBezTo>
                    <a:pt x="45" y="20"/>
                    <a:pt x="45" y="17"/>
                    <a:pt x="46" y="15"/>
                  </a:cubicBezTo>
                  <a:cubicBezTo>
                    <a:pt x="47" y="14"/>
                    <a:pt x="44" y="11"/>
                    <a:pt x="45" y="9"/>
                  </a:cubicBezTo>
                  <a:cubicBezTo>
                    <a:pt x="46" y="6"/>
                    <a:pt x="50" y="5"/>
                    <a:pt x="50" y="5"/>
                  </a:cubicBezTo>
                  <a:cubicBezTo>
                    <a:pt x="55" y="1"/>
                    <a:pt x="55" y="1"/>
                    <a:pt x="55" y="1"/>
                  </a:cubicBezTo>
                  <a:cubicBezTo>
                    <a:pt x="52" y="0"/>
                    <a:pt x="52" y="0"/>
                    <a:pt x="52" y="0"/>
                  </a:cubicBezTo>
                  <a:cubicBezTo>
                    <a:pt x="52" y="0"/>
                    <a:pt x="48" y="2"/>
                    <a:pt x="43" y="2"/>
                  </a:cubicBezTo>
                  <a:cubicBezTo>
                    <a:pt x="38" y="1"/>
                    <a:pt x="37" y="5"/>
                    <a:pt x="32" y="5"/>
                  </a:cubicBezTo>
                  <a:cubicBezTo>
                    <a:pt x="27" y="5"/>
                    <a:pt x="24" y="6"/>
                    <a:pt x="23" y="5"/>
                  </a:cubicBezTo>
                  <a:cubicBezTo>
                    <a:pt x="22" y="3"/>
                    <a:pt x="21" y="4"/>
                    <a:pt x="18" y="6"/>
                  </a:cubicBezTo>
                  <a:cubicBezTo>
                    <a:pt x="14" y="7"/>
                    <a:pt x="12" y="7"/>
                    <a:pt x="11" y="6"/>
                  </a:cubicBezTo>
                  <a:cubicBezTo>
                    <a:pt x="9" y="4"/>
                    <a:pt x="8" y="6"/>
                    <a:pt x="7" y="7"/>
                  </a:cubicBezTo>
                  <a:cubicBezTo>
                    <a:pt x="7" y="9"/>
                    <a:pt x="8" y="12"/>
                    <a:pt x="3" y="13"/>
                  </a:cubicBezTo>
                  <a:cubicBezTo>
                    <a:pt x="2" y="14"/>
                    <a:pt x="2" y="16"/>
                    <a:pt x="3" y="17"/>
                  </a:cubicBezTo>
                  <a:cubicBezTo>
                    <a:pt x="4" y="19"/>
                    <a:pt x="2" y="20"/>
                    <a:pt x="2" y="23"/>
                  </a:cubicBezTo>
                  <a:cubicBezTo>
                    <a:pt x="8" y="23"/>
                    <a:pt x="7" y="28"/>
                    <a:pt x="6" y="29"/>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07" name="Freeform 50">
              <a:extLst>
                <a:ext uri="{FF2B5EF4-FFF2-40B4-BE49-F238E27FC236}">
                  <a16:creationId xmlns:a16="http://schemas.microsoft.com/office/drawing/2014/main" xmlns="" id="{6DC3898B-D3DE-4803-90D7-29EDB2C5A668}"/>
                </a:ext>
              </a:extLst>
            </p:cNvPr>
            <p:cNvSpPr>
              <a:spLocks/>
            </p:cNvSpPr>
            <p:nvPr/>
          </p:nvSpPr>
          <p:spPr bwMode="auto">
            <a:xfrm>
              <a:off x="18951797" y="3134391"/>
              <a:ext cx="80963" cy="100012"/>
            </a:xfrm>
            <a:custGeom>
              <a:avLst/>
              <a:gdLst>
                <a:gd name="T0" fmla="*/ 8 w 31"/>
                <a:gd name="T1" fmla="*/ 3 h 38"/>
                <a:gd name="T2" fmla="*/ 3 w 31"/>
                <a:gd name="T3" fmla="*/ 6 h 38"/>
                <a:gd name="T4" fmla="*/ 6 w 31"/>
                <a:gd name="T5" fmla="*/ 11 h 38"/>
                <a:gd name="T6" fmla="*/ 5 w 31"/>
                <a:gd name="T7" fmla="*/ 14 h 38"/>
                <a:gd name="T8" fmla="*/ 5 w 31"/>
                <a:gd name="T9" fmla="*/ 21 h 38"/>
                <a:gd name="T10" fmla="*/ 2 w 31"/>
                <a:gd name="T11" fmla="*/ 31 h 38"/>
                <a:gd name="T12" fmla="*/ 4 w 31"/>
                <a:gd name="T13" fmla="*/ 37 h 38"/>
                <a:gd name="T14" fmla="*/ 19 w 31"/>
                <a:gd name="T15" fmla="*/ 32 h 38"/>
                <a:gd name="T16" fmla="*/ 27 w 31"/>
                <a:gd name="T17" fmla="*/ 28 h 38"/>
                <a:gd name="T18" fmla="*/ 30 w 31"/>
                <a:gd name="T19" fmla="*/ 25 h 38"/>
                <a:gd name="T20" fmla="*/ 28 w 31"/>
                <a:gd name="T21" fmla="*/ 13 h 38"/>
                <a:gd name="T22" fmla="*/ 20 w 31"/>
                <a:gd name="T23" fmla="*/ 0 h 38"/>
                <a:gd name="T24" fmla="*/ 15 w 31"/>
                <a:gd name="T25" fmla="*/ 1 h 38"/>
                <a:gd name="T26" fmla="*/ 8 w 31"/>
                <a:gd name="T27" fmla="*/ 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38">
                  <a:moveTo>
                    <a:pt x="8" y="3"/>
                  </a:moveTo>
                  <a:cubicBezTo>
                    <a:pt x="7" y="3"/>
                    <a:pt x="5" y="5"/>
                    <a:pt x="3" y="6"/>
                  </a:cubicBezTo>
                  <a:cubicBezTo>
                    <a:pt x="4" y="8"/>
                    <a:pt x="4" y="10"/>
                    <a:pt x="6" y="11"/>
                  </a:cubicBezTo>
                  <a:cubicBezTo>
                    <a:pt x="8" y="11"/>
                    <a:pt x="8" y="15"/>
                    <a:pt x="5" y="14"/>
                  </a:cubicBezTo>
                  <a:cubicBezTo>
                    <a:pt x="3" y="13"/>
                    <a:pt x="3" y="18"/>
                    <a:pt x="5" y="21"/>
                  </a:cubicBezTo>
                  <a:cubicBezTo>
                    <a:pt x="7" y="25"/>
                    <a:pt x="0" y="29"/>
                    <a:pt x="2" y="31"/>
                  </a:cubicBezTo>
                  <a:cubicBezTo>
                    <a:pt x="4" y="33"/>
                    <a:pt x="3" y="35"/>
                    <a:pt x="4" y="37"/>
                  </a:cubicBezTo>
                  <a:cubicBezTo>
                    <a:pt x="4" y="38"/>
                    <a:pt x="14" y="36"/>
                    <a:pt x="19" y="32"/>
                  </a:cubicBezTo>
                  <a:cubicBezTo>
                    <a:pt x="23" y="27"/>
                    <a:pt x="24" y="28"/>
                    <a:pt x="27" y="28"/>
                  </a:cubicBezTo>
                  <a:cubicBezTo>
                    <a:pt x="29" y="29"/>
                    <a:pt x="31" y="27"/>
                    <a:pt x="30" y="25"/>
                  </a:cubicBezTo>
                  <a:cubicBezTo>
                    <a:pt x="29" y="23"/>
                    <a:pt x="28" y="19"/>
                    <a:pt x="28" y="13"/>
                  </a:cubicBezTo>
                  <a:cubicBezTo>
                    <a:pt x="28" y="10"/>
                    <a:pt x="24" y="4"/>
                    <a:pt x="20" y="0"/>
                  </a:cubicBezTo>
                  <a:cubicBezTo>
                    <a:pt x="18" y="1"/>
                    <a:pt x="17" y="1"/>
                    <a:pt x="15" y="1"/>
                  </a:cubicBezTo>
                  <a:cubicBezTo>
                    <a:pt x="12" y="1"/>
                    <a:pt x="9" y="1"/>
                    <a:pt x="8" y="3"/>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08" name="Freeform 51">
              <a:extLst>
                <a:ext uri="{FF2B5EF4-FFF2-40B4-BE49-F238E27FC236}">
                  <a16:creationId xmlns:a16="http://schemas.microsoft.com/office/drawing/2014/main" xmlns="" id="{98ED7FFA-4D7A-4EF3-9117-5AD8C884F906}"/>
                </a:ext>
              </a:extLst>
            </p:cNvPr>
            <p:cNvSpPr>
              <a:spLocks/>
            </p:cNvSpPr>
            <p:nvPr/>
          </p:nvSpPr>
          <p:spPr bwMode="auto">
            <a:xfrm>
              <a:off x="18164397" y="3413791"/>
              <a:ext cx="95250" cy="123825"/>
            </a:xfrm>
            <a:custGeom>
              <a:avLst/>
              <a:gdLst>
                <a:gd name="T0" fmla="*/ 36 w 36"/>
                <a:gd name="T1" fmla="*/ 40 h 47"/>
                <a:gd name="T2" fmla="*/ 33 w 36"/>
                <a:gd name="T3" fmla="*/ 24 h 47"/>
                <a:gd name="T4" fmla="*/ 27 w 36"/>
                <a:gd name="T5" fmla="*/ 30 h 47"/>
                <a:gd name="T6" fmla="*/ 27 w 36"/>
                <a:gd name="T7" fmla="*/ 22 h 47"/>
                <a:gd name="T8" fmla="*/ 33 w 36"/>
                <a:gd name="T9" fmla="*/ 14 h 47"/>
                <a:gd name="T10" fmla="*/ 28 w 36"/>
                <a:gd name="T11" fmla="*/ 12 h 47"/>
                <a:gd name="T12" fmla="*/ 19 w 36"/>
                <a:gd name="T13" fmla="*/ 12 h 47"/>
                <a:gd name="T14" fmla="*/ 15 w 36"/>
                <a:gd name="T15" fmla="*/ 8 h 47"/>
                <a:gd name="T16" fmla="*/ 9 w 36"/>
                <a:gd name="T17" fmla="*/ 4 h 47"/>
                <a:gd name="T18" fmla="*/ 3 w 36"/>
                <a:gd name="T19" fmla="*/ 4 h 47"/>
                <a:gd name="T20" fmla="*/ 8 w 36"/>
                <a:gd name="T21" fmla="*/ 11 h 47"/>
                <a:gd name="T22" fmla="*/ 4 w 36"/>
                <a:gd name="T23" fmla="*/ 14 h 47"/>
                <a:gd name="T24" fmla="*/ 6 w 36"/>
                <a:gd name="T25" fmla="*/ 26 h 47"/>
                <a:gd name="T26" fmla="*/ 8 w 36"/>
                <a:gd name="T27" fmla="*/ 41 h 47"/>
                <a:gd name="T28" fmla="*/ 14 w 36"/>
                <a:gd name="T29" fmla="*/ 39 h 47"/>
                <a:gd name="T30" fmla="*/ 20 w 36"/>
                <a:gd name="T31" fmla="*/ 36 h 47"/>
                <a:gd name="T32" fmla="*/ 25 w 36"/>
                <a:gd name="T33" fmla="*/ 32 h 47"/>
                <a:gd name="T34" fmla="*/ 29 w 36"/>
                <a:gd name="T35" fmla="*/ 43 h 47"/>
                <a:gd name="T36" fmla="*/ 31 w 36"/>
                <a:gd name="T37" fmla="*/ 47 h 47"/>
                <a:gd name="T38" fmla="*/ 33 w 36"/>
                <a:gd name="T39" fmla="*/ 45 h 47"/>
                <a:gd name="T40" fmla="*/ 36 w 36"/>
                <a:gd name="T41" fmla="*/ 4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47">
                  <a:moveTo>
                    <a:pt x="36" y="40"/>
                  </a:moveTo>
                  <a:cubicBezTo>
                    <a:pt x="34" y="32"/>
                    <a:pt x="34" y="24"/>
                    <a:pt x="33" y="24"/>
                  </a:cubicBezTo>
                  <a:cubicBezTo>
                    <a:pt x="31" y="24"/>
                    <a:pt x="29" y="31"/>
                    <a:pt x="27" y="30"/>
                  </a:cubicBezTo>
                  <a:cubicBezTo>
                    <a:pt x="24" y="30"/>
                    <a:pt x="24" y="22"/>
                    <a:pt x="27" y="22"/>
                  </a:cubicBezTo>
                  <a:cubicBezTo>
                    <a:pt x="30" y="22"/>
                    <a:pt x="33" y="16"/>
                    <a:pt x="33" y="14"/>
                  </a:cubicBezTo>
                  <a:cubicBezTo>
                    <a:pt x="33" y="12"/>
                    <a:pt x="31" y="12"/>
                    <a:pt x="28" y="12"/>
                  </a:cubicBezTo>
                  <a:cubicBezTo>
                    <a:pt x="25" y="12"/>
                    <a:pt x="19" y="12"/>
                    <a:pt x="19" y="12"/>
                  </a:cubicBezTo>
                  <a:cubicBezTo>
                    <a:pt x="19" y="12"/>
                    <a:pt x="15" y="11"/>
                    <a:pt x="15" y="8"/>
                  </a:cubicBezTo>
                  <a:cubicBezTo>
                    <a:pt x="15" y="6"/>
                    <a:pt x="13" y="4"/>
                    <a:pt x="9" y="4"/>
                  </a:cubicBezTo>
                  <a:cubicBezTo>
                    <a:pt x="6" y="4"/>
                    <a:pt x="6" y="0"/>
                    <a:pt x="3" y="4"/>
                  </a:cubicBezTo>
                  <a:cubicBezTo>
                    <a:pt x="0" y="8"/>
                    <a:pt x="9" y="8"/>
                    <a:pt x="8" y="11"/>
                  </a:cubicBezTo>
                  <a:cubicBezTo>
                    <a:pt x="7" y="14"/>
                    <a:pt x="4" y="12"/>
                    <a:pt x="4" y="14"/>
                  </a:cubicBezTo>
                  <a:cubicBezTo>
                    <a:pt x="3" y="16"/>
                    <a:pt x="4" y="23"/>
                    <a:pt x="6" y="26"/>
                  </a:cubicBezTo>
                  <a:cubicBezTo>
                    <a:pt x="7" y="29"/>
                    <a:pt x="8" y="35"/>
                    <a:pt x="8" y="41"/>
                  </a:cubicBezTo>
                  <a:cubicBezTo>
                    <a:pt x="11" y="40"/>
                    <a:pt x="12" y="39"/>
                    <a:pt x="14" y="39"/>
                  </a:cubicBezTo>
                  <a:cubicBezTo>
                    <a:pt x="16" y="39"/>
                    <a:pt x="20" y="39"/>
                    <a:pt x="20" y="36"/>
                  </a:cubicBezTo>
                  <a:cubicBezTo>
                    <a:pt x="20" y="34"/>
                    <a:pt x="23" y="32"/>
                    <a:pt x="25" y="32"/>
                  </a:cubicBezTo>
                  <a:cubicBezTo>
                    <a:pt x="27" y="33"/>
                    <a:pt x="29" y="40"/>
                    <a:pt x="29" y="43"/>
                  </a:cubicBezTo>
                  <a:cubicBezTo>
                    <a:pt x="29" y="44"/>
                    <a:pt x="30" y="46"/>
                    <a:pt x="31" y="47"/>
                  </a:cubicBezTo>
                  <a:cubicBezTo>
                    <a:pt x="32" y="46"/>
                    <a:pt x="33" y="45"/>
                    <a:pt x="33" y="45"/>
                  </a:cubicBezTo>
                  <a:cubicBezTo>
                    <a:pt x="33" y="45"/>
                    <a:pt x="34" y="41"/>
                    <a:pt x="36" y="40"/>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09" name="Freeform 52">
              <a:extLst>
                <a:ext uri="{FF2B5EF4-FFF2-40B4-BE49-F238E27FC236}">
                  <a16:creationId xmlns:a16="http://schemas.microsoft.com/office/drawing/2014/main" xmlns="" id="{1D40D40E-2138-4559-952F-0A4DFD48B9DE}"/>
                </a:ext>
              </a:extLst>
            </p:cNvPr>
            <p:cNvSpPr>
              <a:spLocks/>
            </p:cNvSpPr>
            <p:nvPr/>
          </p:nvSpPr>
          <p:spPr bwMode="auto">
            <a:xfrm>
              <a:off x="17764347" y="3205829"/>
              <a:ext cx="582613" cy="615950"/>
            </a:xfrm>
            <a:custGeom>
              <a:avLst/>
              <a:gdLst>
                <a:gd name="T0" fmla="*/ 158 w 224"/>
                <a:gd name="T1" fmla="*/ 94 h 236"/>
                <a:gd name="T2" fmla="*/ 157 w 224"/>
                <a:gd name="T3" fmla="*/ 84 h 236"/>
                <a:gd name="T4" fmla="*/ 169 w 224"/>
                <a:gd name="T5" fmla="*/ 88 h 236"/>
                <a:gd name="T6" fmla="*/ 182 w 224"/>
                <a:gd name="T7" fmla="*/ 92 h 236"/>
                <a:gd name="T8" fmla="*/ 181 w 224"/>
                <a:gd name="T9" fmla="*/ 102 h 236"/>
                <a:gd name="T10" fmla="*/ 187 w 224"/>
                <a:gd name="T11" fmla="*/ 104 h 236"/>
                <a:gd name="T12" fmla="*/ 191 w 224"/>
                <a:gd name="T13" fmla="*/ 119 h 236"/>
                <a:gd name="T14" fmla="*/ 195 w 224"/>
                <a:gd name="T15" fmla="*/ 102 h 236"/>
                <a:gd name="T16" fmla="*/ 204 w 224"/>
                <a:gd name="T17" fmla="*/ 93 h 236"/>
                <a:gd name="T18" fmla="*/ 212 w 224"/>
                <a:gd name="T19" fmla="*/ 77 h 236"/>
                <a:gd name="T20" fmla="*/ 222 w 224"/>
                <a:gd name="T21" fmla="*/ 74 h 236"/>
                <a:gd name="T22" fmla="*/ 223 w 224"/>
                <a:gd name="T23" fmla="*/ 65 h 236"/>
                <a:gd name="T24" fmla="*/ 215 w 224"/>
                <a:gd name="T25" fmla="*/ 57 h 236"/>
                <a:gd name="T26" fmla="*/ 201 w 224"/>
                <a:gd name="T27" fmla="*/ 58 h 236"/>
                <a:gd name="T28" fmla="*/ 191 w 224"/>
                <a:gd name="T29" fmla="*/ 65 h 236"/>
                <a:gd name="T30" fmla="*/ 183 w 224"/>
                <a:gd name="T31" fmla="*/ 70 h 236"/>
                <a:gd name="T32" fmla="*/ 176 w 224"/>
                <a:gd name="T33" fmla="*/ 78 h 236"/>
                <a:gd name="T34" fmla="*/ 163 w 224"/>
                <a:gd name="T35" fmla="*/ 76 h 236"/>
                <a:gd name="T36" fmla="*/ 158 w 224"/>
                <a:gd name="T37" fmla="*/ 67 h 236"/>
                <a:gd name="T38" fmla="*/ 155 w 224"/>
                <a:gd name="T39" fmla="*/ 79 h 236"/>
                <a:gd name="T40" fmla="*/ 130 w 224"/>
                <a:gd name="T41" fmla="*/ 76 h 236"/>
                <a:gd name="T42" fmla="*/ 118 w 224"/>
                <a:gd name="T43" fmla="*/ 73 h 236"/>
                <a:gd name="T44" fmla="*/ 106 w 224"/>
                <a:gd name="T45" fmla="*/ 66 h 236"/>
                <a:gd name="T46" fmla="*/ 95 w 224"/>
                <a:gd name="T47" fmla="*/ 60 h 236"/>
                <a:gd name="T48" fmla="*/ 100 w 224"/>
                <a:gd name="T49" fmla="*/ 48 h 236"/>
                <a:gd name="T50" fmla="*/ 92 w 224"/>
                <a:gd name="T51" fmla="*/ 41 h 236"/>
                <a:gd name="T52" fmla="*/ 82 w 224"/>
                <a:gd name="T53" fmla="*/ 30 h 236"/>
                <a:gd name="T54" fmla="*/ 89 w 224"/>
                <a:gd name="T55" fmla="*/ 23 h 236"/>
                <a:gd name="T56" fmla="*/ 84 w 224"/>
                <a:gd name="T57" fmla="*/ 9 h 236"/>
                <a:gd name="T58" fmla="*/ 76 w 224"/>
                <a:gd name="T59" fmla="*/ 0 h 236"/>
                <a:gd name="T60" fmla="*/ 70 w 224"/>
                <a:gd name="T61" fmla="*/ 6 h 236"/>
                <a:gd name="T62" fmla="*/ 50 w 224"/>
                <a:gd name="T63" fmla="*/ 7 h 236"/>
                <a:gd name="T64" fmla="*/ 47 w 224"/>
                <a:gd name="T65" fmla="*/ 19 h 236"/>
                <a:gd name="T66" fmla="*/ 56 w 224"/>
                <a:gd name="T67" fmla="*/ 30 h 236"/>
                <a:gd name="T68" fmla="*/ 50 w 224"/>
                <a:gd name="T69" fmla="*/ 42 h 236"/>
                <a:gd name="T70" fmla="*/ 41 w 224"/>
                <a:gd name="T71" fmla="*/ 50 h 236"/>
                <a:gd name="T72" fmla="*/ 32 w 224"/>
                <a:gd name="T73" fmla="*/ 63 h 236"/>
                <a:gd name="T74" fmla="*/ 22 w 224"/>
                <a:gd name="T75" fmla="*/ 69 h 236"/>
                <a:gd name="T76" fmla="*/ 10 w 224"/>
                <a:gd name="T77" fmla="*/ 76 h 236"/>
                <a:gd name="T78" fmla="*/ 18 w 224"/>
                <a:gd name="T79" fmla="*/ 90 h 236"/>
                <a:gd name="T80" fmla="*/ 15 w 224"/>
                <a:gd name="T81" fmla="*/ 99 h 236"/>
                <a:gd name="T82" fmla="*/ 0 w 224"/>
                <a:gd name="T83" fmla="*/ 104 h 236"/>
                <a:gd name="T84" fmla="*/ 7 w 224"/>
                <a:gd name="T85" fmla="*/ 112 h 236"/>
                <a:gd name="T86" fmla="*/ 5 w 224"/>
                <a:gd name="T87" fmla="*/ 116 h 236"/>
                <a:gd name="T88" fmla="*/ 30 w 224"/>
                <a:gd name="T89" fmla="*/ 122 h 236"/>
                <a:gd name="T90" fmla="*/ 35 w 224"/>
                <a:gd name="T91" fmla="*/ 126 h 236"/>
                <a:gd name="T92" fmla="*/ 36 w 224"/>
                <a:gd name="T93" fmla="*/ 147 h 236"/>
                <a:gd name="T94" fmla="*/ 47 w 224"/>
                <a:gd name="T95" fmla="*/ 183 h 236"/>
                <a:gd name="T96" fmla="*/ 63 w 224"/>
                <a:gd name="T97" fmla="*/ 220 h 236"/>
                <a:gd name="T98" fmla="*/ 78 w 224"/>
                <a:gd name="T99" fmla="*/ 230 h 236"/>
                <a:gd name="T100" fmla="*/ 89 w 224"/>
                <a:gd name="T101" fmla="*/ 217 h 236"/>
                <a:gd name="T102" fmla="*/ 93 w 224"/>
                <a:gd name="T103" fmla="*/ 201 h 236"/>
                <a:gd name="T104" fmla="*/ 95 w 224"/>
                <a:gd name="T105" fmla="*/ 178 h 236"/>
                <a:gd name="T106" fmla="*/ 106 w 224"/>
                <a:gd name="T107" fmla="*/ 165 h 236"/>
                <a:gd name="T108" fmla="*/ 131 w 224"/>
                <a:gd name="T109" fmla="*/ 143 h 236"/>
                <a:gd name="T110" fmla="*/ 146 w 224"/>
                <a:gd name="T111" fmla="*/ 126 h 236"/>
                <a:gd name="T112" fmla="*/ 162 w 224"/>
                <a:gd name="T113" fmla="*/ 121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4" h="236">
                  <a:moveTo>
                    <a:pt x="160" y="106"/>
                  </a:moveTo>
                  <a:cubicBezTo>
                    <a:pt x="158" y="103"/>
                    <a:pt x="157" y="96"/>
                    <a:pt x="158" y="94"/>
                  </a:cubicBezTo>
                  <a:cubicBezTo>
                    <a:pt x="158" y="92"/>
                    <a:pt x="161" y="94"/>
                    <a:pt x="162" y="91"/>
                  </a:cubicBezTo>
                  <a:cubicBezTo>
                    <a:pt x="163" y="88"/>
                    <a:pt x="154" y="88"/>
                    <a:pt x="157" y="84"/>
                  </a:cubicBezTo>
                  <a:cubicBezTo>
                    <a:pt x="160" y="80"/>
                    <a:pt x="160" y="84"/>
                    <a:pt x="163" y="84"/>
                  </a:cubicBezTo>
                  <a:cubicBezTo>
                    <a:pt x="167" y="84"/>
                    <a:pt x="169" y="86"/>
                    <a:pt x="169" y="88"/>
                  </a:cubicBezTo>
                  <a:cubicBezTo>
                    <a:pt x="169" y="91"/>
                    <a:pt x="173" y="92"/>
                    <a:pt x="173" y="92"/>
                  </a:cubicBezTo>
                  <a:cubicBezTo>
                    <a:pt x="173" y="92"/>
                    <a:pt x="179" y="92"/>
                    <a:pt x="182" y="92"/>
                  </a:cubicBezTo>
                  <a:cubicBezTo>
                    <a:pt x="185" y="92"/>
                    <a:pt x="187" y="92"/>
                    <a:pt x="187" y="94"/>
                  </a:cubicBezTo>
                  <a:cubicBezTo>
                    <a:pt x="187" y="96"/>
                    <a:pt x="184" y="102"/>
                    <a:pt x="181" y="102"/>
                  </a:cubicBezTo>
                  <a:cubicBezTo>
                    <a:pt x="178" y="102"/>
                    <a:pt x="178" y="110"/>
                    <a:pt x="181" y="110"/>
                  </a:cubicBezTo>
                  <a:cubicBezTo>
                    <a:pt x="183" y="111"/>
                    <a:pt x="185" y="104"/>
                    <a:pt x="187" y="104"/>
                  </a:cubicBezTo>
                  <a:cubicBezTo>
                    <a:pt x="188" y="104"/>
                    <a:pt x="188" y="112"/>
                    <a:pt x="190" y="120"/>
                  </a:cubicBezTo>
                  <a:cubicBezTo>
                    <a:pt x="190" y="119"/>
                    <a:pt x="191" y="119"/>
                    <a:pt x="191" y="119"/>
                  </a:cubicBezTo>
                  <a:cubicBezTo>
                    <a:pt x="193" y="119"/>
                    <a:pt x="192" y="112"/>
                    <a:pt x="193" y="110"/>
                  </a:cubicBezTo>
                  <a:cubicBezTo>
                    <a:pt x="194" y="108"/>
                    <a:pt x="194" y="102"/>
                    <a:pt x="195" y="102"/>
                  </a:cubicBezTo>
                  <a:cubicBezTo>
                    <a:pt x="196" y="102"/>
                    <a:pt x="201" y="104"/>
                    <a:pt x="201" y="103"/>
                  </a:cubicBezTo>
                  <a:cubicBezTo>
                    <a:pt x="201" y="101"/>
                    <a:pt x="205" y="96"/>
                    <a:pt x="204" y="93"/>
                  </a:cubicBezTo>
                  <a:cubicBezTo>
                    <a:pt x="203" y="90"/>
                    <a:pt x="206" y="87"/>
                    <a:pt x="206" y="83"/>
                  </a:cubicBezTo>
                  <a:cubicBezTo>
                    <a:pt x="206" y="80"/>
                    <a:pt x="209" y="79"/>
                    <a:pt x="212" y="77"/>
                  </a:cubicBezTo>
                  <a:cubicBezTo>
                    <a:pt x="214" y="75"/>
                    <a:pt x="218" y="72"/>
                    <a:pt x="218" y="74"/>
                  </a:cubicBezTo>
                  <a:cubicBezTo>
                    <a:pt x="219" y="75"/>
                    <a:pt x="224" y="77"/>
                    <a:pt x="222" y="74"/>
                  </a:cubicBezTo>
                  <a:cubicBezTo>
                    <a:pt x="220" y="71"/>
                    <a:pt x="220" y="69"/>
                    <a:pt x="221" y="68"/>
                  </a:cubicBezTo>
                  <a:cubicBezTo>
                    <a:pt x="222" y="68"/>
                    <a:pt x="223" y="65"/>
                    <a:pt x="223" y="65"/>
                  </a:cubicBezTo>
                  <a:cubicBezTo>
                    <a:pt x="223" y="65"/>
                    <a:pt x="219" y="64"/>
                    <a:pt x="218" y="62"/>
                  </a:cubicBezTo>
                  <a:cubicBezTo>
                    <a:pt x="218" y="60"/>
                    <a:pt x="215" y="58"/>
                    <a:pt x="215" y="57"/>
                  </a:cubicBezTo>
                  <a:cubicBezTo>
                    <a:pt x="215" y="55"/>
                    <a:pt x="213" y="56"/>
                    <a:pt x="211" y="57"/>
                  </a:cubicBezTo>
                  <a:cubicBezTo>
                    <a:pt x="209" y="59"/>
                    <a:pt x="206" y="55"/>
                    <a:pt x="201" y="58"/>
                  </a:cubicBezTo>
                  <a:cubicBezTo>
                    <a:pt x="197" y="60"/>
                    <a:pt x="196" y="62"/>
                    <a:pt x="194" y="62"/>
                  </a:cubicBezTo>
                  <a:cubicBezTo>
                    <a:pt x="193" y="62"/>
                    <a:pt x="193" y="64"/>
                    <a:pt x="191" y="65"/>
                  </a:cubicBezTo>
                  <a:cubicBezTo>
                    <a:pt x="190" y="67"/>
                    <a:pt x="188" y="69"/>
                    <a:pt x="187" y="69"/>
                  </a:cubicBezTo>
                  <a:cubicBezTo>
                    <a:pt x="186" y="69"/>
                    <a:pt x="183" y="70"/>
                    <a:pt x="183" y="70"/>
                  </a:cubicBezTo>
                  <a:cubicBezTo>
                    <a:pt x="183" y="70"/>
                    <a:pt x="186" y="75"/>
                    <a:pt x="184" y="77"/>
                  </a:cubicBezTo>
                  <a:cubicBezTo>
                    <a:pt x="183" y="80"/>
                    <a:pt x="180" y="77"/>
                    <a:pt x="176" y="78"/>
                  </a:cubicBezTo>
                  <a:cubicBezTo>
                    <a:pt x="173" y="79"/>
                    <a:pt x="171" y="77"/>
                    <a:pt x="169" y="78"/>
                  </a:cubicBezTo>
                  <a:cubicBezTo>
                    <a:pt x="166" y="78"/>
                    <a:pt x="165" y="76"/>
                    <a:pt x="163" y="76"/>
                  </a:cubicBezTo>
                  <a:cubicBezTo>
                    <a:pt x="162" y="77"/>
                    <a:pt x="160" y="74"/>
                    <a:pt x="161" y="71"/>
                  </a:cubicBezTo>
                  <a:cubicBezTo>
                    <a:pt x="161" y="68"/>
                    <a:pt x="160" y="65"/>
                    <a:pt x="158" y="67"/>
                  </a:cubicBezTo>
                  <a:cubicBezTo>
                    <a:pt x="157" y="69"/>
                    <a:pt x="155" y="68"/>
                    <a:pt x="155" y="71"/>
                  </a:cubicBezTo>
                  <a:cubicBezTo>
                    <a:pt x="155" y="74"/>
                    <a:pt x="157" y="77"/>
                    <a:pt x="155" y="79"/>
                  </a:cubicBezTo>
                  <a:cubicBezTo>
                    <a:pt x="153" y="81"/>
                    <a:pt x="143" y="82"/>
                    <a:pt x="141" y="80"/>
                  </a:cubicBezTo>
                  <a:cubicBezTo>
                    <a:pt x="139" y="79"/>
                    <a:pt x="131" y="78"/>
                    <a:pt x="130" y="76"/>
                  </a:cubicBezTo>
                  <a:cubicBezTo>
                    <a:pt x="130" y="75"/>
                    <a:pt x="127" y="72"/>
                    <a:pt x="126" y="72"/>
                  </a:cubicBezTo>
                  <a:cubicBezTo>
                    <a:pt x="124" y="72"/>
                    <a:pt x="119" y="74"/>
                    <a:pt x="118" y="73"/>
                  </a:cubicBezTo>
                  <a:cubicBezTo>
                    <a:pt x="117" y="72"/>
                    <a:pt x="114" y="69"/>
                    <a:pt x="112" y="69"/>
                  </a:cubicBezTo>
                  <a:cubicBezTo>
                    <a:pt x="109" y="69"/>
                    <a:pt x="106" y="67"/>
                    <a:pt x="106" y="66"/>
                  </a:cubicBezTo>
                  <a:cubicBezTo>
                    <a:pt x="105" y="65"/>
                    <a:pt x="100" y="64"/>
                    <a:pt x="99" y="63"/>
                  </a:cubicBezTo>
                  <a:cubicBezTo>
                    <a:pt x="98" y="61"/>
                    <a:pt x="95" y="61"/>
                    <a:pt x="95" y="60"/>
                  </a:cubicBezTo>
                  <a:cubicBezTo>
                    <a:pt x="95" y="58"/>
                    <a:pt x="96" y="55"/>
                    <a:pt x="96" y="54"/>
                  </a:cubicBezTo>
                  <a:cubicBezTo>
                    <a:pt x="96" y="52"/>
                    <a:pt x="100" y="50"/>
                    <a:pt x="100" y="48"/>
                  </a:cubicBezTo>
                  <a:cubicBezTo>
                    <a:pt x="100" y="47"/>
                    <a:pt x="97" y="45"/>
                    <a:pt x="97" y="45"/>
                  </a:cubicBezTo>
                  <a:cubicBezTo>
                    <a:pt x="97" y="45"/>
                    <a:pt x="94" y="41"/>
                    <a:pt x="92" y="41"/>
                  </a:cubicBezTo>
                  <a:cubicBezTo>
                    <a:pt x="89" y="41"/>
                    <a:pt x="87" y="36"/>
                    <a:pt x="85" y="36"/>
                  </a:cubicBezTo>
                  <a:cubicBezTo>
                    <a:pt x="83" y="36"/>
                    <a:pt x="84" y="31"/>
                    <a:pt x="82" y="30"/>
                  </a:cubicBezTo>
                  <a:cubicBezTo>
                    <a:pt x="81" y="28"/>
                    <a:pt x="82" y="24"/>
                    <a:pt x="84" y="26"/>
                  </a:cubicBezTo>
                  <a:cubicBezTo>
                    <a:pt x="86" y="28"/>
                    <a:pt x="91" y="26"/>
                    <a:pt x="89" y="23"/>
                  </a:cubicBezTo>
                  <a:cubicBezTo>
                    <a:pt x="87" y="21"/>
                    <a:pt x="85" y="18"/>
                    <a:pt x="85" y="16"/>
                  </a:cubicBezTo>
                  <a:cubicBezTo>
                    <a:pt x="85" y="15"/>
                    <a:pt x="86" y="10"/>
                    <a:pt x="84" y="9"/>
                  </a:cubicBezTo>
                  <a:cubicBezTo>
                    <a:pt x="82" y="8"/>
                    <a:pt x="80" y="6"/>
                    <a:pt x="79" y="3"/>
                  </a:cubicBezTo>
                  <a:cubicBezTo>
                    <a:pt x="79" y="1"/>
                    <a:pt x="76" y="0"/>
                    <a:pt x="76" y="0"/>
                  </a:cubicBezTo>
                  <a:cubicBezTo>
                    <a:pt x="73" y="0"/>
                    <a:pt x="73" y="0"/>
                    <a:pt x="73" y="0"/>
                  </a:cubicBezTo>
                  <a:cubicBezTo>
                    <a:pt x="73" y="0"/>
                    <a:pt x="71" y="5"/>
                    <a:pt x="70" y="6"/>
                  </a:cubicBezTo>
                  <a:cubicBezTo>
                    <a:pt x="69" y="6"/>
                    <a:pt x="64" y="7"/>
                    <a:pt x="62" y="9"/>
                  </a:cubicBezTo>
                  <a:cubicBezTo>
                    <a:pt x="60" y="10"/>
                    <a:pt x="53" y="7"/>
                    <a:pt x="50" y="7"/>
                  </a:cubicBezTo>
                  <a:cubicBezTo>
                    <a:pt x="46" y="7"/>
                    <a:pt x="44" y="10"/>
                    <a:pt x="46" y="11"/>
                  </a:cubicBezTo>
                  <a:cubicBezTo>
                    <a:pt x="47" y="12"/>
                    <a:pt x="47" y="19"/>
                    <a:pt x="47" y="19"/>
                  </a:cubicBezTo>
                  <a:cubicBezTo>
                    <a:pt x="47" y="19"/>
                    <a:pt x="49" y="27"/>
                    <a:pt x="52" y="26"/>
                  </a:cubicBezTo>
                  <a:cubicBezTo>
                    <a:pt x="55" y="26"/>
                    <a:pt x="58" y="29"/>
                    <a:pt x="56" y="30"/>
                  </a:cubicBezTo>
                  <a:cubicBezTo>
                    <a:pt x="53" y="30"/>
                    <a:pt x="52" y="33"/>
                    <a:pt x="52" y="36"/>
                  </a:cubicBezTo>
                  <a:cubicBezTo>
                    <a:pt x="51" y="38"/>
                    <a:pt x="52" y="41"/>
                    <a:pt x="50" y="42"/>
                  </a:cubicBezTo>
                  <a:cubicBezTo>
                    <a:pt x="48" y="42"/>
                    <a:pt x="46" y="43"/>
                    <a:pt x="46" y="46"/>
                  </a:cubicBezTo>
                  <a:cubicBezTo>
                    <a:pt x="46" y="50"/>
                    <a:pt x="42" y="49"/>
                    <a:pt x="41" y="50"/>
                  </a:cubicBezTo>
                  <a:cubicBezTo>
                    <a:pt x="41" y="51"/>
                    <a:pt x="39" y="58"/>
                    <a:pt x="38" y="59"/>
                  </a:cubicBezTo>
                  <a:cubicBezTo>
                    <a:pt x="37" y="60"/>
                    <a:pt x="32" y="60"/>
                    <a:pt x="32" y="63"/>
                  </a:cubicBezTo>
                  <a:cubicBezTo>
                    <a:pt x="31" y="66"/>
                    <a:pt x="29" y="69"/>
                    <a:pt x="27" y="69"/>
                  </a:cubicBezTo>
                  <a:cubicBezTo>
                    <a:pt x="26" y="68"/>
                    <a:pt x="23" y="67"/>
                    <a:pt x="22" y="69"/>
                  </a:cubicBezTo>
                  <a:cubicBezTo>
                    <a:pt x="21" y="71"/>
                    <a:pt x="17" y="68"/>
                    <a:pt x="16" y="68"/>
                  </a:cubicBezTo>
                  <a:cubicBezTo>
                    <a:pt x="15" y="69"/>
                    <a:pt x="10" y="74"/>
                    <a:pt x="10" y="76"/>
                  </a:cubicBezTo>
                  <a:cubicBezTo>
                    <a:pt x="10" y="79"/>
                    <a:pt x="15" y="79"/>
                    <a:pt x="15" y="82"/>
                  </a:cubicBezTo>
                  <a:cubicBezTo>
                    <a:pt x="14" y="85"/>
                    <a:pt x="17" y="88"/>
                    <a:pt x="18" y="90"/>
                  </a:cubicBezTo>
                  <a:cubicBezTo>
                    <a:pt x="20" y="92"/>
                    <a:pt x="22" y="95"/>
                    <a:pt x="21" y="97"/>
                  </a:cubicBezTo>
                  <a:cubicBezTo>
                    <a:pt x="20" y="99"/>
                    <a:pt x="18" y="100"/>
                    <a:pt x="15" y="99"/>
                  </a:cubicBezTo>
                  <a:cubicBezTo>
                    <a:pt x="12" y="98"/>
                    <a:pt x="12" y="100"/>
                    <a:pt x="7" y="99"/>
                  </a:cubicBezTo>
                  <a:cubicBezTo>
                    <a:pt x="2" y="98"/>
                    <a:pt x="2" y="102"/>
                    <a:pt x="0" y="104"/>
                  </a:cubicBezTo>
                  <a:cubicBezTo>
                    <a:pt x="0" y="104"/>
                    <a:pt x="0" y="105"/>
                    <a:pt x="0" y="105"/>
                  </a:cubicBezTo>
                  <a:cubicBezTo>
                    <a:pt x="2" y="107"/>
                    <a:pt x="3" y="110"/>
                    <a:pt x="7" y="112"/>
                  </a:cubicBezTo>
                  <a:cubicBezTo>
                    <a:pt x="12" y="114"/>
                    <a:pt x="16" y="109"/>
                    <a:pt x="16" y="112"/>
                  </a:cubicBezTo>
                  <a:cubicBezTo>
                    <a:pt x="16" y="116"/>
                    <a:pt x="5" y="115"/>
                    <a:pt x="5" y="116"/>
                  </a:cubicBezTo>
                  <a:cubicBezTo>
                    <a:pt x="4" y="117"/>
                    <a:pt x="16" y="131"/>
                    <a:pt x="22" y="130"/>
                  </a:cubicBezTo>
                  <a:cubicBezTo>
                    <a:pt x="28" y="129"/>
                    <a:pt x="32" y="123"/>
                    <a:pt x="30" y="122"/>
                  </a:cubicBezTo>
                  <a:cubicBezTo>
                    <a:pt x="29" y="121"/>
                    <a:pt x="31" y="117"/>
                    <a:pt x="33" y="117"/>
                  </a:cubicBezTo>
                  <a:cubicBezTo>
                    <a:pt x="34" y="118"/>
                    <a:pt x="33" y="124"/>
                    <a:pt x="35" y="126"/>
                  </a:cubicBezTo>
                  <a:cubicBezTo>
                    <a:pt x="36" y="127"/>
                    <a:pt x="36" y="130"/>
                    <a:pt x="35" y="133"/>
                  </a:cubicBezTo>
                  <a:cubicBezTo>
                    <a:pt x="34" y="136"/>
                    <a:pt x="36" y="143"/>
                    <a:pt x="36" y="147"/>
                  </a:cubicBezTo>
                  <a:cubicBezTo>
                    <a:pt x="37" y="150"/>
                    <a:pt x="39" y="156"/>
                    <a:pt x="40" y="161"/>
                  </a:cubicBezTo>
                  <a:cubicBezTo>
                    <a:pt x="41" y="167"/>
                    <a:pt x="44" y="177"/>
                    <a:pt x="47" y="183"/>
                  </a:cubicBezTo>
                  <a:cubicBezTo>
                    <a:pt x="51" y="189"/>
                    <a:pt x="53" y="201"/>
                    <a:pt x="55" y="204"/>
                  </a:cubicBezTo>
                  <a:cubicBezTo>
                    <a:pt x="57" y="206"/>
                    <a:pt x="63" y="215"/>
                    <a:pt x="63" y="220"/>
                  </a:cubicBezTo>
                  <a:cubicBezTo>
                    <a:pt x="63" y="226"/>
                    <a:pt x="69" y="233"/>
                    <a:pt x="71" y="235"/>
                  </a:cubicBezTo>
                  <a:cubicBezTo>
                    <a:pt x="73" y="236"/>
                    <a:pt x="77" y="233"/>
                    <a:pt x="78" y="230"/>
                  </a:cubicBezTo>
                  <a:cubicBezTo>
                    <a:pt x="79" y="226"/>
                    <a:pt x="85" y="225"/>
                    <a:pt x="86" y="222"/>
                  </a:cubicBezTo>
                  <a:cubicBezTo>
                    <a:pt x="86" y="219"/>
                    <a:pt x="87" y="217"/>
                    <a:pt x="89" y="217"/>
                  </a:cubicBezTo>
                  <a:cubicBezTo>
                    <a:pt x="91" y="216"/>
                    <a:pt x="91" y="214"/>
                    <a:pt x="91" y="211"/>
                  </a:cubicBezTo>
                  <a:cubicBezTo>
                    <a:pt x="91" y="208"/>
                    <a:pt x="91" y="204"/>
                    <a:pt x="93" y="201"/>
                  </a:cubicBezTo>
                  <a:cubicBezTo>
                    <a:pt x="95" y="198"/>
                    <a:pt x="96" y="191"/>
                    <a:pt x="95" y="188"/>
                  </a:cubicBezTo>
                  <a:cubicBezTo>
                    <a:pt x="93" y="185"/>
                    <a:pt x="94" y="181"/>
                    <a:pt x="95" y="178"/>
                  </a:cubicBezTo>
                  <a:cubicBezTo>
                    <a:pt x="96" y="175"/>
                    <a:pt x="96" y="171"/>
                    <a:pt x="98" y="171"/>
                  </a:cubicBezTo>
                  <a:cubicBezTo>
                    <a:pt x="100" y="171"/>
                    <a:pt x="104" y="169"/>
                    <a:pt x="106" y="165"/>
                  </a:cubicBezTo>
                  <a:cubicBezTo>
                    <a:pt x="108" y="162"/>
                    <a:pt x="116" y="158"/>
                    <a:pt x="118" y="156"/>
                  </a:cubicBezTo>
                  <a:cubicBezTo>
                    <a:pt x="121" y="154"/>
                    <a:pt x="129" y="147"/>
                    <a:pt x="131" y="143"/>
                  </a:cubicBezTo>
                  <a:cubicBezTo>
                    <a:pt x="134" y="139"/>
                    <a:pt x="140" y="137"/>
                    <a:pt x="143" y="134"/>
                  </a:cubicBezTo>
                  <a:cubicBezTo>
                    <a:pt x="147" y="131"/>
                    <a:pt x="145" y="129"/>
                    <a:pt x="146" y="126"/>
                  </a:cubicBezTo>
                  <a:cubicBezTo>
                    <a:pt x="147" y="122"/>
                    <a:pt x="157" y="121"/>
                    <a:pt x="160" y="121"/>
                  </a:cubicBezTo>
                  <a:cubicBezTo>
                    <a:pt x="161" y="121"/>
                    <a:pt x="162" y="121"/>
                    <a:pt x="162" y="121"/>
                  </a:cubicBezTo>
                  <a:cubicBezTo>
                    <a:pt x="162" y="115"/>
                    <a:pt x="161" y="109"/>
                    <a:pt x="160" y="106"/>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10" name="Freeform 53">
              <a:extLst>
                <a:ext uri="{FF2B5EF4-FFF2-40B4-BE49-F238E27FC236}">
                  <a16:creationId xmlns:a16="http://schemas.microsoft.com/office/drawing/2014/main" xmlns="" id="{867D0468-CDA7-4A8D-B600-154D6172A575}"/>
                </a:ext>
              </a:extLst>
            </p:cNvPr>
            <p:cNvSpPr>
              <a:spLocks/>
            </p:cNvSpPr>
            <p:nvPr/>
          </p:nvSpPr>
          <p:spPr bwMode="auto">
            <a:xfrm>
              <a:off x="18164397" y="2774029"/>
              <a:ext cx="660400" cy="282575"/>
            </a:xfrm>
            <a:custGeom>
              <a:avLst/>
              <a:gdLst>
                <a:gd name="T0" fmla="*/ 235 w 253"/>
                <a:gd name="T1" fmla="*/ 46 h 108"/>
                <a:gd name="T2" fmla="*/ 219 w 253"/>
                <a:gd name="T3" fmla="*/ 45 h 108"/>
                <a:gd name="T4" fmla="*/ 220 w 253"/>
                <a:gd name="T5" fmla="*/ 36 h 108"/>
                <a:gd name="T6" fmla="*/ 221 w 253"/>
                <a:gd name="T7" fmla="*/ 23 h 108"/>
                <a:gd name="T8" fmla="*/ 204 w 253"/>
                <a:gd name="T9" fmla="*/ 21 h 108"/>
                <a:gd name="T10" fmla="*/ 191 w 253"/>
                <a:gd name="T11" fmla="*/ 28 h 108"/>
                <a:gd name="T12" fmla="*/ 170 w 253"/>
                <a:gd name="T13" fmla="*/ 30 h 108"/>
                <a:gd name="T14" fmla="*/ 155 w 253"/>
                <a:gd name="T15" fmla="*/ 24 h 108"/>
                <a:gd name="T16" fmla="*/ 143 w 253"/>
                <a:gd name="T17" fmla="*/ 19 h 108"/>
                <a:gd name="T18" fmla="*/ 128 w 253"/>
                <a:gd name="T19" fmla="*/ 18 h 108"/>
                <a:gd name="T20" fmla="*/ 115 w 253"/>
                <a:gd name="T21" fmla="*/ 19 h 108"/>
                <a:gd name="T22" fmla="*/ 109 w 253"/>
                <a:gd name="T23" fmla="*/ 8 h 108"/>
                <a:gd name="T24" fmla="*/ 95 w 253"/>
                <a:gd name="T25" fmla="*/ 4 h 108"/>
                <a:gd name="T26" fmla="*/ 84 w 253"/>
                <a:gd name="T27" fmla="*/ 0 h 108"/>
                <a:gd name="T28" fmla="*/ 77 w 253"/>
                <a:gd name="T29" fmla="*/ 6 h 108"/>
                <a:gd name="T30" fmla="*/ 77 w 253"/>
                <a:gd name="T31" fmla="*/ 16 h 108"/>
                <a:gd name="T32" fmla="*/ 70 w 253"/>
                <a:gd name="T33" fmla="*/ 24 h 108"/>
                <a:gd name="T34" fmla="*/ 58 w 253"/>
                <a:gd name="T35" fmla="*/ 23 h 108"/>
                <a:gd name="T36" fmla="*/ 48 w 253"/>
                <a:gd name="T37" fmla="*/ 16 h 108"/>
                <a:gd name="T38" fmla="*/ 31 w 253"/>
                <a:gd name="T39" fmla="*/ 15 h 108"/>
                <a:gd name="T40" fmla="*/ 21 w 253"/>
                <a:gd name="T41" fmla="*/ 21 h 108"/>
                <a:gd name="T42" fmla="*/ 7 w 253"/>
                <a:gd name="T43" fmla="*/ 28 h 108"/>
                <a:gd name="T44" fmla="*/ 0 w 253"/>
                <a:gd name="T45" fmla="*/ 31 h 108"/>
                <a:gd name="T46" fmla="*/ 6 w 253"/>
                <a:gd name="T47" fmla="*/ 39 h 108"/>
                <a:gd name="T48" fmla="*/ 20 w 253"/>
                <a:gd name="T49" fmla="*/ 48 h 108"/>
                <a:gd name="T50" fmla="*/ 24 w 253"/>
                <a:gd name="T51" fmla="*/ 63 h 108"/>
                <a:gd name="T52" fmla="*/ 41 w 253"/>
                <a:gd name="T53" fmla="*/ 74 h 108"/>
                <a:gd name="T54" fmla="*/ 52 w 253"/>
                <a:gd name="T55" fmla="*/ 81 h 108"/>
                <a:gd name="T56" fmla="*/ 63 w 253"/>
                <a:gd name="T57" fmla="*/ 96 h 108"/>
                <a:gd name="T58" fmla="*/ 92 w 253"/>
                <a:gd name="T59" fmla="*/ 97 h 108"/>
                <a:gd name="T60" fmla="*/ 115 w 253"/>
                <a:gd name="T61" fmla="*/ 103 h 108"/>
                <a:gd name="T62" fmla="*/ 130 w 253"/>
                <a:gd name="T63" fmla="*/ 108 h 108"/>
                <a:gd name="T64" fmla="*/ 162 w 253"/>
                <a:gd name="T65" fmla="*/ 100 h 108"/>
                <a:gd name="T66" fmla="*/ 186 w 253"/>
                <a:gd name="T67" fmla="*/ 86 h 108"/>
                <a:gd name="T68" fmla="*/ 192 w 253"/>
                <a:gd name="T69" fmla="*/ 75 h 108"/>
                <a:gd name="T70" fmla="*/ 217 w 253"/>
                <a:gd name="T71" fmla="*/ 70 h 108"/>
                <a:gd name="T72" fmla="*/ 234 w 253"/>
                <a:gd name="T73" fmla="*/ 59 h 108"/>
                <a:gd name="T74" fmla="*/ 253 w 253"/>
                <a:gd name="T75" fmla="*/ 5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3" h="108">
                  <a:moveTo>
                    <a:pt x="242" y="45"/>
                  </a:moveTo>
                  <a:cubicBezTo>
                    <a:pt x="240" y="42"/>
                    <a:pt x="236" y="44"/>
                    <a:pt x="235" y="46"/>
                  </a:cubicBezTo>
                  <a:cubicBezTo>
                    <a:pt x="234" y="49"/>
                    <a:pt x="232" y="45"/>
                    <a:pt x="227" y="45"/>
                  </a:cubicBezTo>
                  <a:cubicBezTo>
                    <a:pt x="222" y="45"/>
                    <a:pt x="222" y="48"/>
                    <a:pt x="219" y="45"/>
                  </a:cubicBezTo>
                  <a:cubicBezTo>
                    <a:pt x="215" y="42"/>
                    <a:pt x="220" y="40"/>
                    <a:pt x="220" y="40"/>
                  </a:cubicBezTo>
                  <a:cubicBezTo>
                    <a:pt x="220" y="36"/>
                    <a:pt x="220" y="36"/>
                    <a:pt x="220" y="36"/>
                  </a:cubicBezTo>
                  <a:cubicBezTo>
                    <a:pt x="227" y="23"/>
                    <a:pt x="227" y="23"/>
                    <a:pt x="227" y="23"/>
                  </a:cubicBezTo>
                  <a:cubicBezTo>
                    <a:pt x="225" y="23"/>
                    <a:pt x="222" y="22"/>
                    <a:pt x="221" y="23"/>
                  </a:cubicBezTo>
                  <a:cubicBezTo>
                    <a:pt x="219" y="24"/>
                    <a:pt x="214" y="23"/>
                    <a:pt x="214" y="21"/>
                  </a:cubicBezTo>
                  <a:cubicBezTo>
                    <a:pt x="213" y="20"/>
                    <a:pt x="206" y="20"/>
                    <a:pt x="204" y="21"/>
                  </a:cubicBezTo>
                  <a:cubicBezTo>
                    <a:pt x="202" y="22"/>
                    <a:pt x="198" y="24"/>
                    <a:pt x="197" y="25"/>
                  </a:cubicBezTo>
                  <a:cubicBezTo>
                    <a:pt x="197" y="27"/>
                    <a:pt x="193" y="26"/>
                    <a:pt x="191" y="28"/>
                  </a:cubicBezTo>
                  <a:cubicBezTo>
                    <a:pt x="189" y="29"/>
                    <a:pt x="181" y="29"/>
                    <a:pt x="181" y="30"/>
                  </a:cubicBezTo>
                  <a:cubicBezTo>
                    <a:pt x="180" y="31"/>
                    <a:pt x="171" y="31"/>
                    <a:pt x="170" y="30"/>
                  </a:cubicBezTo>
                  <a:cubicBezTo>
                    <a:pt x="168" y="29"/>
                    <a:pt x="161" y="30"/>
                    <a:pt x="160" y="28"/>
                  </a:cubicBezTo>
                  <a:cubicBezTo>
                    <a:pt x="159" y="26"/>
                    <a:pt x="155" y="26"/>
                    <a:pt x="155" y="24"/>
                  </a:cubicBezTo>
                  <a:cubicBezTo>
                    <a:pt x="155" y="22"/>
                    <a:pt x="149" y="22"/>
                    <a:pt x="149" y="21"/>
                  </a:cubicBezTo>
                  <a:cubicBezTo>
                    <a:pt x="148" y="19"/>
                    <a:pt x="143" y="19"/>
                    <a:pt x="143" y="19"/>
                  </a:cubicBezTo>
                  <a:cubicBezTo>
                    <a:pt x="142" y="20"/>
                    <a:pt x="137" y="18"/>
                    <a:pt x="135" y="17"/>
                  </a:cubicBezTo>
                  <a:cubicBezTo>
                    <a:pt x="134" y="17"/>
                    <a:pt x="129" y="18"/>
                    <a:pt x="128" y="18"/>
                  </a:cubicBezTo>
                  <a:cubicBezTo>
                    <a:pt x="126" y="18"/>
                    <a:pt x="124" y="21"/>
                    <a:pt x="122" y="21"/>
                  </a:cubicBezTo>
                  <a:cubicBezTo>
                    <a:pt x="120" y="21"/>
                    <a:pt x="116" y="18"/>
                    <a:pt x="115" y="19"/>
                  </a:cubicBezTo>
                  <a:cubicBezTo>
                    <a:pt x="114" y="20"/>
                    <a:pt x="111" y="17"/>
                    <a:pt x="110" y="15"/>
                  </a:cubicBezTo>
                  <a:cubicBezTo>
                    <a:pt x="109" y="14"/>
                    <a:pt x="110" y="10"/>
                    <a:pt x="109" y="8"/>
                  </a:cubicBezTo>
                  <a:cubicBezTo>
                    <a:pt x="108" y="7"/>
                    <a:pt x="103" y="7"/>
                    <a:pt x="101" y="6"/>
                  </a:cubicBezTo>
                  <a:cubicBezTo>
                    <a:pt x="99" y="5"/>
                    <a:pt x="97" y="4"/>
                    <a:pt x="95" y="4"/>
                  </a:cubicBezTo>
                  <a:cubicBezTo>
                    <a:pt x="94" y="4"/>
                    <a:pt x="91" y="3"/>
                    <a:pt x="90" y="2"/>
                  </a:cubicBezTo>
                  <a:cubicBezTo>
                    <a:pt x="89" y="2"/>
                    <a:pt x="86" y="1"/>
                    <a:pt x="84" y="0"/>
                  </a:cubicBezTo>
                  <a:cubicBezTo>
                    <a:pt x="83" y="0"/>
                    <a:pt x="82" y="2"/>
                    <a:pt x="81" y="3"/>
                  </a:cubicBezTo>
                  <a:cubicBezTo>
                    <a:pt x="80" y="4"/>
                    <a:pt x="78" y="4"/>
                    <a:pt x="77" y="6"/>
                  </a:cubicBezTo>
                  <a:cubicBezTo>
                    <a:pt x="77" y="7"/>
                    <a:pt x="73" y="8"/>
                    <a:pt x="74" y="10"/>
                  </a:cubicBezTo>
                  <a:cubicBezTo>
                    <a:pt x="74" y="11"/>
                    <a:pt x="75" y="15"/>
                    <a:pt x="77" y="16"/>
                  </a:cubicBezTo>
                  <a:cubicBezTo>
                    <a:pt x="78" y="17"/>
                    <a:pt x="77" y="20"/>
                    <a:pt x="76" y="21"/>
                  </a:cubicBezTo>
                  <a:cubicBezTo>
                    <a:pt x="76" y="22"/>
                    <a:pt x="71" y="23"/>
                    <a:pt x="70" y="24"/>
                  </a:cubicBezTo>
                  <a:cubicBezTo>
                    <a:pt x="69" y="26"/>
                    <a:pt x="66" y="24"/>
                    <a:pt x="64" y="23"/>
                  </a:cubicBezTo>
                  <a:cubicBezTo>
                    <a:pt x="62" y="21"/>
                    <a:pt x="59" y="22"/>
                    <a:pt x="58" y="23"/>
                  </a:cubicBezTo>
                  <a:cubicBezTo>
                    <a:pt x="56" y="24"/>
                    <a:pt x="52" y="21"/>
                    <a:pt x="51" y="21"/>
                  </a:cubicBezTo>
                  <a:cubicBezTo>
                    <a:pt x="50" y="20"/>
                    <a:pt x="50" y="16"/>
                    <a:pt x="48" y="16"/>
                  </a:cubicBezTo>
                  <a:cubicBezTo>
                    <a:pt x="47" y="16"/>
                    <a:pt x="39" y="15"/>
                    <a:pt x="37" y="14"/>
                  </a:cubicBezTo>
                  <a:cubicBezTo>
                    <a:pt x="35" y="14"/>
                    <a:pt x="32" y="14"/>
                    <a:pt x="31" y="15"/>
                  </a:cubicBezTo>
                  <a:cubicBezTo>
                    <a:pt x="31" y="16"/>
                    <a:pt x="27" y="16"/>
                    <a:pt x="26" y="17"/>
                  </a:cubicBezTo>
                  <a:cubicBezTo>
                    <a:pt x="25" y="19"/>
                    <a:pt x="22" y="20"/>
                    <a:pt x="21" y="21"/>
                  </a:cubicBezTo>
                  <a:cubicBezTo>
                    <a:pt x="20" y="22"/>
                    <a:pt x="16" y="22"/>
                    <a:pt x="15" y="25"/>
                  </a:cubicBezTo>
                  <a:cubicBezTo>
                    <a:pt x="14" y="27"/>
                    <a:pt x="9" y="28"/>
                    <a:pt x="7" y="28"/>
                  </a:cubicBezTo>
                  <a:cubicBezTo>
                    <a:pt x="6" y="28"/>
                    <a:pt x="2" y="29"/>
                    <a:pt x="2" y="30"/>
                  </a:cubicBezTo>
                  <a:cubicBezTo>
                    <a:pt x="2" y="31"/>
                    <a:pt x="1" y="31"/>
                    <a:pt x="0" y="31"/>
                  </a:cubicBezTo>
                  <a:cubicBezTo>
                    <a:pt x="0" y="31"/>
                    <a:pt x="0" y="31"/>
                    <a:pt x="1" y="31"/>
                  </a:cubicBezTo>
                  <a:cubicBezTo>
                    <a:pt x="2" y="37"/>
                    <a:pt x="4" y="37"/>
                    <a:pt x="6" y="39"/>
                  </a:cubicBezTo>
                  <a:cubicBezTo>
                    <a:pt x="9" y="41"/>
                    <a:pt x="11" y="43"/>
                    <a:pt x="14" y="43"/>
                  </a:cubicBezTo>
                  <a:cubicBezTo>
                    <a:pt x="16" y="43"/>
                    <a:pt x="20" y="46"/>
                    <a:pt x="20" y="48"/>
                  </a:cubicBezTo>
                  <a:cubicBezTo>
                    <a:pt x="21" y="51"/>
                    <a:pt x="23" y="53"/>
                    <a:pt x="25" y="55"/>
                  </a:cubicBezTo>
                  <a:cubicBezTo>
                    <a:pt x="26" y="56"/>
                    <a:pt x="24" y="60"/>
                    <a:pt x="24" y="63"/>
                  </a:cubicBezTo>
                  <a:cubicBezTo>
                    <a:pt x="24" y="66"/>
                    <a:pt x="21" y="66"/>
                    <a:pt x="22" y="69"/>
                  </a:cubicBezTo>
                  <a:cubicBezTo>
                    <a:pt x="24" y="72"/>
                    <a:pt x="37" y="74"/>
                    <a:pt x="41" y="74"/>
                  </a:cubicBezTo>
                  <a:cubicBezTo>
                    <a:pt x="44" y="74"/>
                    <a:pt x="45" y="77"/>
                    <a:pt x="47" y="77"/>
                  </a:cubicBezTo>
                  <a:cubicBezTo>
                    <a:pt x="49" y="78"/>
                    <a:pt x="49" y="80"/>
                    <a:pt x="52" y="81"/>
                  </a:cubicBezTo>
                  <a:cubicBezTo>
                    <a:pt x="54" y="81"/>
                    <a:pt x="57" y="83"/>
                    <a:pt x="58" y="88"/>
                  </a:cubicBezTo>
                  <a:cubicBezTo>
                    <a:pt x="59" y="92"/>
                    <a:pt x="62" y="94"/>
                    <a:pt x="63" y="96"/>
                  </a:cubicBezTo>
                  <a:cubicBezTo>
                    <a:pt x="63" y="98"/>
                    <a:pt x="69" y="96"/>
                    <a:pt x="73" y="97"/>
                  </a:cubicBezTo>
                  <a:cubicBezTo>
                    <a:pt x="77" y="97"/>
                    <a:pt x="89" y="97"/>
                    <a:pt x="92" y="97"/>
                  </a:cubicBezTo>
                  <a:cubicBezTo>
                    <a:pt x="95" y="98"/>
                    <a:pt x="103" y="97"/>
                    <a:pt x="107" y="101"/>
                  </a:cubicBezTo>
                  <a:cubicBezTo>
                    <a:pt x="111" y="104"/>
                    <a:pt x="113" y="101"/>
                    <a:pt x="115" y="103"/>
                  </a:cubicBezTo>
                  <a:cubicBezTo>
                    <a:pt x="118" y="104"/>
                    <a:pt x="120" y="105"/>
                    <a:pt x="124" y="105"/>
                  </a:cubicBezTo>
                  <a:cubicBezTo>
                    <a:pt x="127" y="104"/>
                    <a:pt x="127" y="107"/>
                    <a:pt x="130" y="108"/>
                  </a:cubicBezTo>
                  <a:cubicBezTo>
                    <a:pt x="133" y="108"/>
                    <a:pt x="137" y="104"/>
                    <a:pt x="144" y="101"/>
                  </a:cubicBezTo>
                  <a:cubicBezTo>
                    <a:pt x="151" y="97"/>
                    <a:pt x="158" y="100"/>
                    <a:pt x="162" y="100"/>
                  </a:cubicBezTo>
                  <a:cubicBezTo>
                    <a:pt x="166" y="101"/>
                    <a:pt x="172" y="99"/>
                    <a:pt x="177" y="94"/>
                  </a:cubicBezTo>
                  <a:cubicBezTo>
                    <a:pt x="181" y="89"/>
                    <a:pt x="186" y="90"/>
                    <a:pt x="186" y="86"/>
                  </a:cubicBezTo>
                  <a:cubicBezTo>
                    <a:pt x="187" y="82"/>
                    <a:pt x="182" y="80"/>
                    <a:pt x="184" y="77"/>
                  </a:cubicBezTo>
                  <a:cubicBezTo>
                    <a:pt x="186" y="73"/>
                    <a:pt x="190" y="74"/>
                    <a:pt x="192" y="75"/>
                  </a:cubicBezTo>
                  <a:cubicBezTo>
                    <a:pt x="194" y="76"/>
                    <a:pt x="200" y="77"/>
                    <a:pt x="205" y="74"/>
                  </a:cubicBezTo>
                  <a:cubicBezTo>
                    <a:pt x="210" y="70"/>
                    <a:pt x="212" y="71"/>
                    <a:pt x="217" y="70"/>
                  </a:cubicBezTo>
                  <a:cubicBezTo>
                    <a:pt x="222" y="69"/>
                    <a:pt x="221" y="66"/>
                    <a:pt x="224" y="63"/>
                  </a:cubicBezTo>
                  <a:cubicBezTo>
                    <a:pt x="227" y="60"/>
                    <a:pt x="231" y="59"/>
                    <a:pt x="234" y="59"/>
                  </a:cubicBezTo>
                  <a:cubicBezTo>
                    <a:pt x="237" y="59"/>
                    <a:pt x="241" y="56"/>
                    <a:pt x="244" y="57"/>
                  </a:cubicBezTo>
                  <a:cubicBezTo>
                    <a:pt x="248" y="58"/>
                    <a:pt x="252" y="59"/>
                    <a:pt x="253" y="56"/>
                  </a:cubicBezTo>
                  <a:cubicBezTo>
                    <a:pt x="253" y="53"/>
                    <a:pt x="245" y="48"/>
                    <a:pt x="242" y="45"/>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11" name="Freeform 54">
              <a:extLst>
                <a:ext uri="{FF2B5EF4-FFF2-40B4-BE49-F238E27FC236}">
                  <a16:creationId xmlns:a16="http://schemas.microsoft.com/office/drawing/2014/main" xmlns="" id="{219B52A0-5488-43E1-9E4D-93EFDB242457}"/>
                </a:ext>
              </a:extLst>
            </p:cNvPr>
            <p:cNvSpPr>
              <a:spLocks/>
            </p:cNvSpPr>
            <p:nvPr/>
          </p:nvSpPr>
          <p:spPr bwMode="auto">
            <a:xfrm>
              <a:off x="17056322" y="3270916"/>
              <a:ext cx="9525" cy="28575"/>
            </a:xfrm>
            <a:custGeom>
              <a:avLst/>
              <a:gdLst>
                <a:gd name="T0" fmla="*/ 2 w 4"/>
                <a:gd name="T1" fmla="*/ 0 h 11"/>
                <a:gd name="T2" fmla="*/ 0 w 4"/>
                <a:gd name="T3" fmla="*/ 6 h 11"/>
                <a:gd name="T4" fmla="*/ 3 w 4"/>
                <a:gd name="T5" fmla="*/ 11 h 11"/>
                <a:gd name="T6" fmla="*/ 4 w 4"/>
                <a:gd name="T7" fmla="*/ 2 h 11"/>
                <a:gd name="T8" fmla="*/ 4 w 4"/>
                <a:gd name="T9" fmla="*/ 0 h 11"/>
                <a:gd name="T10" fmla="*/ 2 w 4"/>
                <a:gd name="T11" fmla="*/ 0 h 11"/>
              </a:gdLst>
              <a:ahLst/>
              <a:cxnLst>
                <a:cxn ang="0">
                  <a:pos x="T0" y="T1"/>
                </a:cxn>
                <a:cxn ang="0">
                  <a:pos x="T2" y="T3"/>
                </a:cxn>
                <a:cxn ang="0">
                  <a:pos x="T4" y="T5"/>
                </a:cxn>
                <a:cxn ang="0">
                  <a:pos x="T6" y="T7"/>
                </a:cxn>
                <a:cxn ang="0">
                  <a:pos x="T8" y="T9"/>
                </a:cxn>
                <a:cxn ang="0">
                  <a:pos x="T10" y="T11"/>
                </a:cxn>
              </a:cxnLst>
              <a:rect l="0" t="0" r="r" b="b"/>
              <a:pathLst>
                <a:path w="4" h="11">
                  <a:moveTo>
                    <a:pt x="2" y="0"/>
                  </a:moveTo>
                  <a:cubicBezTo>
                    <a:pt x="1" y="1"/>
                    <a:pt x="0" y="5"/>
                    <a:pt x="0" y="6"/>
                  </a:cubicBezTo>
                  <a:cubicBezTo>
                    <a:pt x="0" y="7"/>
                    <a:pt x="1" y="9"/>
                    <a:pt x="3" y="11"/>
                  </a:cubicBezTo>
                  <a:cubicBezTo>
                    <a:pt x="4" y="8"/>
                    <a:pt x="4" y="3"/>
                    <a:pt x="4" y="2"/>
                  </a:cubicBezTo>
                  <a:cubicBezTo>
                    <a:pt x="4" y="1"/>
                    <a:pt x="4" y="1"/>
                    <a:pt x="4" y="0"/>
                  </a:cubicBezTo>
                  <a:cubicBezTo>
                    <a:pt x="3" y="0"/>
                    <a:pt x="2" y="0"/>
                    <a:pt x="2" y="0"/>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12" name="Freeform 55">
              <a:extLst>
                <a:ext uri="{FF2B5EF4-FFF2-40B4-BE49-F238E27FC236}">
                  <a16:creationId xmlns:a16="http://schemas.microsoft.com/office/drawing/2014/main" xmlns="" id="{1DDAA7B6-1D5A-49B9-9495-AAC1A9C6C49D}"/>
                </a:ext>
              </a:extLst>
            </p:cNvPr>
            <p:cNvSpPr>
              <a:spLocks/>
            </p:cNvSpPr>
            <p:nvPr/>
          </p:nvSpPr>
          <p:spPr bwMode="auto">
            <a:xfrm>
              <a:off x="17037272" y="3251866"/>
              <a:ext cx="31750" cy="88900"/>
            </a:xfrm>
            <a:custGeom>
              <a:avLst/>
              <a:gdLst>
                <a:gd name="T0" fmla="*/ 6 w 12"/>
                <a:gd name="T1" fmla="*/ 33 h 34"/>
                <a:gd name="T2" fmla="*/ 7 w 12"/>
                <a:gd name="T3" fmla="*/ 34 h 34"/>
                <a:gd name="T4" fmla="*/ 9 w 12"/>
                <a:gd name="T5" fmla="*/ 22 h 34"/>
                <a:gd name="T6" fmla="*/ 10 w 12"/>
                <a:gd name="T7" fmla="*/ 18 h 34"/>
                <a:gd name="T8" fmla="*/ 7 w 12"/>
                <a:gd name="T9" fmla="*/ 13 h 34"/>
                <a:gd name="T10" fmla="*/ 9 w 12"/>
                <a:gd name="T11" fmla="*/ 7 h 34"/>
                <a:gd name="T12" fmla="*/ 11 w 12"/>
                <a:gd name="T13" fmla="*/ 7 h 34"/>
                <a:gd name="T14" fmla="*/ 12 w 12"/>
                <a:gd name="T15" fmla="*/ 2 h 34"/>
                <a:gd name="T16" fmla="*/ 8 w 12"/>
                <a:gd name="T17" fmla="*/ 0 h 34"/>
                <a:gd name="T18" fmla="*/ 7 w 12"/>
                <a:gd name="T19" fmla="*/ 4 h 34"/>
                <a:gd name="T20" fmla="*/ 0 w 12"/>
                <a:gd name="T21" fmla="*/ 18 h 34"/>
                <a:gd name="T22" fmla="*/ 6 w 12"/>
                <a:gd name="T23" fmla="*/ 32 h 34"/>
                <a:gd name="T24" fmla="*/ 6 w 12"/>
                <a:gd name="T25" fmla="*/ 3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34">
                  <a:moveTo>
                    <a:pt x="6" y="33"/>
                  </a:moveTo>
                  <a:cubicBezTo>
                    <a:pt x="6" y="33"/>
                    <a:pt x="6" y="34"/>
                    <a:pt x="7" y="34"/>
                  </a:cubicBezTo>
                  <a:cubicBezTo>
                    <a:pt x="7" y="29"/>
                    <a:pt x="8" y="23"/>
                    <a:pt x="9" y="22"/>
                  </a:cubicBezTo>
                  <a:cubicBezTo>
                    <a:pt x="10" y="21"/>
                    <a:pt x="10" y="20"/>
                    <a:pt x="10" y="18"/>
                  </a:cubicBezTo>
                  <a:cubicBezTo>
                    <a:pt x="8" y="16"/>
                    <a:pt x="7" y="14"/>
                    <a:pt x="7" y="13"/>
                  </a:cubicBezTo>
                  <a:cubicBezTo>
                    <a:pt x="7" y="12"/>
                    <a:pt x="8" y="8"/>
                    <a:pt x="9" y="7"/>
                  </a:cubicBezTo>
                  <a:cubicBezTo>
                    <a:pt x="9" y="7"/>
                    <a:pt x="10" y="7"/>
                    <a:pt x="11" y="7"/>
                  </a:cubicBezTo>
                  <a:cubicBezTo>
                    <a:pt x="11" y="6"/>
                    <a:pt x="12" y="4"/>
                    <a:pt x="12" y="2"/>
                  </a:cubicBezTo>
                  <a:cubicBezTo>
                    <a:pt x="8" y="0"/>
                    <a:pt x="8" y="0"/>
                    <a:pt x="8" y="0"/>
                  </a:cubicBezTo>
                  <a:cubicBezTo>
                    <a:pt x="7" y="1"/>
                    <a:pt x="7" y="3"/>
                    <a:pt x="7" y="4"/>
                  </a:cubicBezTo>
                  <a:cubicBezTo>
                    <a:pt x="6" y="8"/>
                    <a:pt x="2" y="15"/>
                    <a:pt x="0" y="18"/>
                  </a:cubicBezTo>
                  <a:cubicBezTo>
                    <a:pt x="6" y="32"/>
                    <a:pt x="6" y="32"/>
                    <a:pt x="6" y="32"/>
                  </a:cubicBezTo>
                  <a:lnTo>
                    <a:pt x="6" y="33"/>
                  </a:ln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13" name="Freeform 56">
              <a:extLst>
                <a:ext uri="{FF2B5EF4-FFF2-40B4-BE49-F238E27FC236}">
                  <a16:creationId xmlns:a16="http://schemas.microsoft.com/office/drawing/2014/main" xmlns="" id="{C9A4C606-1FB3-47C7-8EFF-55D71F027787}"/>
                </a:ext>
              </a:extLst>
            </p:cNvPr>
            <p:cNvSpPr>
              <a:spLocks/>
            </p:cNvSpPr>
            <p:nvPr/>
          </p:nvSpPr>
          <p:spPr bwMode="auto">
            <a:xfrm>
              <a:off x="17056322" y="3251866"/>
              <a:ext cx="85725" cy="96837"/>
            </a:xfrm>
            <a:custGeom>
              <a:avLst/>
              <a:gdLst>
                <a:gd name="T0" fmla="*/ 31 w 33"/>
                <a:gd name="T1" fmla="*/ 0 h 37"/>
                <a:gd name="T2" fmla="*/ 21 w 33"/>
                <a:gd name="T3" fmla="*/ 4 h 37"/>
                <a:gd name="T4" fmla="*/ 13 w 33"/>
                <a:gd name="T5" fmla="*/ 9 h 37"/>
                <a:gd name="T6" fmla="*/ 6 w 33"/>
                <a:gd name="T7" fmla="*/ 5 h 37"/>
                <a:gd name="T8" fmla="*/ 5 w 33"/>
                <a:gd name="T9" fmla="*/ 2 h 37"/>
                <a:gd name="T10" fmla="*/ 5 w 33"/>
                <a:gd name="T11" fmla="*/ 2 h 37"/>
                <a:gd name="T12" fmla="*/ 4 w 33"/>
                <a:gd name="T13" fmla="*/ 9 h 37"/>
                <a:gd name="T14" fmla="*/ 2 w 33"/>
                <a:gd name="T15" fmla="*/ 22 h 37"/>
                <a:gd name="T16" fmla="*/ 0 w 33"/>
                <a:gd name="T17" fmla="*/ 34 h 37"/>
                <a:gd name="T18" fmla="*/ 7 w 33"/>
                <a:gd name="T19" fmla="*/ 37 h 37"/>
                <a:gd name="T20" fmla="*/ 13 w 33"/>
                <a:gd name="T21" fmla="*/ 32 h 37"/>
                <a:gd name="T22" fmla="*/ 18 w 33"/>
                <a:gd name="T23" fmla="*/ 30 h 37"/>
                <a:gd name="T24" fmla="*/ 23 w 33"/>
                <a:gd name="T25" fmla="*/ 26 h 37"/>
                <a:gd name="T26" fmla="*/ 17 w 33"/>
                <a:gd name="T27" fmla="*/ 19 h 37"/>
                <a:gd name="T28" fmla="*/ 25 w 33"/>
                <a:gd name="T29" fmla="*/ 14 h 37"/>
                <a:gd name="T30" fmla="*/ 33 w 33"/>
                <a:gd name="T31" fmla="*/ 11 h 37"/>
                <a:gd name="T32" fmla="*/ 33 w 33"/>
                <a:gd name="T33" fmla="*/ 11 h 37"/>
                <a:gd name="T34" fmla="*/ 32 w 33"/>
                <a:gd name="T35" fmla="*/ 4 h 37"/>
                <a:gd name="T36" fmla="*/ 31 w 33"/>
                <a:gd name="T37"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 h="37">
                  <a:moveTo>
                    <a:pt x="31" y="0"/>
                  </a:moveTo>
                  <a:cubicBezTo>
                    <a:pt x="26" y="2"/>
                    <a:pt x="21" y="4"/>
                    <a:pt x="21" y="4"/>
                  </a:cubicBezTo>
                  <a:cubicBezTo>
                    <a:pt x="18" y="5"/>
                    <a:pt x="13" y="9"/>
                    <a:pt x="13" y="9"/>
                  </a:cubicBezTo>
                  <a:cubicBezTo>
                    <a:pt x="6" y="5"/>
                    <a:pt x="6" y="5"/>
                    <a:pt x="6" y="5"/>
                  </a:cubicBezTo>
                  <a:cubicBezTo>
                    <a:pt x="5" y="2"/>
                    <a:pt x="5" y="2"/>
                    <a:pt x="5" y="2"/>
                  </a:cubicBezTo>
                  <a:cubicBezTo>
                    <a:pt x="5" y="2"/>
                    <a:pt x="5" y="2"/>
                    <a:pt x="5" y="2"/>
                  </a:cubicBezTo>
                  <a:cubicBezTo>
                    <a:pt x="5" y="5"/>
                    <a:pt x="4" y="8"/>
                    <a:pt x="4" y="9"/>
                  </a:cubicBezTo>
                  <a:cubicBezTo>
                    <a:pt x="4" y="11"/>
                    <a:pt x="4" y="20"/>
                    <a:pt x="2" y="22"/>
                  </a:cubicBezTo>
                  <a:cubicBezTo>
                    <a:pt x="1" y="23"/>
                    <a:pt x="0" y="29"/>
                    <a:pt x="0" y="34"/>
                  </a:cubicBezTo>
                  <a:cubicBezTo>
                    <a:pt x="2" y="35"/>
                    <a:pt x="5" y="37"/>
                    <a:pt x="7" y="37"/>
                  </a:cubicBezTo>
                  <a:cubicBezTo>
                    <a:pt x="10" y="37"/>
                    <a:pt x="13" y="34"/>
                    <a:pt x="13" y="32"/>
                  </a:cubicBezTo>
                  <a:cubicBezTo>
                    <a:pt x="13" y="30"/>
                    <a:pt x="16" y="30"/>
                    <a:pt x="18" y="30"/>
                  </a:cubicBezTo>
                  <a:cubicBezTo>
                    <a:pt x="21" y="30"/>
                    <a:pt x="21" y="27"/>
                    <a:pt x="23" y="26"/>
                  </a:cubicBezTo>
                  <a:cubicBezTo>
                    <a:pt x="25" y="25"/>
                    <a:pt x="19" y="20"/>
                    <a:pt x="17" y="19"/>
                  </a:cubicBezTo>
                  <a:cubicBezTo>
                    <a:pt x="15" y="18"/>
                    <a:pt x="18" y="14"/>
                    <a:pt x="25" y="14"/>
                  </a:cubicBezTo>
                  <a:cubicBezTo>
                    <a:pt x="31" y="14"/>
                    <a:pt x="30" y="11"/>
                    <a:pt x="33" y="11"/>
                  </a:cubicBezTo>
                  <a:cubicBezTo>
                    <a:pt x="33" y="11"/>
                    <a:pt x="33" y="11"/>
                    <a:pt x="33" y="11"/>
                  </a:cubicBezTo>
                  <a:cubicBezTo>
                    <a:pt x="33" y="9"/>
                    <a:pt x="32" y="5"/>
                    <a:pt x="32" y="4"/>
                  </a:cubicBezTo>
                  <a:cubicBezTo>
                    <a:pt x="31" y="2"/>
                    <a:pt x="31" y="1"/>
                    <a:pt x="31" y="0"/>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14" name="Freeform 57">
              <a:extLst>
                <a:ext uri="{FF2B5EF4-FFF2-40B4-BE49-F238E27FC236}">
                  <a16:creationId xmlns:a16="http://schemas.microsoft.com/office/drawing/2014/main" xmlns="" id="{63D322A9-48C7-406B-9D90-3F023607BDCC}"/>
                </a:ext>
              </a:extLst>
            </p:cNvPr>
            <p:cNvSpPr>
              <a:spLocks/>
            </p:cNvSpPr>
            <p:nvPr/>
          </p:nvSpPr>
          <p:spPr bwMode="auto">
            <a:xfrm>
              <a:off x="17784984" y="3012154"/>
              <a:ext cx="228600" cy="98425"/>
            </a:xfrm>
            <a:custGeom>
              <a:avLst/>
              <a:gdLst>
                <a:gd name="T0" fmla="*/ 82 w 88"/>
                <a:gd name="T1" fmla="*/ 7 h 38"/>
                <a:gd name="T2" fmla="*/ 74 w 88"/>
                <a:gd name="T3" fmla="*/ 5 h 38"/>
                <a:gd name="T4" fmla="*/ 53 w 88"/>
                <a:gd name="T5" fmla="*/ 4 h 38"/>
                <a:gd name="T6" fmla="*/ 43 w 88"/>
                <a:gd name="T7" fmla="*/ 1 h 38"/>
                <a:gd name="T8" fmla="*/ 34 w 88"/>
                <a:gd name="T9" fmla="*/ 4 h 38"/>
                <a:gd name="T10" fmla="*/ 27 w 88"/>
                <a:gd name="T11" fmla="*/ 5 h 38"/>
                <a:gd name="T12" fmla="*/ 16 w 88"/>
                <a:gd name="T13" fmla="*/ 5 h 38"/>
                <a:gd name="T14" fmla="*/ 11 w 88"/>
                <a:gd name="T15" fmla="*/ 11 h 38"/>
                <a:gd name="T16" fmla="*/ 9 w 88"/>
                <a:gd name="T17" fmla="*/ 15 h 38"/>
                <a:gd name="T18" fmla="*/ 12 w 88"/>
                <a:gd name="T19" fmla="*/ 18 h 38"/>
                <a:gd name="T20" fmla="*/ 18 w 88"/>
                <a:gd name="T21" fmla="*/ 18 h 38"/>
                <a:gd name="T22" fmla="*/ 29 w 88"/>
                <a:gd name="T23" fmla="*/ 23 h 38"/>
                <a:gd name="T24" fmla="*/ 26 w 88"/>
                <a:gd name="T25" fmla="*/ 27 h 38"/>
                <a:gd name="T26" fmla="*/ 18 w 88"/>
                <a:gd name="T27" fmla="*/ 28 h 38"/>
                <a:gd name="T28" fmla="*/ 6 w 88"/>
                <a:gd name="T29" fmla="*/ 30 h 38"/>
                <a:gd name="T30" fmla="*/ 1 w 88"/>
                <a:gd name="T31" fmla="*/ 35 h 38"/>
                <a:gd name="T32" fmla="*/ 12 w 88"/>
                <a:gd name="T33" fmla="*/ 35 h 38"/>
                <a:gd name="T34" fmla="*/ 19 w 88"/>
                <a:gd name="T35" fmla="*/ 36 h 38"/>
                <a:gd name="T36" fmla="*/ 26 w 88"/>
                <a:gd name="T37" fmla="*/ 37 h 38"/>
                <a:gd name="T38" fmla="*/ 37 w 88"/>
                <a:gd name="T39" fmla="*/ 36 h 38"/>
                <a:gd name="T40" fmla="*/ 38 w 88"/>
                <a:gd name="T41" fmla="*/ 32 h 38"/>
                <a:gd name="T42" fmla="*/ 41 w 88"/>
                <a:gd name="T43" fmla="*/ 30 h 38"/>
                <a:gd name="T44" fmla="*/ 46 w 88"/>
                <a:gd name="T45" fmla="*/ 27 h 38"/>
                <a:gd name="T46" fmla="*/ 51 w 88"/>
                <a:gd name="T47" fmla="*/ 26 h 38"/>
                <a:gd name="T48" fmla="*/ 56 w 88"/>
                <a:gd name="T49" fmla="*/ 27 h 38"/>
                <a:gd name="T50" fmla="*/ 61 w 88"/>
                <a:gd name="T51" fmla="*/ 24 h 38"/>
                <a:gd name="T52" fmla="*/ 68 w 88"/>
                <a:gd name="T53" fmla="*/ 22 h 38"/>
                <a:gd name="T54" fmla="*/ 74 w 88"/>
                <a:gd name="T55" fmla="*/ 19 h 38"/>
                <a:gd name="T56" fmla="*/ 80 w 88"/>
                <a:gd name="T57" fmla="*/ 15 h 38"/>
                <a:gd name="T58" fmla="*/ 88 w 88"/>
                <a:gd name="T59" fmla="*/ 11 h 38"/>
                <a:gd name="T60" fmla="*/ 88 w 88"/>
                <a:gd name="T61" fmla="*/ 10 h 38"/>
                <a:gd name="T62" fmla="*/ 82 w 88"/>
                <a:gd name="T63" fmla="*/ 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38">
                  <a:moveTo>
                    <a:pt x="82" y="7"/>
                  </a:moveTo>
                  <a:cubicBezTo>
                    <a:pt x="79" y="3"/>
                    <a:pt x="78" y="6"/>
                    <a:pt x="74" y="5"/>
                  </a:cubicBezTo>
                  <a:cubicBezTo>
                    <a:pt x="70" y="4"/>
                    <a:pt x="56" y="3"/>
                    <a:pt x="53" y="4"/>
                  </a:cubicBezTo>
                  <a:cubicBezTo>
                    <a:pt x="50" y="5"/>
                    <a:pt x="45" y="2"/>
                    <a:pt x="43" y="1"/>
                  </a:cubicBezTo>
                  <a:cubicBezTo>
                    <a:pt x="41" y="0"/>
                    <a:pt x="35" y="1"/>
                    <a:pt x="34" y="4"/>
                  </a:cubicBezTo>
                  <a:cubicBezTo>
                    <a:pt x="34" y="7"/>
                    <a:pt x="31" y="7"/>
                    <a:pt x="27" y="5"/>
                  </a:cubicBezTo>
                  <a:cubicBezTo>
                    <a:pt x="23" y="3"/>
                    <a:pt x="16" y="3"/>
                    <a:pt x="16" y="5"/>
                  </a:cubicBezTo>
                  <a:cubicBezTo>
                    <a:pt x="16" y="8"/>
                    <a:pt x="13" y="10"/>
                    <a:pt x="11" y="11"/>
                  </a:cubicBezTo>
                  <a:cubicBezTo>
                    <a:pt x="11" y="11"/>
                    <a:pt x="10" y="13"/>
                    <a:pt x="9" y="15"/>
                  </a:cubicBezTo>
                  <a:cubicBezTo>
                    <a:pt x="10" y="16"/>
                    <a:pt x="11" y="17"/>
                    <a:pt x="12" y="18"/>
                  </a:cubicBezTo>
                  <a:cubicBezTo>
                    <a:pt x="13" y="20"/>
                    <a:pt x="18" y="20"/>
                    <a:pt x="18" y="18"/>
                  </a:cubicBezTo>
                  <a:cubicBezTo>
                    <a:pt x="19" y="16"/>
                    <a:pt x="25" y="20"/>
                    <a:pt x="29" y="23"/>
                  </a:cubicBezTo>
                  <a:cubicBezTo>
                    <a:pt x="33" y="26"/>
                    <a:pt x="27" y="24"/>
                    <a:pt x="26" y="27"/>
                  </a:cubicBezTo>
                  <a:cubicBezTo>
                    <a:pt x="24" y="30"/>
                    <a:pt x="19" y="27"/>
                    <a:pt x="18" y="28"/>
                  </a:cubicBezTo>
                  <a:cubicBezTo>
                    <a:pt x="17" y="29"/>
                    <a:pt x="9" y="30"/>
                    <a:pt x="6" y="30"/>
                  </a:cubicBezTo>
                  <a:cubicBezTo>
                    <a:pt x="4" y="29"/>
                    <a:pt x="0" y="33"/>
                    <a:pt x="1" y="35"/>
                  </a:cubicBezTo>
                  <a:cubicBezTo>
                    <a:pt x="1" y="36"/>
                    <a:pt x="9" y="34"/>
                    <a:pt x="12" y="35"/>
                  </a:cubicBezTo>
                  <a:cubicBezTo>
                    <a:pt x="15" y="37"/>
                    <a:pt x="18" y="34"/>
                    <a:pt x="19" y="36"/>
                  </a:cubicBezTo>
                  <a:cubicBezTo>
                    <a:pt x="21" y="38"/>
                    <a:pt x="24" y="36"/>
                    <a:pt x="26" y="37"/>
                  </a:cubicBezTo>
                  <a:cubicBezTo>
                    <a:pt x="28" y="38"/>
                    <a:pt x="36" y="36"/>
                    <a:pt x="37" y="36"/>
                  </a:cubicBezTo>
                  <a:cubicBezTo>
                    <a:pt x="38" y="35"/>
                    <a:pt x="38" y="34"/>
                    <a:pt x="38" y="32"/>
                  </a:cubicBezTo>
                  <a:cubicBezTo>
                    <a:pt x="38" y="30"/>
                    <a:pt x="40" y="31"/>
                    <a:pt x="41" y="30"/>
                  </a:cubicBezTo>
                  <a:cubicBezTo>
                    <a:pt x="43" y="30"/>
                    <a:pt x="44" y="27"/>
                    <a:pt x="46" y="27"/>
                  </a:cubicBezTo>
                  <a:cubicBezTo>
                    <a:pt x="47" y="27"/>
                    <a:pt x="49" y="25"/>
                    <a:pt x="51" y="26"/>
                  </a:cubicBezTo>
                  <a:cubicBezTo>
                    <a:pt x="52" y="26"/>
                    <a:pt x="54" y="29"/>
                    <a:pt x="56" y="27"/>
                  </a:cubicBezTo>
                  <a:cubicBezTo>
                    <a:pt x="57" y="26"/>
                    <a:pt x="58" y="27"/>
                    <a:pt x="61" y="24"/>
                  </a:cubicBezTo>
                  <a:cubicBezTo>
                    <a:pt x="63" y="21"/>
                    <a:pt x="65" y="22"/>
                    <a:pt x="68" y="22"/>
                  </a:cubicBezTo>
                  <a:cubicBezTo>
                    <a:pt x="72" y="23"/>
                    <a:pt x="73" y="21"/>
                    <a:pt x="74" y="19"/>
                  </a:cubicBezTo>
                  <a:cubicBezTo>
                    <a:pt x="75" y="16"/>
                    <a:pt x="79" y="16"/>
                    <a:pt x="80" y="15"/>
                  </a:cubicBezTo>
                  <a:cubicBezTo>
                    <a:pt x="82" y="14"/>
                    <a:pt x="86" y="12"/>
                    <a:pt x="88" y="11"/>
                  </a:cubicBezTo>
                  <a:cubicBezTo>
                    <a:pt x="88" y="11"/>
                    <a:pt x="88" y="11"/>
                    <a:pt x="88" y="10"/>
                  </a:cubicBezTo>
                  <a:cubicBezTo>
                    <a:pt x="85" y="7"/>
                    <a:pt x="84" y="10"/>
                    <a:pt x="82" y="7"/>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15" name="Freeform 58">
              <a:extLst>
                <a:ext uri="{FF2B5EF4-FFF2-40B4-BE49-F238E27FC236}">
                  <a16:creationId xmlns:a16="http://schemas.microsoft.com/office/drawing/2014/main" xmlns="" id="{271CB2DC-120F-4E33-8188-9D640C1FBE4C}"/>
                </a:ext>
              </a:extLst>
            </p:cNvPr>
            <p:cNvSpPr>
              <a:spLocks/>
            </p:cNvSpPr>
            <p:nvPr/>
          </p:nvSpPr>
          <p:spPr bwMode="auto">
            <a:xfrm>
              <a:off x="17157922" y="2999454"/>
              <a:ext cx="144463" cy="65087"/>
            </a:xfrm>
            <a:custGeom>
              <a:avLst/>
              <a:gdLst>
                <a:gd name="T0" fmla="*/ 23 w 56"/>
                <a:gd name="T1" fmla="*/ 20 h 25"/>
                <a:gd name="T2" fmla="*/ 28 w 56"/>
                <a:gd name="T3" fmla="*/ 24 h 25"/>
                <a:gd name="T4" fmla="*/ 29 w 56"/>
                <a:gd name="T5" fmla="*/ 25 h 25"/>
                <a:gd name="T6" fmla="*/ 37 w 56"/>
                <a:gd name="T7" fmla="*/ 23 h 25"/>
                <a:gd name="T8" fmla="*/ 44 w 56"/>
                <a:gd name="T9" fmla="*/ 24 h 25"/>
                <a:gd name="T10" fmla="*/ 43 w 56"/>
                <a:gd name="T11" fmla="*/ 22 h 25"/>
                <a:gd name="T12" fmla="*/ 49 w 56"/>
                <a:gd name="T13" fmla="*/ 24 h 25"/>
                <a:gd name="T14" fmla="*/ 55 w 56"/>
                <a:gd name="T15" fmla="*/ 24 h 25"/>
                <a:gd name="T16" fmla="*/ 52 w 56"/>
                <a:gd name="T17" fmla="*/ 21 h 25"/>
                <a:gd name="T18" fmla="*/ 54 w 56"/>
                <a:gd name="T19" fmla="*/ 18 h 25"/>
                <a:gd name="T20" fmla="*/ 49 w 56"/>
                <a:gd name="T21" fmla="*/ 15 h 25"/>
                <a:gd name="T22" fmla="*/ 47 w 56"/>
                <a:gd name="T23" fmla="*/ 10 h 25"/>
                <a:gd name="T24" fmla="*/ 44 w 56"/>
                <a:gd name="T25" fmla="*/ 9 h 25"/>
                <a:gd name="T26" fmla="*/ 36 w 56"/>
                <a:gd name="T27" fmla="*/ 10 h 25"/>
                <a:gd name="T28" fmla="*/ 31 w 56"/>
                <a:gd name="T29" fmla="*/ 8 h 25"/>
                <a:gd name="T30" fmla="*/ 26 w 56"/>
                <a:gd name="T31" fmla="*/ 4 h 25"/>
                <a:gd name="T32" fmla="*/ 13 w 56"/>
                <a:gd name="T33" fmla="*/ 3 h 25"/>
                <a:gd name="T34" fmla="*/ 4 w 56"/>
                <a:gd name="T35" fmla="*/ 1 h 25"/>
                <a:gd name="T36" fmla="*/ 0 w 56"/>
                <a:gd name="T37" fmla="*/ 2 h 25"/>
                <a:gd name="T38" fmla="*/ 13 w 56"/>
                <a:gd name="T39" fmla="*/ 9 h 25"/>
                <a:gd name="T40" fmla="*/ 16 w 56"/>
                <a:gd name="T41" fmla="*/ 17 h 25"/>
                <a:gd name="T42" fmla="*/ 14 w 56"/>
                <a:gd name="T43" fmla="*/ 20 h 25"/>
                <a:gd name="T44" fmla="*/ 23 w 56"/>
                <a:gd name="T45" fmla="*/ 2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25">
                  <a:moveTo>
                    <a:pt x="23" y="20"/>
                  </a:moveTo>
                  <a:cubicBezTo>
                    <a:pt x="25" y="18"/>
                    <a:pt x="26" y="21"/>
                    <a:pt x="28" y="24"/>
                  </a:cubicBezTo>
                  <a:cubicBezTo>
                    <a:pt x="28" y="24"/>
                    <a:pt x="28" y="25"/>
                    <a:pt x="29" y="25"/>
                  </a:cubicBezTo>
                  <a:cubicBezTo>
                    <a:pt x="32" y="24"/>
                    <a:pt x="34" y="23"/>
                    <a:pt x="37" y="23"/>
                  </a:cubicBezTo>
                  <a:cubicBezTo>
                    <a:pt x="39" y="23"/>
                    <a:pt x="42" y="23"/>
                    <a:pt x="44" y="24"/>
                  </a:cubicBezTo>
                  <a:cubicBezTo>
                    <a:pt x="43" y="23"/>
                    <a:pt x="43" y="22"/>
                    <a:pt x="43" y="22"/>
                  </a:cubicBezTo>
                  <a:cubicBezTo>
                    <a:pt x="44" y="21"/>
                    <a:pt x="48" y="23"/>
                    <a:pt x="49" y="24"/>
                  </a:cubicBezTo>
                  <a:cubicBezTo>
                    <a:pt x="50" y="25"/>
                    <a:pt x="54" y="25"/>
                    <a:pt x="55" y="24"/>
                  </a:cubicBezTo>
                  <a:cubicBezTo>
                    <a:pt x="56" y="23"/>
                    <a:pt x="53" y="22"/>
                    <a:pt x="52" y="21"/>
                  </a:cubicBezTo>
                  <a:cubicBezTo>
                    <a:pt x="52" y="20"/>
                    <a:pt x="53" y="19"/>
                    <a:pt x="54" y="18"/>
                  </a:cubicBezTo>
                  <a:cubicBezTo>
                    <a:pt x="52" y="17"/>
                    <a:pt x="50" y="15"/>
                    <a:pt x="49" y="15"/>
                  </a:cubicBezTo>
                  <a:cubicBezTo>
                    <a:pt x="48" y="15"/>
                    <a:pt x="48" y="10"/>
                    <a:pt x="47" y="10"/>
                  </a:cubicBezTo>
                  <a:cubicBezTo>
                    <a:pt x="45" y="10"/>
                    <a:pt x="45" y="9"/>
                    <a:pt x="44" y="9"/>
                  </a:cubicBezTo>
                  <a:cubicBezTo>
                    <a:pt x="42" y="9"/>
                    <a:pt x="37" y="9"/>
                    <a:pt x="36" y="10"/>
                  </a:cubicBezTo>
                  <a:cubicBezTo>
                    <a:pt x="34" y="11"/>
                    <a:pt x="32" y="8"/>
                    <a:pt x="31" y="8"/>
                  </a:cubicBezTo>
                  <a:cubicBezTo>
                    <a:pt x="29" y="8"/>
                    <a:pt x="27" y="6"/>
                    <a:pt x="26" y="4"/>
                  </a:cubicBezTo>
                  <a:cubicBezTo>
                    <a:pt x="25" y="3"/>
                    <a:pt x="16" y="5"/>
                    <a:pt x="13" y="3"/>
                  </a:cubicBezTo>
                  <a:cubicBezTo>
                    <a:pt x="11" y="2"/>
                    <a:pt x="6" y="0"/>
                    <a:pt x="4" y="1"/>
                  </a:cubicBezTo>
                  <a:cubicBezTo>
                    <a:pt x="3" y="1"/>
                    <a:pt x="2" y="1"/>
                    <a:pt x="0" y="2"/>
                  </a:cubicBezTo>
                  <a:cubicBezTo>
                    <a:pt x="5" y="5"/>
                    <a:pt x="12" y="4"/>
                    <a:pt x="13" y="9"/>
                  </a:cubicBezTo>
                  <a:cubicBezTo>
                    <a:pt x="14" y="15"/>
                    <a:pt x="17" y="12"/>
                    <a:pt x="16" y="17"/>
                  </a:cubicBezTo>
                  <a:cubicBezTo>
                    <a:pt x="16" y="18"/>
                    <a:pt x="15" y="19"/>
                    <a:pt x="14" y="20"/>
                  </a:cubicBezTo>
                  <a:cubicBezTo>
                    <a:pt x="18" y="20"/>
                    <a:pt x="21" y="20"/>
                    <a:pt x="23" y="20"/>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16" name="Freeform 59">
              <a:extLst>
                <a:ext uri="{FF2B5EF4-FFF2-40B4-BE49-F238E27FC236}">
                  <a16:creationId xmlns:a16="http://schemas.microsoft.com/office/drawing/2014/main" xmlns="" id="{832FE77D-C3ED-4535-82BC-AB1D7F0CADA6}"/>
                </a:ext>
              </a:extLst>
            </p:cNvPr>
            <p:cNvSpPr>
              <a:spLocks noEditPoints="1"/>
            </p:cNvSpPr>
            <p:nvPr/>
          </p:nvSpPr>
          <p:spPr bwMode="auto">
            <a:xfrm>
              <a:off x="16868997" y="3035966"/>
              <a:ext cx="392113" cy="155575"/>
            </a:xfrm>
            <a:custGeom>
              <a:avLst/>
              <a:gdLst>
                <a:gd name="T0" fmla="*/ 147 w 151"/>
                <a:gd name="T1" fmla="*/ 42 h 60"/>
                <a:gd name="T2" fmla="*/ 147 w 151"/>
                <a:gd name="T3" fmla="*/ 33 h 60"/>
                <a:gd name="T4" fmla="*/ 147 w 151"/>
                <a:gd name="T5" fmla="*/ 27 h 60"/>
                <a:gd name="T6" fmla="*/ 149 w 151"/>
                <a:gd name="T7" fmla="*/ 23 h 60"/>
                <a:gd name="T8" fmla="*/ 148 w 151"/>
                <a:gd name="T9" fmla="*/ 20 h 60"/>
                <a:gd name="T10" fmla="*/ 141 w 151"/>
                <a:gd name="T11" fmla="*/ 17 h 60"/>
                <a:gd name="T12" fmla="*/ 139 w 151"/>
                <a:gd name="T13" fmla="*/ 10 h 60"/>
                <a:gd name="T14" fmla="*/ 134 w 151"/>
                <a:gd name="T15" fmla="*/ 6 h 60"/>
                <a:gd name="T16" fmla="*/ 125 w 151"/>
                <a:gd name="T17" fmla="*/ 6 h 60"/>
                <a:gd name="T18" fmla="*/ 110 w 151"/>
                <a:gd name="T19" fmla="*/ 11 h 60"/>
                <a:gd name="T20" fmla="*/ 96 w 151"/>
                <a:gd name="T21" fmla="*/ 11 h 60"/>
                <a:gd name="T22" fmla="*/ 87 w 151"/>
                <a:gd name="T23" fmla="*/ 8 h 60"/>
                <a:gd name="T24" fmla="*/ 80 w 151"/>
                <a:gd name="T25" fmla="*/ 5 h 60"/>
                <a:gd name="T26" fmla="*/ 68 w 151"/>
                <a:gd name="T27" fmla="*/ 2 h 60"/>
                <a:gd name="T28" fmla="*/ 43 w 151"/>
                <a:gd name="T29" fmla="*/ 9 h 60"/>
                <a:gd name="T30" fmla="*/ 26 w 151"/>
                <a:gd name="T31" fmla="*/ 10 h 60"/>
                <a:gd name="T32" fmla="*/ 22 w 151"/>
                <a:gd name="T33" fmla="*/ 16 h 60"/>
                <a:gd name="T34" fmla="*/ 5 w 151"/>
                <a:gd name="T35" fmla="*/ 18 h 60"/>
                <a:gd name="T36" fmla="*/ 3 w 151"/>
                <a:gd name="T37" fmla="*/ 24 h 60"/>
                <a:gd name="T38" fmla="*/ 6 w 151"/>
                <a:gd name="T39" fmla="*/ 26 h 60"/>
                <a:gd name="T40" fmla="*/ 7 w 151"/>
                <a:gd name="T41" fmla="*/ 32 h 60"/>
                <a:gd name="T42" fmla="*/ 7 w 151"/>
                <a:gd name="T43" fmla="*/ 38 h 60"/>
                <a:gd name="T44" fmla="*/ 7 w 151"/>
                <a:gd name="T45" fmla="*/ 42 h 60"/>
                <a:gd name="T46" fmla="*/ 11 w 151"/>
                <a:gd name="T47" fmla="*/ 46 h 60"/>
                <a:gd name="T48" fmla="*/ 17 w 151"/>
                <a:gd name="T49" fmla="*/ 49 h 60"/>
                <a:gd name="T50" fmla="*/ 21 w 151"/>
                <a:gd name="T51" fmla="*/ 50 h 60"/>
                <a:gd name="T52" fmla="*/ 26 w 151"/>
                <a:gd name="T53" fmla="*/ 56 h 60"/>
                <a:gd name="T54" fmla="*/ 36 w 151"/>
                <a:gd name="T55" fmla="*/ 54 h 60"/>
                <a:gd name="T56" fmla="*/ 42 w 151"/>
                <a:gd name="T57" fmla="*/ 51 h 60"/>
                <a:gd name="T58" fmla="*/ 53 w 151"/>
                <a:gd name="T59" fmla="*/ 57 h 60"/>
                <a:gd name="T60" fmla="*/ 62 w 151"/>
                <a:gd name="T61" fmla="*/ 56 h 60"/>
                <a:gd name="T62" fmla="*/ 69 w 151"/>
                <a:gd name="T63" fmla="*/ 51 h 60"/>
                <a:gd name="T64" fmla="*/ 75 w 151"/>
                <a:gd name="T65" fmla="*/ 53 h 60"/>
                <a:gd name="T66" fmla="*/ 82 w 151"/>
                <a:gd name="T67" fmla="*/ 51 h 60"/>
                <a:gd name="T68" fmla="*/ 79 w 151"/>
                <a:gd name="T69" fmla="*/ 57 h 60"/>
                <a:gd name="T70" fmla="*/ 80 w 151"/>
                <a:gd name="T71" fmla="*/ 60 h 60"/>
                <a:gd name="T72" fmla="*/ 84 w 151"/>
                <a:gd name="T73" fmla="*/ 54 h 60"/>
                <a:gd name="T74" fmla="*/ 88 w 151"/>
                <a:gd name="T75" fmla="*/ 53 h 60"/>
                <a:gd name="T76" fmla="*/ 95 w 151"/>
                <a:gd name="T77" fmla="*/ 53 h 60"/>
                <a:gd name="T78" fmla="*/ 100 w 151"/>
                <a:gd name="T79" fmla="*/ 52 h 60"/>
                <a:gd name="T80" fmla="*/ 109 w 151"/>
                <a:gd name="T81" fmla="*/ 52 h 60"/>
                <a:gd name="T82" fmla="*/ 120 w 151"/>
                <a:gd name="T83" fmla="*/ 49 h 60"/>
                <a:gd name="T84" fmla="*/ 129 w 151"/>
                <a:gd name="T85" fmla="*/ 47 h 60"/>
                <a:gd name="T86" fmla="*/ 132 w 151"/>
                <a:gd name="T87" fmla="*/ 48 h 60"/>
                <a:gd name="T88" fmla="*/ 135 w 151"/>
                <a:gd name="T89" fmla="*/ 46 h 60"/>
                <a:gd name="T90" fmla="*/ 143 w 151"/>
                <a:gd name="T91" fmla="*/ 47 h 60"/>
                <a:gd name="T92" fmla="*/ 151 w 151"/>
                <a:gd name="T93" fmla="*/ 48 h 60"/>
                <a:gd name="T94" fmla="*/ 147 w 151"/>
                <a:gd name="T95" fmla="*/ 42 h 60"/>
                <a:gd name="T96" fmla="*/ 13 w 151"/>
                <a:gd name="T97" fmla="*/ 11 h 60"/>
                <a:gd name="T98" fmla="*/ 24 w 151"/>
                <a:gd name="T99" fmla="*/ 10 h 60"/>
                <a:gd name="T100" fmla="*/ 18 w 151"/>
                <a:gd name="T101" fmla="*/ 5 h 60"/>
                <a:gd name="T102" fmla="*/ 16 w 151"/>
                <a:gd name="T103" fmla="*/ 1 h 60"/>
                <a:gd name="T104" fmla="*/ 13 w 151"/>
                <a:gd name="T105" fmla="*/ 2 h 60"/>
                <a:gd name="T106" fmla="*/ 5 w 151"/>
                <a:gd name="T107" fmla="*/ 2 h 60"/>
                <a:gd name="T108" fmla="*/ 5 w 151"/>
                <a:gd name="T109" fmla="*/ 7 h 60"/>
                <a:gd name="T110" fmla="*/ 3 w 151"/>
                <a:gd name="T111" fmla="*/ 11 h 60"/>
                <a:gd name="T112" fmla="*/ 1 w 151"/>
                <a:gd name="T113" fmla="*/ 14 h 60"/>
                <a:gd name="T114" fmla="*/ 6 w 151"/>
                <a:gd name="T115" fmla="*/ 16 h 60"/>
                <a:gd name="T116" fmla="*/ 13 w 151"/>
                <a:gd name="T117" fmla="*/ 1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1" h="60">
                  <a:moveTo>
                    <a:pt x="147" y="42"/>
                  </a:moveTo>
                  <a:cubicBezTo>
                    <a:pt x="146" y="42"/>
                    <a:pt x="148" y="35"/>
                    <a:pt x="147" y="33"/>
                  </a:cubicBezTo>
                  <a:cubicBezTo>
                    <a:pt x="147" y="32"/>
                    <a:pt x="145" y="27"/>
                    <a:pt x="147" y="27"/>
                  </a:cubicBezTo>
                  <a:cubicBezTo>
                    <a:pt x="149" y="27"/>
                    <a:pt x="147" y="23"/>
                    <a:pt x="149" y="23"/>
                  </a:cubicBezTo>
                  <a:cubicBezTo>
                    <a:pt x="149" y="21"/>
                    <a:pt x="148" y="20"/>
                    <a:pt x="148" y="20"/>
                  </a:cubicBezTo>
                  <a:cubicBezTo>
                    <a:pt x="146" y="19"/>
                    <a:pt x="143" y="21"/>
                    <a:pt x="141" y="17"/>
                  </a:cubicBezTo>
                  <a:cubicBezTo>
                    <a:pt x="140" y="14"/>
                    <a:pt x="141" y="13"/>
                    <a:pt x="139" y="10"/>
                  </a:cubicBezTo>
                  <a:cubicBezTo>
                    <a:pt x="137" y="7"/>
                    <a:pt x="136" y="4"/>
                    <a:pt x="134" y="6"/>
                  </a:cubicBezTo>
                  <a:cubicBezTo>
                    <a:pt x="132" y="6"/>
                    <a:pt x="129" y="6"/>
                    <a:pt x="125" y="6"/>
                  </a:cubicBezTo>
                  <a:cubicBezTo>
                    <a:pt x="121" y="9"/>
                    <a:pt x="113" y="12"/>
                    <a:pt x="110" y="11"/>
                  </a:cubicBezTo>
                  <a:cubicBezTo>
                    <a:pt x="107" y="10"/>
                    <a:pt x="101" y="11"/>
                    <a:pt x="96" y="11"/>
                  </a:cubicBezTo>
                  <a:cubicBezTo>
                    <a:pt x="92" y="11"/>
                    <a:pt x="90" y="8"/>
                    <a:pt x="87" y="8"/>
                  </a:cubicBezTo>
                  <a:cubicBezTo>
                    <a:pt x="83" y="8"/>
                    <a:pt x="83" y="5"/>
                    <a:pt x="80" y="5"/>
                  </a:cubicBezTo>
                  <a:cubicBezTo>
                    <a:pt x="76" y="5"/>
                    <a:pt x="79" y="3"/>
                    <a:pt x="68" y="2"/>
                  </a:cubicBezTo>
                  <a:cubicBezTo>
                    <a:pt x="56" y="0"/>
                    <a:pt x="47" y="6"/>
                    <a:pt x="43" y="9"/>
                  </a:cubicBezTo>
                  <a:cubicBezTo>
                    <a:pt x="40" y="12"/>
                    <a:pt x="27" y="9"/>
                    <a:pt x="26" y="10"/>
                  </a:cubicBezTo>
                  <a:cubicBezTo>
                    <a:pt x="24" y="11"/>
                    <a:pt x="26" y="15"/>
                    <a:pt x="22" y="16"/>
                  </a:cubicBezTo>
                  <a:cubicBezTo>
                    <a:pt x="17" y="18"/>
                    <a:pt x="8" y="16"/>
                    <a:pt x="5" y="18"/>
                  </a:cubicBezTo>
                  <a:cubicBezTo>
                    <a:pt x="1" y="19"/>
                    <a:pt x="0" y="24"/>
                    <a:pt x="3" y="24"/>
                  </a:cubicBezTo>
                  <a:cubicBezTo>
                    <a:pt x="6" y="23"/>
                    <a:pt x="7" y="25"/>
                    <a:pt x="6" y="26"/>
                  </a:cubicBezTo>
                  <a:cubicBezTo>
                    <a:pt x="5" y="27"/>
                    <a:pt x="9" y="31"/>
                    <a:pt x="7" y="32"/>
                  </a:cubicBezTo>
                  <a:cubicBezTo>
                    <a:pt x="5" y="33"/>
                    <a:pt x="5" y="36"/>
                    <a:pt x="7" y="38"/>
                  </a:cubicBezTo>
                  <a:cubicBezTo>
                    <a:pt x="9" y="39"/>
                    <a:pt x="10" y="42"/>
                    <a:pt x="7" y="42"/>
                  </a:cubicBezTo>
                  <a:cubicBezTo>
                    <a:pt x="5" y="42"/>
                    <a:pt x="11" y="45"/>
                    <a:pt x="11" y="46"/>
                  </a:cubicBezTo>
                  <a:cubicBezTo>
                    <a:pt x="11" y="47"/>
                    <a:pt x="17" y="48"/>
                    <a:pt x="17" y="49"/>
                  </a:cubicBezTo>
                  <a:cubicBezTo>
                    <a:pt x="17" y="51"/>
                    <a:pt x="18" y="51"/>
                    <a:pt x="21" y="50"/>
                  </a:cubicBezTo>
                  <a:cubicBezTo>
                    <a:pt x="23" y="50"/>
                    <a:pt x="24" y="53"/>
                    <a:pt x="26" y="56"/>
                  </a:cubicBezTo>
                  <a:cubicBezTo>
                    <a:pt x="27" y="58"/>
                    <a:pt x="36" y="56"/>
                    <a:pt x="36" y="54"/>
                  </a:cubicBezTo>
                  <a:cubicBezTo>
                    <a:pt x="36" y="51"/>
                    <a:pt x="39" y="50"/>
                    <a:pt x="42" y="51"/>
                  </a:cubicBezTo>
                  <a:cubicBezTo>
                    <a:pt x="46" y="51"/>
                    <a:pt x="51" y="56"/>
                    <a:pt x="53" y="57"/>
                  </a:cubicBezTo>
                  <a:cubicBezTo>
                    <a:pt x="55" y="58"/>
                    <a:pt x="59" y="56"/>
                    <a:pt x="62" y="56"/>
                  </a:cubicBezTo>
                  <a:cubicBezTo>
                    <a:pt x="64" y="56"/>
                    <a:pt x="68" y="52"/>
                    <a:pt x="69" y="51"/>
                  </a:cubicBezTo>
                  <a:cubicBezTo>
                    <a:pt x="71" y="50"/>
                    <a:pt x="73" y="54"/>
                    <a:pt x="75" y="53"/>
                  </a:cubicBezTo>
                  <a:cubicBezTo>
                    <a:pt x="78" y="51"/>
                    <a:pt x="80" y="50"/>
                    <a:pt x="82" y="51"/>
                  </a:cubicBezTo>
                  <a:cubicBezTo>
                    <a:pt x="83" y="52"/>
                    <a:pt x="78" y="55"/>
                    <a:pt x="79" y="57"/>
                  </a:cubicBezTo>
                  <a:cubicBezTo>
                    <a:pt x="80" y="58"/>
                    <a:pt x="80" y="59"/>
                    <a:pt x="80" y="60"/>
                  </a:cubicBezTo>
                  <a:cubicBezTo>
                    <a:pt x="85" y="59"/>
                    <a:pt x="84" y="56"/>
                    <a:pt x="84" y="54"/>
                  </a:cubicBezTo>
                  <a:cubicBezTo>
                    <a:pt x="85" y="53"/>
                    <a:pt x="86" y="51"/>
                    <a:pt x="88" y="53"/>
                  </a:cubicBezTo>
                  <a:cubicBezTo>
                    <a:pt x="89" y="54"/>
                    <a:pt x="91" y="54"/>
                    <a:pt x="95" y="53"/>
                  </a:cubicBezTo>
                  <a:cubicBezTo>
                    <a:pt x="98" y="51"/>
                    <a:pt x="99" y="50"/>
                    <a:pt x="100" y="52"/>
                  </a:cubicBezTo>
                  <a:cubicBezTo>
                    <a:pt x="101" y="53"/>
                    <a:pt x="104" y="52"/>
                    <a:pt x="109" y="52"/>
                  </a:cubicBezTo>
                  <a:cubicBezTo>
                    <a:pt x="114" y="52"/>
                    <a:pt x="115" y="48"/>
                    <a:pt x="120" y="49"/>
                  </a:cubicBezTo>
                  <a:cubicBezTo>
                    <a:pt x="125" y="49"/>
                    <a:pt x="129" y="47"/>
                    <a:pt x="129" y="47"/>
                  </a:cubicBezTo>
                  <a:cubicBezTo>
                    <a:pt x="132" y="48"/>
                    <a:pt x="132" y="48"/>
                    <a:pt x="132" y="48"/>
                  </a:cubicBezTo>
                  <a:cubicBezTo>
                    <a:pt x="133" y="47"/>
                    <a:pt x="133" y="46"/>
                    <a:pt x="135" y="46"/>
                  </a:cubicBezTo>
                  <a:cubicBezTo>
                    <a:pt x="139" y="45"/>
                    <a:pt x="141" y="48"/>
                    <a:pt x="143" y="47"/>
                  </a:cubicBezTo>
                  <a:cubicBezTo>
                    <a:pt x="144" y="46"/>
                    <a:pt x="151" y="53"/>
                    <a:pt x="151" y="48"/>
                  </a:cubicBezTo>
                  <a:cubicBezTo>
                    <a:pt x="151" y="47"/>
                    <a:pt x="149" y="42"/>
                    <a:pt x="147" y="42"/>
                  </a:cubicBezTo>
                  <a:close/>
                  <a:moveTo>
                    <a:pt x="13" y="11"/>
                  </a:moveTo>
                  <a:cubicBezTo>
                    <a:pt x="16" y="10"/>
                    <a:pt x="23" y="12"/>
                    <a:pt x="24" y="10"/>
                  </a:cubicBezTo>
                  <a:cubicBezTo>
                    <a:pt x="26" y="9"/>
                    <a:pt x="20" y="7"/>
                    <a:pt x="18" y="5"/>
                  </a:cubicBezTo>
                  <a:cubicBezTo>
                    <a:pt x="17" y="4"/>
                    <a:pt x="16" y="3"/>
                    <a:pt x="16" y="1"/>
                  </a:cubicBezTo>
                  <a:cubicBezTo>
                    <a:pt x="15" y="2"/>
                    <a:pt x="14" y="2"/>
                    <a:pt x="13" y="2"/>
                  </a:cubicBezTo>
                  <a:cubicBezTo>
                    <a:pt x="11" y="1"/>
                    <a:pt x="6" y="1"/>
                    <a:pt x="5" y="2"/>
                  </a:cubicBezTo>
                  <a:cubicBezTo>
                    <a:pt x="4" y="2"/>
                    <a:pt x="5" y="5"/>
                    <a:pt x="5" y="7"/>
                  </a:cubicBezTo>
                  <a:cubicBezTo>
                    <a:pt x="5" y="9"/>
                    <a:pt x="3" y="10"/>
                    <a:pt x="3" y="11"/>
                  </a:cubicBezTo>
                  <a:cubicBezTo>
                    <a:pt x="3" y="12"/>
                    <a:pt x="2" y="13"/>
                    <a:pt x="1" y="14"/>
                  </a:cubicBezTo>
                  <a:cubicBezTo>
                    <a:pt x="3" y="15"/>
                    <a:pt x="4" y="16"/>
                    <a:pt x="6" y="16"/>
                  </a:cubicBezTo>
                  <a:cubicBezTo>
                    <a:pt x="9" y="16"/>
                    <a:pt x="10" y="12"/>
                    <a:pt x="13" y="11"/>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17" name="Freeform 60">
              <a:extLst>
                <a:ext uri="{FF2B5EF4-FFF2-40B4-BE49-F238E27FC236}">
                  <a16:creationId xmlns:a16="http://schemas.microsoft.com/office/drawing/2014/main" xmlns="" id="{BE055E74-71C6-4058-B10F-41CB4D71F39F}"/>
                </a:ext>
              </a:extLst>
            </p:cNvPr>
            <p:cNvSpPr>
              <a:spLocks/>
            </p:cNvSpPr>
            <p:nvPr/>
          </p:nvSpPr>
          <p:spPr bwMode="auto">
            <a:xfrm>
              <a:off x="17967547" y="3194716"/>
              <a:ext cx="49213" cy="47625"/>
            </a:xfrm>
            <a:custGeom>
              <a:avLst/>
              <a:gdLst>
                <a:gd name="T0" fmla="*/ 9 w 19"/>
                <a:gd name="T1" fmla="*/ 0 h 18"/>
                <a:gd name="T2" fmla="*/ 0 w 19"/>
                <a:gd name="T3" fmla="*/ 5 h 18"/>
                <a:gd name="T4" fmla="*/ 1 w 19"/>
                <a:gd name="T5" fmla="*/ 7 h 18"/>
                <a:gd name="T6" fmla="*/ 6 w 19"/>
                <a:gd name="T7" fmla="*/ 13 h 18"/>
                <a:gd name="T8" fmla="*/ 7 w 19"/>
                <a:gd name="T9" fmla="*/ 18 h 18"/>
                <a:gd name="T10" fmla="*/ 10 w 19"/>
                <a:gd name="T11" fmla="*/ 17 h 18"/>
                <a:gd name="T12" fmla="*/ 19 w 19"/>
                <a:gd name="T13" fmla="*/ 8 h 18"/>
                <a:gd name="T14" fmla="*/ 9 w 19"/>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8">
                  <a:moveTo>
                    <a:pt x="9" y="0"/>
                  </a:moveTo>
                  <a:cubicBezTo>
                    <a:pt x="6" y="0"/>
                    <a:pt x="1" y="3"/>
                    <a:pt x="0" y="5"/>
                  </a:cubicBezTo>
                  <a:cubicBezTo>
                    <a:pt x="1" y="6"/>
                    <a:pt x="1" y="7"/>
                    <a:pt x="1" y="7"/>
                  </a:cubicBezTo>
                  <a:cubicBezTo>
                    <a:pt x="2" y="10"/>
                    <a:pt x="4" y="12"/>
                    <a:pt x="6" y="13"/>
                  </a:cubicBezTo>
                  <a:cubicBezTo>
                    <a:pt x="8" y="14"/>
                    <a:pt x="7" y="16"/>
                    <a:pt x="7" y="18"/>
                  </a:cubicBezTo>
                  <a:cubicBezTo>
                    <a:pt x="8" y="17"/>
                    <a:pt x="10" y="17"/>
                    <a:pt x="10" y="17"/>
                  </a:cubicBezTo>
                  <a:cubicBezTo>
                    <a:pt x="13" y="17"/>
                    <a:pt x="18" y="10"/>
                    <a:pt x="19" y="8"/>
                  </a:cubicBezTo>
                  <a:cubicBezTo>
                    <a:pt x="19" y="6"/>
                    <a:pt x="12" y="0"/>
                    <a:pt x="9" y="0"/>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18" name="Freeform 61">
              <a:extLst>
                <a:ext uri="{FF2B5EF4-FFF2-40B4-BE49-F238E27FC236}">
                  <a16:creationId xmlns:a16="http://schemas.microsoft.com/office/drawing/2014/main" xmlns="" id="{CBE25955-CC4B-4C1D-8AAE-E65B2BF47C8F}"/>
                </a:ext>
              </a:extLst>
            </p:cNvPr>
            <p:cNvSpPr>
              <a:spLocks/>
            </p:cNvSpPr>
            <p:nvPr/>
          </p:nvSpPr>
          <p:spPr bwMode="auto">
            <a:xfrm>
              <a:off x="18912109" y="3020091"/>
              <a:ext cx="146050" cy="134937"/>
            </a:xfrm>
            <a:custGeom>
              <a:avLst/>
              <a:gdLst>
                <a:gd name="T0" fmla="*/ 53 w 56"/>
                <a:gd name="T1" fmla="*/ 2 h 52"/>
                <a:gd name="T2" fmla="*/ 47 w 56"/>
                <a:gd name="T3" fmla="*/ 0 h 52"/>
                <a:gd name="T4" fmla="*/ 42 w 56"/>
                <a:gd name="T5" fmla="*/ 6 h 52"/>
                <a:gd name="T6" fmla="*/ 36 w 56"/>
                <a:gd name="T7" fmla="*/ 10 h 52"/>
                <a:gd name="T8" fmla="*/ 33 w 56"/>
                <a:gd name="T9" fmla="*/ 13 h 52"/>
                <a:gd name="T10" fmla="*/ 28 w 56"/>
                <a:gd name="T11" fmla="*/ 15 h 52"/>
                <a:gd name="T12" fmla="*/ 23 w 56"/>
                <a:gd name="T13" fmla="*/ 13 h 52"/>
                <a:gd name="T14" fmla="*/ 18 w 56"/>
                <a:gd name="T15" fmla="*/ 18 h 52"/>
                <a:gd name="T16" fmla="*/ 3 w 56"/>
                <a:gd name="T17" fmla="*/ 27 h 52"/>
                <a:gd name="T18" fmla="*/ 0 w 56"/>
                <a:gd name="T19" fmla="*/ 30 h 52"/>
                <a:gd name="T20" fmla="*/ 9 w 56"/>
                <a:gd name="T21" fmla="*/ 35 h 52"/>
                <a:gd name="T22" fmla="*/ 5 w 56"/>
                <a:gd name="T23" fmla="*/ 44 h 52"/>
                <a:gd name="T24" fmla="*/ 6 w 56"/>
                <a:gd name="T25" fmla="*/ 48 h 52"/>
                <a:gd name="T26" fmla="*/ 10 w 56"/>
                <a:gd name="T27" fmla="*/ 50 h 52"/>
                <a:gd name="T28" fmla="*/ 16 w 56"/>
                <a:gd name="T29" fmla="*/ 49 h 52"/>
                <a:gd name="T30" fmla="*/ 18 w 56"/>
                <a:gd name="T31" fmla="*/ 50 h 52"/>
                <a:gd name="T32" fmla="*/ 23 w 56"/>
                <a:gd name="T33" fmla="*/ 47 h 52"/>
                <a:gd name="T34" fmla="*/ 30 w 56"/>
                <a:gd name="T35" fmla="*/ 45 h 52"/>
                <a:gd name="T36" fmla="*/ 35 w 56"/>
                <a:gd name="T37" fmla="*/ 44 h 52"/>
                <a:gd name="T38" fmla="*/ 27 w 56"/>
                <a:gd name="T39" fmla="*/ 37 h 52"/>
                <a:gd name="T40" fmla="*/ 30 w 56"/>
                <a:gd name="T41" fmla="*/ 30 h 52"/>
                <a:gd name="T42" fmla="*/ 44 w 56"/>
                <a:gd name="T43" fmla="*/ 21 h 52"/>
                <a:gd name="T44" fmla="*/ 47 w 56"/>
                <a:gd name="T45" fmla="*/ 11 h 52"/>
                <a:gd name="T46" fmla="*/ 56 w 56"/>
                <a:gd name="T47" fmla="*/ 3 h 52"/>
                <a:gd name="T48" fmla="*/ 53 w 56"/>
                <a:gd name="T49"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6" h="52">
                  <a:moveTo>
                    <a:pt x="53" y="2"/>
                  </a:moveTo>
                  <a:cubicBezTo>
                    <a:pt x="50" y="3"/>
                    <a:pt x="49" y="0"/>
                    <a:pt x="47" y="0"/>
                  </a:cubicBezTo>
                  <a:cubicBezTo>
                    <a:pt x="44" y="0"/>
                    <a:pt x="45" y="6"/>
                    <a:pt x="42" y="6"/>
                  </a:cubicBezTo>
                  <a:cubicBezTo>
                    <a:pt x="39" y="6"/>
                    <a:pt x="40" y="10"/>
                    <a:pt x="36" y="10"/>
                  </a:cubicBezTo>
                  <a:cubicBezTo>
                    <a:pt x="33" y="11"/>
                    <a:pt x="32" y="11"/>
                    <a:pt x="33" y="13"/>
                  </a:cubicBezTo>
                  <a:cubicBezTo>
                    <a:pt x="35" y="16"/>
                    <a:pt x="31" y="15"/>
                    <a:pt x="28" y="15"/>
                  </a:cubicBezTo>
                  <a:cubicBezTo>
                    <a:pt x="25" y="15"/>
                    <a:pt x="25" y="13"/>
                    <a:pt x="23" y="13"/>
                  </a:cubicBezTo>
                  <a:cubicBezTo>
                    <a:pt x="21" y="13"/>
                    <a:pt x="19" y="16"/>
                    <a:pt x="18" y="18"/>
                  </a:cubicBezTo>
                  <a:cubicBezTo>
                    <a:pt x="16" y="21"/>
                    <a:pt x="6" y="25"/>
                    <a:pt x="3" y="27"/>
                  </a:cubicBezTo>
                  <a:cubicBezTo>
                    <a:pt x="2" y="27"/>
                    <a:pt x="1" y="29"/>
                    <a:pt x="0" y="30"/>
                  </a:cubicBezTo>
                  <a:cubicBezTo>
                    <a:pt x="4" y="31"/>
                    <a:pt x="8" y="33"/>
                    <a:pt x="9" y="35"/>
                  </a:cubicBezTo>
                  <a:cubicBezTo>
                    <a:pt x="12" y="38"/>
                    <a:pt x="7" y="41"/>
                    <a:pt x="5" y="44"/>
                  </a:cubicBezTo>
                  <a:cubicBezTo>
                    <a:pt x="3" y="46"/>
                    <a:pt x="6" y="46"/>
                    <a:pt x="6" y="48"/>
                  </a:cubicBezTo>
                  <a:cubicBezTo>
                    <a:pt x="6" y="51"/>
                    <a:pt x="9" y="52"/>
                    <a:pt x="10" y="50"/>
                  </a:cubicBezTo>
                  <a:cubicBezTo>
                    <a:pt x="11" y="49"/>
                    <a:pt x="13" y="49"/>
                    <a:pt x="16" y="49"/>
                  </a:cubicBezTo>
                  <a:cubicBezTo>
                    <a:pt x="17" y="49"/>
                    <a:pt x="18" y="50"/>
                    <a:pt x="18" y="50"/>
                  </a:cubicBezTo>
                  <a:cubicBezTo>
                    <a:pt x="20" y="49"/>
                    <a:pt x="22" y="47"/>
                    <a:pt x="23" y="47"/>
                  </a:cubicBezTo>
                  <a:cubicBezTo>
                    <a:pt x="24" y="45"/>
                    <a:pt x="27" y="45"/>
                    <a:pt x="30" y="45"/>
                  </a:cubicBezTo>
                  <a:cubicBezTo>
                    <a:pt x="32" y="45"/>
                    <a:pt x="33" y="45"/>
                    <a:pt x="35" y="44"/>
                  </a:cubicBezTo>
                  <a:cubicBezTo>
                    <a:pt x="32" y="40"/>
                    <a:pt x="29" y="38"/>
                    <a:pt x="27" y="37"/>
                  </a:cubicBezTo>
                  <a:cubicBezTo>
                    <a:pt x="25" y="35"/>
                    <a:pt x="26" y="31"/>
                    <a:pt x="30" y="30"/>
                  </a:cubicBezTo>
                  <a:cubicBezTo>
                    <a:pt x="33" y="29"/>
                    <a:pt x="41" y="23"/>
                    <a:pt x="44" y="21"/>
                  </a:cubicBezTo>
                  <a:cubicBezTo>
                    <a:pt x="46" y="20"/>
                    <a:pt x="45" y="15"/>
                    <a:pt x="47" y="11"/>
                  </a:cubicBezTo>
                  <a:cubicBezTo>
                    <a:pt x="48" y="9"/>
                    <a:pt x="52" y="6"/>
                    <a:pt x="56" y="3"/>
                  </a:cubicBezTo>
                  <a:cubicBezTo>
                    <a:pt x="55" y="2"/>
                    <a:pt x="54" y="2"/>
                    <a:pt x="53" y="2"/>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19" name="Freeform 62">
              <a:extLst>
                <a:ext uri="{FF2B5EF4-FFF2-40B4-BE49-F238E27FC236}">
                  <a16:creationId xmlns:a16="http://schemas.microsoft.com/office/drawing/2014/main" xmlns="" id="{94DEC273-8422-44C0-9D04-3275E9EAD464}"/>
                </a:ext>
              </a:extLst>
            </p:cNvPr>
            <p:cNvSpPr>
              <a:spLocks/>
            </p:cNvSpPr>
            <p:nvPr/>
          </p:nvSpPr>
          <p:spPr bwMode="auto">
            <a:xfrm>
              <a:off x="18011997" y="3324891"/>
              <a:ext cx="160338" cy="95250"/>
            </a:xfrm>
            <a:custGeom>
              <a:avLst/>
              <a:gdLst>
                <a:gd name="T0" fmla="*/ 61 w 62"/>
                <a:gd name="T1" fmla="*/ 23 h 36"/>
                <a:gd name="T2" fmla="*/ 59 w 62"/>
                <a:gd name="T3" fmla="*/ 23 h 36"/>
                <a:gd name="T4" fmla="*/ 48 w 62"/>
                <a:gd name="T5" fmla="*/ 21 h 36"/>
                <a:gd name="T6" fmla="*/ 33 w 62"/>
                <a:gd name="T7" fmla="*/ 15 h 36"/>
                <a:gd name="T8" fmla="*/ 16 w 62"/>
                <a:gd name="T9" fmla="*/ 3 h 36"/>
                <a:gd name="T10" fmla="*/ 10 w 62"/>
                <a:gd name="T11" fmla="*/ 1 h 36"/>
                <a:gd name="T12" fmla="*/ 5 w 62"/>
                <a:gd name="T13" fmla="*/ 3 h 36"/>
                <a:gd name="T14" fmla="*/ 1 w 62"/>
                <a:gd name="T15" fmla="*/ 8 h 36"/>
                <a:gd name="T16" fmla="*/ 0 w 62"/>
                <a:gd name="T17" fmla="*/ 14 h 36"/>
                <a:gd name="T18" fmla="*/ 4 w 62"/>
                <a:gd name="T19" fmla="*/ 17 h 36"/>
                <a:gd name="T20" fmla="*/ 11 w 62"/>
                <a:gd name="T21" fmla="*/ 20 h 36"/>
                <a:gd name="T22" fmla="*/ 17 w 62"/>
                <a:gd name="T23" fmla="*/ 23 h 36"/>
                <a:gd name="T24" fmla="*/ 23 w 62"/>
                <a:gd name="T25" fmla="*/ 27 h 36"/>
                <a:gd name="T26" fmla="*/ 31 w 62"/>
                <a:gd name="T27" fmla="*/ 26 h 36"/>
                <a:gd name="T28" fmla="*/ 35 w 62"/>
                <a:gd name="T29" fmla="*/ 30 h 36"/>
                <a:gd name="T30" fmla="*/ 46 w 62"/>
                <a:gd name="T31" fmla="*/ 34 h 36"/>
                <a:gd name="T32" fmla="*/ 60 w 62"/>
                <a:gd name="T33" fmla="*/ 33 h 36"/>
                <a:gd name="T34" fmla="*/ 60 w 62"/>
                <a:gd name="T35" fmla="*/ 25 h 36"/>
                <a:gd name="T36" fmla="*/ 61 w 62"/>
                <a:gd name="T37" fmla="*/ 2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36">
                  <a:moveTo>
                    <a:pt x="61" y="23"/>
                  </a:moveTo>
                  <a:cubicBezTo>
                    <a:pt x="60" y="23"/>
                    <a:pt x="59" y="23"/>
                    <a:pt x="59" y="23"/>
                  </a:cubicBezTo>
                  <a:cubicBezTo>
                    <a:pt x="54" y="23"/>
                    <a:pt x="51" y="21"/>
                    <a:pt x="48" y="21"/>
                  </a:cubicBezTo>
                  <a:cubicBezTo>
                    <a:pt x="45" y="21"/>
                    <a:pt x="36" y="18"/>
                    <a:pt x="33" y="15"/>
                  </a:cubicBezTo>
                  <a:cubicBezTo>
                    <a:pt x="29" y="12"/>
                    <a:pt x="19" y="5"/>
                    <a:pt x="16" y="3"/>
                  </a:cubicBezTo>
                  <a:cubicBezTo>
                    <a:pt x="14" y="0"/>
                    <a:pt x="10" y="0"/>
                    <a:pt x="10" y="1"/>
                  </a:cubicBezTo>
                  <a:cubicBezTo>
                    <a:pt x="10" y="3"/>
                    <a:pt x="8" y="3"/>
                    <a:pt x="5" y="3"/>
                  </a:cubicBezTo>
                  <a:cubicBezTo>
                    <a:pt x="4" y="4"/>
                    <a:pt x="1" y="6"/>
                    <a:pt x="1" y="8"/>
                  </a:cubicBezTo>
                  <a:cubicBezTo>
                    <a:pt x="1" y="9"/>
                    <a:pt x="0" y="12"/>
                    <a:pt x="0" y="14"/>
                  </a:cubicBezTo>
                  <a:cubicBezTo>
                    <a:pt x="0" y="15"/>
                    <a:pt x="3" y="15"/>
                    <a:pt x="4" y="17"/>
                  </a:cubicBezTo>
                  <a:cubicBezTo>
                    <a:pt x="5" y="18"/>
                    <a:pt x="10" y="19"/>
                    <a:pt x="11" y="20"/>
                  </a:cubicBezTo>
                  <a:cubicBezTo>
                    <a:pt x="11" y="21"/>
                    <a:pt x="14" y="23"/>
                    <a:pt x="17" y="23"/>
                  </a:cubicBezTo>
                  <a:cubicBezTo>
                    <a:pt x="19" y="23"/>
                    <a:pt x="22" y="26"/>
                    <a:pt x="23" y="27"/>
                  </a:cubicBezTo>
                  <a:cubicBezTo>
                    <a:pt x="24" y="28"/>
                    <a:pt x="29" y="26"/>
                    <a:pt x="31" y="26"/>
                  </a:cubicBezTo>
                  <a:cubicBezTo>
                    <a:pt x="32" y="26"/>
                    <a:pt x="35" y="29"/>
                    <a:pt x="35" y="30"/>
                  </a:cubicBezTo>
                  <a:cubicBezTo>
                    <a:pt x="36" y="32"/>
                    <a:pt x="44" y="33"/>
                    <a:pt x="46" y="34"/>
                  </a:cubicBezTo>
                  <a:cubicBezTo>
                    <a:pt x="48" y="36"/>
                    <a:pt x="58" y="35"/>
                    <a:pt x="60" y="33"/>
                  </a:cubicBezTo>
                  <a:cubicBezTo>
                    <a:pt x="62" y="31"/>
                    <a:pt x="60" y="28"/>
                    <a:pt x="60" y="25"/>
                  </a:cubicBezTo>
                  <a:cubicBezTo>
                    <a:pt x="60" y="24"/>
                    <a:pt x="60" y="23"/>
                    <a:pt x="61" y="23"/>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20" name="Freeform 63">
              <a:extLst>
                <a:ext uri="{FF2B5EF4-FFF2-40B4-BE49-F238E27FC236}">
                  <a16:creationId xmlns:a16="http://schemas.microsoft.com/office/drawing/2014/main" xmlns="" id="{F345E6A4-DF9D-4B92-9D52-F8B96A4FFD44}"/>
                </a:ext>
              </a:extLst>
            </p:cNvPr>
            <p:cNvSpPr>
              <a:spLocks/>
            </p:cNvSpPr>
            <p:nvPr/>
          </p:nvSpPr>
          <p:spPr bwMode="auto">
            <a:xfrm>
              <a:off x="18245359" y="3367754"/>
              <a:ext cx="177800" cy="396875"/>
            </a:xfrm>
            <a:custGeom>
              <a:avLst/>
              <a:gdLst>
                <a:gd name="T0" fmla="*/ 55 w 68"/>
                <a:gd name="T1" fmla="*/ 139 h 152"/>
                <a:gd name="T2" fmla="*/ 53 w 68"/>
                <a:gd name="T3" fmla="*/ 133 h 152"/>
                <a:gd name="T4" fmla="*/ 49 w 68"/>
                <a:gd name="T5" fmla="*/ 123 h 152"/>
                <a:gd name="T6" fmla="*/ 47 w 68"/>
                <a:gd name="T7" fmla="*/ 114 h 152"/>
                <a:gd name="T8" fmla="*/ 48 w 68"/>
                <a:gd name="T9" fmla="*/ 108 h 152"/>
                <a:gd name="T10" fmla="*/ 48 w 68"/>
                <a:gd name="T11" fmla="*/ 105 h 152"/>
                <a:gd name="T12" fmla="*/ 47 w 68"/>
                <a:gd name="T13" fmla="*/ 99 h 152"/>
                <a:gd name="T14" fmla="*/ 41 w 68"/>
                <a:gd name="T15" fmla="*/ 92 h 152"/>
                <a:gd name="T16" fmla="*/ 42 w 68"/>
                <a:gd name="T17" fmla="*/ 79 h 152"/>
                <a:gd name="T18" fmla="*/ 47 w 68"/>
                <a:gd name="T19" fmla="*/ 77 h 152"/>
                <a:gd name="T20" fmla="*/ 53 w 68"/>
                <a:gd name="T21" fmla="*/ 75 h 152"/>
                <a:gd name="T22" fmla="*/ 60 w 68"/>
                <a:gd name="T23" fmla="*/ 71 h 152"/>
                <a:gd name="T24" fmla="*/ 64 w 68"/>
                <a:gd name="T25" fmla="*/ 67 h 152"/>
                <a:gd name="T26" fmla="*/ 68 w 68"/>
                <a:gd name="T27" fmla="*/ 60 h 152"/>
                <a:gd name="T28" fmla="*/ 68 w 68"/>
                <a:gd name="T29" fmla="*/ 60 h 152"/>
                <a:gd name="T30" fmla="*/ 65 w 68"/>
                <a:gd name="T31" fmla="*/ 61 h 152"/>
                <a:gd name="T32" fmla="*/ 60 w 68"/>
                <a:gd name="T33" fmla="*/ 59 h 152"/>
                <a:gd name="T34" fmla="*/ 55 w 68"/>
                <a:gd name="T35" fmla="*/ 56 h 152"/>
                <a:gd name="T36" fmla="*/ 55 w 68"/>
                <a:gd name="T37" fmla="*/ 51 h 152"/>
                <a:gd name="T38" fmla="*/ 52 w 68"/>
                <a:gd name="T39" fmla="*/ 47 h 152"/>
                <a:gd name="T40" fmla="*/ 50 w 68"/>
                <a:gd name="T41" fmla="*/ 41 h 152"/>
                <a:gd name="T42" fmla="*/ 42 w 68"/>
                <a:gd name="T43" fmla="*/ 39 h 152"/>
                <a:gd name="T44" fmla="*/ 41 w 68"/>
                <a:gd name="T45" fmla="*/ 36 h 152"/>
                <a:gd name="T46" fmla="*/ 48 w 68"/>
                <a:gd name="T47" fmla="*/ 24 h 152"/>
                <a:gd name="T48" fmla="*/ 50 w 68"/>
                <a:gd name="T49" fmla="*/ 13 h 152"/>
                <a:gd name="T50" fmla="*/ 46 w 68"/>
                <a:gd name="T51" fmla="*/ 9 h 152"/>
                <a:gd name="T52" fmla="*/ 45 w 68"/>
                <a:gd name="T53" fmla="*/ 4 h 152"/>
                <a:gd name="T54" fmla="*/ 39 w 68"/>
                <a:gd name="T55" fmla="*/ 2 h 152"/>
                <a:gd name="T56" fmla="*/ 38 w 68"/>
                <a:gd name="T57" fmla="*/ 3 h 152"/>
                <a:gd name="T58" fmla="*/ 38 w 68"/>
                <a:gd name="T59" fmla="*/ 3 h 152"/>
                <a:gd name="T60" fmla="*/ 36 w 68"/>
                <a:gd name="T61" fmla="*/ 6 h 152"/>
                <a:gd name="T62" fmla="*/ 37 w 68"/>
                <a:gd name="T63" fmla="*/ 12 h 152"/>
                <a:gd name="T64" fmla="*/ 33 w 68"/>
                <a:gd name="T65" fmla="*/ 12 h 152"/>
                <a:gd name="T66" fmla="*/ 27 w 68"/>
                <a:gd name="T67" fmla="*/ 15 h 152"/>
                <a:gd name="T68" fmla="*/ 21 w 68"/>
                <a:gd name="T69" fmla="*/ 21 h 152"/>
                <a:gd name="T70" fmla="*/ 19 w 68"/>
                <a:gd name="T71" fmla="*/ 31 h 152"/>
                <a:gd name="T72" fmla="*/ 16 w 68"/>
                <a:gd name="T73" fmla="*/ 41 h 152"/>
                <a:gd name="T74" fmla="*/ 10 w 68"/>
                <a:gd name="T75" fmla="*/ 40 h 152"/>
                <a:gd name="T76" fmla="*/ 8 w 68"/>
                <a:gd name="T77" fmla="*/ 48 h 152"/>
                <a:gd name="T78" fmla="*/ 6 w 68"/>
                <a:gd name="T79" fmla="*/ 57 h 152"/>
                <a:gd name="T80" fmla="*/ 2 w 68"/>
                <a:gd name="T81" fmla="*/ 63 h 152"/>
                <a:gd name="T82" fmla="*/ 0 w 68"/>
                <a:gd name="T83" fmla="*/ 65 h 152"/>
                <a:gd name="T84" fmla="*/ 7 w 68"/>
                <a:gd name="T85" fmla="*/ 73 h 152"/>
                <a:gd name="T86" fmla="*/ 16 w 68"/>
                <a:gd name="T87" fmla="*/ 90 h 152"/>
                <a:gd name="T88" fmla="*/ 15 w 68"/>
                <a:gd name="T89" fmla="*/ 103 h 152"/>
                <a:gd name="T90" fmla="*/ 18 w 68"/>
                <a:gd name="T91" fmla="*/ 107 h 152"/>
                <a:gd name="T92" fmla="*/ 26 w 68"/>
                <a:gd name="T93" fmla="*/ 106 h 152"/>
                <a:gd name="T94" fmla="*/ 33 w 68"/>
                <a:gd name="T95" fmla="*/ 98 h 152"/>
                <a:gd name="T96" fmla="*/ 37 w 68"/>
                <a:gd name="T97" fmla="*/ 101 h 152"/>
                <a:gd name="T98" fmla="*/ 40 w 68"/>
                <a:gd name="T99" fmla="*/ 110 h 152"/>
                <a:gd name="T100" fmla="*/ 45 w 68"/>
                <a:gd name="T101" fmla="*/ 127 h 152"/>
                <a:gd name="T102" fmla="*/ 48 w 68"/>
                <a:gd name="T103" fmla="*/ 140 h 152"/>
                <a:gd name="T104" fmla="*/ 49 w 68"/>
                <a:gd name="T105" fmla="*/ 150 h 152"/>
                <a:gd name="T106" fmla="*/ 48 w 68"/>
                <a:gd name="T107" fmla="*/ 152 h 152"/>
                <a:gd name="T108" fmla="*/ 55 w 68"/>
                <a:gd name="T109" fmla="*/ 13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8" h="152">
                  <a:moveTo>
                    <a:pt x="55" y="139"/>
                  </a:moveTo>
                  <a:cubicBezTo>
                    <a:pt x="55" y="135"/>
                    <a:pt x="53" y="135"/>
                    <a:pt x="53" y="133"/>
                  </a:cubicBezTo>
                  <a:cubicBezTo>
                    <a:pt x="53" y="130"/>
                    <a:pt x="53" y="126"/>
                    <a:pt x="49" y="123"/>
                  </a:cubicBezTo>
                  <a:cubicBezTo>
                    <a:pt x="46" y="120"/>
                    <a:pt x="45" y="116"/>
                    <a:pt x="47" y="114"/>
                  </a:cubicBezTo>
                  <a:cubicBezTo>
                    <a:pt x="48" y="113"/>
                    <a:pt x="47" y="108"/>
                    <a:pt x="48" y="108"/>
                  </a:cubicBezTo>
                  <a:cubicBezTo>
                    <a:pt x="49" y="109"/>
                    <a:pt x="50" y="106"/>
                    <a:pt x="48" y="105"/>
                  </a:cubicBezTo>
                  <a:cubicBezTo>
                    <a:pt x="46" y="104"/>
                    <a:pt x="48" y="100"/>
                    <a:pt x="47" y="99"/>
                  </a:cubicBezTo>
                  <a:cubicBezTo>
                    <a:pt x="45" y="99"/>
                    <a:pt x="41" y="93"/>
                    <a:pt x="41" y="92"/>
                  </a:cubicBezTo>
                  <a:cubicBezTo>
                    <a:pt x="41" y="90"/>
                    <a:pt x="42" y="81"/>
                    <a:pt x="42" y="79"/>
                  </a:cubicBezTo>
                  <a:cubicBezTo>
                    <a:pt x="42" y="77"/>
                    <a:pt x="46" y="77"/>
                    <a:pt x="47" y="77"/>
                  </a:cubicBezTo>
                  <a:cubicBezTo>
                    <a:pt x="48" y="77"/>
                    <a:pt x="51" y="77"/>
                    <a:pt x="53" y="75"/>
                  </a:cubicBezTo>
                  <a:cubicBezTo>
                    <a:pt x="54" y="73"/>
                    <a:pt x="59" y="72"/>
                    <a:pt x="60" y="71"/>
                  </a:cubicBezTo>
                  <a:cubicBezTo>
                    <a:pt x="61" y="69"/>
                    <a:pt x="64" y="69"/>
                    <a:pt x="64" y="67"/>
                  </a:cubicBezTo>
                  <a:cubicBezTo>
                    <a:pt x="64" y="65"/>
                    <a:pt x="68" y="60"/>
                    <a:pt x="68" y="60"/>
                  </a:cubicBezTo>
                  <a:cubicBezTo>
                    <a:pt x="68" y="60"/>
                    <a:pt x="68" y="60"/>
                    <a:pt x="68" y="60"/>
                  </a:cubicBezTo>
                  <a:cubicBezTo>
                    <a:pt x="68" y="60"/>
                    <a:pt x="67" y="60"/>
                    <a:pt x="65" y="61"/>
                  </a:cubicBezTo>
                  <a:cubicBezTo>
                    <a:pt x="61" y="63"/>
                    <a:pt x="59" y="61"/>
                    <a:pt x="60" y="59"/>
                  </a:cubicBezTo>
                  <a:cubicBezTo>
                    <a:pt x="60" y="56"/>
                    <a:pt x="57" y="56"/>
                    <a:pt x="55" y="56"/>
                  </a:cubicBezTo>
                  <a:cubicBezTo>
                    <a:pt x="53" y="56"/>
                    <a:pt x="55" y="53"/>
                    <a:pt x="55" y="51"/>
                  </a:cubicBezTo>
                  <a:cubicBezTo>
                    <a:pt x="56" y="49"/>
                    <a:pt x="55" y="48"/>
                    <a:pt x="52" y="47"/>
                  </a:cubicBezTo>
                  <a:cubicBezTo>
                    <a:pt x="50" y="47"/>
                    <a:pt x="49" y="42"/>
                    <a:pt x="50" y="41"/>
                  </a:cubicBezTo>
                  <a:cubicBezTo>
                    <a:pt x="51" y="39"/>
                    <a:pt x="45" y="38"/>
                    <a:pt x="42" y="39"/>
                  </a:cubicBezTo>
                  <a:cubicBezTo>
                    <a:pt x="40" y="41"/>
                    <a:pt x="42" y="37"/>
                    <a:pt x="41" y="36"/>
                  </a:cubicBezTo>
                  <a:cubicBezTo>
                    <a:pt x="40" y="34"/>
                    <a:pt x="44" y="28"/>
                    <a:pt x="48" y="24"/>
                  </a:cubicBezTo>
                  <a:cubicBezTo>
                    <a:pt x="51" y="21"/>
                    <a:pt x="50" y="16"/>
                    <a:pt x="50" y="13"/>
                  </a:cubicBezTo>
                  <a:cubicBezTo>
                    <a:pt x="50" y="9"/>
                    <a:pt x="48" y="9"/>
                    <a:pt x="46" y="9"/>
                  </a:cubicBezTo>
                  <a:cubicBezTo>
                    <a:pt x="45" y="9"/>
                    <a:pt x="45" y="6"/>
                    <a:pt x="45" y="4"/>
                  </a:cubicBezTo>
                  <a:cubicBezTo>
                    <a:pt x="45" y="2"/>
                    <a:pt x="41" y="0"/>
                    <a:pt x="39" y="2"/>
                  </a:cubicBezTo>
                  <a:cubicBezTo>
                    <a:pt x="39" y="2"/>
                    <a:pt x="38" y="2"/>
                    <a:pt x="38" y="3"/>
                  </a:cubicBezTo>
                  <a:cubicBezTo>
                    <a:pt x="38" y="3"/>
                    <a:pt x="38" y="3"/>
                    <a:pt x="38" y="3"/>
                  </a:cubicBezTo>
                  <a:cubicBezTo>
                    <a:pt x="38" y="3"/>
                    <a:pt x="37" y="6"/>
                    <a:pt x="36" y="6"/>
                  </a:cubicBezTo>
                  <a:cubicBezTo>
                    <a:pt x="35" y="7"/>
                    <a:pt x="35" y="9"/>
                    <a:pt x="37" y="12"/>
                  </a:cubicBezTo>
                  <a:cubicBezTo>
                    <a:pt x="39" y="15"/>
                    <a:pt x="34" y="13"/>
                    <a:pt x="33" y="12"/>
                  </a:cubicBezTo>
                  <a:cubicBezTo>
                    <a:pt x="33" y="10"/>
                    <a:pt x="29" y="13"/>
                    <a:pt x="27" y="15"/>
                  </a:cubicBezTo>
                  <a:cubicBezTo>
                    <a:pt x="24" y="17"/>
                    <a:pt x="21" y="18"/>
                    <a:pt x="21" y="21"/>
                  </a:cubicBezTo>
                  <a:cubicBezTo>
                    <a:pt x="21" y="25"/>
                    <a:pt x="18" y="28"/>
                    <a:pt x="19" y="31"/>
                  </a:cubicBezTo>
                  <a:cubicBezTo>
                    <a:pt x="20" y="34"/>
                    <a:pt x="16" y="39"/>
                    <a:pt x="16" y="41"/>
                  </a:cubicBezTo>
                  <a:cubicBezTo>
                    <a:pt x="16" y="42"/>
                    <a:pt x="11" y="40"/>
                    <a:pt x="10" y="40"/>
                  </a:cubicBezTo>
                  <a:cubicBezTo>
                    <a:pt x="9" y="40"/>
                    <a:pt x="9" y="46"/>
                    <a:pt x="8" y="48"/>
                  </a:cubicBezTo>
                  <a:cubicBezTo>
                    <a:pt x="7" y="50"/>
                    <a:pt x="8" y="57"/>
                    <a:pt x="6" y="57"/>
                  </a:cubicBezTo>
                  <a:cubicBezTo>
                    <a:pt x="4" y="57"/>
                    <a:pt x="2" y="63"/>
                    <a:pt x="2" y="63"/>
                  </a:cubicBezTo>
                  <a:cubicBezTo>
                    <a:pt x="2" y="63"/>
                    <a:pt x="1" y="64"/>
                    <a:pt x="0" y="65"/>
                  </a:cubicBezTo>
                  <a:cubicBezTo>
                    <a:pt x="1" y="69"/>
                    <a:pt x="4" y="72"/>
                    <a:pt x="7" y="73"/>
                  </a:cubicBezTo>
                  <a:cubicBezTo>
                    <a:pt x="12" y="75"/>
                    <a:pt x="15" y="85"/>
                    <a:pt x="16" y="90"/>
                  </a:cubicBezTo>
                  <a:cubicBezTo>
                    <a:pt x="18" y="95"/>
                    <a:pt x="17" y="100"/>
                    <a:pt x="15" y="103"/>
                  </a:cubicBezTo>
                  <a:cubicBezTo>
                    <a:pt x="13" y="105"/>
                    <a:pt x="16" y="106"/>
                    <a:pt x="18" y="107"/>
                  </a:cubicBezTo>
                  <a:cubicBezTo>
                    <a:pt x="21" y="108"/>
                    <a:pt x="24" y="109"/>
                    <a:pt x="26" y="106"/>
                  </a:cubicBezTo>
                  <a:cubicBezTo>
                    <a:pt x="28" y="103"/>
                    <a:pt x="32" y="101"/>
                    <a:pt x="33" y="98"/>
                  </a:cubicBezTo>
                  <a:cubicBezTo>
                    <a:pt x="34" y="95"/>
                    <a:pt x="36" y="99"/>
                    <a:pt x="37" y="101"/>
                  </a:cubicBezTo>
                  <a:cubicBezTo>
                    <a:pt x="39" y="103"/>
                    <a:pt x="40" y="106"/>
                    <a:pt x="40" y="110"/>
                  </a:cubicBezTo>
                  <a:cubicBezTo>
                    <a:pt x="41" y="114"/>
                    <a:pt x="41" y="124"/>
                    <a:pt x="45" y="127"/>
                  </a:cubicBezTo>
                  <a:cubicBezTo>
                    <a:pt x="48" y="131"/>
                    <a:pt x="49" y="138"/>
                    <a:pt x="48" y="140"/>
                  </a:cubicBezTo>
                  <a:cubicBezTo>
                    <a:pt x="47" y="143"/>
                    <a:pt x="49" y="147"/>
                    <a:pt x="49" y="150"/>
                  </a:cubicBezTo>
                  <a:cubicBezTo>
                    <a:pt x="49" y="150"/>
                    <a:pt x="48" y="151"/>
                    <a:pt x="48" y="152"/>
                  </a:cubicBezTo>
                  <a:cubicBezTo>
                    <a:pt x="51" y="152"/>
                    <a:pt x="55" y="139"/>
                    <a:pt x="55" y="139"/>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21" name="Freeform 64">
              <a:extLst>
                <a:ext uri="{FF2B5EF4-FFF2-40B4-BE49-F238E27FC236}">
                  <a16:creationId xmlns:a16="http://schemas.microsoft.com/office/drawing/2014/main" xmlns="" id="{AD251040-0408-42B0-89B4-D788EE6ED2C0}"/>
                </a:ext>
              </a:extLst>
            </p:cNvPr>
            <p:cNvSpPr>
              <a:spLocks/>
            </p:cNvSpPr>
            <p:nvPr/>
          </p:nvSpPr>
          <p:spPr bwMode="auto">
            <a:xfrm>
              <a:off x="18183447" y="3375691"/>
              <a:ext cx="65088" cy="38100"/>
            </a:xfrm>
            <a:custGeom>
              <a:avLst/>
              <a:gdLst>
                <a:gd name="T0" fmla="*/ 24 w 25"/>
                <a:gd name="T1" fmla="*/ 5 h 15"/>
                <a:gd name="T2" fmla="*/ 14 w 25"/>
                <a:gd name="T3" fmla="*/ 2 h 15"/>
                <a:gd name="T4" fmla="*/ 8 w 25"/>
                <a:gd name="T5" fmla="*/ 1 h 15"/>
                <a:gd name="T6" fmla="*/ 2 w 25"/>
                <a:gd name="T7" fmla="*/ 6 h 15"/>
                <a:gd name="T8" fmla="*/ 0 w 25"/>
                <a:gd name="T9" fmla="*/ 10 h 15"/>
                <a:gd name="T10" fmla="*/ 2 w 25"/>
                <a:gd name="T11" fmla="*/ 11 h 15"/>
                <a:gd name="T12" fmla="*/ 8 w 25"/>
                <a:gd name="T13" fmla="*/ 13 h 15"/>
                <a:gd name="T14" fmla="*/ 15 w 25"/>
                <a:gd name="T15" fmla="*/ 13 h 15"/>
                <a:gd name="T16" fmla="*/ 23 w 25"/>
                <a:gd name="T17" fmla="*/ 12 h 15"/>
                <a:gd name="T18" fmla="*/ 22 w 25"/>
                <a:gd name="T19" fmla="*/ 5 h 15"/>
                <a:gd name="T20" fmla="*/ 24 w 25"/>
                <a:gd name="T21" fmla="*/ 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15">
                  <a:moveTo>
                    <a:pt x="24" y="5"/>
                  </a:moveTo>
                  <a:cubicBezTo>
                    <a:pt x="19" y="0"/>
                    <a:pt x="18" y="4"/>
                    <a:pt x="14" y="2"/>
                  </a:cubicBezTo>
                  <a:cubicBezTo>
                    <a:pt x="11" y="0"/>
                    <a:pt x="9" y="0"/>
                    <a:pt x="8" y="1"/>
                  </a:cubicBezTo>
                  <a:cubicBezTo>
                    <a:pt x="6" y="2"/>
                    <a:pt x="4" y="2"/>
                    <a:pt x="2" y="6"/>
                  </a:cubicBezTo>
                  <a:cubicBezTo>
                    <a:pt x="2" y="7"/>
                    <a:pt x="1" y="9"/>
                    <a:pt x="0" y="10"/>
                  </a:cubicBezTo>
                  <a:cubicBezTo>
                    <a:pt x="1" y="11"/>
                    <a:pt x="2" y="12"/>
                    <a:pt x="2" y="11"/>
                  </a:cubicBezTo>
                  <a:cubicBezTo>
                    <a:pt x="4" y="11"/>
                    <a:pt x="5" y="13"/>
                    <a:pt x="8" y="13"/>
                  </a:cubicBezTo>
                  <a:cubicBezTo>
                    <a:pt x="10" y="12"/>
                    <a:pt x="12" y="14"/>
                    <a:pt x="15" y="13"/>
                  </a:cubicBezTo>
                  <a:cubicBezTo>
                    <a:pt x="19" y="12"/>
                    <a:pt x="22" y="15"/>
                    <a:pt x="23" y="12"/>
                  </a:cubicBezTo>
                  <a:cubicBezTo>
                    <a:pt x="25" y="10"/>
                    <a:pt x="22" y="5"/>
                    <a:pt x="22" y="5"/>
                  </a:cubicBezTo>
                  <a:cubicBezTo>
                    <a:pt x="22" y="5"/>
                    <a:pt x="23" y="5"/>
                    <a:pt x="24" y="5"/>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22" name="Freeform 65">
              <a:extLst>
                <a:ext uri="{FF2B5EF4-FFF2-40B4-BE49-F238E27FC236}">
                  <a16:creationId xmlns:a16="http://schemas.microsoft.com/office/drawing/2014/main" xmlns="" id="{B02580B4-C785-41E5-AE19-A6726C3BCDD0}"/>
                </a:ext>
              </a:extLst>
            </p:cNvPr>
            <p:cNvSpPr>
              <a:spLocks/>
            </p:cNvSpPr>
            <p:nvPr/>
          </p:nvSpPr>
          <p:spPr bwMode="auto">
            <a:xfrm>
              <a:off x="18446972" y="3485229"/>
              <a:ext cx="152400" cy="323850"/>
            </a:xfrm>
            <a:custGeom>
              <a:avLst/>
              <a:gdLst>
                <a:gd name="T0" fmla="*/ 44 w 59"/>
                <a:gd name="T1" fmla="*/ 15 h 124"/>
                <a:gd name="T2" fmla="*/ 36 w 59"/>
                <a:gd name="T3" fmla="*/ 9 h 124"/>
                <a:gd name="T4" fmla="*/ 34 w 59"/>
                <a:gd name="T5" fmla="*/ 5 h 124"/>
                <a:gd name="T6" fmla="*/ 27 w 59"/>
                <a:gd name="T7" fmla="*/ 1 h 124"/>
                <a:gd name="T8" fmla="*/ 21 w 59"/>
                <a:gd name="T9" fmla="*/ 5 h 124"/>
                <a:gd name="T10" fmla="*/ 15 w 59"/>
                <a:gd name="T11" fmla="*/ 6 h 124"/>
                <a:gd name="T12" fmla="*/ 8 w 59"/>
                <a:gd name="T13" fmla="*/ 6 h 124"/>
                <a:gd name="T14" fmla="*/ 2 w 59"/>
                <a:gd name="T15" fmla="*/ 7 h 124"/>
                <a:gd name="T16" fmla="*/ 0 w 59"/>
                <a:gd name="T17" fmla="*/ 9 h 124"/>
                <a:gd name="T18" fmla="*/ 3 w 59"/>
                <a:gd name="T19" fmla="*/ 13 h 124"/>
                <a:gd name="T20" fmla="*/ 7 w 59"/>
                <a:gd name="T21" fmla="*/ 19 h 124"/>
                <a:gd name="T22" fmla="*/ 14 w 59"/>
                <a:gd name="T23" fmla="*/ 23 h 124"/>
                <a:gd name="T24" fmla="*/ 19 w 59"/>
                <a:gd name="T25" fmla="*/ 24 h 124"/>
                <a:gd name="T26" fmla="*/ 22 w 59"/>
                <a:gd name="T27" fmla="*/ 30 h 124"/>
                <a:gd name="T28" fmla="*/ 16 w 59"/>
                <a:gd name="T29" fmla="*/ 34 h 124"/>
                <a:gd name="T30" fmla="*/ 24 w 59"/>
                <a:gd name="T31" fmla="*/ 41 h 124"/>
                <a:gd name="T32" fmla="*/ 28 w 59"/>
                <a:gd name="T33" fmla="*/ 48 h 124"/>
                <a:gd name="T34" fmla="*/ 35 w 59"/>
                <a:gd name="T35" fmla="*/ 57 h 124"/>
                <a:gd name="T36" fmla="*/ 42 w 59"/>
                <a:gd name="T37" fmla="*/ 63 h 124"/>
                <a:gd name="T38" fmla="*/ 43 w 59"/>
                <a:gd name="T39" fmla="*/ 71 h 124"/>
                <a:gd name="T40" fmla="*/ 46 w 59"/>
                <a:gd name="T41" fmla="*/ 85 h 124"/>
                <a:gd name="T42" fmla="*/ 40 w 59"/>
                <a:gd name="T43" fmla="*/ 94 h 124"/>
                <a:gd name="T44" fmla="*/ 33 w 59"/>
                <a:gd name="T45" fmla="*/ 98 h 124"/>
                <a:gd name="T46" fmla="*/ 33 w 59"/>
                <a:gd name="T47" fmla="*/ 106 h 124"/>
                <a:gd name="T48" fmla="*/ 24 w 59"/>
                <a:gd name="T49" fmla="*/ 106 h 124"/>
                <a:gd name="T50" fmla="*/ 19 w 59"/>
                <a:gd name="T51" fmla="*/ 109 h 124"/>
                <a:gd name="T52" fmla="*/ 22 w 59"/>
                <a:gd name="T53" fmla="*/ 112 h 124"/>
                <a:gd name="T54" fmla="*/ 20 w 59"/>
                <a:gd name="T55" fmla="*/ 119 h 124"/>
                <a:gd name="T56" fmla="*/ 24 w 59"/>
                <a:gd name="T57" fmla="*/ 122 h 124"/>
                <a:gd name="T58" fmla="*/ 32 w 59"/>
                <a:gd name="T59" fmla="*/ 117 h 124"/>
                <a:gd name="T60" fmla="*/ 33 w 59"/>
                <a:gd name="T61" fmla="*/ 114 h 124"/>
                <a:gd name="T62" fmla="*/ 36 w 59"/>
                <a:gd name="T63" fmla="*/ 109 h 124"/>
                <a:gd name="T64" fmla="*/ 41 w 59"/>
                <a:gd name="T65" fmla="*/ 109 h 124"/>
                <a:gd name="T66" fmla="*/ 52 w 59"/>
                <a:gd name="T67" fmla="*/ 103 h 124"/>
                <a:gd name="T68" fmla="*/ 58 w 59"/>
                <a:gd name="T69" fmla="*/ 93 h 124"/>
                <a:gd name="T70" fmla="*/ 56 w 59"/>
                <a:gd name="T71" fmla="*/ 74 h 124"/>
                <a:gd name="T72" fmla="*/ 48 w 59"/>
                <a:gd name="T73" fmla="*/ 61 h 124"/>
                <a:gd name="T74" fmla="*/ 35 w 59"/>
                <a:gd name="T75" fmla="*/ 50 h 124"/>
                <a:gd name="T76" fmla="*/ 32 w 59"/>
                <a:gd name="T77" fmla="*/ 44 h 124"/>
                <a:gd name="T78" fmla="*/ 30 w 59"/>
                <a:gd name="T79" fmla="*/ 33 h 124"/>
                <a:gd name="T80" fmla="*/ 35 w 59"/>
                <a:gd name="T81" fmla="*/ 26 h 124"/>
                <a:gd name="T82" fmla="*/ 39 w 59"/>
                <a:gd name="T83" fmla="*/ 22 h 124"/>
                <a:gd name="T84" fmla="*/ 45 w 59"/>
                <a:gd name="T85" fmla="*/ 17 h 124"/>
                <a:gd name="T86" fmla="*/ 46 w 59"/>
                <a:gd name="T87" fmla="*/ 17 h 124"/>
                <a:gd name="T88" fmla="*/ 44 w 59"/>
                <a:gd name="T89" fmla="*/ 15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9" h="124">
                  <a:moveTo>
                    <a:pt x="44" y="15"/>
                  </a:moveTo>
                  <a:cubicBezTo>
                    <a:pt x="42" y="15"/>
                    <a:pt x="36" y="11"/>
                    <a:pt x="36" y="9"/>
                  </a:cubicBezTo>
                  <a:cubicBezTo>
                    <a:pt x="36" y="8"/>
                    <a:pt x="39" y="5"/>
                    <a:pt x="34" y="5"/>
                  </a:cubicBezTo>
                  <a:cubicBezTo>
                    <a:pt x="29" y="4"/>
                    <a:pt x="28" y="2"/>
                    <a:pt x="27" y="1"/>
                  </a:cubicBezTo>
                  <a:cubicBezTo>
                    <a:pt x="26" y="0"/>
                    <a:pt x="22" y="3"/>
                    <a:pt x="21" y="5"/>
                  </a:cubicBezTo>
                  <a:cubicBezTo>
                    <a:pt x="19" y="8"/>
                    <a:pt x="18" y="5"/>
                    <a:pt x="15" y="6"/>
                  </a:cubicBezTo>
                  <a:cubicBezTo>
                    <a:pt x="12" y="8"/>
                    <a:pt x="10" y="4"/>
                    <a:pt x="8" y="6"/>
                  </a:cubicBezTo>
                  <a:cubicBezTo>
                    <a:pt x="7" y="8"/>
                    <a:pt x="4" y="5"/>
                    <a:pt x="2" y="7"/>
                  </a:cubicBezTo>
                  <a:cubicBezTo>
                    <a:pt x="2" y="8"/>
                    <a:pt x="1" y="8"/>
                    <a:pt x="0" y="9"/>
                  </a:cubicBezTo>
                  <a:cubicBezTo>
                    <a:pt x="1" y="10"/>
                    <a:pt x="3" y="12"/>
                    <a:pt x="3" y="13"/>
                  </a:cubicBezTo>
                  <a:cubicBezTo>
                    <a:pt x="3" y="15"/>
                    <a:pt x="7" y="16"/>
                    <a:pt x="7" y="19"/>
                  </a:cubicBezTo>
                  <a:cubicBezTo>
                    <a:pt x="7" y="21"/>
                    <a:pt x="12" y="24"/>
                    <a:pt x="14" y="23"/>
                  </a:cubicBezTo>
                  <a:cubicBezTo>
                    <a:pt x="15" y="21"/>
                    <a:pt x="19" y="20"/>
                    <a:pt x="19" y="24"/>
                  </a:cubicBezTo>
                  <a:cubicBezTo>
                    <a:pt x="20" y="28"/>
                    <a:pt x="22" y="28"/>
                    <a:pt x="22" y="30"/>
                  </a:cubicBezTo>
                  <a:cubicBezTo>
                    <a:pt x="22" y="33"/>
                    <a:pt x="17" y="31"/>
                    <a:pt x="16" y="34"/>
                  </a:cubicBezTo>
                  <a:cubicBezTo>
                    <a:pt x="15" y="36"/>
                    <a:pt x="24" y="39"/>
                    <a:pt x="24" y="41"/>
                  </a:cubicBezTo>
                  <a:cubicBezTo>
                    <a:pt x="24" y="43"/>
                    <a:pt x="27" y="46"/>
                    <a:pt x="28" y="48"/>
                  </a:cubicBezTo>
                  <a:cubicBezTo>
                    <a:pt x="29" y="51"/>
                    <a:pt x="34" y="54"/>
                    <a:pt x="35" y="57"/>
                  </a:cubicBezTo>
                  <a:cubicBezTo>
                    <a:pt x="36" y="60"/>
                    <a:pt x="40" y="62"/>
                    <a:pt x="42" y="63"/>
                  </a:cubicBezTo>
                  <a:cubicBezTo>
                    <a:pt x="43" y="65"/>
                    <a:pt x="44" y="68"/>
                    <a:pt x="43" y="71"/>
                  </a:cubicBezTo>
                  <a:cubicBezTo>
                    <a:pt x="43" y="74"/>
                    <a:pt x="43" y="80"/>
                    <a:pt x="46" y="85"/>
                  </a:cubicBezTo>
                  <a:cubicBezTo>
                    <a:pt x="49" y="89"/>
                    <a:pt x="42" y="91"/>
                    <a:pt x="40" y="94"/>
                  </a:cubicBezTo>
                  <a:cubicBezTo>
                    <a:pt x="38" y="96"/>
                    <a:pt x="39" y="100"/>
                    <a:pt x="33" y="98"/>
                  </a:cubicBezTo>
                  <a:cubicBezTo>
                    <a:pt x="27" y="97"/>
                    <a:pt x="34" y="104"/>
                    <a:pt x="33" y="106"/>
                  </a:cubicBezTo>
                  <a:cubicBezTo>
                    <a:pt x="32" y="108"/>
                    <a:pt x="24" y="104"/>
                    <a:pt x="24" y="106"/>
                  </a:cubicBezTo>
                  <a:cubicBezTo>
                    <a:pt x="24" y="107"/>
                    <a:pt x="21" y="108"/>
                    <a:pt x="19" y="109"/>
                  </a:cubicBezTo>
                  <a:cubicBezTo>
                    <a:pt x="20" y="111"/>
                    <a:pt x="21" y="111"/>
                    <a:pt x="22" y="112"/>
                  </a:cubicBezTo>
                  <a:cubicBezTo>
                    <a:pt x="24" y="113"/>
                    <a:pt x="20" y="115"/>
                    <a:pt x="20" y="119"/>
                  </a:cubicBezTo>
                  <a:cubicBezTo>
                    <a:pt x="20" y="123"/>
                    <a:pt x="23" y="124"/>
                    <a:pt x="24" y="122"/>
                  </a:cubicBezTo>
                  <a:cubicBezTo>
                    <a:pt x="25" y="121"/>
                    <a:pt x="30" y="117"/>
                    <a:pt x="32" y="117"/>
                  </a:cubicBezTo>
                  <a:cubicBezTo>
                    <a:pt x="33" y="116"/>
                    <a:pt x="32" y="114"/>
                    <a:pt x="33" y="114"/>
                  </a:cubicBezTo>
                  <a:cubicBezTo>
                    <a:pt x="35" y="114"/>
                    <a:pt x="35" y="111"/>
                    <a:pt x="36" y="109"/>
                  </a:cubicBezTo>
                  <a:cubicBezTo>
                    <a:pt x="36" y="108"/>
                    <a:pt x="38" y="108"/>
                    <a:pt x="41" y="109"/>
                  </a:cubicBezTo>
                  <a:cubicBezTo>
                    <a:pt x="43" y="109"/>
                    <a:pt x="47" y="106"/>
                    <a:pt x="52" y="103"/>
                  </a:cubicBezTo>
                  <a:cubicBezTo>
                    <a:pt x="56" y="101"/>
                    <a:pt x="56" y="100"/>
                    <a:pt x="58" y="93"/>
                  </a:cubicBezTo>
                  <a:cubicBezTo>
                    <a:pt x="59" y="85"/>
                    <a:pt x="56" y="76"/>
                    <a:pt x="56" y="74"/>
                  </a:cubicBezTo>
                  <a:cubicBezTo>
                    <a:pt x="56" y="72"/>
                    <a:pt x="50" y="61"/>
                    <a:pt x="48" y="61"/>
                  </a:cubicBezTo>
                  <a:cubicBezTo>
                    <a:pt x="46" y="61"/>
                    <a:pt x="37" y="52"/>
                    <a:pt x="35" y="50"/>
                  </a:cubicBezTo>
                  <a:cubicBezTo>
                    <a:pt x="34" y="49"/>
                    <a:pt x="34" y="46"/>
                    <a:pt x="32" y="44"/>
                  </a:cubicBezTo>
                  <a:cubicBezTo>
                    <a:pt x="29" y="42"/>
                    <a:pt x="29" y="37"/>
                    <a:pt x="30" y="33"/>
                  </a:cubicBezTo>
                  <a:cubicBezTo>
                    <a:pt x="30" y="30"/>
                    <a:pt x="36" y="29"/>
                    <a:pt x="35" y="26"/>
                  </a:cubicBezTo>
                  <a:cubicBezTo>
                    <a:pt x="35" y="24"/>
                    <a:pt x="36" y="22"/>
                    <a:pt x="39" y="22"/>
                  </a:cubicBezTo>
                  <a:cubicBezTo>
                    <a:pt x="41" y="21"/>
                    <a:pt x="44" y="19"/>
                    <a:pt x="45" y="17"/>
                  </a:cubicBezTo>
                  <a:cubicBezTo>
                    <a:pt x="45" y="17"/>
                    <a:pt x="45" y="17"/>
                    <a:pt x="46" y="17"/>
                  </a:cubicBezTo>
                  <a:cubicBezTo>
                    <a:pt x="45" y="16"/>
                    <a:pt x="44" y="16"/>
                    <a:pt x="44" y="15"/>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23" name="Freeform 66">
              <a:extLst>
                <a:ext uri="{FF2B5EF4-FFF2-40B4-BE49-F238E27FC236}">
                  <a16:creationId xmlns:a16="http://schemas.microsoft.com/office/drawing/2014/main" xmlns="" id="{F945274C-46B8-4A91-8A88-43C08D235275}"/>
                </a:ext>
              </a:extLst>
            </p:cNvPr>
            <p:cNvSpPr>
              <a:spLocks/>
            </p:cNvSpPr>
            <p:nvPr/>
          </p:nvSpPr>
          <p:spPr bwMode="auto">
            <a:xfrm>
              <a:off x="18446972" y="3678904"/>
              <a:ext cx="127000" cy="90487"/>
            </a:xfrm>
            <a:custGeom>
              <a:avLst/>
              <a:gdLst>
                <a:gd name="T0" fmla="*/ 24 w 49"/>
                <a:gd name="T1" fmla="*/ 32 h 35"/>
                <a:gd name="T2" fmla="*/ 33 w 49"/>
                <a:gd name="T3" fmla="*/ 32 h 35"/>
                <a:gd name="T4" fmla="*/ 33 w 49"/>
                <a:gd name="T5" fmla="*/ 24 h 35"/>
                <a:gd name="T6" fmla="*/ 40 w 49"/>
                <a:gd name="T7" fmla="*/ 20 h 35"/>
                <a:gd name="T8" fmla="*/ 46 w 49"/>
                <a:gd name="T9" fmla="*/ 11 h 35"/>
                <a:gd name="T10" fmla="*/ 43 w 49"/>
                <a:gd name="T11" fmla="*/ 1 h 35"/>
                <a:gd name="T12" fmla="*/ 37 w 49"/>
                <a:gd name="T13" fmla="*/ 2 h 35"/>
                <a:gd name="T14" fmla="*/ 32 w 49"/>
                <a:gd name="T15" fmla="*/ 4 h 35"/>
                <a:gd name="T16" fmla="*/ 29 w 49"/>
                <a:gd name="T17" fmla="*/ 6 h 35"/>
                <a:gd name="T18" fmla="*/ 25 w 49"/>
                <a:gd name="T19" fmla="*/ 2 h 35"/>
                <a:gd name="T20" fmla="*/ 14 w 49"/>
                <a:gd name="T21" fmla="*/ 2 h 35"/>
                <a:gd name="T22" fmla="*/ 3 w 49"/>
                <a:gd name="T23" fmla="*/ 8 h 35"/>
                <a:gd name="T24" fmla="*/ 3 w 49"/>
                <a:gd name="T25" fmla="*/ 15 h 35"/>
                <a:gd name="T26" fmla="*/ 4 w 49"/>
                <a:gd name="T27" fmla="*/ 21 h 35"/>
                <a:gd name="T28" fmla="*/ 4 w 49"/>
                <a:gd name="T29" fmla="*/ 21 h 35"/>
                <a:gd name="T30" fmla="*/ 6 w 49"/>
                <a:gd name="T31" fmla="*/ 28 h 35"/>
                <a:gd name="T32" fmla="*/ 11 w 49"/>
                <a:gd name="T33" fmla="*/ 29 h 35"/>
                <a:gd name="T34" fmla="*/ 12 w 49"/>
                <a:gd name="T35" fmla="*/ 34 h 35"/>
                <a:gd name="T36" fmla="*/ 18 w 49"/>
                <a:gd name="T37" fmla="*/ 34 h 35"/>
                <a:gd name="T38" fmla="*/ 19 w 49"/>
                <a:gd name="T39" fmla="*/ 35 h 35"/>
                <a:gd name="T40" fmla="*/ 24 w 49"/>
                <a:gd name="T41" fmla="*/ 3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35">
                  <a:moveTo>
                    <a:pt x="24" y="32"/>
                  </a:moveTo>
                  <a:cubicBezTo>
                    <a:pt x="24" y="30"/>
                    <a:pt x="32" y="34"/>
                    <a:pt x="33" y="32"/>
                  </a:cubicBezTo>
                  <a:cubicBezTo>
                    <a:pt x="34" y="30"/>
                    <a:pt x="27" y="23"/>
                    <a:pt x="33" y="24"/>
                  </a:cubicBezTo>
                  <a:cubicBezTo>
                    <a:pt x="39" y="26"/>
                    <a:pt x="38" y="22"/>
                    <a:pt x="40" y="20"/>
                  </a:cubicBezTo>
                  <a:cubicBezTo>
                    <a:pt x="42" y="17"/>
                    <a:pt x="49" y="15"/>
                    <a:pt x="46" y="11"/>
                  </a:cubicBezTo>
                  <a:cubicBezTo>
                    <a:pt x="44" y="7"/>
                    <a:pt x="43" y="4"/>
                    <a:pt x="43" y="1"/>
                  </a:cubicBezTo>
                  <a:cubicBezTo>
                    <a:pt x="41" y="2"/>
                    <a:pt x="39" y="2"/>
                    <a:pt x="37" y="2"/>
                  </a:cubicBezTo>
                  <a:cubicBezTo>
                    <a:pt x="36" y="1"/>
                    <a:pt x="32" y="1"/>
                    <a:pt x="32" y="4"/>
                  </a:cubicBezTo>
                  <a:cubicBezTo>
                    <a:pt x="32" y="6"/>
                    <a:pt x="29" y="7"/>
                    <a:pt x="29" y="6"/>
                  </a:cubicBezTo>
                  <a:cubicBezTo>
                    <a:pt x="30" y="4"/>
                    <a:pt x="27" y="5"/>
                    <a:pt x="25" y="2"/>
                  </a:cubicBezTo>
                  <a:cubicBezTo>
                    <a:pt x="23" y="0"/>
                    <a:pt x="17" y="3"/>
                    <a:pt x="14" y="2"/>
                  </a:cubicBezTo>
                  <a:cubicBezTo>
                    <a:pt x="11" y="1"/>
                    <a:pt x="6" y="4"/>
                    <a:pt x="3" y="8"/>
                  </a:cubicBezTo>
                  <a:cubicBezTo>
                    <a:pt x="0" y="11"/>
                    <a:pt x="3" y="11"/>
                    <a:pt x="3" y="15"/>
                  </a:cubicBezTo>
                  <a:cubicBezTo>
                    <a:pt x="3" y="18"/>
                    <a:pt x="5" y="18"/>
                    <a:pt x="4" y="21"/>
                  </a:cubicBezTo>
                  <a:cubicBezTo>
                    <a:pt x="4" y="21"/>
                    <a:pt x="4" y="21"/>
                    <a:pt x="4" y="21"/>
                  </a:cubicBezTo>
                  <a:cubicBezTo>
                    <a:pt x="7" y="23"/>
                    <a:pt x="6" y="26"/>
                    <a:pt x="6" y="28"/>
                  </a:cubicBezTo>
                  <a:cubicBezTo>
                    <a:pt x="7" y="31"/>
                    <a:pt x="10" y="29"/>
                    <a:pt x="11" y="29"/>
                  </a:cubicBezTo>
                  <a:cubicBezTo>
                    <a:pt x="13" y="29"/>
                    <a:pt x="10" y="32"/>
                    <a:pt x="12" y="34"/>
                  </a:cubicBezTo>
                  <a:cubicBezTo>
                    <a:pt x="13" y="35"/>
                    <a:pt x="17" y="32"/>
                    <a:pt x="18" y="34"/>
                  </a:cubicBezTo>
                  <a:cubicBezTo>
                    <a:pt x="18" y="35"/>
                    <a:pt x="19" y="35"/>
                    <a:pt x="19" y="35"/>
                  </a:cubicBezTo>
                  <a:cubicBezTo>
                    <a:pt x="21" y="34"/>
                    <a:pt x="24" y="33"/>
                    <a:pt x="24" y="32"/>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24" name="Freeform 67">
              <a:extLst>
                <a:ext uri="{FF2B5EF4-FFF2-40B4-BE49-F238E27FC236}">
                  <a16:creationId xmlns:a16="http://schemas.microsoft.com/office/drawing/2014/main" xmlns="" id="{47D9A02B-2B15-4567-995B-E07AC17044DE}"/>
                </a:ext>
              </a:extLst>
            </p:cNvPr>
            <p:cNvSpPr>
              <a:spLocks/>
            </p:cNvSpPr>
            <p:nvPr/>
          </p:nvSpPr>
          <p:spPr bwMode="auto">
            <a:xfrm>
              <a:off x="18404109" y="3505866"/>
              <a:ext cx="157163" cy="190500"/>
            </a:xfrm>
            <a:custGeom>
              <a:avLst/>
              <a:gdLst>
                <a:gd name="T0" fmla="*/ 40 w 60"/>
                <a:gd name="T1" fmla="*/ 33 h 73"/>
                <a:gd name="T2" fmla="*/ 32 w 60"/>
                <a:gd name="T3" fmla="*/ 26 h 73"/>
                <a:gd name="T4" fmla="*/ 38 w 60"/>
                <a:gd name="T5" fmla="*/ 22 h 73"/>
                <a:gd name="T6" fmla="*/ 35 w 60"/>
                <a:gd name="T7" fmla="*/ 16 h 73"/>
                <a:gd name="T8" fmla="*/ 30 w 60"/>
                <a:gd name="T9" fmla="*/ 15 h 73"/>
                <a:gd name="T10" fmla="*/ 23 w 60"/>
                <a:gd name="T11" fmla="*/ 11 h 73"/>
                <a:gd name="T12" fmla="*/ 19 w 60"/>
                <a:gd name="T13" fmla="*/ 5 h 73"/>
                <a:gd name="T14" fmla="*/ 16 w 60"/>
                <a:gd name="T15" fmla="*/ 1 h 73"/>
                <a:gd name="T16" fmla="*/ 13 w 60"/>
                <a:gd name="T17" fmla="*/ 1 h 73"/>
                <a:gd name="T18" fmla="*/ 12 w 60"/>
                <a:gd name="T19" fmla="*/ 5 h 73"/>
                <a:gd name="T20" fmla="*/ 11 w 60"/>
                <a:gd name="T21" fmla="*/ 11 h 73"/>
                <a:gd name="T22" fmla="*/ 7 w 60"/>
                <a:gd name="T23" fmla="*/ 7 h 73"/>
                <a:gd name="T24" fmla="*/ 3 w 60"/>
                <a:gd name="T25" fmla="*/ 14 h 73"/>
                <a:gd name="T26" fmla="*/ 0 w 60"/>
                <a:gd name="T27" fmla="*/ 16 h 73"/>
                <a:gd name="T28" fmla="*/ 2 w 60"/>
                <a:gd name="T29" fmla="*/ 18 h 73"/>
                <a:gd name="T30" fmla="*/ 2 w 60"/>
                <a:gd name="T31" fmla="*/ 24 h 73"/>
                <a:gd name="T32" fmla="*/ 8 w 60"/>
                <a:gd name="T33" fmla="*/ 26 h 73"/>
                <a:gd name="T34" fmla="*/ 7 w 60"/>
                <a:gd name="T35" fmla="*/ 35 h 73"/>
                <a:gd name="T36" fmla="*/ 5 w 60"/>
                <a:gd name="T37" fmla="*/ 41 h 73"/>
                <a:gd name="T38" fmla="*/ 12 w 60"/>
                <a:gd name="T39" fmla="*/ 38 h 73"/>
                <a:gd name="T40" fmla="*/ 18 w 60"/>
                <a:gd name="T41" fmla="*/ 38 h 73"/>
                <a:gd name="T42" fmla="*/ 23 w 60"/>
                <a:gd name="T43" fmla="*/ 37 h 73"/>
                <a:gd name="T44" fmla="*/ 31 w 60"/>
                <a:gd name="T45" fmla="*/ 36 h 73"/>
                <a:gd name="T46" fmla="*/ 37 w 60"/>
                <a:gd name="T47" fmla="*/ 42 h 73"/>
                <a:gd name="T48" fmla="*/ 38 w 60"/>
                <a:gd name="T49" fmla="*/ 52 h 73"/>
                <a:gd name="T50" fmla="*/ 43 w 60"/>
                <a:gd name="T51" fmla="*/ 60 h 73"/>
                <a:gd name="T52" fmla="*/ 42 w 60"/>
                <a:gd name="T53" fmla="*/ 69 h 73"/>
                <a:gd name="T54" fmla="*/ 45 w 60"/>
                <a:gd name="T55" fmla="*/ 72 h 73"/>
                <a:gd name="T56" fmla="*/ 48 w 60"/>
                <a:gd name="T57" fmla="*/ 70 h 73"/>
                <a:gd name="T58" fmla="*/ 53 w 60"/>
                <a:gd name="T59" fmla="*/ 68 h 73"/>
                <a:gd name="T60" fmla="*/ 59 w 60"/>
                <a:gd name="T61" fmla="*/ 67 h 73"/>
                <a:gd name="T62" fmla="*/ 59 w 60"/>
                <a:gd name="T63" fmla="*/ 63 h 73"/>
                <a:gd name="T64" fmla="*/ 58 w 60"/>
                <a:gd name="T65" fmla="*/ 55 h 73"/>
                <a:gd name="T66" fmla="*/ 51 w 60"/>
                <a:gd name="T67" fmla="*/ 49 h 73"/>
                <a:gd name="T68" fmla="*/ 44 w 60"/>
                <a:gd name="T69" fmla="*/ 40 h 73"/>
                <a:gd name="T70" fmla="*/ 40 w 60"/>
                <a:gd name="T71" fmla="*/ 3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0" h="73">
                  <a:moveTo>
                    <a:pt x="40" y="33"/>
                  </a:moveTo>
                  <a:cubicBezTo>
                    <a:pt x="40" y="31"/>
                    <a:pt x="31" y="28"/>
                    <a:pt x="32" y="26"/>
                  </a:cubicBezTo>
                  <a:cubicBezTo>
                    <a:pt x="33" y="23"/>
                    <a:pt x="38" y="25"/>
                    <a:pt x="38" y="22"/>
                  </a:cubicBezTo>
                  <a:cubicBezTo>
                    <a:pt x="38" y="20"/>
                    <a:pt x="36" y="20"/>
                    <a:pt x="35" y="16"/>
                  </a:cubicBezTo>
                  <a:cubicBezTo>
                    <a:pt x="35" y="12"/>
                    <a:pt x="31" y="13"/>
                    <a:pt x="30" y="15"/>
                  </a:cubicBezTo>
                  <a:cubicBezTo>
                    <a:pt x="28" y="16"/>
                    <a:pt x="23" y="13"/>
                    <a:pt x="23" y="11"/>
                  </a:cubicBezTo>
                  <a:cubicBezTo>
                    <a:pt x="23" y="8"/>
                    <a:pt x="19" y="7"/>
                    <a:pt x="19" y="5"/>
                  </a:cubicBezTo>
                  <a:cubicBezTo>
                    <a:pt x="19" y="4"/>
                    <a:pt x="17" y="2"/>
                    <a:pt x="16" y="1"/>
                  </a:cubicBezTo>
                  <a:cubicBezTo>
                    <a:pt x="15" y="1"/>
                    <a:pt x="13" y="1"/>
                    <a:pt x="13" y="1"/>
                  </a:cubicBezTo>
                  <a:cubicBezTo>
                    <a:pt x="12" y="0"/>
                    <a:pt x="11" y="4"/>
                    <a:pt x="12" y="5"/>
                  </a:cubicBezTo>
                  <a:cubicBezTo>
                    <a:pt x="13" y="6"/>
                    <a:pt x="14" y="12"/>
                    <a:pt x="11" y="11"/>
                  </a:cubicBezTo>
                  <a:cubicBezTo>
                    <a:pt x="9" y="11"/>
                    <a:pt x="9" y="7"/>
                    <a:pt x="7" y="7"/>
                  </a:cubicBezTo>
                  <a:cubicBezTo>
                    <a:pt x="7" y="7"/>
                    <a:pt x="3" y="12"/>
                    <a:pt x="3" y="14"/>
                  </a:cubicBezTo>
                  <a:cubicBezTo>
                    <a:pt x="3" y="15"/>
                    <a:pt x="1" y="16"/>
                    <a:pt x="0" y="16"/>
                  </a:cubicBezTo>
                  <a:cubicBezTo>
                    <a:pt x="1" y="17"/>
                    <a:pt x="2" y="18"/>
                    <a:pt x="2" y="18"/>
                  </a:cubicBezTo>
                  <a:cubicBezTo>
                    <a:pt x="3" y="19"/>
                    <a:pt x="1" y="22"/>
                    <a:pt x="2" y="24"/>
                  </a:cubicBezTo>
                  <a:cubicBezTo>
                    <a:pt x="4" y="27"/>
                    <a:pt x="7" y="23"/>
                    <a:pt x="8" y="26"/>
                  </a:cubicBezTo>
                  <a:cubicBezTo>
                    <a:pt x="9" y="30"/>
                    <a:pt x="7" y="31"/>
                    <a:pt x="7" y="35"/>
                  </a:cubicBezTo>
                  <a:cubicBezTo>
                    <a:pt x="7" y="38"/>
                    <a:pt x="5" y="38"/>
                    <a:pt x="5" y="41"/>
                  </a:cubicBezTo>
                  <a:cubicBezTo>
                    <a:pt x="6" y="44"/>
                    <a:pt x="10" y="40"/>
                    <a:pt x="12" y="38"/>
                  </a:cubicBezTo>
                  <a:cubicBezTo>
                    <a:pt x="15" y="36"/>
                    <a:pt x="17" y="37"/>
                    <a:pt x="18" y="38"/>
                  </a:cubicBezTo>
                  <a:cubicBezTo>
                    <a:pt x="19" y="39"/>
                    <a:pt x="23" y="38"/>
                    <a:pt x="23" y="37"/>
                  </a:cubicBezTo>
                  <a:cubicBezTo>
                    <a:pt x="24" y="35"/>
                    <a:pt x="29" y="34"/>
                    <a:pt x="31" y="36"/>
                  </a:cubicBezTo>
                  <a:cubicBezTo>
                    <a:pt x="33" y="38"/>
                    <a:pt x="34" y="41"/>
                    <a:pt x="37" y="42"/>
                  </a:cubicBezTo>
                  <a:cubicBezTo>
                    <a:pt x="39" y="43"/>
                    <a:pt x="35" y="51"/>
                    <a:pt x="38" y="52"/>
                  </a:cubicBezTo>
                  <a:cubicBezTo>
                    <a:pt x="40" y="52"/>
                    <a:pt x="43" y="56"/>
                    <a:pt x="43" y="60"/>
                  </a:cubicBezTo>
                  <a:cubicBezTo>
                    <a:pt x="43" y="64"/>
                    <a:pt x="45" y="66"/>
                    <a:pt x="42" y="69"/>
                  </a:cubicBezTo>
                  <a:cubicBezTo>
                    <a:pt x="44" y="70"/>
                    <a:pt x="46" y="70"/>
                    <a:pt x="45" y="72"/>
                  </a:cubicBezTo>
                  <a:cubicBezTo>
                    <a:pt x="45" y="73"/>
                    <a:pt x="48" y="72"/>
                    <a:pt x="48" y="70"/>
                  </a:cubicBezTo>
                  <a:cubicBezTo>
                    <a:pt x="48" y="67"/>
                    <a:pt x="52" y="67"/>
                    <a:pt x="53" y="68"/>
                  </a:cubicBezTo>
                  <a:cubicBezTo>
                    <a:pt x="55" y="68"/>
                    <a:pt x="57" y="68"/>
                    <a:pt x="59" y="67"/>
                  </a:cubicBezTo>
                  <a:cubicBezTo>
                    <a:pt x="59" y="65"/>
                    <a:pt x="59" y="64"/>
                    <a:pt x="59" y="63"/>
                  </a:cubicBezTo>
                  <a:cubicBezTo>
                    <a:pt x="60" y="60"/>
                    <a:pt x="59" y="57"/>
                    <a:pt x="58" y="55"/>
                  </a:cubicBezTo>
                  <a:cubicBezTo>
                    <a:pt x="56" y="54"/>
                    <a:pt x="52" y="52"/>
                    <a:pt x="51" y="49"/>
                  </a:cubicBezTo>
                  <a:cubicBezTo>
                    <a:pt x="50" y="46"/>
                    <a:pt x="45" y="43"/>
                    <a:pt x="44" y="40"/>
                  </a:cubicBezTo>
                  <a:cubicBezTo>
                    <a:pt x="43" y="38"/>
                    <a:pt x="40" y="35"/>
                    <a:pt x="40" y="33"/>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25" name="Freeform 68">
              <a:extLst>
                <a:ext uri="{FF2B5EF4-FFF2-40B4-BE49-F238E27FC236}">
                  <a16:creationId xmlns:a16="http://schemas.microsoft.com/office/drawing/2014/main" xmlns="" id="{280EECB7-7300-4704-8D7E-74BCB915E800}"/>
                </a:ext>
              </a:extLst>
            </p:cNvPr>
            <p:cNvSpPr>
              <a:spLocks/>
            </p:cNvSpPr>
            <p:nvPr/>
          </p:nvSpPr>
          <p:spPr bwMode="auto">
            <a:xfrm>
              <a:off x="18353309" y="3547141"/>
              <a:ext cx="168275" cy="322262"/>
            </a:xfrm>
            <a:custGeom>
              <a:avLst/>
              <a:gdLst>
                <a:gd name="T0" fmla="*/ 39 w 65"/>
                <a:gd name="T1" fmla="*/ 65 h 123"/>
                <a:gd name="T2" fmla="*/ 39 w 65"/>
                <a:gd name="T3" fmla="*/ 58 h 123"/>
                <a:gd name="T4" fmla="*/ 50 w 65"/>
                <a:gd name="T5" fmla="*/ 52 h 123"/>
                <a:gd name="T6" fmla="*/ 61 w 65"/>
                <a:gd name="T7" fmla="*/ 52 h 123"/>
                <a:gd name="T8" fmla="*/ 62 w 65"/>
                <a:gd name="T9" fmla="*/ 53 h 123"/>
                <a:gd name="T10" fmla="*/ 63 w 65"/>
                <a:gd name="T11" fmla="*/ 44 h 123"/>
                <a:gd name="T12" fmla="*/ 58 w 65"/>
                <a:gd name="T13" fmla="*/ 36 h 123"/>
                <a:gd name="T14" fmla="*/ 57 w 65"/>
                <a:gd name="T15" fmla="*/ 26 h 123"/>
                <a:gd name="T16" fmla="*/ 51 w 65"/>
                <a:gd name="T17" fmla="*/ 20 h 123"/>
                <a:gd name="T18" fmla="*/ 43 w 65"/>
                <a:gd name="T19" fmla="*/ 21 h 123"/>
                <a:gd name="T20" fmla="*/ 38 w 65"/>
                <a:gd name="T21" fmla="*/ 22 h 123"/>
                <a:gd name="T22" fmla="*/ 32 w 65"/>
                <a:gd name="T23" fmla="*/ 22 h 123"/>
                <a:gd name="T24" fmla="*/ 25 w 65"/>
                <a:gd name="T25" fmla="*/ 25 h 123"/>
                <a:gd name="T26" fmla="*/ 27 w 65"/>
                <a:gd name="T27" fmla="*/ 19 h 123"/>
                <a:gd name="T28" fmla="*/ 28 w 65"/>
                <a:gd name="T29" fmla="*/ 10 h 123"/>
                <a:gd name="T30" fmla="*/ 22 w 65"/>
                <a:gd name="T31" fmla="*/ 8 h 123"/>
                <a:gd name="T32" fmla="*/ 22 w 65"/>
                <a:gd name="T33" fmla="*/ 2 h 123"/>
                <a:gd name="T34" fmla="*/ 20 w 65"/>
                <a:gd name="T35" fmla="*/ 0 h 123"/>
                <a:gd name="T36" fmla="*/ 19 w 65"/>
                <a:gd name="T37" fmla="*/ 2 h 123"/>
                <a:gd name="T38" fmla="*/ 12 w 65"/>
                <a:gd name="T39" fmla="*/ 6 h 123"/>
                <a:gd name="T40" fmla="*/ 6 w 65"/>
                <a:gd name="T41" fmla="*/ 8 h 123"/>
                <a:gd name="T42" fmla="*/ 1 w 65"/>
                <a:gd name="T43" fmla="*/ 10 h 123"/>
                <a:gd name="T44" fmla="*/ 0 w 65"/>
                <a:gd name="T45" fmla="*/ 23 h 123"/>
                <a:gd name="T46" fmla="*/ 6 w 65"/>
                <a:gd name="T47" fmla="*/ 30 h 123"/>
                <a:gd name="T48" fmla="*/ 7 w 65"/>
                <a:gd name="T49" fmla="*/ 36 h 123"/>
                <a:gd name="T50" fmla="*/ 7 w 65"/>
                <a:gd name="T51" fmla="*/ 39 h 123"/>
                <a:gd name="T52" fmla="*/ 6 w 65"/>
                <a:gd name="T53" fmla="*/ 45 h 123"/>
                <a:gd name="T54" fmla="*/ 8 w 65"/>
                <a:gd name="T55" fmla="*/ 54 h 123"/>
                <a:gd name="T56" fmla="*/ 12 w 65"/>
                <a:gd name="T57" fmla="*/ 64 h 123"/>
                <a:gd name="T58" fmla="*/ 14 w 65"/>
                <a:gd name="T59" fmla="*/ 70 h 123"/>
                <a:gd name="T60" fmla="*/ 7 w 65"/>
                <a:gd name="T61" fmla="*/ 83 h 123"/>
                <a:gd name="T62" fmla="*/ 5 w 65"/>
                <a:gd name="T63" fmla="*/ 95 h 123"/>
                <a:gd name="T64" fmla="*/ 5 w 65"/>
                <a:gd name="T65" fmla="*/ 102 h 123"/>
                <a:gd name="T66" fmla="*/ 16 w 65"/>
                <a:gd name="T67" fmla="*/ 112 h 123"/>
                <a:gd name="T68" fmla="*/ 18 w 65"/>
                <a:gd name="T69" fmla="*/ 116 h 123"/>
                <a:gd name="T70" fmla="*/ 23 w 65"/>
                <a:gd name="T71" fmla="*/ 116 h 123"/>
                <a:gd name="T72" fmla="*/ 27 w 65"/>
                <a:gd name="T73" fmla="*/ 121 h 123"/>
                <a:gd name="T74" fmla="*/ 33 w 65"/>
                <a:gd name="T75" fmla="*/ 122 h 123"/>
                <a:gd name="T76" fmla="*/ 36 w 65"/>
                <a:gd name="T77" fmla="*/ 119 h 123"/>
                <a:gd name="T78" fmla="*/ 27 w 65"/>
                <a:gd name="T79" fmla="*/ 113 h 123"/>
                <a:gd name="T80" fmla="*/ 21 w 65"/>
                <a:gd name="T81" fmla="*/ 104 h 123"/>
                <a:gd name="T82" fmla="*/ 18 w 65"/>
                <a:gd name="T83" fmla="*/ 97 h 123"/>
                <a:gd name="T84" fmla="*/ 13 w 65"/>
                <a:gd name="T85" fmla="*/ 93 h 123"/>
                <a:gd name="T86" fmla="*/ 14 w 65"/>
                <a:gd name="T87" fmla="*/ 80 h 123"/>
                <a:gd name="T88" fmla="*/ 18 w 65"/>
                <a:gd name="T89" fmla="*/ 64 h 123"/>
                <a:gd name="T90" fmla="*/ 25 w 65"/>
                <a:gd name="T91" fmla="*/ 62 h 123"/>
                <a:gd name="T92" fmla="*/ 31 w 65"/>
                <a:gd name="T93" fmla="*/ 66 h 123"/>
                <a:gd name="T94" fmla="*/ 40 w 65"/>
                <a:gd name="T95" fmla="*/ 71 h 123"/>
                <a:gd name="T96" fmla="*/ 40 w 65"/>
                <a:gd name="T97" fmla="*/ 71 h 123"/>
                <a:gd name="T98" fmla="*/ 40 w 65"/>
                <a:gd name="T99" fmla="*/ 71 h 123"/>
                <a:gd name="T100" fmla="*/ 39 w 65"/>
                <a:gd name="T101" fmla="*/ 65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5" h="123">
                  <a:moveTo>
                    <a:pt x="39" y="65"/>
                  </a:moveTo>
                  <a:cubicBezTo>
                    <a:pt x="39" y="61"/>
                    <a:pt x="36" y="61"/>
                    <a:pt x="39" y="58"/>
                  </a:cubicBezTo>
                  <a:cubicBezTo>
                    <a:pt x="42" y="54"/>
                    <a:pt x="47" y="51"/>
                    <a:pt x="50" y="52"/>
                  </a:cubicBezTo>
                  <a:cubicBezTo>
                    <a:pt x="53" y="53"/>
                    <a:pt x="59" y="50"/>
                    <a:pt x="61" y="52"/>
                  </a:cubicBezTo>
                  <a:cubicBezTo>
                    <a:pt x="61" y="53"/>
                    <a:pt x="62" y="53"/>
                    <a:pt x="62" y="53"/>
                  </a:cubicBezTo>
                  <a:cubicBezTo>
                    <a:pt x="65" y="50"/>
                    <a:pt x="63" y="48"/>
                    <a:pt x="63" y="44"/>
                  </a:cubicBezTo>
                  <a:cubicBezTo>
                    <a:pt x="63" y="40"/>
                    <a:pt x="60" y="36"/>
                    <a:pt x="58" y="36"/>
                  </a:cubicBezTo>
                  <a:cubicBezTo>
                    <a:pt x="55" y="35"/>
                    <a:pt x="59" y="27"/>
                    <a:pt x="57" y="26"/>
                  </a:cubicBezTo>
                  <a:cubicBezTo>
                    <a:pt x="54" y="25"/>
                    <a:pt x="53" y="22"/>
                    <a:pt x="51" y="20"/>
                  </a:cubicBezTo>
                  <a:cubicBezTo>
                    <a:pt x="49" y="18"/>
                    <a:pt x="44" y="19"/>
                    <a:pt x="43" y="21"/>
                  </a:cubicBezTo>
                  <a:cubicBezTo>
                    <a:pt x="43" y="22"/>
                    <a:pt x="39" y="23"/>
                    <a:pt x="38" y="22"/>
                  </a:cubicBezTo>
                  <a:cubicBezTo>
                    <a:pt x="37" y="21"/>
                    <a:pt x="35" y="20"/>
                    <a:pt x="32" y="22"/>
                  </a:cubicBezTo>
                  <a:cubicBezTo>
                    <a:pt x="30" y="24"/>
                    <a:pt x="26" y="28"/>
                    <a:pt x="25" y="25"/>
                  </a:cubicBezTo>
                  <a:cubicBezTo>
                    <a:pt x="25" y="22"/>
                    <a:pt x="27" y="22"/>
                    <a:pt x="27" y="19"/>
                  </a:cubicBezTo>
                  <a:cubicBezTo>
                    <a:pt x="27" y="15"/>
                    <a:pt x="29" y="14"/>
                    <a:pt x="28" y="10"/>
                  </a:cubicBezTo>
                  <a:cubicBezTo>
                    <a:pt x="27" y="7"/>
                    <a:pt x="24" y="11"/>
                    <a:pt x="22" y="8"/>
                  </a:cubicBezTo>
                  <a:cubicBezTo>
                    <a:pt x="21" y="6"/>
                    <a:pt x="23" y="3"/>
                    <a:pt x="22" y="2"/>
                  </a:cubicBezTo>
                  <a:cubicBezTo>
                    <a:pt x="22" y="2"/>
                    <a:pt x="21" y="1"/>
                    <a:pt x="20" y="0"/>
                  </a:cubicBezTo>
                  <a:cubicBezTo>
                    <a:pt x="20" y="1"/>
                    <a:pt x="19" y="1"/>
                    <a:pt x="19" y="2"/>
                  </a:cubicBezTo>
                  <a:cubicBezTo>
                    <a:pt x="18" y="3"/>
                    <a:pt x="13" y="4"/>
                    <a:pt x="12" y="6"/>
                  </a:cubicBezTo>
                  <a:cubicBezTo>
                    <a:pt x="10" y="8"/>
                    <a:pt x="7" y="8"/>
                    <a:pt x="6" y="8"/>
                  </a:cubicBezTo>
                  <a:cubicBezTo>
                    <a:pt x="5" y="8"/>
                    <a:pt x="1" y="8"/>
                    <a:pt x="1" y="10"/>
                  </a:cubicBezTo>
                  <a:cubicBezTo>
                    <a:pt x="1" y="12"/>
                    <a:pt x="0" y="21"/>
                    <a:pt x="0" y="23"/>
                  </a:cubicBezTo>
                  <a:cubicBezTo>
                    <a:pt x="0" y="24"/>
                    <a:pt x="4" y="30"/>
                    <a:pt x="6" y="30"/>
                  </a:cubicBezTo>
                  <a:cubicBezTo>
                    <a:pt x="7" y="31"/>
                    <a:pt x="5" y="35"/>
                    <a:pt x="7" y="36"/>
                  </a:cubicBezTo>
                  <a:cubicBezTo>
                    <a:pt x="9" y="37"/>
                    <a:pt x="8" y="40"/>
                    <a:pt x="7" y="39"/>
                  </a:cubicBezTo>
                  <a:cubicBezTo>
                    <a:pt x="6" y="39"/>
                    <a:pt x="7" y="44"/>
                    <a:pt x="6" y="45"/>
                  </a:cubicBezTo>
                  <a:cubicBezTo>
                    <a:pt x="4" y="47"/>
                    <a:pt x="5" y="51"/>
                    <a:pt x="8" y="54"/>
                  </a:cubicBezTo>
                  <a:cubicBezTo>
                    <a:pt x="12" y="57"/>
                    <a:pt x="12" y="61"/>
                    <a:pt x="12" y="64"/>
                  </a:cubicBezTo>
                  <a:cubicBezTo>
                    <a:pt x="12" y="66"/>
                    <a:pt x="14" y="66"/>
                    <a:pt x="14" y="70"/>
                  </a:cubicBezTo>
                  <a:cubicBezTo>
                    <a:pt x="14" y="70"/>
                    <a:pt x="10" y="83"/>
                    <a:pt x="7" y="83"/>
                  </a:cubicBezTo>
                  <a:cubicBezTo>
                    <a:pt x="7" y="86"/>
                    <a:pt x="6" y="92"/>
                    <a:pt x="5" y="95"/>
                  </a:cubicBezTo>
                  <a:cubicBezTo>
                    <a:pt x="4" y="98"/>
                    <a:pt x="3" y="102"/>
                    <a:pt x="5" y="102"/>
                  </a:cubicBezTo>
                  <a:cubicBezTo>
                    <a:pt x="8" y="102"/>
                    <a:pt x="12" y="107"/>
                    <a:pt x="16" y="112"/>
                  </a:cubicBezTo>
                  <a:cubicBezTo>
                    <a:pt x="17" y="113"/>
                    <a:pt x="18" y="115"/>
                    <a:pt x="18" y="116"/>
                  </a:cubicBezTo>
                  <a:cubicBezTo>
                    <a:pt x="20" y="116"/>
                    <a:pt x="22" y="116"/>
                    <a:pt x="23" y="116"/>
                  </a:cubicBezTo>
                  <a:cubicBezTo>
                    <a:pt x="26" y="117"/>
                    <a:pt x="27" y="120"/>
                    <a:pt x="27" y="121"/>
                  </a:cubicBezTo>
                  <a:cubicBezTo>
                    <a:pt x="27" y="123"/>
                    <a:pt x="32" y="122"/>
                    <a:pt x="33" y="122"/>
                  </a:cubicBezTo>
                  <a:cubicBezTo>
                    <a:pt x="34" y="122"/>
                    <a:pt x="33" y="120"/>
                    <a:pt x="36" y="119"/>
                  </a:cubicBezTo>
                  <a:cubicBezTo>
                    <a:pt x="34" y="116"/>
                    <a:pt x="30" y="114"/>
                    <a:pt x="27" y="113"/>
                  </a:cubicBezTo>
                  <a:cubicBezTo>
                    <a:pt x="23" y="113"/>
                    <a:pt x="21" y="107"/>
                    <a:pt x="21" y="104"/>
                  </a:cubicBezTo>
                  <a:cubicBezTo>
                    <a:pt x="21" y="101"/>
                    <a:pt x="18" y="99"/>
                    <a:pt x="18" y="97"/>
                  </a:cubicBezTo>
                  <a:cubicBezTo>
                    <a:pt x="18" y="94"/>
                    <a:pt x="16" y="94"/>
                    <a:pt x="13" y="93"/>
                  </a:cubicBezTo>
                  <a:cubicBezTo>
                    <a:pt x="10" y="92"/>
                    <a:pt x="14" y="83"/>
                    <a:pt x="14" y="80"/>
                  </a:cubicBezTo>
                  <a:cubicBezTo>
                    <a:pt x="14" y="77"/>
                    <a:pt x="20" y="67"/>
                    <a:pt x="18" y="64"/>
                  </a:cubicBezTo>
                  <a:cubicBezTo>
                    <a:pt x="17" y="61"/>
                    <a:pt x="24" y="58"/>
                    <a:pt x="25" y="62"/>
                  </a:cubicBezTo>
                  <a:cubicBezTo>
                    <a:pt x="26" y="65"/>
                    <a:pt x="26" y="67"/>
                    <a:pt x="31" y="66"/>
                  </a:cubicBezTo>
                  <a:cubicBezTo>
                    <a:pt x="36" y="66"/>
                    <a:pt x="36" y="70"/>
                    <a:pt x="40" y="71"/>
                  </a:cubicBezTo>
                  <a:cubicBezTo>
                    <a:pt x="40" y="71"/>
                    <a:pt x="40" y="71"/>
                    <a:pt x="40" y="71"/>
                  </a:cubicBezTo>
                  <a:cubicBezTo>
                    <a:pt x="40" y="71"/>
                    <a:pt x="40" y="71"/>
                    <a:pt x="40" y="71"/>
                  </a:cubicBezTo>
                  <a:cubicBezTo>
                    <a:pt x="41" y="68"/>
                    <a:pt x="39" y="68"/>
                    <a:pt x="39" y="65"/>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26" name="Freeform 69">
              <a:extLst>
                <a:ext uri="{FF2B5EF4-FFF2-40B4-BE49-F238E27FC236}">
                  <a16:creationId xmlns:a16="http://schemas.microsoft.com/office/drawing/2014/main" xmlns="" id="{FBD51A84-7459-4723-9C16-7FB7F740BE49}"/>
                </a:ext>
              </a:extLst>
            </p:cNvPr>
            <p:cNvSpPr>
              <a:spLocks/>
            </p:cNvSpPr>
            <p:nvPr/>
          </p:nvSpPr>
          <p:spPr bwMode="auto">
            <a:xfrm>
              <a:off x="16629284" y="2685129"/>
              <a:ext cx="203200" cy="166687"/>
            </a:xfrm>
            <a:custGeom>
              <a:avLst/>
              <a:gdLst>
                <a:gd name="T0" fmla="*/ 2 w 78"/>
                <a:gd name="T1" fmla="*/ 14 h 64"/>
                <a:gd name="T2" fmla="*/ 2 w 78"/>
                <a:gd name="T3" fmla="*/ 22 h 64"/>
                <a:gd name="T4" fmla="*/ 2 w 78"/>
                <a:gd name="T5" fmla="*/ 25 h 64"/>
                <a:gd name="T6" fmla="*/ 4 w 78"/>
                <a:gd name="T7" fmla="*/ 29 h 64"/>
                <a:gd name="T8" fmla="*/ 5 w 78"/>
                <a:gd name="T9" fmla="*/ 33 h 64"/>
                <a:gd name="T10" fmla="*/ 7 w 78"/>
                <a:gd name="T11" fmla="*/ 40 h 64"/>
                <a:gd name="T12" fmla="*/ 7 w 78"/>
                <a:gd name="T13" fmla="*/ 44 h 64"/>
                <a:gd name="T14" fmla="*/ 12 w 78"/>
                <a:gd name="T15" fmla="*/ 46 h 64"/>
                <a:gd name="T16" fmla="*/ 17 w 78"/>
                <a:gd name="T17" fmla="*/ 50 h 64"/>
                <a:gd name="T18" fmla="*/ 21 w 78"/>
                <a:gd name="T19" fmla="*/ 52 h 64"/>
                <a:gd name="T20" fmla="*/ 26 w 78"/>
                <a:gd name="T21" fmla="*/ 51 h 64"/>
                <a:gd name="T22" fmla="*/ 28 w 78"/>
                <a:gd name="T23" fmla="*/ 54 h 64"/>
                <a:gd name="T24" fmla="*/ 33 w 78"/>
                <a:gd name="T25" fmla="*/ 55 h 64"/>
                <a:gd name="T26" fmla="*/ 37 w 78"/>
                <a:gd name="T27" fmla="*/ 60 h 64"/>
                <a:gd name="T28" fmla="*/ 42 w 78"/>
                <a:gd name="T29" fmla="*/ 59 h 64"/>
                <a:gd name="T30" fmla="*/ 49 w 78"/>
                <a:gd name="T31" fmla="*/ 60 h 64"/>
                <a:gd name="T32" fmla="*/ 55 w 78"/>
                <a:gd name="T33" fmla="*/ 61 h 64"/>
                <a:gd name="T34" fmla="*/ 62 w 78"/>
                <a:gd name="T35" fmla="*/ 62 h 64"/>
                <a:gd name="T36" fmla="*/ 66 w 78"/>
                <a:gd name="T37" fmla="*/ 64 h 64"/>
                <a:gd name="T38" fmla="*/ 66 w 78"/>
                <a:gd name="T39" fmla="*/ 58 h 64"/>
                <a:gd name="T40" fmla="*/ 74 w 78"/>
                <a:gd name="T41" fmla="*/ 51 h 64"/>
                <a:gd name="T42" fmla="*/ 77 w 78"/>
                <a:gd name="T43" fmla="*/ 48 h 64"/>
                <a:gd name="T44" fmla="*/ 74 w 78"/>
                <a:gd name="T45" fmla="*/ 40 h 64"/>
                <a:gd name="T46" fmla="*/ 73 w 78"/>
                <a:gd name="T47" fmla="*/ 33 h 64"/>
                <a:gd name="T48" fmla="*/ 71 w 78"/>
                <a:gd name="T49" fmla="*/ 29 h 64"/>
                <a:gd name="T50" fmla="*/ 75 w 78"/>
                <a:gd name="T51" fmla="*/ 25 h 64"/>
                <a:gd name="T52" fmla="*/ 75 w 78"/>
                <a:gd name="T53" fmla="*/ 18 h 64"/>
                <a:gd name="T54" fmla="*/ 74 w 78"/>
                <a:gd name="T55" fmla="*/ 12 h 64"/>
                <a:gd name="T56" fmla="*/ 68 w 78"/>
                <a:gd name="T57" fmla="*/ 7 h 64"/>
                <a:gd name="T58" fmla="*/ 67 w 78"/>
                <a:gd name="T59" fmla="*/ 7 h 64"/>
                <a:gd name="T60" fmla="*/ 46 w 78"/>
                <a:gd name="T61" fmla="*/ 6 h 64"/>
                <a:gd name="T62" fmla="*/ 42 w 78"/>
                <a:gd name="T63" fmla="*/ 4 h 64"/>
                <a:gd name="T64" fmla="*/ 38 w 78"/>
                <a:gd name="T65" fmla="*/ 7 h 64"/>
                <a:gd name="T66" fmla="*/ 34 w 78"/>
                <a:gd name="T67" fmla="*/ 2 h 64"/>
                <a:gd name="T68" fmla="*/ 17 w 78"/>
                <a:gd name="T69" fmla="*/ 7 h 64"/>
                <a:gd name="T70" fmla="*/ 4 w 78"/>
                <a:gd name="T71" fmla="*/ 11 h 64"/>
                <a:gd name="T72" fmla="*/ 2 w 78"/>
                <a:gd name="T73" fmla="*/ 13 h 64"/>
                <a:gd name="T74" fmla="*/ 2 w 78"/>
                <a:gd name="T75" fmla="*/ 1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8" h="64">
                  <a:moveTo>
                    <a:pt x="2" y="14"/>
                  </a:moveTo>
                  <a:cubicBezTo>
                    <a:pt x="2" y="15"/>
                    <a:pt x="3" y="20"/>
                    <a:pt x="2" y="22"/>
                  </a:cubicBezTo>
                  <a:cubicBezTo>
                    <a:pt x="0" y="24"/>
                    <a:pt x="1" y="25"/>
                    <a:pt x="2" y="25"/>
                  </a:cubicBezTo>
                  <a:cubicBezTo>
                    <a:pt x="3" y="26"/>
                    <a:pt x="4" y="28"/>
                    <a:pt x="4" y="29"/>
                  </a:cubicBezTo>
                  <a:cubicBezTo>
                    <a:pt x="4" y="31"/>
                    <a:pt x="5" y="30"/>
                    <a:pt x="5" y="33"/>
                  </a:cubicBezTo>
                  <a:cubicBezTo>
                    <a:pt x="5" y="37"/>
                    <a:pt x="6" y="39"/>
                    <a:pt x="7" y="40"/>
                  </a:cubicBezTo>
                  <a:cubicBezTo>
                    <a:pt x="8" y="41"/>
                    <a:pt x="8" y="42"/>
                    <a:pt x="7" y="44"/>
                  </a:cubicBezTo>
                  <a:cubicBezTo>
                    <a:pt x="9" y="45"/>
                    <a:pt x="10" y="46"/>
                    <a:pt x="12" y="46"/>
                  </a:cubicBezTo>
                  <a:cubicBezTo>
                    <a:pt x="16" y="48"/>
                    <a:pt x="17" y="49"/>
                    <a:pt x="17" y="50"/>
                  </a:cubicBezTo>
                  <a:cubicBezTo>
                    <a:pt x="17" y="51"/>
                    <a:pt x="21" y="54"/>
                    <a:pt x="21" y="52"/>
                  </a:cubicBezTo>
                  <a:cubicBezTo>
                    <a:pt x="22" y="50"/>
                    <a:pt x="24" y="51"/>
                    <a:pt x="26" y="51"/>
                  </a:cubicBezTo>
                  <a:cubicBezTo>
                    <a:pt x="28" y="51"/>
                    <a:pt x="28" y="53"/>
                    <a:pt x="28" y="54"/>
                  </a:cubicBezTo>
                  <a:cubicBezTo>
                    <a:pt x="28" y="55"/>
                    <a:pt x="32" y="54"/>
                    <a:pt x="33" y="55"/>
                  </a:cubicBezTo>
                  <a:cubicBezTo>
                    <a:pt x="35" y="56"/>
                    <a:pt x="35" y="59"/>
                    <a:pt x="37" y="60"/>
                  </a:cubicBezTo>
                  <a:cubicBezTo>
                    <a:pt x="39" y="61"/>
                    <a:pt x="41" y="59"/>
                    <a:pt x="42" y="59"/>
                  </a:cubicBezTo>
                  <a:cubicBezTo>
                    <a:pt x="43" y="60"/>
                    <a:pt x="47" y="61"/>
                    <a:pt x="49" y="60"/>
                  </a:cubicBezTo>
                  <a:cubicBezTo>
                    <a:pt x="51" y="59"/>
                    <a:pt x="52" y="61"/>
                    <a:pt x="55" y="61"/>
                  </a:cubicBezTo>
                  <a:cubicBezTo>
                    <a:pt x="58" y="61"/>
                    <a:pt x="61" y="62"/>
                    <a:pt x="62" y="62"/>
                  </a:cubicBezTo>
                  <a:cubicBezTo>
                    <a:pt x="62" y="63"/>
                    <a:pt x="64" y="63"/>
                    <a:pt x="66" y="64"/>
                  </a:cubicBezTo>
                  <a:cubicBezTo>
                    <a:pt x="67" y="62"/>
                    <a:pt x="66" y="59"/>
                    <a:pt x="66" y="58"/>
                  </a:cubicBezTo>
                  <a:cubicBezTo>
                    <a:pt x="66" y="57"/>
                    <a:pt x="73" y="52"/>
                    <a:pt x="74" y="51"/>
                  </a:cubicBezTo>
                  <a:cubicBezTo>
                    <a:pt x="75" y="49"/>
                    <a:pt x="76" y="49"/>
                    <a:pt x="77" y="48"/>
                  </a:cubicBezTo>
                  <a:cubicBezTo>
                    <a:pt x="78" y="46"/>
                    <a:pt x="75" y="41"/>
                    <a:pt x="74" y="40"/>
                  </a:cubicBezTo>
                  <a:cubicBezTo>
                    <a:pt x="73" y="39"/>
                    <a:pt x="73" y="35"/>
                    <a:pt x="73" y="33"/>
                  </a:cubicBezTo>
                  <a:cubicBezTo>
                    <a:pt x="74" y="31"/>
                    <a:pt x="71" y="30"/>
                    <a:pt x="71" y="29"/>
                  </a:cubicBezTo>
                  <a:cubicBezTo>
                    <a:pt x="71" y="27"/>
                    <a:pt x="74" y="25"/>
                    <a:pt x="75" y="25"/>
                  </a:cubicBezTo>
                  <a:cubicBezTo>
                    <a:pt x="77" y="24"/>
                    <a:pt x="76" y="19"/>
                    <a:pt x="75" y="18"/>
                  </a:cubicBezTo>
                  <a:cubicBezTo>
                    <a:pt x="74" y="16"/>
                    <a:pt x="73" y="14"/>
                    <a:pt x="74" y="12"/>
                  </a:cubicBezTo>
                  <a:cubicBezTo>
                    <a:pt x="75" y="9"/>
                    <a:pt x="68" y="7"/>
                    <a:pt x="68" y="7"/>
                  </a:cubicBezTo>
                  <a:cubicBezTo>
                    <a:pt x="67" y="7"/>
                    <a:pt x="67" y="7"/>
                    <a:pt x="67" y="7"/>
                  </a:cubicBezTo>
                  <a:cubicBezTo>
                    <a:pt x="62" y="8"/>
                    <a:pt x="47" y="6"/>
                    <a:pt x="46" y="6"/>
                  </a:cubicBezTo>
                  <a:cubicBezTo>
                    <a:pt x="46" y="6"/>
                    <a:pt x="44" y="5"/>
                    <a:pt x="42" y="4"/>
                  </a:cubicBezTo>
                  <a:cubicBezTo>
                    <a:pt x="42" y="6"/>
                    <a:pt x="40" y="7"/>
                    <a:pt x="38" y="7"/>
                  </a:cubicBezTo>
                  <a:cubicBezTo>
                    <a:pt x="34" y="7"/>
                    <a:pt x="34" y="3"/>
                    <a:pt x="34" y="2"/>
                  </a:cubicBezTo>
                  <a:cubicBezTo>
                    <a:pt x="34" y="0"/>
                    <a:pt x="20" y="3"/>
                    <a:pt x="17" y="7"/>
                  </a:cubicBezTo>
                  <a:cubicBezTo>
                    <a:pt x="13" y="10"/>
                    <a:pt x="4" y="9"/>
                    <a:pt x="4" y="11"/>
                  </a:cubicBezTo>
                  <a:cubicBezTo>
                    <a:pt x="4" y="12"/>
                    <a:pt x="3" y="13"/>
                    <a:pt x="2" y="13"/>
                  </a:cubicBezTo>
                  <a:cubicBezTo>
                    <a:pt x="2" y="13"/>
                    <a:pt x="2" y="13"/>
                    <a:pt x="2" y="14"/>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27" name="Freeform 70">
              <a:extLst>
                <a:ext uri="{FF2B5EF4-FFF2-40B4-BE49-F238E27FC236}">
                  <a16:creationId xmlns:a16="http://schemas.microsoft.com/office/drawing/2014/main" xmlns="" id="{32AE68EE-A93E-498A-B381-8E614591F2C6}"/>
                </a:ext>
              </a:extLst>
            </p:cNvPr>
            <p:cNvSpPr>
              <a:spLocks/>
            </p:cNvSpPr>
            <p:nvPr/>
          </p:nvSpPr>
          <p:spPr bwMode="auto">
            <a:xfrm>
              <a:off x="16659447" y="2955004"/>
              <a:ext cx="76200" cy="73025"/>
            </a:xfrm>
            <a:custGeom>
              <a:avLst/>
              <a:gdLst>
                <a:gd name="T0" fmla="*/ 21 w 29"/>
                <a:gd name="T1" fmla="*/ 25 h 28"/>
                <a:gd name="T2" fmla="*/ 27 w 29"/>
                <a:gd name="T3" fmla="*/ 16 h 28"/>
                <a:gd name="T4" fmla="*/ 28 w 29"/>
                <a:gd name="T5" fmla="*/ 6 h 28"/>
                <a:gd name="T6" fmla="*/ 21 w 29"/>
                <a:gd name="T7" fmla="*/ 2 h 28"/>
                <a:gd name="T8" fmla="*/ 9 w 29"/>
                <a:gd name="T9" fmla="*/ 1 h 28"/>
                <a:gd name="T10" fmla="*/ 4 w 29"/>
                <a:gd name="T11" fmla="*/ 2 h 28"/>
                <a:gd name="T12" fmla="*/ 0 w 29"/>
                <a:gd name="T13" fmla="*/ 4 h 28"/>
                <a:gd name="T14" fmla="*/ 4 w 29"/>
                <a:gd name="T15" fmla="*/ 10 h 28"/>
                <a:gd name="T16" fmla="*/ 10 w 29"/>
                <a:gd name="T17" fmla="*/ 18 h 28"/>
                <a:gd name="T18" fmla="*/ 17 w 29"/>
                <a:gd name="T19" fmla="*/ 25 h 28"/>
                <a:gd name="T20" fmla="*/ 21 w 29"/>
                <a:gd name="T21" fmla="*/ 28 h 28"/>
                <a:gd name="T22" fmla="*/ 21 w 29"/>
                <a:gd name="T23"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28">
                  <a:moveTo>
                    <a:pt x="21" y="25"/>
                  </a:moveTo>
                  <a:cubicBezTo>
                    <a:pt x="21" y="24"/>
                    <a:pt x="26" y="16"/>
                    <a:pt x="27" y="16"/>
                  </a:cubicBezTo>
                  <a:cubicBezTo>
                    <a:pt x="28" y="16"/>
                    <a:pt x="29" y="9"/>
                    <a:pt x="28" y="6"/>
                  </a:cubicBezTo>
                  <a:cubicBezTo>
                    <a:pt x="24" y="3"/>
                    <a:pt x="21" y="2"/>
                    <a:pt x="21" y="2"/>
                  </a:cubicBezTo>
                  <a:cubicBezTo>
                    <a:pt x="21" y="2"/>
                    <a:pt x="10" y="2"/>
                    <a:pt x="9" y="1"/>
                  </a:cubicBezTo>
                  <a:cubicBezTo>
                    <a:pt x="7" y="0"/>
                    <a:pt x="5" y="3"/>
                    <a:pt x="4" y="2"/>
                  </a:cubicBezTo>
                  <a:cubicBezTo>
                    <a:pt x="2" y="1"/>
                    <a:pt x="0" y="2"/>
                    <a:pt x="0" y="4"/>
                  </a:cubicBezTo>
                  <a:cubicBezTo>
                    <a:pt x="0" y="6"/>
                    <a:pt x="4" y="7"/>
                    <a:pt x="4" y="10"/>
                  </a:cubicBezTo>
                  <a:cubicBezTo>
                    <a:pt x="4" y="12"/>
                    <a:pt x="10" y="16"/>
                    <a:pt x="10" y="18"/>
                  </a:cubicBezTo>
                  <a:cubicBezTo>
                    <a:pt x="10" y="19"/>
                    <a:pt x="14" y="21"/>
                    <a:pt x="17" y="25"/>
                  </a:cubicBezTo>
                  <a:cubicBezTo>
                    <a:pt x="18" y="26"/>
                    <a:pt x="20" y="27"/>
                    <a:pt x="21" y="28"/>
                  </a:cubicBezTo>
                  <a:cubicBezTo>
                    <a:pt x="21" y="27"/>
                    <a:pt x="21" y="26"/>
                    <a:pt x="21" y="25"/>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28" name="Freeform 71">
              <a:extLst>
                <a:ext uri="{FF2B5EF4-FFF2-40B4-BE49-F238E27FC236}">
                  <a16:creationId xmlns:a16="http://schemas.microsoft.com/office/drawing/2014/main" xmlns="" id="{E8E0B818-5C64-41A4-9C32-39DA25C4FA4C}"/>
                </a:ext>
              </a:extLst>
            </p:cNvPr>
            <p:cNvSpPr>
              <a:spLocks/>
            </p:cNvSpPr>
            <p:nvPr/>
          </p:nvSpPr>
          <p:spPr bwMode="auto">
            <a:xfrm>
              <a:off x="16621347" y="2920079"/>
              <a:ext cx="111125" cy="100012"/>
            </a:xfrm>
            <a:custGeom>
              <a:avLst/>
              <a:gdLst>
                <a:gd name="T0" fmla="*/ 25 w 43"/>
                <a:gd name="T1" fmla="*/ 31 h 38"/>
                <a:gd name="T2" fmla="*/ 19 w 43"/>
                <a:gd name="T3" fmla="*/ 23 h 38"/>
                <a:gd name="T4" fmla="*/ 15 w 43"/>
                <a:gd name="T5" fmla="*/ 17 h 38"/>
                <a:gd name="T6" fmla="*/ 19 w 43"/>
                <a:gd name="T7" fmla="*/ 15 h 38"/>
                <a:gd name="T8" fmla="*/ 24 w 43"/>
                <a:gd name="T9" fmla="*/ 14 h 38"/>
                <a:gd name="T10" fmla="*/ 36 w 43"/>
                <a:gd name="T11" fmla="*/ 15 h 38"/>
                <a:gd name="T12" fmla="*/ 43 w 43"/>
                <a:gd name="T13" fmla="*/ 19 h 38"/>
                <a:gd name="T14" fmla="*/ 43 w 43"/>
                <a:gd name="T15" fmla="*/ 17 h 38"/>
                <a:gd name="T16" fmla="*/ 40 w 43"/>
                <a:gd name="T17" fmla="*/ 11 h 38"/>
                <a:gd name="T18" fmla="*/ 38 w 43"/>
                <a:gd name="T19" fmla="*/ 6 h 38"/>
                <a:gd name="T20" fmla="*/ 36 w 43"/>
                <a:gd name="T21" fmla="*/ 7 h 38"/>
                <a:gd name="T22" fmla="*/ 27 w 43"/>
                <a:gd name="T23" fmla="*/ 5 h 38"/>
                <a:gd name="T24" fmla="*/ 21 w 43"/>
                <a:gd name="T25" fmla="*/ 0 h 38"/>
                <a:gd name="T26" fmla="*/ 16 w 43"/>
                <a:gd name="T27" fmla="*/ 4 h 38"/>
                <a:gd name="T28" fmla="*/ 14 w 43"/>
                <a:gd name="T29" fmla="*/ 8 h 38"/>
                <a:gd name="T30" fmla="*/ 11 w 43"/>
                <a:gd name="T31" fmla="*/ 11 h 38"/>
                <a:gd name="T32" fmla="*/ 6 w 43"/>
                <a:gd name="T33" fmla="*/ 11 h 38"/>
                <a:gd name="T34" fmla="*/ 0 w 43"/>
                <a:gd name="T35" fmla="*/ 12 h 38"/>
                <a:gd name="T36" fmla="*/ 2 w 43"/>
                <a:gd name="T37" fmla="*/ 15 h 38"/>
                <a:gd name="T38" fmla="*/ 8 w 43"/>
                <a:gd name="T39" fmla="*/ 18 h 38"/>
                <a:gd name="T40" fmla="*/ 15 w 43"/>
                <a:gd name="T41" fmla="*/ 29 h 38"/>
                <a:gd name="T42" fmla="*/ 22 w 43"/>
                <a:gd name="T43" fmla="*/ 33 h 38"/>
                <a:gd name="T44" fmla="*/ 28 w 43"/>
                <a:gd name="T45" fmla="*/ 36 h 38"/>
                <a:gd name="T46" fmla="*/ 32 w 43"/>
                <a:gd name="T47" fmla="*/ 38 h 38"/>
                <a:gd name="T48" fmla="*/ 25 w 43"/>
                <a:gd name="T49" fmla="*/ 3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 h="38">
                  <a:moveTo>
                    <a:pt x="25" y="31"/>
                  </a:moveTo>
                  <a:cubicBezTo>
                    <a:pt x="25" y="29"/>
                    <a:pt x="19" y="25"/>
                    <a:pt x="19" y="23"/>
                  </a:cubicBezTo>
                  <a:cubicBezTo>
                    <a:pt x="19" y="20"/>
                    <a:pt x="15" y="19"/>
                    <a:pt x="15" y="17"/>
                  </a:cubicBezTo>
                  <a:cubicBezTo>
                    <a:pt x="15" y="15"/>
                    <a:pt x="17" y="14"/>
                    <a:pt x="19" y="15"/>
                  </a:cubicBezTo>
                  <a:cubicBezTo>
                    <a:pt x="20" y="16"/>
                    <a:pt x="22" y="13"/>
                    <a:pt x="24" y="14"/>
                  </a:cubicBezTo>
                  <a:cubicBezTo>
                    <a:pt x="25" y="15"/>
                    <a:pt x="36" y="15"/>
                    <a:pt x="36" y="15"/>
                  </a:cubicBezTo>
                  <a:cubicBezTo>
                    <a:pt x="36" y="15"/>
                    <a:pt x="39" y="16"/>
                    <a:pt x="43" y="19"/>
                  </a:cubicBezTo>
                  <a:cubicBezTo>
                    <a:pt x="43" y="18"/>
                    <a:pt x="43" y="17"/>
                    <a:pt x="43" y="17"/>
                  </a:cubicBezTo>
                  <a:cubicBezTo>
                    <a:pt x="42" y="15"/>
                    <a:pt x="43" y="12"/>
                    <a:pt x="40" y="11"/>
                  </a:cubicBezTo>
                  <a:cubicBezTo>
                    <a:pt x="39" y="11"/>
                    <a:pt x="39" y="8"/>
                    <a:pt x="38" y="6"/>
                  </a:cubicBezTo>
                  <a:cubicBezTo>
                    <a:pt x="37" y="7"/>
                    <a:pt x="36" y="7"/>
                    <a:pt x="36" y="7"/>
                  </a:cubicBezTo>
                  <a:cubicBezTo>
                    <a:pt x="33" y="8"/>
                    <a:pt x="29" y="7"/>
                    <a:pt x="27" y="5"/>
                  </a:cubicBezTo>
                  <a:cubicBezTo>
                    <a:pt x="26" y="4"/>
                    <a:pt x="22" y="1"/>
                    <a:pt x="21" y="0"/>
                  </a:cubicBezTo>
                  <a:cubicBezTo>
                    <a:pt x="20" y="1"/>
                    <a:pt x="17" y="3"/>
                    <a:pt x="16" y="4"/>
                  </a:cubicBezTo>
                  <a:cubicBezTo>
                    <a:pt x="14" y="4"/>
                    <a:pt x="15" y="8"/>
                    <a:pt x="14" y="8"/>
                  </a:cubicBezTo>
                  <a:cubicBezTo>
                    <a:pt x="12" y="8"/>
                    <a:pt x="11" y="10"/>
                    <a:pt x="11" y="11"/>
                  </a:cubicBezTo>
                  <a:cubicBezTo>
                    <a:pt x="11" y="12"/>
                    <a:pt x="7" y="10"/>
                    <a:pt x="6" y="11"/>
                  </a:cubicBezTo>
                  <a:cubicBezTo>
                    <a:pt x="5" y="11"/>
                    <a:pt x="2" y="12"/>
                    <a:pt x="0" y="12"/>
                  </a:cubicBezTo>
                  <a:cubicBezTo>
                    <a:pt x="1" y="14"/>
                    <a:pt x="0" y="15"/>
                    <a:pt x="2" y="15"/>
                  </a:cubicBezTo>
                  <a:cubicBezTo>
                    <a:pt x="4" y="15"/>
                    <a:pt x="8" y="15"/>
                    <a:pt x="8" y="18"/>
                  </a:cubicBezTo>
                  <a:cubicBezTo>
                    <a:pt x="8" y="21"/>
                    <a:pt x="13" y="27"/>
                    <a:pt x="15" y="29"/>
                  </a:cubicBezTo>
                  <a:cubicBezTo>
                    <a:pt x="17" y="31"/>
                    <a:pt x="21" y="31"/>
                    <a:pt x="22" y="33"/>
                  </a:cubicBezTo>
                  <a:cubicBezTo>
                    <a:pt x="22" y="35"/>
                    <a:pt x="25" y="36"/>
                    <a:pt x="28" y="36"/>
                  </a:cubicBezTo>
                  <a:cubicBezTo>
                    <a:pt x="29" y="37"/>
                    <a:pt x="31" y="37"/>
                    <a:pt x="32" y="38"/>
                  </a:cubicBezTo>
                  <a:cubicBezTo>
                    <a:pt x="29" y="34"/>
                    <a:pt x="25" y="32"/>
                    <a:pt x="25" y="31"/>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29" name="Freeform 72">
              <a:extLst>
                <a:ext uri="{FF2B5EF4-FFF2-40B4-BE49-F238E27FC236}">
                  <a16:creationId xmlns:a16="http://schemas.microsoft.com/office/drawing/2014/main" xmlns="" id="{4E5AA06E-2C97-4956-A05A-E41B387FE649}"/>
                </a:ext>
              </a:extLst>
            </p:cNvPr>
            <p:cNvSpPr>
              <a:spLocks/>
            </p:cNvSpPr>
            <p:nvPr/>
          </p:nvSpPr>
          <p:spPr bwMode="auto">
            <a:xfrm>
              <a:off x="16730884" y="3024854"/>
              <a:ext cx="38100" cy="76200"/>
            </a:xfrm>
            <a:custGeom>
              <a:avLst/>
              <a:gdLst>
                <a:gd name="T0" fmla="*/ 10 w 15"/>
                <a:gd name="T1" fmla="*/ 25 h 29"/>
                <a:gd name="T2" fmla="*/ 12 w 15"/>
                <a:gd name="T3" fmla="*/ 22 h 29"/>
                <a:gd name="T4" fmla="*/ 14 w 15"/>
                <a:gd name="T5" fmla="*/ 17 h 29"/>
                <a:gd name="T6" fmla="*/ 15 w 15"/>
                <a:gd name="T7" fmla="*/ 17 h 29"/>
                <a:gd name="T8" fmla="*/ 10 w 15"/>
                <a:gd name="T9" fmla="*/ 12 h 29"/>
                <a:gd name="T10" fmla="*/ 11 w 15"/>
                <a:gd name="T11" fmla="*/ 4 h 29"/>
                <a:gd name="T12" fmla="*/ 4 w 15"/>
                <a:gd name="T13" fmla="*/ 0 h 29"/>
                <a:gd name="T14" fmla="*/ 0 w 15"/>
                <a:gd name="T15" fmla="*/ 5 h 29"/>
                <a:gd name="T16" fmla="*/ 2 w 15"/>
                <a:gd name="T17" fmla="*/ 10 h 29"/>
                <a:gd name="T18" fmla="*/ 2 w 15"/>
                <a:gd name="T19" fmla="*/ 22 h 29"/>
                <a:gd name="T20" fmla="*/ 7 w 15"/>
                <a:gd name="T21" fmla="*/ 29 h 29"/>
                <a:gd name="T22" fmla="*/ 10 w 15"/>
                <a:gd name="T23" fmla="*/ 2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29">
                  <a:moveTo>
                    <a:pt x="10" y="25"/>
                  </a:moveTo>
                  <a:cubicBezTo>
                    <a:pt x="11" y="24"/>
                    <a:pt x="10" y="23"/>
                    <a:pt x="12" y="22"/>
                  </a:cubicBezTo>
                  <a:cubicBezTo>
                    <a:pt x="13" y="20"/>
                    <a:pt x="14" y="18"/>
                    <a:pt x="14" y="17"/>
                  </a:cubicBezTo>
                  <a:cubicBezTo>
                    <a:pt x="15" y="17"/>
                    <a:pt x="15" y="17"/>
                    <a:pt x="15" y="17"/>
                  </a:cubicBezTo>
                  <a:cubicBezTo>
                    <a:pt x="12" y="15"/>
                    <a:pt x="11" y="14"/>
                    <a:pt x="10" y="12"/>
                  </a:cubicBezTo>
                  <a:cubicBezTo>
                    <a:pt x="9" y="10"/>
                    <a:pt x="10" y="6"/>
                    <a:pt x="11" y="4"/>
                  </a:cubicBezTo>
                  <a:cubicBezTo>
                    <a:pt x="9" y="3"/>
                    <a:pt x="5" y="0"/>
                    <a:pt x="4" y="0"/>
                  </a:cubicBezTo>
                  <a:cubicBezTo>
                    <a:pt x="3" y="0"/>
                    <a:pt x="1" y="3"/>
                    <a:pt x="0" y="5"/>
                  </a:cubicBezTo>
                  <a:cubicBezTo>
                    <a:pt x="3" y="7"/>
                    <a:pt x="4" y="8"/>
                    <a:pt x="2" y="10"/>
                  </a:cubicBezTo>
                  <a:cubicBezTo>
                    <a:pt x="0" y="13"/>
                    <a:pt x="0" y="20"/>
                    <a:pt x="2" y="22"/>
                  </a:cubicBezTo>
                  <a:cubicBezTo>
                    <a:pt x="4" y="24"/>
                    <a:pt x="5" y="28"/>
                    <a:pt x="7" y="29"/>
                  </a:cubicBezTo>
                  <a:cubicBezTo>
                    <a:pt x="8" y="27"/>
                    <a:pt x="8" y="25"/>
                    <a:pt x="10" y="25"/>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30" name="Freeform 73">
              <a:extLst>
                <a:ext uri="{FF2B5EF4-FFF2-40B4-BE49-F238E27FC236}">
                  <a16:creationId xmlns:a16="http://schemas.microsoft.com/office/drawing/2014/main" xmlns="" id="{CFEFFB26-F215-4D5D-A796-E790602C1BAC}"/>
                </a:ext>
              </a:extLst>
            </p:cNvPr>
            <p:cNvSpPr>
              <a:spLocks/>
            </p:cNvSpPr>
            <p:nvPr/>
          </p:nvSpPr>
          <p:spPr bwMode="auto">
            <a:xfrm>
              <a:off x="16535622" y="2854991"/>
              <a:ext cx="155575" cy="68262"/>
            </a:xfrm>
            <a:custGeom>
              <a:avLst/>
              <a:gdLst>
                <a:gd name="T0" fmla="*/ 51 w 60"/>
                <a:gd name="T1" fmla="*/ 2 h 26"/>
                <a:gd name="T2" fmla="*/ 43 w 60"/>
                <a:gd name="T3" fmla="*/ 0 h 26"/>
                <a:gd name="T4" fmla="*/ 42 w 60"/>
                <a:gd name="T5" fmla="*/ 3 h 26"/>
                <a:gd name="T6" fmla="*/ 35 w 60"/>
                <a:gd name="T7" fmla="*/ 4 h 26"/>
                <a:gd name="T8" fmla="*/ 31 w 60"/>
                <a:gd name="T9" fmla="*/ 7 h 26"/>
                <a:gd name="T10" fmla="*/ 27 w 60"/>
                <a:gd name="T11" fmla="*/ 12 h 26"/>
                <a:gd name="T12" fmla="*/ 24 w 60"/>
                <a:gd name="T13" fmla="*/ 14 h 26"/>
                <a:gd name="T14" fmla="*/ 16 w 60"/>
                <a:gd name="T15" fmla="*/ 16 h 26"/>
                <a:gd name="T16" fmla="*/ 11 w 60"/>
                <a:gd name="T17" fmla="*/ 16 h 26"/>
                <a:gd name="T18" fmla="*/ 7 w 60"/>
                <a:gd name="T19" fmla="*/ 17 h 26"/>
                <a:gd name="T20" fmla="*/ 2 w 60"/>
                <a:gd name="T21" fmla="*/ 15 h 26"/>
                <a:gd name="T22" fmla="*/ 1 w 60"/>
                <a:gd name="T23" fmla="*/ 20 h 26"/>
                <a:gd name="T24" fmla="*/ 5 w 60"/>
                <a:gd name="T25" fmla="*/ 22 h 26"/>
                <a:gd name="T26" fmla="*/ 10 w 60"/>
                <a:gd name="T27" fmla="*/ 23 h 26"/>
                <a:gd name="T28" fmla="*/ 15 w 60"/>
                <a:gd name="T29" fmla="*/ 21 h 26"/>
                <a:gd name="T30" fmla="*/ 22 w 60"/>
                <a:gd name="T31" fmla="*/ 20 h 26"/>
                <a:gd name="T32" fmla="*/ 23 w 60"/>
                <a:gd name="T33" fmla="*/ 24 h 26"/>
                <a:gd name="T34" fmla="*/ 30 w 60"/>
                <a:gd name="T35" fmla="*/ 25 h 26"/>
                <a:gd name="T36" fmla="*/ 39 w 60"/>
                <a:gd name="T37" fmla="*/ 26 h 26"/>
                <a:gd name="T38" fmla="*/ 46 w 60"/>
                <a:gd name="T39" fmla="*/ 24 h 26"/>
                <a:gd name="T40" fmla="*/ 52 w 60"/>
                <a:gd name="T41" fmla="*/ 22 h 26"/>
                <a:gd name="T42" fmla="*/ 52 w 60"/>
                <a:gd name="T43" fmla="*/ 22 h 26"/>
                <a:gd name="T44" fmla="*/ 53 w 60"/>
                <a:gd name="T45" fmla="*/ 20 h 26"/>
                <a:gd name="T46" fmla="*/ 54 w 60"/>
                <a:gd name="T47" fmla="*/ 17 h 26"/>
                <a:gd name="T48" fmla="*/ 55 w 60"/>
                <a:gd name="T49" fmla="*/ 14 h 26"/>
                <a:gd name="T50" fmla="*/ 59 w 60"/>
                <a:gd name="T51" fmla="*/ 12 h 26"/>
                <a:gd name="T52" fmla="*/ 60 w 60"/>
                <a:gd name="T53" fmla="*/ 9 h 26"/>
                <a:gd name="T54" fmla="*/ 57 w 60"/>
                <a:gd name="T55" fmla="*/ 3 h 26"/>
                <a:gd name="T56" fmla="*/ 51 w 60"/>
                <a:gd name="T57"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0" h="26">
                  <a:moveTo>
                    <a:pt x="51" y="2"/>
                  </a:moveTo>
                  <a:cubicBezTo>
                    <a:pt x="49" y="0"/>
                    <a:pt x="43" y="0"/>
                    <a:pt x="43" y="0"/>
                  </a:cubicBezTo>
                  <a:cubicBezTo>
                    <a:pt x="43" y="0"/>
                    <a:pt x="43" y="2"/>
                    <a:pt x="42" y="3"/>
                  </a:cubicBezTo>
                  <a:cubicBezTo>
                    <a:pt x="41" y="4"/>
                    <a:pt x="37" y="4"/>
                    <a:pt x="35" y="4"/>
                  </a:cubicBezTo>
                  <a:cubicBezTo>
                    <a:pt x="34" y="5"/>
                    <a:pt x="31" y="5"/>
                    <a:pt x="31" y="7"/>
                  </a:cubicBezTo>
                  <a:cubicBezTo>
                    <a:pt x="30" y="8"/>
                    <a:pt x="26" y="7"/>
                    <a:pt x="27" y="12"/>
                  </a:cubicBezTo>
                  <a:cubicBezTo>
                    <a:pt x="29" y="16"/>
                    <a:pt x="25" y="14"/>
                    <a:pt x="24" y="14"/>
                  </a:cubicBezTo>
                  <a:cubicBezTo>
                    <a:pt x="23" y="13"/>
                    <a:pt x="17" y="14"/>
                    <a:pt x="16" y="16"/>
                  </a:cubicBezTo>
                  <a:cubicBezTo>
                    <a:pt x="15" y="17"/>
                    <a:pt x="13" y="17"/>
                    <a:pt x="11" y="16"/>
                  </a:cubicBezTo>
                  <a:cubicBezTo>
                    <a:pt x="10" y="15"/>
                    <a:pt x="8" y="15"/>
                    <a:pt x="7" y="17"/>
                  </a:cubicBezTo>
                  <a:cubicBezTo>
                    <a:pt x="5" y="18"/>
                    <a:pt x="4" y="15"/>
                    <a:pt x="2" y="15"/>
                  </a:cubicBezTo>
                  <a:cubicBezTo>
                    <a:pt x="0" y="16"/>
                    <a:pt x="1" y="19"/>
                    <a:pt x="1" y="20"/>
                  </a:cubicBezTo>
                  <a:cubicBezTo>
                    <a:pt x="1" y="20"/>
                    <a:pt x="4" y="23"/>
                    <a:pt x="5" y="22"/>
                  </a:cubicBezTo>
                  <a:cubicBezTo>
                    <a:pt x="7" y="21"/>
                    <a:pt x="9" y="22"/>
                    <a:pt x="10" y="23"/>
                  </a:cubicBezTo>
                  <a:cubicBezTo>
                    <a:pt x="12" y="24"/>
                    <a:pt x="14" y="22"/>
                    <a:pt x="15" y="21"/>
                  </a:cubicBezTo>
                  <a:cubicBezTo>
                    <a:pt x="16" y="20"/>
                    <a:pt x="21" y="20"/>
                    <a:pt x="22" y="20"/>
                  </a:cubicBezTo>
                  <a:cubicBezTo>
                    <a:pt x="22" y="20"/>
                    <a:pt x="22" y="23"/>
                    <a:pt x="23" y="24"/>
                  </a:cubicBezTo>
                  <a:cubicBezTo>
                    <a:pt x="24" y="24"/>
                    <a:pt x="27" y="25"/>
                    <a:pt x="30" y="25"/>
                  </a:cubicBezTo>
                  <a:cubicBezTo>
                    <a:pt x="33" y="25"/>
                    <a:pt x="38" y="26"/>
                    <a:pt x="39" y="26"/>
                  </a:cubicBezTo>
                  <a:cubicBezTo>
                    <a:pt x="41" y="26"/>
                    <a:pt x="43" y="24"/>
                    <a:pt x="46" y="24"/>
                  </a:cubicBezTo>
                  <a:cubicBezTo>
                    <a:pt x="50" y="24"/>
                    <a:pt x="51" y="22"/>
                    <a:pt x="52" y="22"/>
                  </a:cubicBezTo>
                  <a:cubicBezTo>
                    <a:pt x="52" y="22"/>
                    <a:pt x="52" y="22"/>
                    <a:pt x="52" y="22"/>
                  </a:cubicBezTo>
                  <a:cubicBezTo>
                    <a:pt x="52" y="21"/>
                    <a:pt x="52" y="20"/>
                    <a:pt x="53" y="20"/>
                  </a:cubicBezTo>
                  <a:cubicBezTo>
                    <a:pt x="54" y="20"/>
                    <a:pt x="54" y="18"/>
                    <a:pt x="54" y="17"/>
                  </a:cubicBezTo>
                  <a:cubicBezTo>
                    <a:pt x="55" y="16"/>
                    <a:pt x="54" y="13"/>
                    <a:pt x="55" y="14"/>
                  </a:cubicBezTo>
                  <a:cubicBezTo>
                    <a:pt x="57" y="14"/>
                    <a:pt x="59" y="14"/>
                    <a:pt x="59" y="12"/>
                  </a:cubicBezTo>
                  <a:cubicBezTo>
                    <a:pt x="59" y="11"/>
                    <a:pt x="59" y="10"/>
                    <a:pt x="60" y="9"/>
                  </a:cubicBezTo>
                  <a:cubicBezTo>
                    <a:pt x="58" y="7"/>
                    <a:pt x="57" y="3"/>
                    <a:pt x="57" y="3"/>
                  </a:cubicBezTo>
                  <a:cubicBezTo>
                    <a:pt x="57" y="3"/>
                    <a:pt x="53" y="4"/>
                    <a:pt x="51" y="2"/>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31" name="Freeform 74">
              <a:extLst>
                <a:ext uri="{FF2B5EF4-FFF2-40B4-BE49-F238E27FC236}">
                  <a16:creationId xmlns:a16="http://schemas.microsoft.com/office/drawing/2014/main" xmlns="" id="{D7FD40F5-FF12-47B8-A7C5-99CEEF5885DD}"/>
                </a:ext>
              </a:extLst>
            </p:cNvPr>
            <p:cNvSpPr>
              <a:spLocks/>
            </p:cNvSpPr>
            <p:nvPr/>
          </p:nvSpPr>
          <p:spPr bwMode="auto">
            <a:xfrm>
              <a:off x="16670559" y="2862929"/>
              <a:ext cx="134938" cy="77787"/>
            </a:xfrm>
            <a:custGeom>
              <a:avLst/>
              <a:gdLst>
                <a:gd name="T0" fmla="*/ 50 w 52"/>
                <a:gd name="T1" fmla="*/ 6 h 30"/>
                <a:gd name="T2" fmla="*/ 48 w 52"/>
                <a:gd name="T3" fmla="*/ 4 h 30"/>
                <a:gd name="T4" fmla="*/ 43 w 52"/>
                <a:gd name="T5" fmla="*/ 3 h 30"/>
                <a:gd name="T6" fmla="*/ 36 w 52"/>
                <a:gd name="T7" fmla="*/ 0 h 30"/>
                <a:gd name="T8" fmla="*/ 29 w 52"/>
                <a:gd name="T9" fmla="*/ 5 h 30"/>
                <a:gd name="T10" fmla="*/ 20 w 52"/>
                <a:gd name="T11" fmla="*/ 8 h 30"/>
                <a:gd name="T12" fmla="*/ 9 w 52"/>
                <a:gd name="T13" fmla="*/ 8 h 30"/>
                <a:gd name="T14" fmla="*/ 8 w 52"/>
                <a:gd name="T15" fmla="*/ 6 h 30"/>
                <a:gd name="T16" fmla="*/ 7 w 52"/>
                <a:gd name="T17" fmla="*/ 9 h 30"/>
                <a:gd name="T18" fmla="*/ 3 w 52"/>
                <a:gd name="T19" fmla="*/ 11 h 30"/>
                <a:gd name="T20" fmla="*/ 2 w 52"/>
                <a:gd name="T21" fmla="*/ 14 h 30"/>
                <a:gd name="T22" fmla="*/ 1 w 52"/>
                <a:gd name="T23" fmla="*/ 17 h 30"/>
                <a:gd name="T24" fmla="*/ 0 w 52"/>
                <a:gd name="T25" fmla="*/ 19 h 30"/>
                <a:gd name="T26" fmla="*/ 2 w 52"/>
                <a:gd name="T27" fmla="*/ 22 h 30"/>
                <a:gd name="T28" fmla="*/ 2 w 52"/>
                <a:gd name="T29" fmla="*/ 22 h 30"/>
                <a:gd name="T30" fmla="*/ 8 w 52"/>
                <a:gd name="T31" fmla="*/ 27 h 30"/>
                <a:gd name="T32" fmla="*/ 17 w 52"/>
                <a:gd name="T33" fmla="*/ 29 h 30"/>
                <a:gd name="T34" fmla="*/ 28 w 52"/>
                <a:gd name="T35" fmla="*/ 26 h 30"/>
                <a:gd name="T36" fmla="*/ 31 w 52"/>
                <a:gd name="T37" fmla="*/ 27 h 30"/>
                <a:gd name="T38" fmla="*/ 33 w 52"/>
                <a:gd name="T39" fmla="*/ 27 h 30"/>
                <a:gd name="T40" fmla="*/ 38 w 52"/>
                <a:gd name="T41" fmla="*/ 24 h 30"/>
                <a:gd name="T42" fmla="*/ 46 w 52"/>
                <a:gd name="T43" fmla="*/ 12 h 30"/>
                <a:gd name="T44" fmla="*/ 51 w 52"/>
                <a:gd name="T45" fmla="*/ 8 h 30"/>
                <a:gd name="T46" fmla="*/ 50 w 52"/>
                <a:gd name="T47"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2" h="30">
                  <a:moveTo>
                    <a:pt x="50" y="6"/>
                  </a:moveTo>
                  <a:cubicBezTo>
                    <a:pt x="50" y="5"/>
                    <a:pt x="49" y="5"/>
                    <a:pt x="48" y="4"/>
                  </a:cubicBezTo>
                  <a:cubicBezTo>
                    <a:pt x="46" y="4"/>
                    <a:pt x="44" y="3"/>
                    <a:pt x="43" y="3"/>
                  </a:cubicBezTo>
                  <a:cubicBezTo>
                    <a:pt x="42" y="1"/>
                    <a:pt x="37" y="1"/>
                    <a:pt x="36" y="0"/>
                  </a:cubicBezTo>
                  <a:cubicBezTo>
                    <a:pt x="35" y="0"/>
                    <a:pt x="30" y="5"/>
                    <a:pt x="29" y="5"/>
                  </a:cubicBezTo>
                  <a:cubicBezTo>
                    <a:pt x="27" y="5"/>
                    <a:pt x="20" y="6"/>
                    <a:pt x="20" y="8"/>
                  </a:cubicBezTo>
                  <a:cubicBezTo>
                    <a:pt x="20" y="10"/>
                    <a:pt x="12" y="10"/>
                    <a:pt x="9" y="8"/>
                  </a:cubicBezTo>
                  <a:cubicBezTo>
                    <a:pt x="9" y="7"/>
                    <a:pt x="8" y="7"/>
                    <a:pt x="8" y="6"/>
                  </a:cubicBezTo>
                  <a:cubicBezTo>
                    <a:pt x="7" y="7"/>
                    <a:pt x="7" y="8"/>
                    <a:pt x="7" y="9"/>
                  </a:cubicBezTo>
                  <a:cubicBezTo>
                    <a:pt x="7" y="11"/>
                    <a:pt x="5" y="11"/>
                    <a:pt x="3" y="11"/>
                  </a:cubicBezTo>
                  <a:cubicBezTo>
                    <a:pt x="2" y="10"/>
                    <a:pt x="3" y="13"/>
                    <a:pt x="2" y="14"/>
                  </a:cubicBezTo>
                  <a:cubicBezTo>
                    <a:pt x="2" y="15"/>
                    <a:pt x="2" y="17"/>
                    <a:pt x="1" y="17"/>
                  </a:cubicBezTo>
                  <a:cubicBezTo>
                    <a:pt x="0" y="17"/>
                    <a:pt x="0" y="18"/>
                    <a:pt x="0" y="19"/>
                  </a:cubicBezTo>
                  <a:cubicBezTo>
                    <a:pt x="0" y="19"/>
                    <a:pt x="2" y="22"/>
                    <a:pt x="2" y="22"/>
                  </a:cubicBezTo>
                  <a:cubicBezTo>
                    <a:pt x="2" y="22"/>
                    <a:pt x="2" y="22"/>
                    <a:pt x="2" y="22"/>
                  </a:cubicBezTo>
                  <a:cubicBezTo>
                    <a:pt x="3" y="23"/>
                    <a:pt x="7" y="26"/>
                    <a:pt x="8" y="27"/>
                  </a:cubicBezTo>
                  <a:cubicBezTo>
                    <a:pt x="10" y="29"/>
                    <a:pt x="14" y="30"/>
                    <a:pt x="17" y="29"/>
                  </a:cubicBezTo>
                  <a:cubicBezTo>
                    <a:pt x="19" y="29"/>
                    <a:pt x="28" y="26"/>
                    <a:pt x="28" y="26"/>
                  </a:cubicBezTo>
                  <a:cubicBezTo>
                    <a:pt x="28" y="26"/>
                    <a:pt x="30" y="27"/>
                    <a:pt x="31" y="27"/>
                  </a:cubicBezTo>
                  <a:cubicBezTo>
                    <a:pt x="31" y="27"/>
                    <a:pt x="32" y="27"/>
                    <a:pt x="33" y="27"/>
                  </a:cubicBezTo>
                  <a:cubicBezTo>
                    <a:pt x="34" y="27"/>
                    <a:pt x="36" y="26"/>
                    <a:pt x="38" y="24"/>
                  </a:cubicBezTo>
                  <a:cubicBezTo>
                    <a:pt x="41" y="21"/>
                    <a:pt x="44" y="12"/>
                    <a:pt x="46" y="12"/>
                  </a:cubicBezTo>
                  <a:cubicBezTo>
                    <a:pt x="47" y="11"/>
                    <a:pt x="49" y="9"/>
                    <a:pt x="51" y="8"/>
                  </a:cubicBezTo>
                  <a:cubicBezTo>
                    <a:pt x="52" y="7"/>
                    <a:pt x="52" y="6"/>
                    <a:pt x="50" y="6"/>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32" name="Freeform 75">
              <a:extLst>
                <a:ext uri="{FF2B5EF4-FFF2-40B4-BE49-F238E27FC236}">
                  <a16:creationId xmlns:a16="http://schemas.microsoft.com/office/drawing/2014/main" xmlns="" id="{A6104A4F-B9BC-44A9-84B5-E3E45152D905}"/>
                </a:ext>
              </a:extLst>
            </p:cNvPr>
            <p:cNvSpPr>
              <a:spLocks/>
            </p:cNvSpPr>
            <p:nvPr/>
          </p:nvSpPr>
          <p:spPr bwMode="auto">
            <a:xfrm>
              <a:off x="16589597" y="2797841"/>
              <a:ext cx="133350" cy="68262"/>
            </a:xfrm>
            <a:custGeom>
              <a:avLst/>
              <a:gdLst>
                <a:gd name="T0" fmla="*/ 48 w 51"/>
                <a:gd name="T1" fmla="*/ 12 h 26"/>
                <a:gd name="T2" fmla="*/ 43 w 51"/>
                <a:gd name="T3" fmla="*/ 11 h 26"/>
                <a:gd name="T4" fmla="*/ 41 w 51"/>
                <a:gd name="T5" fmla="*/ 8 h 26"/>
                <a:gd name="T6" fmla="*/ 36 w 51"/>
                <a:gd name="T7" fmla="*/ 9 h 26"/>
                <a:gd name="T8" fmla="*/ 32 w 51"/>
                <a:gd name="T9" fmla="*/ 7 h 26"/>
                <a:gd name="T10" fmla="*/ 27 w 51"/>
                <a:gd name="T11" fmla="*/ 3 h 26"/>
                <a:gd name="T12" fmla="*/ 22 w 51"/>
                <a:gd name="T13" fmla="*/ 1 h 26"/>
                <a:gd name="T14" fmla="*/ 22 w 51"/>
                <a:gd name="T15" fmla="*/ 1 h 26"/>
                <a:gd name="T16" fmla="*/ 17 w 51"/>
                <a:gd name="T17" fmla="*/ 2 h 26"/>
                <a:gd name="T18" fmla="*/ 11 w 51"/>
                <a:gd name="T19" fmla="*/ 5 h 26"/>
                <a:gd name="T20" fmla="*/ 2 w 51"/>
                <a:gd name="T21" fmla="*/ 8 h 26"/>
                <a:gd name="T22" fmla="*/ 3 w 51"/>
                <a:gd name="T23" fmla="*/ 12 h 26"/>
                <a:gd name="T24" fmla="*/ 6 w 51"/>
                <a:gd name="T25" fmla="*/ 19 h 26"/>
                <a:gd name="T26" fmla="*/ 14 w 51"/>
                <a:gd name="T27" fmla="*/ 25 h 26"/>
                <a:gd name="T28" fmla="*/ 14 w 51"/>
                <a:gd name="T29" fmla="*/ 26 h 26"/>
                <a:gd name="T30" fmla="*/ 21 w 51"/>
                <a:gd name="T31" fmla="*/ 25 h 26"/>
                <a:gd name="T32" fmla="*/ 22 w 51"/>
                <a:gd name="T33" fmla="*/ 22 h 26"/>
                <a:gd name="T34" fmla="*/ 30 w 51"/>
                <a:gd name="T35" fmla="*/ 24 h 26"/>
                <a:gd name="T36" fmla="*/ 36 w 51"/>
                <a:gd name="T37" fmla="*/ 25 h 26"/>
                <a:gd name="T38" fmla="*/ 36 w 51"/>
                <a:gd name="T39" fmla="*/ 26 h 26"/>
                <a:gd name="T40" fmla="*/ 39 w 51"/>
                <a:gd name="T41" fmla="*/ 24 h 26"/>
                <a:gd name="T42" fmla="*/ 46 w 51"/>
                <a:gd name="T43" fmla="*/ 20 h 26"/>
                <a:gd name="T44" fmla="*/ 51 w 51"/>
                <a:gd name="T45" fmla="*/ 16 h 26"/>
                <a:gd name="T46" fmla="*/ 48 w 51"/>
                <a:gd name="T47"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 h="26">
                  <a:moveTo>
                    <a:pt x="48" y="12"/>
                  </a:moveTo>
                  <a:cubicBezTo>
                    <a:pt x="47" y="11"/>
                    <a:pt x="43" y="12"/>
                    <a:pt x="43" y="11"/>
                  </a:cubicBezTo>
                  <a:cubicBezTo>
                    <a:pt x="43" y="10"/>
                    <a:pt x="43" y="8"/>
                    <a:pt x="41" y="8"/>
                  </a:cubicBezTo>
                  <a:cubicBezTo>
                    <a:pt x="39" y="8"/>
                    <a:pt x="37" y="7"/>
                    <a:pt x="36" y="9"/>
                  </a:cubicBezTo>
                  <a:cubicBezTo>
                    <a:pt x="36" y="11"/>
                    <a:pt x="32" y="8"/>
                    <a:pt x="32" y="7"/>
                  </a:cubicBezTo>
                  <a:cubicBezTo>
                    <a:pt x="32" y="6"/>
                    <a:pt x="31" y="5"/>
                    <a:pt x="27" y="3"/>
                  </a:cubicBezTo>
                  <a:cubicBezTo>
                    <a:pt x="25" y="3"/>
                    <a:pt x="24" y="2"/>
                    <a:pt x="22" y="1"/>
                  </a:cubicBezTo>
                  <a:cubicBezTo>
                    <a:pt x="22" y="1"/>
                    <a:pt x="22" y="1"/>
                    <a:pt x="22" y="1"/>
                  </a:cubicBezTo>
                  <a:cubicBezTo>
                    <a:pt x="21" y="2"/>
                    <a:pt x="19" y="0"/>
                    <a:pt x="17" y="2"/>
                  </a:cubicBezTo>
                  <a:cubicBezTo>
                    <a:pt x="16" y="3"/>
                    <a:pt x="13" y="3"/>
                    <a:pt x="11" y="5"/>
                  </a:cubicBezTo>
                  <a:cubicBezTo>
                    <a:pt x="9" y="6"/>
                    <a:pt x="5" y="7"/>
                    <a:pt x="2" y="8"/>
                  </a:cubicBezTo>
                  <a:cubicBezTo>
                    <a:pt x="0" y="8"/>
                    <a:pt x="2" y="10"/>
                    <a:pt x="3" y="12"/>
                  </a:cubicBezTo>
                  <a:cubicBezTo>
                    <a:pt x="4" y="14"/>
                    <a:pt x="4" y="18"/>
                    <a:pt x="6" y="19"/>
                  </a:cubicBezTo>
                  <a:cubicBezTo>
                    <a:pt x="7" y="20"/>
                    <a:pt x="13" y="24"/>
                    <a:pt x="14" y="25"/>
                  </a:cubicBezTo>
                  <a:cubicBezTo>
                    <a:pt x="14" y="25"/>
                    <a:pt x="14" y="25"/>
                    <a:pt x="14" y="26"/>
                  </a:cubicBezTo>
                  <a:cubicBezTo>
                    <a:pt x="16" y="26"/>
                    <a:pt x="20" y="26"/>
                    <a:pt x="21" y="25"/>
                  </a:cubicBezTo>
                  <a:cubicBezTo>
                    <a:pt x="22" y="24"/>
                    <a:pt x="22" y="22"/>
                    <a:pt x="22" y="22"/>
                  </a:cubicBezTo>
                  <a:cubicBezTo>
                    <a:pt x="22" y="22"/>
                    <a:pt x="28" y="22"/>
                    <a:pt x="30" y="24"/>
                  </a:cubicBezTo>
                  <a:cubicBezTo>
                    <a:pt x="32" y="26"/>
                    <a:pt x="36" y="25"/>
                    <a:pt x="36" y="25"/>
                  </a:cubicBezTo>
                  <a:cubicBezTo>
                    <a:pt x="36" y="25"/>
                    <a:pt x="36" y="25"/>
                    <a:pt x="36" y="26"/>
                  </a:cubicBezTo>
                  <a:cubicBezTo>
                    <a:pt x="37" y="25"/>
                    <a:pt x="38" y="24"/>
                    <a:pt x="39" y="24"/>
                  </a:cubicBezTo>
                  <a:cubicBezTo>
                    <a:pt x="41" y="23"/>
                    <a:pt x="44" y="23"/>
                    <a:pt x="46" y="20"/>
                  </a:cubicBezTo>
                  <a:cubicBezTo>
                    <a:pt x="48" y="18"/>
                    <a:pt x="49" y="17"/>
                    <a:pt x="51" y="16"/>
                  </a:cubicBezTo>
                  <a:cubicBezTo>
                    <a:pt x="50" y="15"/>
                    <a:pt x="49" y="13"/>
                    <a:pt x="48" y="12"/>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33" name="Freeform 76">
              <a:extLst>
                <a:ext uri="{FF2B5EF4-FFF2-40B4-BE49-F238E27FC236}">
                  <a16:creationId xmlns:a16="http://schemas.microsoft.com/office/drawing/2014/main" xmlns="" id="{2163BCFC-EA12-4DD7-AB9D-91972204576E}"/>
                </a:ext>
              </a:extLst>
            </p:cNvPr>
            <p:cNvSpPr>
              <a:spLocks/>
            </p:cNvSpPr>
            <p:nvPr/>
          </p:nvSpPr>
          <p:spPr bwMode="auto">
            <a:xfrm>
              <a:off x="16683259" y="2839116"/>
              <a:ext cx="117475" cy="49212"/>
            </a:xfrm>
            <a:custGeom>
              <a:avLst/>
              <a:gdLst>
                <a:gd name="T0" fmla="*/ 34 w 45"/>
                <a:gd name="T1" fmla="*/ 2 h 19"/>
                <a:gd name="T2" fmla="*/ 28 w 45"/>
                <a:gd name="T3" fmla="*/ 1 h 19"/>
                <a:gd name="T4" fmla="*/ 21 w 45"/>
                <a:gd name="T5" fmla="*/ 0 h 19"/>
                <a:gd name="T6" fmla="*/ 16 w 45"/>
                <a:gd name="T7" fmla="*/ 1 h 19"/>
                <a:gd name="T8" fmla="*/ 15 w 45"/>
                <a:gd name="T9" fmla="*/ 0 h 19"/>
                <a:gd name="T10" fmla="*/ 10 w 45"/>
                <a:gd name="T11" fmla="*/ 4 h 19"/>
                <a:gd name="T12" fmla="*/ 3 w 45"/>
                <a:gd name="T13" fmla="*/ 8 h 19"/>
                <a:gd name="T14" fmla="*/ 0 w 45"/>
                <a:gd name="T15" fmla="*/ 10 h 19"/>
                <a:gd name="T16" fmla="*/ 4 w 45"/>
                <a:gd name="T17" fmla="*/ 17 h 19"/>
                <a:gd name="T18" fmla="*/ 15 w 45"/>
                <a:gd name="T19" fmla="*/ 17 h 19"/>
                <a:gd name="T20" fmla="*/ 24 w 45"/>
                <a:gd name="T21" fmla="*/ 14 h 19"/>
                <a:gd name="T22" fmla="*/ 31 w 45"/>
                <a:gd name="T23" fmla="*/ 9 h 19"/>
                <a:gd name="T24" fmla="*/ 38 w 45"/>
                <a:gd name="T25" fmla="*/ 12 h 19"/>
                <a:gd name="T26" fmla="*/ 43 w 45"/>
                <a:gd name="T27" fmla="*/ 13 h 19"/>
                <a:gd name="T28" fmla="*/ 42 w 45"/>
                <a:gd name="T29" fmla="*/ 11 h 19"/>
                <a:gd name="T30" fmla="*/ 45 w 45"/>
                <a:gd name="T31" fmla="*/ 5 h 19"/>
                <a:gd name="T32" fmla="*/ 45 w 45"/>
                <a:gd name="T33" fmla="*/ 5 h 19"/>
                <a:gd name="T34" fmla="*/ 41 w 45"/>
                <a:gd name="T35" fmla="*/ 3 h 19"/>
                <a:gd name="T36" fmla="*/ 34 w 45"/>
                <a:gd name="T37" fmla="*/ 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5" h="19">
                  <a:moveTo>
                    <a:pt x="34" y="2"/>
                  </a:moveTo>
                  <a:cubicBezTo>
                    <a:pt x="31" y="2"/>
                    <a:pt x="30" y="0"/>
                    <a:pt x="28" y="1"/>
                  </a:cubicBezTo>
                  <a:cubicBezTo>
                    <a:pt x="26" y="2"/>
                    <a:pt x="22" y="1"/>
                    <a:pt x="21" y="0"/>
                  </a:cubicBezTo>
                  <a:cubicBezTo>
                    <a:pt x="20" y="0"/>
                    <a:pt x="18" y="2"/>
                    <a:pt x="16" y="1"/>
                  </a:cubicBezTo>
                  <a:cubicBezTo>
                    <a:pt x="16" y="1"/>
                    <a:pt x="15" y="0"/>
                    <a:pt x="15" y="0"/>
                  </a:cubicBezTo>
                  <a:cubicBezTo>
                    <a:pt x="13" y="1"/>
                    <a:pt x="12" y="2"/>
                    <a:pt x="10" y="4"/>
                  </a:cubicBezTo>
                  <a:cubicBezTo>
                    <a:pt x="8" y="7"/>
                    <a:pt x="5" y="7"/>
                    <a:pt x="3" y="8"/>
                  </a:cubicBezTo>
                  <a:cubicBezTo>
                    <a:pt x="2" y="8"/>
                    <a:pt x="1" y="9"/>
                    <a:pt x="0" y="10"/>
                  </a:cubicBezTo>
                  <a:cubicBezTo>
                    <a:pt x="1" y="12"/>
                    <a:pt x="3" y="15"/>
                    <a:pt x="4" y="17"/>
                  </a:cubicBezTo>
                  <a:cubicBezTo>
                    <a:pt x="7" y="19"/>
                    <a:pt x="15" y="19"/>
                    <a:pt x="15" y="17"/>
                  </a:cubicBezTo>
                  <a:cubicBezTo>
                    <a:pt x="15" y="15"/>
                    <a:pt x="22" y="14"/>
                    <a:pt x="24" y="14"/>
                  </a:cubicBezTo>
                  <a:cubicBezTo>
                    <a:pt x="25" y="14"/>
                    <a:pt x="30" y="9"/>
                    <a:pt x="31" y="9"/>
                  </a:cubicBezTo>
                  <a:cubicBezTo>
                    <a:pt x="32" y="10"/>
                    <a:pt x="37" y="10"/>
                    <a:pt x="38" y="12"/>
                  </a:cubicBezTo>
                  <a:cubicBezTo>
                    <a:pt x="39" y="12"/>
                    <a:pt x="41" y="13"/>
                    <a:pt x="43" y="13"/>
                  </a:cubicBezTo>
                  <a:cubicBezTo>
                    <a:pt x="42" y="13"/>
                    <a:pt x="42" y="12"/>
                    <a:pt x="42" y="11"/>
                  </a:cubicBezTo>
                  <a:cubicBezTo>
                    <a:pt x="42" y="9"/>
                    <a:pt x="44" y="6"/>
                    <a:pt x="45" y="5"/>
                  </a:cubicBezTo>
                  <a:cubicBezTo>
                    <a:pt x="45" y="5"/>
                    <a:pt x="45" y="5"/>
                    <a:pt x="45" y="5"/>
                  </a:cubicBezTo>
                  <a:cubicBezTo>
                    <a:pt x="43" y="4"/>
                    <a:pt x="41" y="4"/>
                    <a:pt x="41" y="3"/>
                  </a:cubicBezTo>
                  <a:cubicBezTo>
                    <a:pt x="40" y="3"/>
                    <a:pt x="37" y="2"/>
                    <a:pt x="34" y="2"/>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34" name="Freeform 77">
              <a:extLst>
                <a:ext uri="{FF2B5EF4-FFF2-40B4-BE49-F238E27FC236}">
                  <a16:creationId xmlns:a16="http://schemas.microsoft.com/office/drawing/2014/main" xmlns="" id="{75ACBBDF-CF92-446B-89AD-5AD3BDE04178}"/>
                </a:ext>
              </a:extLst>
            </p:cNvPr>
            <p:cNvSpPr>
              <a:spLocks/>
            </p:cNvSpPr>
            <p:nvPr/>
          </p:nvSpPr>
          <p:spPr bwMode="auto">
            <a:xfrm>
              <a:off x="16129222" y="3035966"/>
              <a:ext cx="77788" cy="130175"/>
            </a:xfrm>
            <a:custGeom>
              <a:avLst/>
              <a:gdLst>
                <a:gd name="T0" fmla="*/ 22 w 30"/>
                <a:gd name="T1" fmla="*/ 41 h 50"/>
                <a:gd name="T2" fmla="*/ 20 w 30"/>
                <a:gd name="T3" fmla="*/ 37 h 50"/>
                <a:gd name="T4" fmla="*/ 22 w 30"/>
                <a:gd name="T5" fmla="*/ 32 h 50"/>
                <a:gd name="T6" fmla="*/ 20 w 30"/>
                <a:gd name="T7" fmla="*/ 28 h 50"/>
                <a:gd name="T8" fmla="*/ 22 w 30"/>
                <a:gd name="T9" fmla="*/ 25 h 50"/>
                <a:gd name="T10" fmla="*/ 23 w 30"/>
                <a:gd name="T11" fmla="*/ 19 h 50"/>
                <a:gd name="T12" fmla="*/ 23 w 30"/>
                <a:gd name="T13" fmla="*/ 12 h 50"/>
                <a:gd name="T14" fmla="*/ 28 w 30"/>
                <a:gd name="T15" fmla="*/ 7 h 50"/>
                <a:gd name="T16" fmla="*/ 26 w 30"/>
                <a:gd name="T17" fmla="*/ 4 h 50"/>
                <a:gd name="T18" fmla="*/ 21 w 30"/>
                <a:gd name="T19" fmla="*/ 3 h 50"/>
                <a:gd name="T20" fmla="*/ 18 w 30"/>
                <a:gd name="T21" fmla="*/ 3 h 50"/>
                <a:gd name="T22" fmla="*/ 13 w 30"/>
                <a:gd name="T23" fmla="*/ 2 h 50"/>
                <a:gd name="T24" fmla="*/ 10 w 30"/>
                <a:gd name="T25" fmla="*/ 2 h 50"/>
                <a:gd name="T26" fmla="*/ 8 w 30"/>
                <a:gd name="T27" fmla="*/ 3 h 50"/>
                <a:gd name="T28" fmla="*/ 8 w 30"/>
                <a:gd name="T29" fmla="*/ 8 h 50"/>
                <a:gd name="T30" fmla="*/ 3 w 30"/>
                <a:gd name="T31" fmla="*/ 27 h 50"/>
                <a:gd name="T32" fmla="*/ 6 w 30"/>
                <a:gd name="T33" fmla="*/ 34 h 50"/>
                <a:gd name="T34" fmla="*/ 7 w 30"/>
                <a:gd name="T35" fmla="*/ 48 h 50"/>
                <a:gd name="T36" fmla="*/ 13 w 30"/>
                <a:gd name="T37" fmla="*/ 50 h 50"/>
                <a:gd name="T38" fmla="*/ 20 w 30"/>
                <a:gd name="T39" fmla="*/ 48 h 50"/>
                <a:gd name="T40" fmla="*/ 19 w 30"/>
                <a:gd name="T41" fmla="*/ 46 h 50"/>
                <a:gd name="T42" fmla="*/ 22 w 30"/>
                <a:gd name="T43" fmla="*/ 4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 h="50">
                  <a:moveTo>
                    <a:pt x="22" y="41"/>
                  </a:moveTo>
                  <a:cubicBezTo>
                    <a:pt x="25" y="40"/>
                    <a:pt x="21" y="38"/>
                    <a:pt x="20" y="37"/>
                  </a:cubicBezTo>
                  <a:cubicBezTo>
                    <a:pt x="19" y="36"/>
                    <a:pt x="20" y="32"/>
                    <a:pt x="22" y="32"/>
                  </a:cubicBezTo>
                  <a:cubicBezTo>
                    <a:pt x="24" y="32"/>
                    <a:pt x="22" y="30"/>
                    <a:pt x="20" y="28"/>
                  </a:cubicBezTo>
                  <a:cubicBezTo>
                    <a:pt x="17" y="26"/>
                    <a:pt x="20" y="25"/>
                    <a:pt x="22" y="25"/>
                  </a:cubicBezTo>
                  <a:cubicBezTo>
                    <a:pt x="24" y="25"/>
                    <a:pt x="21" y="21"/>
                    <a:pt x="23" y="19"/>
                  </a:cubicBezTo>
                  <a:cubicBezTo>
                    <a:pt x="25" y="17"/>
                    <a:pt x="23" y="14"/>
                    <a:pt x="23" y="12"/>
                  </a:cubicBezTo>
                  <a:cubicBezTo>
                    <a:pt x="23" y="10"/>
                    <a:pt x="25" y="10"/>
                    <a:pt x="28" y="7"/>
                  </a:cubicBezTo>
                  <a:cubicBezTo>
                    <a:pt x="30" y="5"/>
                    <a:pt x="26" y="6"/>
                    <a:pt x="26" y="4"/>
                  </a:cubicBezTo>
                  <a:cubicBezTo>
                    <a:pt x="26" y="2"/>
                    <a:pt x="23" y="2"/>
                    <a:pt x="21" y="3"/>
                  </a:cubicBezTo>
                  <a:cubicBezTo>
                    <a:pt x="19" y="5"/>
                    <a:pt x="19" y="3"/>
                    <a:pt x="18" y="3"/>
                  </a:cubicBezTo>
                  <a:cubicBezTo>
                    <a:pt x="16" y="3"/>
                    <a:pt x="13" y="4"/>
                    <a:pt x="13" y="2"/>
                  </a:cubicBezTo>
                  <a:cubicBezTo>
                    <a:pt x="13" y="0"/>
                    <a:pt x="11" y="0"/>
                    <a:pt x="10" y="2"/>
                  </a:cubicBezTo>
                  <a:cubicBezTo>
                    <a:pt x="9" y="2"/>
                    <a:pt x="9" y="3"/>
                    <a:pt x="8" y="3"/>
                  </a:cubicBezTo>
                  <a:cubicBezTo>
                    <a:pt x="7" y="5"/>
                    <a:pt x="7" y="7"/>
                    <a:pt x="8" y="8"/>
                  </a:cubicBezTo>
                  <a:cubicBezTo>
                    <a:pt x="9" y="11"/>
                    <a:pt x="6" y="24"/>
                    <a:pt x="3" y="27"/>
                  </a:cubicBezTo>
                  <a:cubicBezTo>
                    <a:pt x="0" y="31"/>
                    <a:pt x="3" y="32"/>
                    <a:pt x="6" y="34"/>
                  </a:cubicBezTo>
                  <a:cubicBezTo>
                    <a:pt x="9" y="37"/>
                    <a:pt x="7" y="46"/>
                    <a:pt x="7" y="48"/>
                  </a:cubicBezTo>
                  <a:cubicBezTo>
                    <a:pt x="7" y="50"/>
                    <a:pt x="10" y="50"/>
                    <a:pt x="13" y="50"/>
                  </a:cubicBezTo>
                  <a:cubicBezTo>
                    <a:pt x="15" y="50"/>
                    <a:pt x="18" y="49"/>
                    <a:pt x="20" y="48"/>
                  </a:cubicBezTo>
                  <a:cubicBezTo>
                    <a:pt x="19" y="47"/>
                    <a:pt x="19" y="46"/>
                    <a:pt x="19" y="46"/>
                  </a:cubicBezTo>
                  <a:cubicBezTo>
                    <a:pt x="19" y="44"/>
                    <a:pt x="19" y="41"/>
                    <a:pt x="22" y="41"/>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35" name="Freeform 78">
              <a:extLst>
                <a:ext uri="{FF2B5EF4-FFF2-40B4-BE49-F238E27FC236}">
                  <a16:creationId xmlns:a16="http://schemas.microsoft.com/office/drawing/2014/main" xmlns="" id="{8B308ADA-3FE4-41D3-AD84-AD4E2A56CE81}"/>
                </a:ext>
              </a:extLst>
            </p:cNvPr>
            <p:cNvSpPr>
              <a:spLocks/>
            </p:cNvSpPr>
            <p:nvPr/>
          </p:nvSpPr>
          <p:spPr bwMode="auto">
            <a:xfrm>
              <a:off x="16402272" y="2729579"/>
              <a:ext cx="85725" cy="76200"/>
            </a:xfrm>
            <a:custGeom>
              <a:avLst/>
              <a:gdLst>
                <a:gd name="T0" fmla="*/ 10 w 33"/>
                <a:gd name="T1" fmla="*/ 22 h 29"/>
                <a:gd name="T2" fmla="*/ 16 w 33"/>
                <a:gd name="T3" fmla="*/ 23 h 29"/>
                <a:gd name="T4" fmla="*/ 21 w 33"/>
                <a:gd name="T5" fmla="*/ 27 h 29"/>
                <a:gd name="T6" fmla="*/ 23 w 33"/>
                <a:gd name="T7" fmla="*/ 29 h 29"/>
                <a:gd name="T8" fmla="*/ 24 w 33"/>
                <a:gd name="T9" fmla="*/ 23 h 29"/>
                <a:gd name="T10" fmla="*/ 25 w 33"/>
                <a:gd name="T11" fmla="*/ 19 h 29"/>
                <a:gd name="T12" fmla="*/ 29 w 33"/>
                <a:gd name="T13" fmla="*/ 17 h 29"/>
                <a:gd name="T14" fmla="*/ 31 w 33"/>
                <a:gd name="T15" fmla="*/ 14 h 29"/>
                <a:gd name="T16" fmla="*/ 28 w 33"/>
                <a:gd name="T17" fmla="*/ 10 h 29"/>
                <a:gd name="T18" fmla="*/ 32 w 33"/>
                <a:gd name="T19" fmla="*/ 6 h 29"/>
                <a:gd name="T20" fmla="*/ 32 w 33"/>
                <a:gd name="T21" fmla="*/ 0 h 29"/>
                <a:gd name="T22" fmla="*/ 30 w 33"/>
                <a:gd name="T23" fmla="*/ 1 h 29"/>
                <a:gd name="T24" fmla="*/ 22 w 33"/>
                <a:gd name="T25" fmla="*/ 2 h 29"/>
                <a:gd name="T26" fmla="*/ 18 w 33"/>
                <a:gd name="T27" fmla="*/ 7 h 29"/>
                <a:gd name="T28" fmla="*/ 15 w 33"/>
                <a:gd name="T29" fmla="*/ 7 h 29"/>
                <a:gd name="T30" fmla="*/ 11 w 33"/>
                <a:gd name="T31" fmla="*/ 9 h 29"/>
                <a:gd name="T32" fmla="*/ 7 w 33"/>
                <a:gd name="T33" fmla="*/ 16 h 29"/>
                <a:gd name="T34" fmla="*/ 1 w 33"/>
                <a:gd name="T35" fmla="*/ 23 h 29"/>
                <a:gd name="T36" fmla="*/ 0 w 33"/>
                <a:gd name="T37" fmla="*/ 24 h 29"/>
                <a:gd name="T38" fmla="*/ 3 w 33"/>
                <a:gd name="T39" fmla="*/ 25 h 29"/>
                <a:gd name="T40" fmla="*/ 10 w 33"/>
                <a:gd name="T41" fmla="*/ 2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 h="29">
                  <a:moveTo>
                    <a:pt x="10" y="22"/>
                  </a:moveTo>
                  <a:cubicBezTo>
                    <a:pt x="12" y="21"/>
                    <a:pt x="14" y="22"/>
                    <a:pt x="16" y="23"/>
                  </a:cubicBezTo>
                  <a:cubicBezTo>
                    <a:pt x="17" y="25"/>
                    <a:pt x="19" y="25"/>
                    <a:pt x="21" y="27"/>
                  </a:cubicBezTo>
                  <a:cubicBezTo>
                    <a:pt x="22" y="28"/>
                    <a:pt x="23" y="28"/>
                    <a:pt x="23" y="29"/>
                  </a:cubicBezTo>
                  <a:cubicBezTo>
                    <a:pt x="23" y="27"/>
                    <a:pt x="23" y="24"/>
                    <a:pt x="24" y="23"/>
                  </a:cubicBezTo>
                  <a:cubicBezTo>
                    <a:pt x="25" y="21"/>
                    <a:pt x="23" y="19"/>
                    <a:pt x="25" y="19"/>
                  </a:cubicBezTo>
                  <a:cubicBezTo>
                    <a:pt x="26" y="19"/>
                    <a:pt x="29" y="19"/>
                    <a:pt x="29" y="17"/>
                  </a:cubicBezTo>
                  <a:cubicBezTo>
                    <a:pt x="29" y="14"/>
                    <a:pt x="30" y="15"/>
                    <a:pt x="31" y="14"/>
                  </a:cubicBezTo>
                  <a:cubicBezTo>
                    <a:pt x="31" y="13"/>
                    <a:pt x="29" y="10"/>
                    <a:pt x="28" y="10"/>
                  </a:cubicBezTo>
                  <a:cubicBezTo>
                    <a:pt x="28" y="9"/>
                    <a:pt x="30" y="9"/>
                    <a:pt x="32" y="6"/>
                  </a:cubicBezTo>
                  <a:cubicBezTo>
                    <a:pt x="33" y="5"/>
                    <a:pt x="33" y="3"/>
                    <a:pt x="32" y="0"/>
                  </a:cubicBezTo>
                  <a:cubicBezTo>
                    <a:pt x="32" y="1"/>
                    <a:pt x="31" y="2"/>
                    <a:pt x="30" y="1"/>
                  </a:cubicBezTo>
                  <a:cubicBezTo>
                    <a:pt x="28" y="0"/>
                    <a:pt x="25" y="1"/>
                    <a:pt x="22" y="2"/>
                  </a:cubicBezTo>
                  <a:cubicBezTo>
                    <a:pt x="18" y="2"/>
                    <a:pt x="17" y="6"/>
                    <a:pt x="18" y="7"/>
                  </a:cubicBezTo>
                  <a:cubicBezTo>
                    <a:pt x="20" y="9"/>
                    <a:pt x="15" y="9"/>
                    <a:pt x="15" y="7"/>
                  </a:cubicBezTo>
                  <a:cubicBezTo>
                    <a:pt x="14" y="5"/>
                    <a:pt x="11" y="7"/>
                    <a:pt x="11" y="9"/>
                  </a:cubicBezTo>
                  <a:cubicBezTo>
                    <a:pt x="11" y="12"/>
                    <a:pt x="7" y="13"/>
                    <a:pt x="7" y="16"/>
                  </a:cubicBezTo>
                  <a:cubicBezTo>
                    <a:pt x="8" y="19"/>
                    <a:pt x="4" y="22"/>
                    <a:pt x="1" y="23"/>
                  </a:cubicBezTo>
                  <a:cubicBezTo>
                    <a:pt x="0" y="24"/>
                    <a:pt x="0" y="24"/>
                    <a:pt x="0" y="24"/>
                  </a:cubicBezTo>
                  <a:cubicBezTo>
                    <a:pt x="1" y="25"/>
                    <a:pt x="2" y="25"/>
                    <a:pt x="3" y="25"/>
                  </a:cubicBezTo>
                  <a:cubicBezTo>
                    <a:pt x="5" y="25"/>
                    <a:pt x="9" y="24"/>
                    <a:pt x="10" y="22"/>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36" name="Freeform 79">
              <a:extLst>
                <a:ext uri="{FF2B5EF4-FFF2-40B4-BE49-F238E27FC236}">
                  <a16:creationId xmlns:a16="http://schemas.microsoft.com/office/drawing/2014/main" xmlns="" id="{DCCB8B4B-80C8-4BAC-B253-2B85126701C6}"/>
                </a:ext>
              </a:extLst>
            </p:cNvPr>
            <p:cNvSpPr>
              <a:spLocks/>
            </p:cNvSpPr>
            <p:nvPr/>
          </p:nvSpPr>
          <p:spPr bwMode="auto">
            <a:xfrm>
              <a:off x="16456247" y="2823241"/>
              <a:ext cx="14288" cy="20637"/>
            </a:xfrm>
            <a:custGeom>
              <a:avLst/>
              <a:gdLst>
                <a:gd name="T0" fmla="*/ 3 w 5"/>
                <a:gd name="T1" fmla="*/ 0 h 8"/>
                <a:gd name="T2" fmla="*/ 0 w 5"/>
                <a:gd name="T3" fmla="*/ 7 h 8"/>
                <a:gd name="T4" fmla="*/ 5 w 5"/>
                <a:gd name="T5" fmla="*/ 8 h 8"/>
                <a:gd name="T6" fmla="*/ 3 w 5"/>
                <a:gd name="T7" fmla="*/ 1 h 8"/>
                <a:gd name="T8" fmla="*/ 3 w 5"/>
                <a:gd name="T9" fmla="*/ 0 h 8"/>
              </a:gdLst>
              <a:ahLst/>
              <a:cxnLst>
                <a:cxn ang="0">
                  <a:pos x="T0" y="T1"/>
                </a:cxn>
                <a:cxn ang="0">
                  <a:pos x="T2" y="T3"/>
                </a:cxn>
                <a:cxn ang="0">
                  <a:pos x="T4" y="T5"/>
                </a:cxn>
                <a:cxn ang="0">
                  <a:pos x="T6" y="T7"/>
                </a:cxn>
                <a:cxn ang="0">
                  <a:pos x="T8" y="T9"/>
                </a:cxn>
              </a:cxnLst>
              <a:rect l="0" t="0" r="r" b="b"/>
              <a:pathLst>
                <a:path w="5" h="8">
                  <a:moveTo>
                    <a:pt x="3" y="0"/>
                  </a:moveTo>
                  <a:cubicBezTo>
                    <a:pt x="1" y="1"/>
                    <a:pt x="0" y="3"/>
                    <a:pt x="0" y="7"/>
                  </a:cubicBezTo>
                  <a:cubicBezTo>
                    <a:pt x="1" y="7"/>
                    <a:pt x="4" y="7"/>
                    <a:pt x="5" y="8"/>
                  </a:cubicBezTo>
                  <a:cubicBezTo>
                    <a:pt x="5" y="3"/>
                    <a:pt x="3" y="2"/>
                    <a:pt x="3" y="1"/>
                  </a:cubicBezTo>
                  <a:cubicBezTo>
                    <a:pt x="2" y="1"/>
                    <a:pt x="3" y="1"/>
                    <a:pt x="3" y="0"/>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37" name="Freeform 80">
              <a:extLst>
                <a:ext uri="{FF2B5EF4-FFF2-40B4-BE49-F238E27FC236}">
                  <a16:creationId xmlns:a16="http://schemas.microsoft.com/office/drawing/2014/main" xmlns="" id="{D833C0AA-089F-475C-AF7B-3D9D4C98A6C2}"/>
                </a:ext>
              </a:extLst>
            </p:cNvPr>
            <p:cNvSpPr>
              <a:spLocks/>
            </p:cNvSpPr>
            <p:nvPr/>
          </p:nvSpPr>
          <p:spPr bwMode="auto">
            <a:xfrm>
              <a:off x="16386397" y="2785141"/>
              <a:ext cx="84138" cy="58737"/>
            </a:xfrm>
            <a:custGeom>
              <a:avLst/>
              <a:gdLst>
                <a:gd name="T0" fmla="*/ 1 w 32"/>
                <a:gd name="T1" fmla="*/ 6 h 23"/>
                <a:gd name="T2" fmla="*/ 4 w 32"/>
                <a:gd name="T3" fmla="*/ 9 h 23"/>
                <a:gd name="T4" fmla="*/ 8 w 32"/>
                <a:gd name="T5" fmla="*/ 12 h 23"/>
                <a:gd name="T6" fmla="*/ 13 w 32"/>
                <a:gd name="T7" fmla="*/ 15 h 23"/>
                <a:gd name="T8" fmla="*/ 16 w 32"/>
                <a:gd name="T9" fmla="*/ 18 h 23"/>
                <a:gd name="T10" fmla="*/ 19 w 32"/>
                <a:gd name="T11" fmla="*/ 16 h 23"/>
                <a:gd name="T12" fmla="*/ 21 w 32"/>
                <a:gd name="T13" fmla="*/ 20 h 23"/>
                <a:gd name="T14" fmla="*/ 26 w 32"/>
                <a:gd name="T15" fmla="*/ 22 h 23"/>
                <a:gd name="T16" fmla="*/ 27 w 32"/>
                <a:gd name="T17" fmla="*/ 22 h 23"/>
                <a:gd name="T18" fmla="*/ 30 w 32"/>
                <a:gd name="T19" fmla="*/ 15 h 23"/>
                <a:gd name="T20" fmla="*/ 31 w 32"/>
                <a:gd name="T21" fmla="*/ 13 h 23"/>
                <a:gd name="T22" fmla="*/ 29 w 32"/>
                <a:gd name="T23" fmla="*/ 8 h 23"/>
                <a:gd name="T24" fmla="*/ 29 w 32"/>
                <a:gd name="T25" fmla="*/ 8 h 23"/>
                <a:gd name="T26" fmla="*/ 27 w 32"/>
                <a:gd name="T27" fmla="*/ 6 h 23"/>
                <a:gd name="T28" fmla="*/ 22 w 32"/>
                <a:gd name="T29" fmla="*/ 2 h 23"/>
                <a:gd name="T30" fmla="*/ 16 w 32"/>
                <a:gd name="T31" fmla="*/ 1 h 23"/>
                <a:gd name="T32" fmla="*/ 9 w 32"/>
                <a:gd name="T33" fmla="*/ 4 h 23"/>
                <a:gd name="T34" fmla="*/ 6 w 32"/>
                <a:gd name="T35" fmla="*/ 3 h 23"/>
                <a:gd name="T36" fmla="*/ 0 w 32"/>
                <a:gd name="T37" fmla="*/ 5 h 23"/>
                <a:gd name="T38" fmla="*/ 1 w 32"/>
                <a:gd name="T39" fmla="*/ 6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23">
                  <a:moveTo>
                    <a:pt x="1" y="6"/>
                  </a:moveTo>
                  <a:cubicBezTo>
                    <a:pt x="1" y="8"/>
                    <a:pt x="3" y="11"/>
                    <a:pt x="4" y="9"/>
                  </a:cubicBezTo>
                  <a:cubicBezTo>
                    <a:pt x="5" y="8"/>
                    <a:pt x="7" y="11"/>
                    <a:pt x="8" y="12"/>
                  </a:cubicBezTo>
                  <a:cubicBezTo>
                    <a:pt x="10" y="13"/>
                    <a:pt x="13" y="14"/>
                    <a:pt x="13" y="15"/>
                  </a:cubicBezTo>
                  <a:cubicBezTo>
                    <a:pt x="13" y="16"/>
                    <a:pt x="14" y="18"/>
                    <a:pt x="16" y="18"/>
                  </a:cubicBezTo>
                  <a:cubicBezTo>
                    <a:pt x="17" y="17"/>
                    <a:pt x="19" y="14"/>
                    <a:pt x="19" y="16"/>
                  </a:cubicBezTo>
                  <a:cubicBezTo>
                    <a:pt x="19" y="17"/>
                    <a:pt x="20" y="20"/>
                    <a:pt x="21" y="20"/>
                  </a:cubicBezTo>
                  <a:cubicBezTo>
                    <a:pt x="23" y="19"/>
                    <a:pt x="24" y="23"/>
                    <a:pt x="26" y="22"/>
                  </a:cubicBezTo>
                  <a:cubicBezTo>
                    <a:pt x="26" y="22"/>
                    <a:pt x="26" y="22"/>
                    <a:pt x="27" y="22"/>
                  </a:cubicBezTo>
                  <a:cubicBezTo>
                    <a:pt x="27" y="18"/>
                    <a:pt x="28" y="16"/>
                    <a:pt x="30" y="15"/>
                  </a:cubicBezTo>
                  <a:cubicBezTo>
                    <a:pt x="30" y="15"/>
                    <a:pt x="31" y="14"/>
                    <a:pt x="31" y="13"/>
                  </a:cubicBezTo>
                  <a:cubicBezTo>
                    <a:pt x="32" y="12"/>
                    <a:pt x="29" y="9"/>
                    <a:pt x="29" y="8"/>
                  </a:cubicBezTo>
                  <a:cubicBezTo>
                    <a:pt x="29" y="8"/>
                    <a:pt x="29" y="8"/>
                    <a:pt x="29" y="8"/>
                  </a:cubicBezTo>
                  <a:cubicBezTo>
                    <a:pt x="29" y="7"/>
                    <a:pt x="28" y="7"/>
                    <a:pt x="27" y="6"/>
                  </a:cubicBezTo>
                  <a:cubicBezTo>
                    <a:pt x="25" y="4"/>
                    <a:pt x="23" y="4"/>
                    <a:pt x="22" y="2"/>
                  </a:cubicBezTo>
                  <a:cubicBezTo>
                    <a:pt x="20" y="1"/>
                    <a:pt x="18" y="0"/>
                    <a:pt x="16" y="1"/>
                  </a:cubicBezTo>
                  <a:cubicBezTo>
                    <a:pt x="15" y="3"/>
                    <a:pt x="11" y="4"/>
                    <a:pt x="9" y="4"/>
                  </a:cubicBezTo>
                  <a:cubicBezTo>
                    <a:pt x="8" y="4"/>
                    <a:pt x="7" y="4"/>
                    <a:pt x="6" y="3"/>
                  </a:cubicBezTo>
                  <a:cubicBezTo>
                    <a:pt x="4" y="4"/>
                    <a:pt x="2" y="5"/>
                    <a:pt x="0" y="5"/>
                  </a:cubicBezTo>
                  <a:cubicBezTo>
                    <a:pt x="1" y="6"/>
                    <a:pt x="1" y="6"/>
                    <a:pt x="1" y="6"/>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38" name="Freeform 81">
              <a:extLst>
                <a:ext uri="{FF2B5EF4-FFF2-40B4-BE49-F238E27FC236}">
                  <a16:creationId xmlns:a16="http://schemas.microsoft.com/office/drawing/2014/main" xmlns="" id="{EAF62596-5E90-4DE7-8367-B8350E87EF58}"/>
                </a:ext>
              </a:extLst>
            </p:cNvPr>
            <p:cNvSpPr>
              <a:spLocks/>
            </p:cNvSpPr>
            <p:nvPr/>
          </p:nvSpPr>
          <p:spPr bwMode="auto">
            <a:xfrm>
              <a:off x="16756284" y="2870866"/>
              <a:ext cx="190500" cy="125412"/>
            </a:xfrm>
            <a:custGeom>
              <a:avLst/>
              <a:gdLst>
                <a:gd name="T0" fmla="*/ 65 w 73"/>
                <a:gd name="T1" fmla="*/ 32 h 48"/>
                <a:gd name="T2" fmla="*/ 62 w 73"/>
                <a:gd name="T3" fmla="*/ 30 h 48"/>
                <a:gd name="T4" fmla="*/ 62 w 73"/>
                <a:gd name="T5" fmla="*/ 30 h 48"/>
                <a:gd name="T6" fmla="*/ 61 w 73"/>
                <a:gd name="T7" fmla="*/ 21 h 48"/>
                <a:gd name="T8" fmla="*/ 56 w 73"/>
                <a:gd name="T9" fmla="*/ 10 h 48"/>
                <a:gd name="T10" fmla="*/ 51 w 73"/>
                <a:gd name="T11" fmla="*/ 0 h 48"/>
                <a:gd name="T12" fmla="*/ 47 w 73"/>
                <a:gd name="T13" fmla="*/ 2 h 48"/>
                <a:gd name="T14" fmla="*/ 42 w 73"/>
                <a:gd name="T15" fmla="*/ 5 h 48"/>
                <a:gd name="T16" fmla="*/ 38 w 73"/>
                <a:gd name="T17" fmla="*/ 5 h 48"/>
                <a:gd name="T18" fmla="*/ 35 w 73"/>
                <a:gd name="T19" fmla="*/ 6 h 48"/>
                <a:gd name="T20" fmla="*/ 30 w 73"/>
                <a:gd name="T21" fmla="*/ 5 h 48"/>
                <a:gd name="T22" fmla="*/ 22 w 73"/>
                <a:gd name="T23" fmla="*/ 3 h 48"/>
                <a:gd name="T24" fmla="*/ 19 w 73"/>
                <a:gd name="T25" fmla="*/ 4 h 48"/>
                <a:gd name="T26" fmla="*/ 18 w 73"/>
                <a:gd name="T27" fmla="*/ 5 h 48"/>
                <a:gd name="T28" fmla="*/ 13 w 73"/>
                <a:gd name="T29" fmla="*/ 9 h 48"/>
                <a:gd name="T30" fmla="*/ 5 w 73"/>
                <a:gd name="T31" fmla="*/ 21 h 48"/>
                <a:gd name="T32" fmla="*/ 0 w 73"/>
                <a:gd name="T33" fmla="*/ 25 h 48"/>
                <a:gd name="T34" fmla="*/ 3 w 73"/>
                <a:gd name="T35" fmla="*/ 29 h 48"/>
                <a:gd name="T36" fmla="*/ 6 w 73"/>
                <a:gd name="T37" fmla="*/ 32 h 48"/>
                <a:gd name="T38" fmla="*/ 7 w 73"/>
                <a:gd name="T39" fmla="*/ 37 h 48"/>
                <a:gd name="T40" fmla="*/ 16 w 73"/>
                <a:gd name="T41" fmla="*/ 40 h 48"/>
                <a:gd name="T42" fmla="*/ 16 w 73"/>
                <a:gd name="T43" fmla="*/ 43 h 48"/>
                <a:gd name="T44" fmla="*/ 21 w 73"/>
                <a:gd name="T45" fmla="*/ 46 h 48"/>
                <a:gd name="T46" fmla="*/ 29 w 73"/>
                <a:gd name="T47" fmla="*/ 47 h 48"/>
                <a:gd name="T48" fmla="*/ 38 w 73"/>
                <a:gd name="T49" fmla="*/ 47 h 48"/>
                <a:gd name="T50" fmla="*/ 44 w 73"/>
                <a:gd name="T51" fmla="*/ 45 h 48"/>
                <a:gd name="T52" fmla="*/ 53 w 73"/>
                <a:gd name="T53" fmla="*/ 43 h 48"/>
                <a:gd name="T54" fmla="*/ 60 w 73"/>
                <a:gd name="T55" fmla="*/ 45 h 48"/>
                <a:gd name="T56" fmla="*/ 64 w 73"/>
                <a:gd name="T57" fmla="*/ 48 h 48"/>
                <a:gd name="T58" fmla="*/ 64 w 73"/>
                <a:gd name="T59" fmla="*/ 43 h 48"/>
                <a:gd name="T60" fmla="*/ 68 w 73"/>
                <a:gd name="T61" fmla="*/ 37 h 48"/>
                <a:gd name="T62" fmla="*/ 73 w 73"/>
                <a:gd name="T63" fmla="*/ 33 h 48"/>
                <a:gd name="T64" fmla="*/ 73 w 73"/>
                <a:gd name="T65" fmla="*/ 32 h 48"/>
                <a:gd name="T66" fmla="*/ 70 w 73"/>
                <a:gd name="T67" fmla="*/ 30 h 48"/>
                <a:gd name="T68" fmla="*/ 65 w 73"/>
                <a:gd name="T69" fmla="*/ 3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3" h="48">
                  <a:moveTo>
                    <a:pt x="65" y="32"/>
                  </a:moveTo>
                  <a:cubicBezTo>
                    <a:pt x="64" y="32"/>
                    <a:pt x="61" y="31"/>
                    <a:pt x="62" y="30"/>
                  </a:cubicBezTo>
                  <a:cubicBezTo>
                    <a:pt x="62" y="30"/>
                    <a:pt x="62" y="30"/>
                    <a:pt x="62" y="30"/>
                  </a:cubicBezTo>
                  <a:cubicBezTo>
                    <a:pt x="60" y="28"/>
                    <a:pt x="60" y="22"/>
                    <a:pt x="61" y="21"/>
                  </a:cubicBezTo>
                  <a:cubicBezTo>
                    <a:pt x="63" y="19"/>
                    <a:pt x="58" y="12"/>
                    <a:pt x="56" y="10"/>
                  </a:cubicBezTo>
                  <a:cubicBezTo>
                    <a:pt x="55" y="8"/>
                    <a:pt x="53" y="4"/>
                    <a:pt x="51" y="0"/>
                  </a:cubicBezTo>
                  <a:cubicBezTo>
                    <a:pt x="49" y="1"/>
                    <a:pt x="47" y="2"/>
                    <a:pt x="47" y="2"/>
                  </a:cubicBezTo>
                  <a:cubicBezTo>
                    <a:pt x="46" y="4"/>
                    <a:pt x="44" y="5"/>
                    <a:pt x="42" y="5"/>
                  </a:cubicBezTo>
                  <a:cubicBezTo>
                    <a:pt x="41" y="5"/>
                    <a:pt x="39" y="4"/>
                    <a:pt x="38" y="5"/>
                  </a:cubicBezTo>
                  <a:cubicBezTo>
                    <a:pt x="37" y="6"/>
                    <a:pt x="35" y="7"/>
                    <a:pt x="35" y="6"/>
                  </a:cubicBezTo>
                  <a:cubicBezTo>
                    <a:pt x="34" y="5"/>
                    <a:pt x="31" y="5"/>
                    <a:pt x="30" y="5"/>
                  </a:cubicBezTo>
                  <a:cubicBezTo>
                    <a:pt x="28" y="5"/>
                    <a:pt x="23" y="3"/>
                    <a:pt x="22" y="3"/>
                  </a:cubicBezTo>
                  <a:cubicBezTo>
                    <a:pt x="21" y="3"/>
                    <a:pt x="20" y="3"/>
                    <a:pt x="19" y="4"/>
                  </a:cubicBezTo>
                  <a:cubicBezTo>
                    <a:pt x="19" y="4"/>
                    <a:pt x="19" y="5"/>
                    <a:pt x="18" y="5"/>
                  </a:cubicBezTo>
                  <a:cubicBezTo>
                    <a:pt x="16" y="6"/>
                    <a:pt x="14" y="8"/>
                    <a:pt x="13" y="9"/>
                  </a:cubicBezTo>
                  <a:cubicBezTo>
                    <a:pt x="11" y="9"/>
                    <a:pt x="8" y="18"/>
                    <a:pt x="5" y="21"/>
                  </a:cubicBezTo>
                  <a:cubicBezTo>
                    <a:pt x="3" y="23"/>
                    <a:pt x="0" y="24"/>
                    <a:pt x="0" y="25"/>
                  </a:cubicBezTo>
                  <a:cubicBezTo>
                    <a:pt x="0" y="25"/>
                    <a:pt x="3" y="28"/>
                    <a:pt x="3" y="29"/>
                  </a:cubicBezTo>
                  <a:cubicBezTo>
                    <a:pt x="3" y="31"/>
                    <a:pt x="4" y="32"/>
                    <a:pt x="6" y="32"/>
                  </a:cubicBezTo>
                  <a:cubicBezTo>
                    <a:pt x="8" y="32"/>
                    <a:pt x="6" y="37"/>
                    <a:pt x="7" y="37"/>
                  </a:cubicBezTo>
                  <a:cubicBezTo>
                    <a:pt x="8" y="37"/>
                    <a:pt x="16" y="38"/>
                    <a:pt x="16" y="40"/>
                  </a:cubicBezTo>
                  <a:cubicBezTo>
                    <a:pt x="16" y="41"/>
                    <a:pt x="17" y="42"/>
                    <a:pt x="16" y="43"/>
                  </a:cubicBezTo>
                  <a:cubicBezTo>
                    <a:pt x="18" y="44"/>
                    <a:pt x="20" y="47"/>
                    <a:pt x="21" y="46"/>
                  </a:cubicBezTo>
                  <a:cubicBezTo>
                    <a:pt x="22" y="46"/>
                    <a:pt x="28" y="47"/>
                    <a:pt x="29" y="47"/>
                  </a:cubicBezTo>
                  <a:cubicBezTo>
                    <a:pt x="31" y="47"/>
                    <a:pt x="36" y="47"/>
                    <a:pt x="38" y="47"/>
                  </a:cubicBezTo>
                  <a:cubicBezTo>
                    <a:pt x="40" y="48"/>
                    <a:pt x="42" y="47"/>
                    <a:pt x="44" y="45"/>
                  </a:cubicBezTo>
                  <a:cubicBezTo>
                    <a:pt x="45" y="43"/>
                    <a:pt x="51" y="43"/>
                    <a:pt x="53" y="43"/>
                  </a:cubicBezTo>
                  <a:cubicBezTo>
                    <a:pt x="55" y="44"/>
                    <a:pt x="59" y="44"/>
                    <a:pt x="60" y="45"/>
                  </a:cubicBezTo>
                  <a:cubicBezTo>
                    <a:pt x="60" y="46"/>
                    <a:pt x="62" y="47"/>
                    <a:pt x="64" y="48"/>
                  </a:cubicBezTo>
                  <a:cubicBezTo>
                    <a:pt x="65" y="46"/>
                    <a:pt x="64" y="45"/>
                    <a:pt x="64" y="43"/>
                  </a:cubicBezTo>
                  <a:cubicBezTo>
                    <a:pt x="65" y="41"/>
                    <a:pt x="66" y="37"/>
                    <a:pt x="68" y="37"/>
                  </a:cubicBezTo>
                  <a:cubicBezTo>
                    <a:pt x="71" y="37"/>
                    <a:pt x="73" y="37"/>
                    <a:pt x="73" y="33"/>
                  </a:cubicBezTo>
                  <a:cubicBezTo>
                    <a:pt x="73" y="32"/>
                    <a:pt x="73" y="32"/>
                    <a:pt x="73" y="32"/>
                  </a:cubicBezTo>
                  <a:cubicBezTo>
                    <a:pt x="71" y="31"/>
                    <a:pt x="70" y="30"/>
                    <a:pt x="70" y="30"/>
                  </a:cubicBezTo>
                  <a:cubicBezTo>
                    <a:pt x="69" y="30"/>
                    <a:pt x="66" y="32"/>
                    <a:pt x="65" y="32"/>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39" name="Freeform 82">
              <a:extLst>
                <a:ext uri="{FF2B5EF4-FFF2-40B4-BE49-F238E27FC236}">
                  <a16:creationId xmlns:a16="http://schemas.microsoft.com/office/drawing/2014/main" xmlns="" id="{A85A68E3-A0AA-43F3-9A2F-DD37FFF60D5B}"/>
                </a:ext>
              </a:extLst>
            </p:cNvPr>
            <p:cNvSpPr>
              <a:spLocks/>
            </p:cNvSpPr>
            <p:nvPr/>
          </p:nvSpPr>
          <p:spPr bwMode="auto">
            <a:xfrm>
              <a:off x="16889634" y="2867691"/>
              <a:ext cx="61913" cy="80962"/>
            </a:xfrm>
            <a:custGeom>
              <a:avLst/>
              <a:gdLst>
                <a:gd name="T0" fmla="*/ 18 w 24"/>
                <a:gd name="T1" fmla="*/ 8 h 31"/>
                <a:gd name="T2" fmla="*/ 12 w 24"/>
                <a:gd name="T3" fmla="*/ 4 h 31"/>
                <a:gd name="T4" fmla="*/ 5 w 24"/>
                <a:gd name="T5" fmla="*/ 0 h 31"/>
                <a:gd name="T6" fmla="*/ 0 w 24"/>
                <a:gd name="T7" fmla="*/ 1 h 31"/>
                <a:gd name="T8" fmla="*/ 5 w 24"/>
                <a:gd name="T9" fmla="*/ 11 h 31"/>
                <a:gd name="T10" fmla="*/ 10 w 24"/>
                <a:gd name="T11" fmla="*/ 22 h 31"/>
                <a:gd name="T12" fmla="*/ 11 w 24"/>
                <a:gd name="T13" fmla="*/ 31 h 31"/>
                <a:gd name="T14" fmla="*/ 16 w 24"/>
                <a:gd name="T15" fmla="*/ 24 h 31"/>
                <a:gd name="T16" fmla="*/ 19 w 24"/>
                <a:gd name="T17" fmla="*/ 20 h 31"/>
                <a:gd name="T18" fmla="*/ 24 w 24"/>
                <a:gd name="T19" fmla="*/ 21 h 31"/>
                <a:gd name="T20" fmla="*/ 23 w 24"/>
                <a:gd name="T21" fmla="*/ 16 h 31"/>
                <a:gd name="T22" fmla="*/ 18 w 24"/>
                <a:gd name="T23" fmla="*/ 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1">
                  <a:moveTo>
                    <a:pt x="18" y="8"/>
                  </a:moveTo>
                  <a:cubicBezTo>
                    <a:pt x="17" y="5"/>
                    <a:pt x="14" y="4"/>
                    <a:pt x="12" y="4"/>
                  </a:cubicBezTo>
                  <a:cubicBezTo>
                    <a:pt x="10" y="4"/>
                    <a:pt x="7" y="0"/>
                    <a:pt x="5" y="0"/>
                  </a:cubicBezTo>
                  <a:cubicBezTo>
                    <a:pt x="4" y="0"/>
                    <a:pt x="2" y="1"/>
                    <a:pt x="0" y="1"/>
                  </a:cubicBezTo>
                  <a:cubicBezTo>
                    <a:pt x="2" y="5"/>
                    <a:pt x="4" y="9"/>
                    <a:pt x="5" y="11"/>
                  </a:cubicBezTo>
                  <a:cubicBezTo>
                    <a:pt x="7" y="13"/>
                    <a:pt x="12" y="20"/>
                    <a:pt x="10" y="22"/>
                  </a:cubicBezTo>
                  <a:cubicBezTo>
                    <a:pt x="9" y="23"/>
                    <a:pt x="9" y="29"/>
                    <a:pt x="11" y="31"/>
                  </a:cubicBezTo>
                  <a:cubicBezTo>
                    <a:pt x="12" y="30"/>
                    <a:pt x="16" y="25"/>
                    <a:pt x="16" y="24"/>
                  </a:cubicBezTo>
                  <a:cubicBezTo>
                    <a:pt x="16" y="22"/>
                    <a:pt x="16" y="19"/>
                    <a:pt x="19" y="20"/>
                  </a:cubicBezTo>
                  <a:cubicBezTo>
                    <a:pt x="22" y="21"/>
                    <a:pt x="24" y="22"/>
                    <a:pt x="24" y="21"/>
                  </a:cubicBezTo>
                  <a:cubicBezTo>
                    <a:pt x="24" y="20"/>
                    <a:pt x="24" y="17"/>
                    <a:pt x="23" y="16"/>
                  </a:cubicBezTo>
                  <a:cubicBezTo>
                    <a:pt x="21" y="15"/>
                    <a:pt x="19" y="11"/>
                    <a:pt x="18" y="8"/>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40" name="Freeform 83">
              <a:extLst>
                <a:ext uri="{FF2B5EF4-FFF2-40B4-BE49-F238E27FC236}">
                  <a16:creationId xmlns:a16="http://schemas.microsoft.com/office/drawing/2014/main" xmlns="" id="{F7A3461A-08A5-4DA8-BF9A-67A8940949DE}"/>
                </a:ext>
              </a:extLst>
            </p:cNvPr>
            <p:cNvSpPr>
              <a:spLocks/>
            </p:cNvSpPr>
            <p:nvPr/>
          </p:nvSpPr>
          <p:spPr bwMode="auto">
            <a:xfrm>
              <a:off x="16792797" y="2983579"/>
              <a:ext cx="130175" cy="73025"/>
            </a:xfrm>
            <a:custGeom>
              <a:avLst/>
              <a:gdLst>
                <a:gd name="T0" fmla="*/ 39 w 50"/>
                <a:gd name="T1" fmla="*/ 0 h 28"/>
                <a:gd name="T2" fmla="*/ 30 w 50"/>
                <a:gd name="T3" fmla="*/ 2 h 28"/>
                <a:gd name="T4" fmla="*/ 24 w 50"/>
                <a:gd name="T5" fmla="*/ 4 h 28"/>
                <a:gd name="T6" fmla="*/ 15 w 50"/>
                <a:gd name="T7" fmla="*/ 4 h 28"/>
                <a:gd name="T8" fmla="*/ 7 w 50"/>
                <a:gd name="T9" fmla="*/ 3 h 28"/>
                <a:gd name="T10" fmla="*/ 2 w 50"/>
                <a:gd name="T11" fmla="*/ 0 h 28"/>
                <a:gd name="T12" fmla="*/ 2 w 50"/>
                <a:gd name="T13" fmla="*/ 1 h 28"/>
                <a:gd name="T14" fmla="*/ 2 w 50"/>
                <a:gd name="T15" fmla="*/ 7 h 28"/>
                <a:gd name="T16" fmla="*/ 4 w 50"/>
                <a:gd name="T17" fmla="*/ 12 h 28"/>
                <a:gd name="T18" fmla="*/ 1 w 50"/>
                <a:gd name="T19" fmla="*/ 15 h 28"/>
                <a:gd name="T20" fmla="*/ 1 w 50"/>
                <a:gd name="T21" fmla="*/ 19 h 28"/>
                <a:gd name="T22" fmla="*/ 6 w 50"/>
                <a:gd name="T23" fmla="*/ 24 h 28"/>
                <a:gd name="T24" fmla="*/ 7 w 50"/>
                <a:gd name="T25" fmla="*/ 26 h 28"/>
                <a:gd name="T26" fmla="*/ 18 w 50"/>
                <a:gd name="T27" fmla="*/ 26 h 28"/>
                <a:gd name="T28" fmla="*/ 27 w 50"/>
                <a:gd name="T29" fmla="*/ 28 h 28"/>
                <a:gd name="T30" fmla="*/ 30 w 50"/>
                <a:gd name="T31" fmla="*/ 26 h 28"/>
                <a:gd name="T32" fmla="*/ 34 w 50"/>
                <a:gd name="T33" fmla="*/ 24 h 28"/>
                <a:gd name="T34" fmla="*/ 34 w 50"/>
                <a:gd name="T35" fmla="*/ 22 h 28"/>
                <a:gd name="T36" fmla="*/ 42 w 50"/>
                <a:gd name="T37" fmla="*/ 22 h 28"/>
                <a:gd name="T38" fmla="*/ 45 w 50"/>
                <a:gd name="T39" fmla="*/ 21 h 28"/>
                <a:gd name="T40" fmla="*/ 44 w 50"/>
                <a:gd name="T41" fmla="*/ 19 h 28"/>
                <a:gd name="T42" fmla="*/ 42 w 50"/>
                <a:gd name="T43" fmla="*/ 13 h 28"/>
                <a:gd name="T44" fmla="*/ 49 w 50"/>
                <a:gd name="T45" fmla="*/ 6 h 28"/>
                <a:gd name="T46" fmla="*/ 50 w 50"/>
                <a:gd name="T47" fmla="*/ 5 h 28"/>
                <a:gd name="T48" fmla="*/ 46 w 50"/>
                <a:gd name="T49" fmla="*/ 2 h 28"/>
                <a:gd name="T50" fmla="*/ 39 w 50"/>
                <a:gd name="T5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28">
                  <a:moveTo>
                    <a:pt x="39" y="0"/>
                  </a:moveTo>
                  <a:cubicBezTo>
                    <a:pt x="37" y="0"/>
                    <a:pt x="31" y="0"/>
                    <a:pt x="30" y="2"/>
                  </a:cubicBezTo>
                  <a:cubicBezTo>
                    <a:pt x="28" y="4"/>
                    <a:pt x="26" y="5"/>
                    <a:pt x="24" y="4"/>
                  </a:cubicBezTo>
                  <a:cubicBezTo>
                    <a:pt x="22" y="4"/>
                    <a:pt x="17" y="4"/>
                    <a:pt x="15" y="4"/>
                  </a:cubicBezTo>
                  <a:cubicBezTo>
                    <a:pt x="14" y="4"/>
                    <a:pt x="8" y="3"/>
                    <a:pt x="7" y="3"/>
                  </a:cubicBezTo>
                  <a:cubicBezTo>
                    <a:pt x="6" y="4"/>
                    <a:pt x="4" y="1"/>
                    <a:pt x="2" y="0"/>
                  </a:cubicBezTo>
                  <a:cubicBezTo>
                    <a:pt x="2" y="0"/>
                    <a:pt x="2" y="1"/>
                    <a:pt x="2" y="1"/>
                  </a:cubicBezTo>
                  <a:cubicBezTo>
                    <a:pt x="0" y="2"/>
                    <a:pt x="0" y="5"/>
                    <a:pt x="2" y="7"/>
                  </a:cubicBezTo>
                  <a:cubicBezTo>
                    <a:pt x="3" y="8"/>
                    <a:pt x="6" y="12"/>
                    <a:pt x="4" y="12"/>
                  </a:cubicBezTo>
                  <a:cubicBezTo>
                    <a:pt x="2" y="12"/>
                    <a:pt x="1" y="14"/>
                    <a:pt x="1" y="15"/>
                  </a:cubicBezTo>
                  <a:cubicBezTo>
                    <a:pt x="2" y="16"/>
                    <a:pt x="1" y="18"/>
                    <a:pt x="1" y="19"/>
                  </a:cubicBezTo>
                  <a:cubicBezTo>
                    <a:pt x="2" y="19"/>
                    <a:pt x="6" y="23"/>
                    <a:pt x="6" y="24"/>
                  </a:cubicBezTo>
                  <a:cubicBezTo>
                    <a:pt x="6" y="25"/>
                    <a:pt x="8" y="25"/>
                    <a:pt x="7" y="26"/>
                  </a:cubicBezTo>
                  <a:cubicBezTo>
                    <a:pt x="10" y="26"/>
                    <a:pt x="17" y="26"/>
                    <a:pt x="18" y="26"/>
                  </a:cubicBezTo>
                  <a:cubicBezTo>
                    <a:pt x="20" y="27"/>
                    <a:pt x="27" y="28"/>
                    <a:pt x="27" y="28"/>
                  </a:cubicBezTo>
                  <a:cubicBezTo>
                    <a:pt x="29" y="28"/>
                    <a:pt x="30" y="27"/>
                    <a:pt x="30" y="26"/>
                  </a:cubicBezTo>
                  <a:cubicBezTo>
                    <a:pt x="29" y="25"/>
                    <a:pt x="32" y="24"/>
                    <a:pt x="34" y="24"/>
                  </a:cubicBezTo>
                  <a:cubicBezTo>
                    <a:pt x="33" y="23"/>
                    <a:pt x="33" y="22"/>
                    <a:pt x="34" y="22"/>
                  </a:cubicBezTo>
                  <a:cubicBezTo>
                    <a:pt x="35" y="21"/>
                    <a:pt x="40" y="21"/>
                    <a:pt x="42" y="22"/>
                  </a:cubicBezTo>
                  <a:cubicBezTo>
                    <a:pt x="43" y="22"/>
                    <a:pt x="44" y="22"/>
                    <a:pt x="45" y="21"/>
                  </a:cubicBezTo>
                  <a:cubicBezTo>
                    <a:pt x="45" y="20"/>
                    <a:pt x="45" y="19"/>
                    <a:pt x="44" y="19"/>
                  </a:cubicBezTo>
                  <a:cubicBezTo>
                    <a:pt x="43" y="19"/>
                    <a:pt x="41" y="14"/>
                    <a:pt x="42" y="13"/>
                  </a:cubicBezTo>
                  <a:cubicBezTo>
                    <a:pt x="44" y="13"/>
                    <a:pt x="46" y="7"/>
                    <a:pt x="49" y="6"/>
                  </a:cubicBezTo>
                  <a:cubicBezTo>
                    <a:pt x="50" y="6"/>
                    <a:pt x="50" y="5"/>
                    <a:pt x="50" y="5"/>
                  </a:cubicBezTo>
                  <a:cubicBezTo>
                    <a:pt x="48" y="4"/>
                    <a:pt x="46" y="3"/>
                    <a:pt x="46" y="2"/>
                  </a:cubicBezTo>
                  <a:cubicBezTo>
                    <a:pt x="45" y="1"/>
                    <a:pt x="41" y="1"/>
                    <a:pt x="39" y="0"/>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41" name="Freeform 84">
              <a:extLst>
                <a:ext uri="{FF2B5EF4-FFF2-40B4-BE49-F238E27FC236}">
                  <a16:creationId xmlns:a16="http://schemas.microsoft.com/office/drawing/2014/main" xmlns="" id="{66EA3418-9BA9-4BF6-9090-9D0CA5977F09}"/>
                </a:ext>
              </a:extLst>
            </p:cNvPr>
            <p:cNvSpPr>
              <a:spLocks/>
            </p:cNvSpPr>
            <p:nvPr/>
          </p:nvSpPr>
          <p:spPr bwMode="auto">
            <a:xfrm>
              <a:off x="16753109" y="3028029"/>
              <a:ext cx="60325" cy="41275"/>
            </a:xfrm>
            <a:custGeom>
              <a:avLst/>
              <a:gdLst>
                <a:gd name="T0" fmla="*/ 6 w 23"/>
                <a:gd name="T1" fmla="*/ 16 h 16"/>
                <a:gd name="T2" fmla="*/ 6 w 23"/>
                <a:gd name="T3" fmla="*/ 16 h 16"/>
                <a:gd name="T4" fmla="*/ 6 w 23"/>
                <a:gd name="T5" fmla="*/ 16 h 16"/>
                <a:gd name="T6" fmla="*/ 6 w 23"/>
                <a:gd name="T7" fmla="*/ 16 h 16"/>
                <a:gd name="T8" fmla="*/ 6 w 23"/>
                <a:gd name="T9" fmla="*/ 16 h 16"/>
                <a:gd name="T10" fmla="*/ 7 w 23"/>
                <a:gd name="T11" fmla="*/ 16 h 16"/>
                <a:gd name="T12" fmla="*/ 9 w 23"/>
                <a:gd name="T13" fmla="*/ 16 h 16"/>
                <a:gd name="T14" fmla="*/ 9 w 23"/>
                <a:gd name="T15" fmla="*/ 16 h 16"/>
                <a:gd name="T16" fmla="*/ 10 w 23"/>
                <a:gd name="T17" fmla="*/ 16 h 16"/>
                <a:gd name="T18" fmla="*/ 10 w 23"/>
                <a:gd name="T19" fmla="*/ 16 h 16"/>
                <a:gd name="T20" fmla="*/ 11 w 23"/>
                <a:gd name="T21" fmla="*/ 15 h 16"/>
                <a:gd name="T22" fmla="*/ 15 w 23"/>
                <a:gd name="T23" fmla="*/ 13 h 16"/>
                <a:gd name="T24" fmla="*/ 22 w 23"/>
                <a:gd name="T25" fmla="*/ 10 h 16"/>
                <a:gd name="T26" fmla="*/ 22 w 23"/>
                <a:gd name="T27" fmla="*/ 9 h 16"/>
                <a:gd name="T28" fmla="*/ 21 w 23"/>
                <a:gd name="T29" fmla="*/ 7 h 16"/>
                <a:gd name="T30" fmla="*/ 16 w 23"/>
                <a:gd name="T31" fmla="*/ 2 h 16"/>
                <a:gd name="T32" fmla="*/ 16 w 23"/>
                <a:gd name="T33" fmla="*/ 1 h 16"/>
                <a:gd name="T34" fmla="*/ 16 w 23"/>
                <a:gd name="T35" fmla="*/ 1 h 16"/>
                <a:gd name="T36" fmla="*/ 16 w 23"/>
                <a:gd name="T37" fmla="*/ 0 h 16"/>
                <a:gd name="T38" fmla="*/ 2 w 23"/>
                <a:gd name="T39" fmla="*/ 3 h 16"/>
                <a:gd name="T40" fmla="*/ 2 w 23"/>
                <a:gd name="T41" fmla="*/ 3 h 16"/>
                <a:gd name="T42" fmla="*/ 1 w 23"/>
                <a:gd name="T43" fmla="*/ 11 h 16"/>
                <a:gd name="T44" fmla="*/ 6 w 23"/>
                <a:gd name="T45"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16">
                  <a:moveTo>
                    <a:pt x="6" y="16"/>
                  </a:moveTo>
                  <a:cubicBezTo>
                    <a:pt x="6" y="16"/>
                    <a:pt x="6" y="16"/>
                    <a:pt x="6" y="16"/>
                  </a:cubicBezTo>
                  <a:cubicBezTo>
                    <a:pt x="6" y="16"/>
                    <a:pt x="6" y="16"/>
                    <a:pt x="6" y="16"/>
                  </a:cubicBezTo>
                  <a:cubicBezTo>
                    <a:pt x="6" y="16"/>
                    <a:pt x="6" y="16"/>
                    <a:pt x="6" y="16"/>
                  </a:cubicBezTo>
                  <a:cubicBezTo>
                    <a:pt x="6" y="16"/>
                    <a:pt x="6" y="16"/>
                    <a:pt x="6" y="16"/>
                  </a:cubicBezTo>
                  <a:cubicBezTo>
                    <a:pt x="7" y="16"/>
                    <a:pt x="7" y="16"/>
                    <a:pt x="7" y="16"/>
                  </a:cubicBezTo>
                  <a:cubicBezTo>
                    <a:pt x="7" y="16"/>
                    <a:pt x="8" y="16"/>
                    <a:pt x="9" y="16"/>
                  </a:cubicBezTo>
                  <a:cubicBezTo>
                    <a:pt x="9" y="16"/>
                    <a:pt x="9" y="16"/>
                    <a:pt x="9" y="16"/>
                  </a:cubicBezTo>
                  <a:cubicBezTo>
                    <a:pt x="10" y="16"/>
                    <a:pt x="10" y="16"/>
                    <a:pt x="10" y="16"/>
                  </a:cubicBezTo>
                  <a:cubicBezTo>
                    <a:pt x="10" y="16"/>
                    <a:pt x="10" y="16"/>
                    <a:pt x="10" y="16"/>
                  </a:cubicBezTo>
                  <a:cubicBezTo>
                    <a:pt x="10" y="15"/>
                    <a:pt x="11" y="15"/>
                    <a:pt x="11" y="15"/>
                  </a:cubicBezTo>
                  <a:cubicBezTo>
                    <a:pt x="13" y="15"/>
                    <a:pt x="14" y="13"/>
                    <a:pt x="15" y="13"/>
                  </a:cubicBezTo>
                  <a:cubicBezTo>
                    <a:pt x="16" y="14"/>
                    <a:pt x="22" y="11"/>
                    <a:pt x="22" y="10"/>
                  </a:cubicBezTo>
                  <a:cubicBezTo>
                    <a:pt x="22" y="9"/>
                    <a:pt x="22" y="9"/>
                    <a:pt x="22" y="9"/>
                  </a:cubicBezTo>
                  <a:cubicBezTo>
                    <a:pt x="23" y="8"/>
                    <a:pt x="21" y="8"/>
                    <a:pt x="21" y="7"/>
                  </a:cubicBezTo>
                  <a:cubicBezTo>
                    <a:pt x="21" y="6"/>
                    <a:pt x="17" y="2"/>
                    <a:pt x="16" y="2"/>
                  </a:cubicBezTo>
                  <a:cubicBezTo>
                    <a:pt x="16" y="2"/>
                    <a:pt x="16" y="2"/>
                    <a:pt x="16" y="1"/>
                  </a:cubicBezTo>
                  <a:cubicBezTo>
                    <a:pt x="16" y="1"/>
                    <a:pt x="16" y="1"/>
                    <a:pt x="16" y="1"/>
                  </a:cubicBezTo>
                  <a:cubicBezTo>
                    <a:pt x="16" y="1"/>
                    <a:pt x="16" y="1"/>
                    <a:pt x="16" y="0"/>
                  </a:cubicBezTo>
                  <a:cubicBezTo>
                    <a:pt x="11" y="1"/>
                    <a:pt x="2" y="3"/>
                    <a:pt x="2" y="3"/>
                  </a:cubicBezTo>
                  <a:cubicBezTo>
                    <a:pt x="2" y="3"/>
                    <a:pt x="2" y="3"/>
                    <a:pt x="2" y="3"/>
                  </a:cubicBezTo>
                  <a:cubicBezTo>
                    <a:pt x="1" y="5"/>
                    <a:pt x="0" y="9"/>
                    <a:pt x="1" y="11"/>
                  </a:cubicBezTo>
                  <a:cubicBezTo>
                    <a:pt x="2" y="13"/>
                    <a:pt x="3" y="14"/>
                    <a:pt x="6" y="16"/>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42" name="Freeform 85">
              <a:extLst>
                <a:ext uri="{FF2B5EF4-FFF2-40B4-BE49-F238E27FC236}">
                  <a16:creationId xmlns:a16="http://schemas.microsoft.com/office/drawing/2014/main" xmlns="" id="{FBE6D065-741F-46B6-A68F-CFEB57234E42}"/>
                </a:ext>
              </a:extLst>
            </p:cNvPr>
            <p:cNvSpPr>
              <a:spLocks/>
            </p:cNvSpPr>
            <p:nvPr/>
          </p:nvSpPr>
          <p:spPr bwMode="auto">
            <a:xfrm>
              <a:off x="16792797" y="2758154"/>
              <a:ext cx="373063" cy="219075"/>
            </a:xfrm>
            <a:custGeom>
              <a:avLst/>
              <a:gdLst>
                <a:gd name="T0" fmla="*/ 134 w 143"/>
                <a:gd name="T1" fmla="*/ 48 h 84"/>
                <a:gd name="T2" fmla="*/ 142 w 143"/>
                <a:gd name="T3" fmla="*/ 43 h 84"/>
                <a:gd name="T4" fmla="*/ 143 w 143"/>
                <a:gd name="T5" fmla="*/ 38 h 84"/>
                <a:gd name="T6" fmla="*/ 143 w 143"/>
                <a:gd name="T7" fmla="*/ 33 h 84"/>
                <a:gd name="T8" fmla="*/ 132 w 143"/>
                <a:gd name="T9" fmla="*/ 28 h 84"/>
                <a:gd name="T10" fmla="*/ 121 w 143"/>
                <a:gd name="T11" fmla="*/ 23 h 84"/>
                <a:gd name="T12" fmla="*/ 113 w 143"/>
                <a:gd name="T13" fmla="*/ 23 h 84"/>
                <a:gd name="T14" fmla="*/ 106 w 143"/>
                <a:gd name="T15" fmla="*/ 20 h 84"/>
                <a:gd name="T16" fmla="*/ 96 w 143"/>
                <a:gd name="T17" fmla="*/ 12 h 84"/>
                <a:gd name="T18" fmla="*/ 94 w 143"/>
                <a:gd name="T19" fmla="*/ 2 h 84"/>
                <a:gd name="T20" fmla="*/ 82 w 143"/>
                <a:gd name="T21" fmla="*/ 1 h 84"/>
                <a:gd name="T22" fmla="*/ 76 w 143"/>
                <a:gd name="T23" fmla="*/ 2 h 84"/>
                <a:gd name="T24" fmla="*/ 66 w 143"/>
                <a:gd name="T25" fmla="*/ 9 h 84"/>
                <a:gd name="T26" fmla="*/ 57 w 143"/>
                <a:gd name="T27" fmla="*/ 11 h 84"/>
                <a:gd name="T28" fmla="*/ 46 w 143"/>
                <a:gd name="T29" fmla="*/ 9 h 84"/>
                <a:gd name="T30" fmla="*/ 34 w 143"/>
                <a:gd name="T31" fmla="*/ 7 h 84"/>
                <a:gd name="T32" fmla="*/ 15 w 143"/>
                <a:gd name="T33" fmla="*/ 8 h 84"/>
                <a:gd name="T34" fmla="*/ 11 w 143"/>
                <a:gd name="T35" fmla="*/ 12 h 84"/>
                <a:gd name="T36" fmla="*/ 11 w 143"/>
                <a:gd name="T37" fmla="*/ 23 h 84"/>
                <a:gd name="T38" fmla="*/ 3 w 143"/>
                <a:gd name="T39" fmla="*/ 36 h 84"/>
                <a:gd name="T40" fmla="*/ 3 w 143"/>
                <a:gd name="T41" fmla="*/ 46 h 84"/>
                <a:gd name="T42" fmla="*/ 8 w 143"/>
                <a:gd name="T43" fmla="*/ 46 h 84"/>
                <a:gd name="T44" fmla="*/ 21 w 143"/>
                <a:gd name="T45" fmla="*/ 49 h 84"/>
                <a:gd name="T46" fmla="*/ 28 w 143"/>
                <a:gd name="T47" fmla="*/ 48 h 84"/>
                <a:gd name="T48" fmla="*/ 42 w 143"/>
                <a:gd name="T49" fmla="*/ 42 h 84"/>
                <a:gd name="T50" fmla="*/ 55 w 143"/>
                <a:gd name="T51" fmla="*/ 50 h 84"/>
                <a:gd name="T52" fmla="*/ 61 w 143"/>
                <a:gd name="T53" fmla="*/ 63 h 84"/>
                <a:gd name="T54" fmla="*/ 53 w 143"/>
                <a:gd name="T55" fmla="*/ 66 h 84"/>
                <a:gd name="T56" fmla="*/ 51 w 143"/>
                <a:gd name="T57" fmla="*/ 75 h 84"/>
                <a:gd name="T58" fmla="*/ 59 w 143"/>
                <a:gd name="T59" fmla="*/ 75 h 84"/>
                <a:gd name="T60" fmla="*/ 69 w 143"/>
                <a:gd name="T61" fmla="*/ 61 h 84"/>
                <a:gd name="T62" fmla="*/ 79 w 143"/>
                <a:gd name="T63" fmla="*/ 65 h 84"/>
                <a:gd name="T64" fmla="*/ 81 w 143"/>
                <a:gd name="T65" fmla="*/ 73 h 84"/>
                <a:gd name="T66" fmla="*/ 90 w 143"/>
                <a:gd name="T67" fmla="*/ 83 h 84"/>
                <a:gd name="T68" fmla="*/ 104 w 143"/>
                <a:gd name="T69" fmla="*/ 78 h 84"/>
                <a:gd name="T70" fmla="*/ 107 w 143"/>
                <a:gd name="T71" fmla="*/ 74 h 84"/>
                <a:gd name="T72" fmla="*/ 110 w 143"/>
                <a:gd name="T73" fmla="*/ 61 h 84"/>
                <a:gd name="T74" fmla="*/ 127 w 143"/>
                <a:gd name="T75" fmla="*/ 5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3" h="84">
                  <a:moveTo>
                    <a:pt x="127" y="52"/>
                  </a:moveTo>
                  <a:cubicBezTo>
                    <a:pt x="129" y="52"/>
                    <a:pt x="132" y="48"/>
                    <a:pt x="134" y="48"/>
                  </a:cubicBezTo>
                  <a:cubicBezTo>
                    <a:pt x="135" y="48"/>
                    <a:pt x="140" y="49"/>
                    <a:pt x="140" y="48"/>
                  </a:cubicBezTo>
                  <a:cubicBezTo>
                    <a:pt x="140" y="47"/>
                    <a:pt x="142" y="44"/>
                    <a:pt x="142" y="43"/>
                  </a:cubicBezTo>
                  <a:cubicBezTo>
                    <a:pt x="141" y="43"/>
                    <a:pt x="139" y="41"/>
                    <a:pt x="140" y="40"/>
                  </a:cubicBezTo>
                  <a:cubicBezTo>
                    <a:pt x="140" y="40"/>
                    <a:pt x="143" y="40"/>
                    <a:pt x="143" y="38"/>
                  </a:cubicBezTo>
                  <a:cubicBezTo>
                    <a:pt x="143" y="37"/>
                    <a:pt x="141" y="37"/>
                    <a:pt x="141" y="36"/>
                  </a:cubicBezTo>
                  <a:cubicBezTo>
                    <a:pt x="141" y="35"/>
                    <a:pt x="143" y="34"/>
                    <a:pt x="143" y="33"/>
                  </a:cubicBezTo>
                  <a:cubicBezTo>
                    <a:pt x="143" y="31"/>
                    <a:pt x="141" y="31"/>
                    <a:pt x="138" y="30"/>
                  </a:cubicBezTo>
                  <a:cubicBezTo>
                    <a:pt x="136" y="29"/>
                    <a:pt x="134" y="29"/>
                    <a:pt x="132" y="28"/>
                  </a:cubicBezTo>
                  <a:cubicBezTo>
                    <a:pt x="129" y="27"/>
                    <a:pt x="125" y="28"/>
                    <a:pt x="125" y="27"/>
                  </a:cubicBezTo>
                  <a:cubicBezTo>
                    <a:pt x="125" y="26"/>
                    <a:pt x="122" y="24"/>
                    <a:pt x="121" y="23"/>
                  </a:cubicBezTo>
                  <a:cubicBezTo>
                    <a:pt x="121" y="22"/>
                    <a:pt x="118" y="22"/>
                    <a:pt x="117" y="23"/>
                  </a:cubicBezTo>
                  <a:cubicBezTo>
                    <a:pt x="116" y="24"/>
                    <a:pt x="114" y="24"/>
                    <a:pt x="113" y="23"/>
                  </a:cubicBezTo>
                  <a:cubicBezTo>
                    <a:pt x="111" y="23"/>
                    <a:pt x="110" y="21"/>
                    <a:pt x="109" y="22"/>
                  </a:cubicBezTo>
                  <a:cubicBezTo>
                    <a:pt x="108" y="22"/>
                    <a:pt x="105" y="22"/>
                    <a:pt x="106" y="20"/>
                  </a:cubicBezTo>
                  <a:cubicBezTo>
                    <a:pt x="106" y="18"/>
                    <a:pt x="104" y="14"/>
                    <a:pt x="102" y="14"/>
                  </a:cubicBezTo>
                  <a:cubicBezTo>
                    <a:pt x="101" y="13"/>
                    <a:pt x="97" y="14"/>
                    <a:pt x="96" y="12"/>
                  </a:cubicBezTo>
                  <a:cubicBezTo>
                    <a:pt x="96" y="11"/>
                    <a:pt x="94" y="9"/>
                    <a:pt x="95" y="8"/>
                  </a:cubicBezTo>
                  <a:cubicBezTo>
                    <a:pt x="95" y="7"/>
                    <a:pt x="94" y="3"/>
                    <a:pt x="94" y="2"/>
                  </a:cubicBezTo>
                  <a:cubicBezTo>
                    <a:pt x="93" y="0"/>
                    <a:pt x="88" y="1"/>
                    <a:pt x="87" y="1"/>
                  </a:cubicBezTo>
                  <a:cubicBezTo>
                    <a:pt x="86" y="2"/>
                    <a:pt x="83" y="1"/>
                    <a:pt x="82" y="1"/>
                  </a:cubicBezTo>
                  <a:cubicBezTo>
                    <a:pt x="80" y="2"/>
                    <a:pt x="80" y="3"/>
                    <a:pt x="78" y="3"/>
                  </a:cubicBezTo>
                  <a:cubicBezTo>
                    <a:pt x="77" y="3"/>
                    <a:pt x="76" y="3"/>
                    <a:pt x="76" y="2"/>
                  </a:cubicBezTo>
                  <a:cubicBezTo>
                    <a:pt x="74" y="3"/>
                    <a:pt x="71" y="3"/>
                    <a:pt x="71" y="3"/>
                  </a:cubicBezTo>
                  <a:cubicBezTo>
                    <a:pt x="71" y="3"/>
                    <a:pt x="66" y="7"/>
                    <a:pt x="66" y="9"/>
                  </a:cubicBezTo>
                  <a:cubicBezTo>
                    <a:pt x="66" y="10"/>
                    <a:pt x="66" y="13"/>
                    <a:pt x="64" y="11"/>
                  </a:cubicBezTo>
                  <a:cubicBezTo>
                    <a:pt x="63" y="10"/>
                    <a:pt x="58" y="10"/>
                    <a:pt x="57" y="11"/>
                  </a:cubicBezTo>
                  <a:cubicBezTo>
                    <a:pt x="56" y="12"/>
                    <a:pt x="54" y="8"/>
                    <a:pt x="52" y="9"/>
                  </a:cubicBezTo>
                  <a:cubicBezTo>
                    <a:pt x="50" y="10"/>
                    <a:pt x="47" y="8"/>
                    <a:pt x="46" y="9"/>
                  </a:cubicBezTo>
                  <a:cubicBezTo>
                    <a:pt x="46" y="10"/>
                    <a:pt x="43" y="9"/>
                    <a:pt x="41" y="8"/>
                  </a:cubicBezTo>
                  <a:cubicBezTo>
                    <a:pt x="39" y="7"/>
                    <a:pt x="35" y="8"/>
                    <a:pt x="34" y="7"/>
                  </a:cubicBezTo>
                  <a:cubicBezTo>
                    <a:pt x="32" y="5"/>
                    <a:pt x="23" y="5"/>
                    <a:pt x="20" y="5"/>
                  </a:cubicBezTo>
                  <a:cubicBezTo>
                    <a:pt x="17" y="5"/>
                    <a:pt x="16" y="7"/>
                    <a:pt x="15" y="8"/>
                  </a:cubicBezTo>
                  <a:cubicBezTo>
                    <a:pt x="13" y="10"/>
                    <a:pt x="12" y="9"/>
                    <a:pt x="10" y="9"/>
                  </a:cubicBezTo>
                  <a:cubicBezTo>
                    <a:pt x="10" y="10"/>
                    <a:pt x="11" y="11"/>
                    <a:pt x="11" y="12"/>
                  </a:cubicBezTo>
                  <a:cubicBezTo>
                    <a:pt x="12" y="13"/>
                    <a:pt x="15" y="18"/>
                    <a:pt x="14" y="20"/>
                  </a:cubicBezTo>
                  <a:cubicBezTo>
                    <a:pt x="13" y="21"/>
                    <a:pt x="12" y="21"/>
                    <a:pt x="11" y="23"/>
                  </a:cubicBezTo>
                  <a:cubicBezTo>
                    <a:pt x="10" y="24"/>
                    <a:pt x="3" y="29"/>
                    <a:pt x="3" y="30"/>
                  </a:cubicBezTo>
                  <a:cubicBezTo>
                    <a:pt x="3" y="31"/>
                    <a:pt x="4" y="35"/>
                    <a:pt x="3" y="36"/>
                  </a:cubicBezTo>
                  <a:cubicBezTo>
                    <a:pt x="2" y="37"/>
                    <a:pt x="0" y="40"/>
                    <a:pt x="0" y="42"/>
                  </a:cubicBezTo>
                  <a:cubicBezTo>
                    <a:pt x="0" y="43"/>
                    <a:pt x="2" y="45"/>
                    <a:pt x="3" y="46"/>
                  </a:cubicBezTo>
                  <a:cubicBezTo>
                    <a:pt x="4" y="46"/>
                    <a:pt x="4" y="46"/>
                    <a:pt x="5" y="47"/>
                  </a:cubicBezTo>
                  <a:cubicBezTo>
                    <a:pt x="6" y="46"/>
                    <a:pt x="7" y="46"/>
                    <a:pt x="8" y="46"/>
                  </a:cubicBezTo>
                  <a:cubicBezTo>
                    <a:pt x="9" y="46"/>
                    <a:pt x="14" y="48"/>
                    <a:pt x="16" y="48"/>
                  </a:cubicBezTo>
                  <a:cubicBezTo>
                    <a:pt x="17" y="48"/>
                    <a:pt x="20" y="48"/>
                    <a:pt x="21" y="49"/>
                  </a:cubicBezTo>
                  <a:cubicBezTo>
                    <a:pt x="21" y="50"/>
                    <a:pt x="23" y="49"/>
                    <a:pt x="24" y="48"/>
                  </a:cubicBezTo>
                  <a:cubicBezTo>
                    <a:pt x="25" y="47"/>
                    <a:pt x="27" y="48"/>
                    <a:pt x="28" y="48"/>
                  </a:cubicBezTo>
                  <a:cubicBezTo>
                    <a:pt x="30" y="48"/>
                    <a:pt x="32" y="47"/>
                    <a:pt x="33" y="45"/>
                  </a:cubicBezTo>
                  <a:cubicBezTo>
                    <a:pt x="33" y="44"/>
                    <a:pt x="41" y="42"/>
                    <a:pt x="42" y="42"/>
                  </a:cubicBezTo>
                  <a:cubicBezTo>
                    <a:pt x="44" y="42"/>
                    <a:pt x="47" y="46"/>
                    <a:pt x="49" y="46"/>
                  </a:cubicBezTo>
                  <a:cubicBezTo>
                    <a:pt x="51" y="46"/>
                    <a:pt x="54" y="47"/>
                    <a:pt x="55" y="50"/>
                  </a:cubicBezTo>
                  <a:cubicBezTo>
                    <a:pt x="56" y="53"/>
                    <a:pt x="58" y="57"/>
                    <a:pt x="60" y="58"/>
                  </a:cubicBezTo>
                  <a:cubicBezTo>
                    <a:pt x="61" y="59"/>
                    <a:pt x="61" y="62"/>
                    <a:pt x="61" y="63"/>
                  </a:cubicBezTo>
                  <a:cubicBezTo>
                    <a:pt x="61" y="64"/>
                    <a:pt x="59" y="63"/>
                    <a:pt x="56" y="62"/>
                  </a:cubicBezTo>
                  <a:cubicBezTo>
                    <a:pt x="53" y="61"/>
                    <a:pt x="53" y="64"/>
                    <a:pt x="53" y="66"/>
                  </a:cubicBezTo>
                  <a:cubicBezTo>
                    <a:pt x="53" y="67"/>
                    <a:pt x="49" y="72"/>
                    <a:pt x="48" y="73"/>
                  </a:cubicBezTo>
                  <a:cubicBezTo>
                    <a:pt x="47" y="74"/>
                    <a:pt x="50" y="75"/>
                    <a:pt x="51" y="75"/>
                  </a:cubicBezTo>
                  <a:cubicBezTo>
                    <a:pt x="52" y="75"/>
                    <a:pt x="55" y="73"/>
                    <a:pt x="56" y="73"/>
                  </a:cubicBezTo>
                  <a:cubicBezTo>
                    <a:pt x="56" y="73"/>
                    <a:pt x="57" y="74"/>
                    <a:pt x="59" y="75"/>
                  </a:cubicBezTo>
                  <a:cubicBezTo>
                    <a:pt x="58" y="71"/>
                    <a:pt x="59" y="72"/>
                    <a:pt x="62" y="69"/>
                  </a:cubicBezTo>
                  <a:cubicBezTo>
                    <a:pt x="66" y="66"/>
                    <a:pt x="66" y="62"/>
                    <a:pt x="69" y="61"/>
                  </a:cubicBezTo>
                  <a:cubicBezTo>
                    <a:pt x="72" y="60"/>
                    <a:pt x="74" y="59"/>
                    <a:pt x="78" y="60"/>
                  </a:cubicBezTo>
                  <a:cubicBezTo>
                    <a:pt x="83" y="60"/>
                    <a:pt x="76" y="63"/>
                    <a:pt x="79" y="65"/>
                  </a:cubicBezTo>
                  <a:cubicBezTo>
                    <a:pt x="82" y="67"/>
                    <a:pt x="92" y="64"/>
                    <a:pt x="92" y="67"/>
                  </a:cubicBezTo>
                  <a:cubicBezTo>
                    <a:pt x="93" y="69"/>
                    <a:pt x="81" y="72"/>
                    <a:pt x="81" y="73"/>
                  </a:cubicBezTo>
                  <a:cubicBezTo>
                    <a:pt x="82" y="74"/>
                    <a:pt x="88" y="75"/>
                    <a:pt x="90" y="76"/>
                  </a:cubicBezTo>
                  <a:cubicBezTo>
                    <a:pt x="92" y="78"/>
                    <a:pt x="89" y="81"/>
                    <a:pt x="90" y="83"/>
                  </a:cubicBezTo>
                  <a:cubicBezTo>
                    <a:pt x="91" y="84"/>
                    <a:pt x="94" y="83"/>
                    <a:pt x="96" y="81"/>
                  </a:cubicBezTo>
                  <a:cubicBezTo>
                    <a:pt x="99" y="79"/>
                    <a:pt x="101" y="80"/>
                    <a:pt x="104" y="78"/>
                  </a:cubicBezTo>
                  <a:cubicBezTo>
                    <a:pt x="107" y="76"/>
                    <a:pt x="114" y="78"/>
                    <a:pt x="115" y="76"/>
                  </a:cubicBezTo>
                  <a:cubicBezTo>
                    <a:pt x="116" y="75"/>
                    <a:pt x="113" y="74"/>
                    <a:pt x="107" y="74"/>
                  </a:cubicBezTo>
                  <a:cubicBezTo>
                    <a:pt x="101" y="75"/>
                    <a:pt x="100" y="69"/>
                    <a:pt x="100" y="68"/>
                  </a:cubicBezTo>
                  <a:cubicBezTo>
                    <a:pt x="100" y="66"/>
                    <a:pt x="107" y="61"/>
                    <a:pt x="110" y="61"/>
                  </a:cubicBezTo>
                  <a:cubicBezTo>
                    <a:pt x="114" y="61"/>
                    <a:pt x="117" y="60"/>
                    <a:pt x="121" y="58"/>
                  </a:cubicBezTo>
                  <a:cubicBezTo>
                    <a:pt x="122" y="57"/>
                    <a:pt x="125" y="57"/>
                    <a:pt x="127" y="56"/>
                  </a:cubicBezTo>
                  <a:cubicBezTo>
                    <a:pt x="127" y="55"/>
                    <a:pt x="126" y="53"/>
                    <a:pt x="127" y="52"/>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43" name="Freeform 86">
              <a:extLst>
                <a:ext uri="{FF2B5EF4-FFF2-40B4-BE49-F238E27FC236}">
                  <a16:creationId xmlns:a16="http://schemas.microsoft.com/office/drawing/2014/main" xmlns="" id="{3F05EF8E-DB31-416F-8D0D-E08230039413}"/>
                </a:ext>
              </a:extLst>
            </p:cNvPr>
            <p:cNvSpPr>
              <a:spLocks/>
            </p:cNvSpPr>
            <p:nvPr/>
          </p:nvSpPr>
          <p:spPr bwMode="auto">
            <a:xfrm>
              <a:off x="16813434" y="2648616"/>
              <a:ext cx="195263" cy="142875"/>
            </a:xfrm>
            <a:custGeom>
              <a:avLst/>
              <a:gdLst>
                <a:gd name="T0" fmla="*/ 71 w 75"/>
                <a:gd name="T1" fmla="*/ 27 h 55"/>
                <a:gd name="T2" fmla="*/ 66 w 75"/>
                <a:gd name="T3" fmla="*/ 22 h 55"/>
                <a:gd name="T4" fmla="*/ 62 w 75"/>
                <a:gd name="T5" fmla="*/ 17 h 55"/>
                <a:gd name="T6" fmla="*/ 61 w 75"/>
                <a:gd name="T7" fmla="*/ 11 h 55"/>
                <a:gd name="T8" fmla="*/ 61 w 75"/>
                <a:gd name="T9" fmla="*/ 6 h 55"/>
                <a:gd name="T10" fmla="*/ 53 w 75"/>
                <a:gd name="T11" fmla="*/ 4 h 55"/>
                <a:gd name="T12" fmla="*/ 49 w 75"/>
                <a:gd name="T13" fmla="*/ 4 h 55"/>
                <a:gd name="T14" fmla="*/ 45 w 75"/>
                <a:gd name="T15" fmla="*/ 2 h 55"/>
                <a:gd name="T16" fmla="*/ 40 w 75"/>
                <a:gd name="T17" fmla="*/ 1 h 55"/>
                <a:gd name="T18" fmla="*/ 40 w 75"/>
                <a:gd name="T19" fmla="*/ 0 h 55"/>
                <a:gd name="T20" fmla="*/ 38 w 75"/>
                <a:gd name="T21" fmla="*/ 1 h 55"/>
                <a:gd name="T22" fmla="*/ 34 w 75"/>
                <a:gd name="T23" fmla="*/ 4 h 55"/>
                <a:gd name="T24" fmla="*/ 29 w 75"/>
                <a:gd name="T25" fmla="*/ 5 h 55"/>
                <a:gd name="T26" fmla="*/ 27 w 75"/>
                <a:gd name="T27" fmla="*/ 9 h 55"/>
                <a:gd name="T28" fmla="*/ 26 w 75"/>
                <a:gd name="T29" fmla="*/ 12 h 55"/>
                <a:gd name="T30" fmla="*/ 23 w 75"/>
                <a:gd name="T31" fmla="*/ 14 h 55"/>
                <a:gd name="T32" fmla="*/ 19 w 75"/>
                <a:gd name="T33" fmla="*/ 18 h 55"/>
                <a:gd name="T34" fmla="*/ 18 w 75"/>
                <a:gd name="T35" fmla="*/ 22 h 55"/>
                <a:gd name="T36" fmla="*/ 13 w 75"/>
                <a:gd name="T37" fmla="*/ 23 h 55"/>
                <a:gd name="T38" fmla="*/ 9 w 75"/>
                <a:gd name="T39" fmla="*/ 25 h 55"/>
                <a:gd name="T40" fmla="*/ 3 w 75"/>
                <a:gd name="T41" fmla="*/ 25 h 55"/>
                <a:gd name="T42" fmla="*/ 3 w 75"/>
                <a:gd name="T43" fmla="*/ 26 h 55"/>
                <a:gd name="T44" fmla="*/ 4 w 75"/>
                <a:gd name="T45" fmla="*/ 32 h 55"/>
                <a:gd name="T46" fmla="*/ 4 w 75"/>
                <a:gd name="T47" fmla="*/ 39 h 55"/>
                <a:gd name="T48" fmla="*/ 0 w 75"/>
                <a:gd name="T49" fmla="*/ 43 h 55"/>
                <a:gd name="T50" fmla="*/ 2 w 75"/>
                <a:gd name="T51" fmla="*/ 47 h 55"/>
                <a:gd name="T52" fmla="*/ 2 w 75"/>
                <a:gd name="T53" fmla="*/ 51 h 55"/>
                <a:gd name="T54" fmla="*/ 7 w 75"/>
                <a:gd name="T55" fmla="*/ 50 h 55"/>
                <a:gd name="T56" fmla="*/ 12 w 75"/>
                <a:gd name="T57" fmla="*/ 47 h 55"/>
                <a:gd name="T58" fmla="*/ 26 w 75"/>
                <a:gd name="T59" fmla="*/ 49 h 55"/>
                <a:gd name="T60" fmla="*/ 33 w 75"/>
                <a:gd name="T61" fmla="*/ 50 h 55"/>
                <a:gd name="T62" fmla="*/ 38 w 75"/>
                <a:gd name="T63" fmla="*/ 51 h 55"/>
                <a:gd name="T64" fmla="*/ 44 w 75"/>
                <a:gd name="T65" fmla="*/ 51 h 55"/>
                <a:gd name="T66" fmla="*/ 49 w 75"/>
                <a:gd name="T67" fmla="*/ 53 h 55"/>
                <a:gd name="T68" fmla="*/ 56 w 75"/>
                <a:gd name="T69" fmla="*/ 53 h 55"/>
                <a:gd name="T70" fmla="*/ 58 w 75"/>
                <a:gd name="T71" fmla="*/ 51 h 55"/>
                <a:gd name="T72" fmla="*/ 63 w 75"/>
                <a:gd name="T73" fmla="*/ 45 h 55"/>
                <a:gd name="T74" fmla="*/ 68 w 75"/>
                <a:gd name="T75" fmla="*/ 44 h 55"/>
                <a:gd name="T76" fmla="*/ 66 w 75"/>
                <a:gd name="T77" fmla="*/ 41 h 55"/>
                <a:gd name="T78" fmla="*/ 65 w 75"/>
                <a:gd name="T79" fmla="*/ 34 h 55"/>
                <a:gd name="T80" fmla="*/ 71 w 75"/>
                <a:gd name="T81" fmla="*/ 34 h 55"/>
                <a:gd name="T82" fmla="*/ 75 w 75"/>
                <a:gd name="T83" fmla="*/ 31 h 55"/>
                <a:gd name="T84" fmla="*/ 71 w 75"/>
                <a:gd name="T85"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5" h="55">
                  <a:moveTo>
                    <a:pt x="71" y="27"/>
                  </a:moveTo>
                  <a:cubicBezTo>
                    <a:pt x="69" y="26"/>
                    <a:pt x="68" y="23"/>
                    <a:pt x="66" y="22"/>
                  </a:cubicBezTo>
                  <a:cubicBezTo>
                    <a:pt x="64" y="21"/>
                    <a:pt x="64" y="18"/>
                    <a:pt x="62" y="17"/>
                  </a:cubicBezTo>
                  <a:cubicBezTo>
                    <a:pt x="60" y="16"/>
                    <a:pt x="61" y="13"/>
                    <a:pt x="61" y="11"/>
                  </a:cubicBezTo>
                  <a:cubicBezTo>
                    <a:pt x="61" y="9"/>
                    <a:pt x="62" y="6"/>
                    <a:pt x="61" y="6"/>
                  </a:cubicBezTo>
                  <a:cubicBezTo>
                    <a:pt x="60" y="5"/>
                    <a:pt x="55" y="3"/>
                    <a:pt x="53" y="4"/>
                  </a:cubicBezTo>
                  <a:cubicBezTo>
                    <a:pt x="51" y="5"/>
                    <a:pt x="50" y="5"/>
                    <a:pt x="49" y="4"/>
                  </a:cubicBezTo>
                  <a:cubicBezTo>
                    <a:pt x="48" y="2"/>
                    <a:pt x="47" y="1"/>
                    <a:pt x="45" y="2"/>
                  </a:cubicBezTo>
                  <a:cubicBezTo>
                    <a:pt x="43" y="2"/>
                    <a:pt x="42" y="1"/>
                    <a:pt x="40" y="1"/>
                  </a:cubicBezTo>
                  <a:cubicBezTo>
                    <a:pt x="40" y="0"/>
                    <a:pt x="40" y="0"/>
                    <a:pt x="40" y="0"/>
                  </a:cubicBezTo>
                  <a:cubicBezTo>
                    <a:pt x="39" y="0"/>
                    <a:pt x="38" y="0"/>
                    <a:pt x="38" y="1"/>
                  </a:cubicBezTo>
                  <a:cubicBezTo>
                    <a:pt x="36" y="2"/>
                    <a:pt x="36" y="4"/>
                    <a:pt x="34" y="4"/>
                  </a:cubicBezTo>
                  <a:cubicBezTo>
                    <a:pt x="33" y="4"/>
                    <a:pt x="31" y="3"/>
                    <a:pt x="29" y="5"/>
                  </a:cubicBezTo>
                  <a:cubicBezTo>
                    <a:pt x="27" y="6"/>
                    <a:pt x="27" y="8"/>
                    <a:pt x="27" y="9"/>
                  </a:cubicBezTo>
                  <a:cubicBezTo>
                    <a:pt x="27" y="10"/>
                    <a:pt x="27" y="12"/>
                    <a:pt x="26" y="12"/>
                  </a:cubicBezTo>
                  <a:cubicBezTo>
                    <a:pt x="24" y="12"/>
                    <a:pt x="25" y="14"/>
                    <a:pt x="23" y="14"/>
                  </a:cubicBezTo>
                  <a:cubicBezTo>
                    <a:pt x="22" y="15"/>
                    <a:pt x="19" y="17"/>
                    <a:pt x="19" y="18"/>
                  </a:cubicBezTo>
                  <a:cubicBezTo>
                    <a:pt x="19" y="19"/>
                    <a:pt x="19" y="22"/>
                    <a:pt x="18" y="22"/>
                  </a:cubicBezTo>
                  <a:cubicBezTo>
                    <a:pt x="17" y="22"/>
                    <a:pt x="14" y="22"/>
                    <a:pt x="13" y="23"/>
                  </a:cubicBezTo>
                  <a:cubicBezTo>
                    <a:pt x="12" y="25"/>
                    <a:pt x="11" y="26"/>
                    <a:pt x="9" y="25"/>
                  </a:cubicBezTo>
                  <a:cubicBezTo>
                    <a:pt x="8" y="25"/>
                    <a:pt x="5" y="25"/>
                    <a:pt x="3" y="25"/>
                  </a:cubicBezTo>
                  <a:cubicBezTo>
                    <a:pt x="3" y="25"/>
                    <a:pt x="3" y="25"/>
                    <a:pt x="3" y="26"/>
                  </a:cubicBezTo>
                  <a:cubicBezTo>
                    <a:pt x="2" y="28"/>
                    <a:pt x="3" y="30"/>
                    <a:pt x="4" y="32"/>
                  </a:cubicBezTo>
                  <a:cubicBezTo>
                    <a:pt x="5" y="33"/>
                    <a:pt x="6" y="38"/>
                    <a:pt x="4" y="39"/>
                  </a:cubicBezTo>
                  <a:cubicBezTo>
                    <a:pt x="3" y="39"/>
                    <a:pt x="0" y="41"/>
                    <a:pt x="0" y="43"/>
                  </a:cubicBezTo>
                  <a:cubicBezTo>
                    <a:pt x="0" y="44"/>
                    <a:pt x="3" y="45"/>
                    <a:pt x="2" y="47"/>
                  </a:cubicBezTo>
                  <a:cubicBezTo>
                    <a:pt x="2" y="48"/>
                    <a:pt x="2" y="50"/>
                    <a:pt x="2" y="51"/>
                  </a:cubicBezTo>
                  <a:cubicBezTo>
                    <a:pt x="4" y="51"/>
                    <a:pt x="5" y="52"/>
                    <a:pt x="7" y="50"/>
                  </a:cubicBezTo>
                  <a:cubicBezTo>
                    <a:pt x="8" y="49"/>
                    <a:pt x="9" y="47"/>
                    <a:pt x="12" y="47"/>
                  </a:cubicBezTo>
                  <a:cubicBezTo>
                    <a:pt x="15" y="47"/>
                    <a:pt x="24" y="47"/>
                    <a:pt x="26" y="49"/>
                  </a:cubicBezTo>
                  <a:cubicBezTo>
                    <a:pt x="27" y="50"/>
                    <a:pt x="31" y="49"/>
                    <a:pt x="33" y="50"/>
                  </a:cubicBezTo>
                  <a:cubicBezTo>
                    <a:pt x="35" y="51"/>
                    <a:pt x="38" y="52"/>
                    <a:pt x="38" y="51"/>
                  </a:cubicBezTo>
                  <a:cubicBezTo>
                    <a:pt x="39" y="50"/>
                    <a:pt x="42" y="52"/>
                    <a:pt x="44" y="51"/>
                  </a:cubicBezTo>
                  <a:cubicBezTo>
                    <a:pt x="46" y="50"/>
                    <a:pt x="48" y="54"/>
                    <a:pt x="49" y="53"/>
                  </a:cubicBezTo>
                  <a:cubicBezTo>
                    <a:pt x="50" y="52"/>
                    <a:pt x="55" y="52"/>
                    <a:pt x="56" y="53"/>
                  </a:cubicBezTo>
                  <a:cubicBezTo>
                    <a:pt x="58" y="55"/>
                    <a:pt x="58" y="52"/>
                    <a:pt x="58" y="51"/>
                  </a:cubicBezTo>
                  <a:cubicBezTo>
                    <a:pt x="58" y="49"/>
                    <a:pt x="63" y="45"/>
                    <a:pt x="63" y="45"/>
                  </a:cubicBezTo>
                  <a:cubicBezTo>
                    <a:pt x="63" y="45"/>
                    <a:pt x="66" y="45"/>
                    <a:pt x="68" y="44"/>
                  </a:cubicBezTo>
                  <a:cubicBezTo>
                    <a:pt x="67" y="44"/>
                    <a:pt x="67" y="43"/>
                    <a:pt x="66" y="41"/>
                  </a:cubicBezTo>
                  <a:cubicBezTo>
                    <a:pt x="66" y="37"/>
                    <a:pt x="64" y="35"/>
                    <a:pt x="65" y="34"/>
                  </a:cubicBezTo>
                  <a:cubicBezTo>
                    <a:pt x="66" y="32"/>
                    <a:pt x="69" y="35"/>
                    <a:pt x="71" y="34"/>
                  </a:cubicBezTo>
                  <a:cubicBezTo>
                    <a:pt x="73" y="34"/>
                    <a:pt x="75" y="32"/>
                    <a:pt x="75" y="31"/>
                  </a:cubicBezTo>
                  <a:cubicBezTo>
                    <a:pt x="75" y="29"/>
                    <a:pt x="72" y="27"/>
                    <a:pt x="71" y="27"/>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44" name="Freeform 87">
              <a:extLst>
                <a:ext uri="{FF2B5EF4-FFF2-40B4-BE49-F238E27FC236}">
                  <a16:creationId xmlns:a16="http://schemas.microsoft.com/office/drawing/2014/main" xmlns="" id="{36A8F628-31A5-4063-971E-A53FAC224DEE}"/>
                </a:ext>
              </a:extLst>
            </p:cNvPr>
            <p:cNvSpPr>
              <a:spLocks/>
            </p:cNvSpPr>
            <p:nvPr/>
          </p:nvSpPr>
          <p:spPr bwMode="auto">
            <a:xfrm>
              <a:off x="16764222" y="2591466"/>
              <a:ext cx="153988" cy="73025"/>
            </a:xfrm>
            <a:custGeom>
              <a:avLst/>
              <a:gdLst>
                <a:gd name="T0" fmla="*/ 20 w 59"/>
                <a:gd name="T1" fmla="*/ 20 h 28"/>
                <a:gd name="T2" fmla="*/ 30 w 59"/>
                <a:gd name="T3" fmla="*/ 20 h 28"/>
                <a:gd name="T4" fmla="*/ 35 w 59"/>
                <a:gd name="T5" fmla="*/ 22 h 28"/>
                <a:gd name="T6" fmla="*/ 42 w 59"/>
                <a:gd name="T7" fmla="*/ 26 h 28"/>
                <a:gd name="T8" fmla="*/ 46 w 59"/>
                <a:gd name="T9" fmla="*/ 28 h 28"/>
                <a:gd name="T10" fmla="*/ 48 w 59"/>
                <a:gd name="T11" fmla="*/ 27 h 28"/>
                <a:gd name="T12" fmla="*/ 53 w 59"/>
                <a:gd name="T13" fmla="*/ 26 h 28"/>
                <a:gd name="T14" fmla="*/ 57 w 59"/>
                <a:gd name="T15" fmla="*/ 23 h 28"/>
                <a:gd name="T16" fmla="*/ 59 w 59"/>
                <a:gd name="T17" fmla="*/ 22 h 28"/>
                <a:gd name="T18" fmla="*/ 57 w 59"/>
                <a:gd name="T19" fmla="*/ 17 h 28"/>
                <a:gd name="T20" fmla="*/ 55 w 59"/>
                <a:gd name="T21" fmla="*/ 12 h 28"/>
                <a:gd name="T22" fmla="*/ 54 w 59"/>
                <a:gd name="T23" fmla="*/ 8 h 28"/>
                <a:gd name="T24" fmla="*/ 53 w 59"/>
                <a:gd name="T25" fmla="*/ 6 h 28"/>
                <a:gd name="T26" fmla="*/ 45 w 59"/>
                <a:gd name="T27" fmla="*/ 5 h 28"/>
                <a:gd name="T28" fmla="*/ 37 w 59"/>
                <a:gd name="T29" fmla="*/ 1 h 28"/>
                <a:gd name="T30" fmla="*/ 28 w 59"/>
                <a:gd name="T31" fmla="*/ 1 h 28"/>
                <a:gd name="T32" fmla="*/ 27 w 59"/>
                <a:gd name="T33" fmla="*/ 9 h 28"/>
                <a:gd name="T34" fmla="*/ 21 w 59"/>
                <a:gd name="T35" fmla="*/ 12 h 28"/>
                <a:gd name="T36" fmla="*/ 14 w 59"/>
                <a:gd name="T37" fmla="*/ 3 h 28"/>
                <a:gd name="T38" fmla="*/ 6 w 59"/>
                <a:gd name="T39" fmla="*/ 7 h 28"/>
                <a:gd name="T40" fmla="*/ 3 w 59"/>
                <a:gd name="T41" fmla="*/ 13 h 28"/>
                <a:gd name="T42" fmla="*/ 2 w 59"/>
                <a:gd name="T43" fmla="*/ 21 h 28"/>
                <a:gd name="T44" fmla="*/ 2 w 59"/>
                <a:gd name="T45" fmla="*/ 22 h 28"/>
                <a:gd name="T46" fmla="*/ 8 w 59"/>
                <a:gd name="T47" fmla="*/ 20 h 28"/>
                <a:gd name="T48" fmla="*/ 20 w 59"/>
                <a:gd name="T49"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28">
                  <a:moveTo>
                    <a:pt x="20" y="20"/>
                  </a:moveTo>
                  <a:cubicBezTo>
                    <a:pt x="22" y="20"/>
                    <a:pt x="27" y="21"/>
                    <a:pt x="30" y="20"/>
                  </a:cubicBezTo>
                  <a:cubicBezTo>
                    <a:pt x="33" y="19"/>
                    <a:pt x="33" y="22"/>
                    <a:pt x="35" y="22"/>
                  </a:cubicBezTo>
                  <a:cubicBezTo>
                    <a:pt x="37" y="21"/>
                    <a:pt x="40" y="24"/>
                    <a:pt x="42" y="26"/>
                  </a:cubicBezTo>
                  <a:cubicBezTo>
                    <a:pt x="44" y="27"/>
                    <a:pt x="45" y="27"/>
                    <a:pt x="46" y="28"/>
                  </a:cubicBezTo>
                  <a:cubicBezTo>
                    <a:pt x="47" y="28"/>
                    <a:pt x="47" y="27"/>
                    <a:pt x="48" y="27"/>
                  </a:cubicBezTo>
                  <a:cubicBezTo>
                    <a:pt x="50" y="25"/>
                    <a:pt x="52" y="26"/>
                    <a:pt x="53" y="26"/>
                  </a:cubicBezTo>
                  <a:cubicBezTo>
                    <a:pt x="55" y="26"/>
                    <a:pt x="55" y="24"/>
                    <a:pt x="57" y="23"/>
                  </a:cubicBezTo>
                  <a:cubicBezTo>
                    <a:pt x="57" y="22"/>
                    <a:pt x="58" y="22"/>
                    <a:pt x="59" y="22"/>
                  </a:cubicBezTo>
                  <a:cubicBezTo>
                    <a:pt x="58" y="21"/>
                    <a:pt x="58" y="18"/>
                    <a:pt x="57" y="17"/>
                  </a:cubicBezTo>
                  <a:cubicBezTo>
                    <a:pt x="56" y="16"/>
                    <a:pt x="54" y="14"/>
                    <a:pt x="55" y="12"/>
                  </a:cubicBezTo>
                  <a:cubicBezTo>
                    <a:pt x="55" y="11"/>
                    <a:pt x="55" y="9"/>
                    <a:pt x="54" y="8"/>
                  </a:cubicBezTo>
                  <a:cubicBezTo>
                    <a:pt x="53" y="7"/>
                    <a:pt x="53" y="7"/>
                    <a:pt x="53" y="6"/>
                  </a:cubicBezTo>
                  <a:cubicBezTo>
                    <a:pt x="50" y="6"/>
                    <a:pt x="46" y="5"/>
                    <a:pt x="45" y="5"/>
                  </a:cubicBezTo>
                  <a:cubicBezTo>
                    <a:pt x="43" y="6"/>
                    <a:pt x="38" y="1"/>
                    <a:pt x="37" y="1"/>
                  </a:cubicBezTo>
                  <a:cubicBezTo>
                    <a:pt x="36" y="0"/>
                    <a:pt x="32" y="0"/>
                    <a:pt x="28" y="1"/>
                  </a:cubicBezTo>
                  <a:cubicBezTo>
                    <a:pt x="26" y="3"/>
                    <a:pt x="28" y="5"/>
                    <a:pt x="27" y="9"/>
                  </a:cubicBezTo>
                  <a:cubicBezTo>
                    <a:pt x="27" y="13"/>
                    <a:pt x="23" y="12"/>
                    <a:pt x="21" y="12"/>
                  </a:cubicBezTo>
                  <a:cubicBezTo>
                    <a:pt x="19" y="12"/>
                    <a:pt x="15" y="5"/>
                    <a:pt x="14" y="3"/>
                  </a:cubicBezTo>
                  <a:cubicBezTo>
                    <a:pt x="13" y="2"/>
                    <a:pt x="9" y="5"/>
                    <a:pt x="6" y="7"/>
                  </a:cubicBezTo>
                  <a:cubicBezTo>
                    <a:pt x="3" y="9"/>
                    <a:pt x="5" y="12"/>
                    <a:pt x="3" y="13"/>
                  </a:cubicBezTo>
                  <a:cubicBezTo>
                    <a:pt x="1" y="15"/>
                    <a:pt x="0" y="18"/>
                    <a:pt x="2" y="21"/>
                  </a:cubicBezTo>
                  <a:cubicBezTo>
                    <a:pt x="2" y="21"/>
                    <a:pt x="2" y="21"/>
                    <a:pt x="2" y="22"/>
                  </a:cubicBezTo>
                  <a:cubicBezTo>
                    <a:pt x="4" y="21"/>
                    <a:pt x="7" y="21"/>
                    <a:pt x="8" y="20"/>
                  </a:cubicBezTo>
                  <a:cubicBezTo>
                    <a:pt x="11" y="18"/>
                    <a:pt x="18" y="20"/>
                    <a:pt x="20" y="20"/>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45" name="Freeform 88">
              <a:extLst>
                <a:ext uri="{FF2B5EF4-FFF2-40B4-BE49-F238E27FC236}">
                  <a16:creationId xmlns:a16="http://schemas.microsoft.com/office/drawing/2014/main" xmlns="" id="{714078C4-CECA-43E9-9DE8-E18615EFD3FD}"/>
                </a:ext>
              </a:extLst>
            </p:cNvPr>
            <p:cNvSpPr>
              <a:spLocks/>
            </p:cNvSpPr>
            <p:nvPr/>
          </p:nvSpPr>
          <p:spPr bwMode="auto">
            <a:xfrm>
              <a:off x="16764222" y="2637504"/>
              <a:ext cx="119063" cy="79375"/>
            </a:xfrm>
            <a:custGeom>
              <a:avLst/>
              <a:gdLst>
                <a:gd name="T0" fmla="*/ 6 w 46"/>
                <a:gd name="T1" fmla="*/ 15 h 30"/>
                <a:gd name="T2" fmla="*/ 11 w 46"/>
                <a:gd name="T3" fmla="*/ 17 h 30"/>
                <a:gd name="T4" fmla="*/ 16 w 46"/>
                <a:gd name="T5" fmla="*/ 19 h 30"/>
                <a:gd name="T6" fmla="*/ 16 w 46"/>
                <a:gd name="T7" fmla="*/ 25 h 30"/>
                <a:gd name="T8" fmla="*/ 22 w 46"/>
                <a:gd name="T9" fmla="*/ 29 h 30"/>
                <a:gd name="T10" fmla="*/ 28 w 46"/>
                <a:gd name="T11" fmla="*/ 29 h 30"/>
                <a:gd name="T12" fmla="*/ 32 w 46"/>
                <a:gd name="T13" fmla="*/ 27 h 30"/>
                <a:gd name="T14" fmla="*/ 37 w 46"/>
                <a:gd name="T15" fmla="*/ 26 h 30"/>
                <a:gd name="T16" fmla="*/ 38 w 46"/>
                <a:gd name="T17" fmla="*/ 22 h 30"/>
                <a:gd name="T18" fmla="*/ 42 w 46"/>
                <a:gd name="T19" fmla="*/ 18 h 30"/>
                <a:gd name="T20" fmla="*/ 45 w 46"/>
                <a:gd name="T21" fmla="*/ 16 h 30"/>
                <a:gd name="T22" fmla="*/ 46 w 46"/>
                <a:gd name="T23" fmla="*/ 13 h 30"/>
                <a:gd name="T24" fmla="*/ 46 w 46"/>
                <a:gd name="T25" fmla="*/ 10 h 30"/>
                <a:gd name="T26" fmla="*/ 42 w 46"/>
                <a:gd name="T27" fmla="*/ 8 h 30"/>
                <a:gd name="T28" fmla="*/ 35 w 46"/>
                <a:gd name="T29" fmla="*/ 4 h 30"/>
                <a:gd name="T30" fmla="*/ 30 w 46"/>
                <a:gd name="T31" fmla="*/ 2 h 30"/>
                <a:gd name="T32" fmla="*/ 20 w 46"/>
                <a:gd name="T33" fmla="*/ 2 h 30"/>
                <a:gd name="T34" fmla="*/ 8 w 46"/>
                <a:gd name="T35" fmla="*/ 2 h 30"/>
                <a:gd name="T36" fmla="*/ 2 w 46"/>
                <a:gd name="T37" fmla="*/ 4 h 30"/>
                <a:gd name="T38" fmla="*/ 1 w 46"/>
                <a:gd name="T39" fmla="*/ 12 h 30"/>
                <a:gd name="T40" fmla="*/ 1 w 46"/>
                <a:gd name="T41" fmla="*/ 14 h 30"/>
                <a:gd name="T42" fmla="*/ 6 w 46"/>
                <a:gd name="T43"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6" h="30">
                  <a:moveTo>
                    <a:pt x="6" y="15"/>
                  </a:moveTo>
                  <a:cubicBezTo>
                    <a:pt x="7" y="16"/>
                    <a:pt x="10" y="17"/>
                    <a:pt x="11" y="17"/>
                  </a:cubicBezTo>
                  <a:cubicBezTo>
                    <a:pt x="12" y="16"/>
                    <a:pt x="16" y="18"/>
                    <a:pt x="16" y="19"/>
                  </a:cubicBezTo>
                  <a:cubicBezTo>
                    <a:pt x="16" y="21"/>
                    <a:pt x="15" y="25"/>
                    <a:pt x="16" y="25"/>
                  </a:cubicBezTo>
                  <a:cubicBezTo>
                    <a:pt x="16" y="25"/>
                    <a:pt x="22" y="27"/>
                    <a:pt x="22" y="29"/>
                  </a:cubicBezTo>
                  <a:cubicBezTo>
                    <a:pt x="24" y="29"/>
                    <a:pt x="27" y="29"/>
                    <a:pt x="28" y="29"/>
                  </a:cubicBezTo>
                  <a:cubicBezTo>
                    <a:pt x="30" y="30"/>
                    <a:pt x="31" y="29"/>
                    <a:pt x="32" y="27"/>
                  </a:cubicBezTo>
                  <a:cubicBezTo>
                    <a:pt x="33" y="26"/>
                    <a:pt x="36" y="26"/>
                    <a:pt x="37" y="26"/>
                  </a:cubicBezTo>
                  <a:cubicBezTo>
                    <a:pt x="38" y="26"/>
                    <a:pt x="38" y="23"/>
                    <a:pt x="38" y="22"/>
                  </a:cubicBezTo>
                  <a:cubicBezTo>
                    <a:pt x="38" y="21"/>
                    <a:pt x="41" y="19"/>
                    <a:pt x="42" y="18"/>
                  </a:cubicBezTo>
                  <a:cubicBezTo>
                    <a:pt x="44" y="18"/>
                    <a:pt x="43" y="16"/>
                    <a:pt x="45" y="16"/>
                  </a:cubicBezTo>
                  <a:cubicBezTo>
                    <a:pt x="46" y="16"/>
                    <a:pt x="46" y="14"/>
                    <a:pt x="46" y="13"/>
                  </a:cubicBezTo>
                  <a:cubicBezTo>
                    <a:pt x="46" y="12"/>
                    <a:pt x="46" y="11"/>
                    <a:pt x="46" y="10"/>
                  </a:cubicBezTo>
                  <a:cubicBezTo>
                    <a:pt x="45" y="9"/>
                    <a:pt x="44" y="9"/>
                    <a:pt x="42" y="8"/>
                  </a:cubicBezTo>
                  <a:cubicBezTo>
                    <a:pt x="40" y="6"/>
                    <a:pt x="37" y="3"/>
                    <a:pt x="35" y="4"/>
                  </a:cubicBezTo>
                  <a:cubicBezTo>
                    <a:pt x="33" y="4"/>
                    <a:pt x="33" y="1"/>
                    <a:pt x="30" y="2"/>
                  </a:cubicBezTo>
                  <a:cubicBezTo>
                    <a:pt x="27" y="3"/>
                    <a:pt x="22" y="2"/>
                    <a:pt x="20" y="2"/>
                  </a:cubicBezTo>
                  <a:cubicBezTo>
                    <a:pt x="18" y="2"/>
                    <a:pt x="11" y="0"/>
                    <a:pt x="8" y="2"/>
                  </a:cubicBezTo>
                  <a:cubicBezTo>
                    <a:pt x="7" y="3"/>
                    <a:pt x="4" y="3"/>
                    <a:pt x="2" y="4"/>
                  </a:cubicBezTo>
                  <a:cubicBezTo>
                    <a:pt x="3" y="7"/>
                    <a:pt x="3" y="10"/>
                    <a:pt x="1" y="12"/>
                  </a:cubicBezTo>
                  <a:cubicBezTo>
                    <a:pt x="0" y="14"/>
                    <a:pt x="0" y="14"/>
                    <a:pt x="1" y="14"/>
                  </a:cubicBezTo>
                  <a:cubicBezTo>
                    <a:pt x="3" y="14"/>
                    <a:pt x="6" y="14"/>
                    <a:pt x="6" y="15"/>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46" name="Freeform 89">
              <a:extLst>
                <a:ext uri="{FF2B5EF4-FFF2-40B4-BE49-F238E27FC236}">
                  <a16:creationId xmlns:a16="http://schemas.microsoft.com/office/drawing/2014/main" xmlns="" id="{1B80184F-DCDD-4E40-9D90-7409D2303BA1}"/>
                </a:ext>
              </a:extLst>
            </p:cNvPr>
            <p:cNvSpPr>
              <a:spLocks/>
            </p:cNvSpPr>
            <p:nvPr/>
          </p:nvSpPr>
          <p:spPr bwMode="auto">
            <a:xfrm>
              <a:off x="16464184" y="2891504"/>
              <a:ext cx="93663" cy="52387"/>
            </a:xfrm>
            <a:custGeom>
              <a:avLst/>
              <a:gdLst>
                <a:gd name="T0" fmla="*/ 32 w 36"/>
                <a:gd name="T1" fmla="*/ 8 h 20"/>
                <a:gd name="T2" fmla="*/ 28 w 36"/>
                <a:gd name="T3" fmla="*/ 6 h 20"/>
                <a:gd name="T4" fmla="*/ 28 w 36"/>
                <a:gd name="T5" fmla="*/ 2 h 20"/>
                <a:gd name="T6" fmla="*/ 23 w 36"/>
                <a:gd name="T7" fmla="*/ 0 h 20"/>
                <a:gd name="T8" fmla="*/ 18 w 36"/>
                <a:gd name="T9" fmla="*/ 0 h 20"/>
                <a:gd name="T10" fmla="*/ 11 w 36"/>
                <a:gd name="T11" fmla="*/ 1 h 20"/>
                <a:gd name="T12" fmla="*/ 10 w 36"/>
                <a:gd name="T13" fmla="*/ 2 h 20"/>
                <a:gd name="T14" fmla="*/ 6 w 36"/>
                <a:gd name="T15" fmla="*/ 5 h 20"/>
                <a:gd name="T16" fmla="*/ 1 w 36"/>
                <a:gd name="T17" fmla="*/ 12 h 20"/>
                <a:gd name="T18" fmla="*/ 2 w 36"/>
                <a:gd name="T19" fmla="*/ 14 h 20"/>
                <a:gd name="T20" fmla="*/ 5 w 36"/>
                <a:gd name="T21" fmla="*/ 15 h 20"/>
                <a:gd name="T22" fmla="*/ 7 w 36"/>
                <a:gd name="T23" fmla="*/ 19 h 20"/>
                <a:gd name="T24" fmla="*/ 7 w 36"/>
                <a:gd name="T25" fmla="*/ 19 h 20"/>
                <a:gd name="T26" fmla="*/ 14 w 36"/>
                <a:gd name="T27" fmla="*/ 18 h 20"/>
                <a:gd name="T28" fmla="*/ 18 w 36"/>
                <a:gd name="T29" fmla="*/ 13 h 20"/>
                <a:gd name="T30" fmla="*/ 22 w 36"/>
                <a:gd name="T31" fmla="*/ 18 h 20"/>
                <a:gd name="T32" fmla="*/ 24 w 36"/>
                <a:gd name="T33" fmla="*/ 15 h 20"/>
                <a:gd name="T34" fmla="*/ 27 w 36"/>
                <a:gd name="T35" fmla="*/ 14 h 20"/>
                <a:gd name="T36" fmla="*/ 31 w 36"/>
                <a:gd name="T37" fmla="*/ 13 h 20"/>
                <a:gd name="T38" fmla="*/ 33 w 36"/>
                <a:gd name="T39" fmla="*/ 12 h 20"/>
                <a:gd name="T40" fmla="*/ 35 w 36"/>
                <a:gd name="T41" fmla="*/ 10 h 20"/>
                <a:gd name="T42" fmla="*/ 36 w 36"/>
                <a:gd name="T43" fmla="*/ 8 h 20"/>
                <a:gd name="T44" fmla="*/ 32 w 36"/>
                <a:gd name="T45" fmla="*/ 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6" h="20">
                  <a:moveTo>
                    <a:pt x="32" y="8"/>
                  </a:moveTo>
                  <a:cubicBezTo>
                    <a:pt x="31" y="9"/>
                    <a:pt x="28" y="6"/>
                    <a:pt x="28" y="6"/>
                  </a:cubicBezTo>
                  <a:cubicBezTo>
                    <a:pt x="28" y="5"/>
                    <a:pt x="28" y="3"/>
                    <a:pt x="28" y="2"/>
                  </a:cubicBezTo>
                  <a:cubicBezTo>
                    <a:pt x="27" y="2"/>
                    <a:pt x="25" y="1"/>
                    <a:pt x="23" y="0"/>
                  </a:cubicBezTo>
                  <a:cubicBezTo>
                    <a:pt x="21" y="0"/>
                    <a:pt x="20" y="0"/>
                    <a:pt x="18" y="0"/>
                  </a:cubicBezTo>
                  <a:cubicBezTo>
                    <a:pt x="17" y="1"/>
                    <a:pt x="13" y="1"/>
                    <a:pt x="11" y="1"/>
                  </a:cubicBezTo>
                  <a:cubicBezTo>
                    <a:pt x="11" y="1"/>
                    <a:pt x="11" y="2"/>
                    <a:pt x="10" y="2"/>
                  </a:cubicBezTo>
                  <a:cubicBezTo>
                    <a:pt x="8" y="2"/>
                    <a:pt x="6" y="4"/>
                    <a:pt x="6" y="5"/>
                  </a:cubicBezTo>
                  <a:cubicBezTo>
                    <a:pt x="6" y="7"/>
                    <a:pt x="2" y="9"/>
                    <a:pt x="1" y="12"/>
                  </a:cubicBezTo>
                  <a:cubicBezTo>
                    <a:pt x="0" y="15"/>
                    <a:pt x="0" y="16"/>
                    <a:pt x="2" y="14"/>
                  </a:cubicBezTo>
                  <a:cubicBezTo>
                    <a:pt x="3" y="12"/>
                    <a:pt x="5" y="13"/>
                    <a:pt x="5" y="15"/>
                  </a:cubicBezTo>
                  <a:cubicBezTo>
                    <a:pt x="5" y="16"/>
                    <a:pt x="8" y="17"/>
                    <a:pt x="7" y="19"/>
                  </a:cubicBezTo>
                  <a:cubicBezTo>
                    <a:pt x="7" y="19"/>
                    <a:pt x="7" y="19"/>
                    <a:pt x="7" y="19"/>
                  </a:cubicBezTo>
                  <a:cubicBezTo>
                    <a:pt x="9" y="19"/>
                    <a:pt x="13" y="18"/>
                    <a:pt x="14" y="18"/>
                  </a:cubicBezTo>
                  <a:cubicBezTo>
                    <a:pt x="15" y="18"/>
                    <a:pt x="17" y="13"/>
                    <a:pt x="18" y="13"/>
                  </a:cubicBezTo>
                  <a:cubicBezTo>
                    <a:pt x="18" y="12"/>
                    <a:pt x="20" y="16"/>
                    <a:pt x="22" y="18"/>
                  </a:cubicBezTo>
                  <a:cubicBezTo>
                    <a:pt x="24" y="20"/>
                    <a:pt x="24" y="17"/>
                    <a:pt x="24" y="15"/>
                  </a:cubicBezTo>
                  <a:cubicBezTo>
                    <a:pt x="24" y="14"/>
                    <a:pt x="26" y="13"/>
                    <a:pt x="27" y="14"/>
                  </a:cubicBezTo>
                  <a:cubicBezTo>
                    <a:pt x="28" y="14"/>
                    <a:pt x="31" y="14"/>
                    <a:pt x="31" y="13"/>
                  </a:cubicBezTo>
                  <a:cubicBezTo>
                    <a:pt x="31" y="11"/>
                    <a:pt x="32" y="12"/>
                    <a:pt x="33" y="12"/>
                  </a:cubicBezTo>
                  <a:cubicBezTo>
                    <a:pt x="34" y="12"/>
                    <a:pt x="35" y="10"/>
                    <a:pt x="35" y="10"/>
                  </a:cubicBezTo>
                  <a:cubicBezTo>
                    <a:pt x="36" y="8"/>
                    <a:pt x="36" y="8"/>
                    <a:pt x="36" y="8"/>
                  </a:cubicBezTo>
                  <a:cubicBezTo>
                    <a:pt x="35" y="8"/>
                    <a:pt x="33" y="7"/>
                    <a:pt x="32" y="8"/>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47" name="Freeform 90">
              <a:extLst>
                <a:ext uri="{FF2B5EF4-FFF2-40B4-BE49-F238E27FC236}">
                  <a16:creationId xmlns:a16="http://schemas.microsoft.com/office/drawing/2014/main" xmlns="" id="{833B83E6-2764-48D9-981D-7A2EF27904CC}"/>
                </a:ext>
              </a:extLst>
            </p:cNvPr>
            <p:cNvSpPr>
              <a:spLocks/>
            </p:cNvSpPr>
            <p:nvPr/>
          </p:nvSpPr>
          <p:spPr bwMode="auto">
            <a:xfrm>
              <a:off x="16462597" y="2689891"/>
              <a:ext cx="187325" cy="212725"/>
            </a:xfrm>
            <a:custGeom>
              <a:avLst/>
              <a:gdLst>
                <a:gd name="T0" fmla="*/ 9 w 72"/>
                <a:gd name="T1" fmla="*/ 21 h 81"/>
                <a:gd name="T2" fmla="*/ 5 w 72"/>
                <a:gd name="T3" fmla="*/ 25 h 81"/>
                <a:gd name="T4" fmla="*/ 8 w 72"/>
                <a:gd name="T5" fmla="*/ 29 h 81"/>
                <a:gd name="T6" fmla="*/ 6 w 72"/>
                <a:gd name="T7" fmla="*/ 32 h 81"/>
                <a:gd name="T8" fmla="*/ 2 w 72"/>
                <a:gd name="T9" fmla="*/ 34 h 81"/>
                <a:gd name="T10" fmla="*/ 1 w 72"/>
                <a:gd name="T11" fmla="*/ 38 h 81"/>
                <a:gd name="T12" fmla="*/ 0 w 72"/>
                <a:gd name="T13" fmla="*/ 44 h 81"/>
                <a:gd name="T14" fmla="*/ 2 w 72"/>
                <a:gd name="T15" fmla="*/ 49 h 81"/>
                <a:gd name="T16" fmla="*/ 1 w 72"/>
                <a:gd name="T17" fmla="*/ 52 h 81"/>
                <a:gd name="T18" fmla="*/ 3 w 72"/>
                <a:gd name="T19" fmla="*/ 59 h 81"/>
                <a:gd name="T20" fmla="*/ 5 w 72"/>
                <a:gd name="T21" fmla="*/ 60 h 81"/>
                <a:gd name="T22" fmla="*/ 10 w 72"/>
                <a:gd name="T23" fmla="*/ 62 h 81"/>
                <a:gd name="T24" fmla="*/ 14 w 72"/>
                <a:gd name="T25" fmla="*/ 64 h 81"/>
                <a:gd name="T26" fmla="*/ 16 w 72"/>
                <a:gd name="T27" fmla="*/ 66 h 81"/>
                <a:gd name="T28" fmla="*/ 13 w 72"/>
                <a:gd name="T29" fmla="*/ 73 h 81"/>
                <a:gd name="T30" fmla="*/ 12 w 72"/>
                <a:gd name="T31" fmla="*/ 78 h 81"/>
                <a:gd name="T32" fmla="*/ 19 w 72"/>
                <a:gd name="T33" fmla="*/ 77 h 81"/>
                <a:gd name="T34" fmla="*/ 24 w 72"/>
                <a:gd name="T35" fmla="*/ 77 h 81"/>
                <a:gd name="T36" fmla="*/ 29 w 72"/>
                <a:gd name="T37" fmla="*/ 79 h 81"/>
                <a:gd name="T38" fmla="*/ 30 w 72"/>
                <a:gd name="T39" fmla="*/ 78 h 81"/>
                <a:gd name="T40" fmla="*/ 35 w 72"/>
                <a:gd name="T41" fmla="*/ 80 h 81"/>
                <a:gd name="T42" fmla="*/ 39 w 72"/>
                <a:gd name="T43" fmla="*/ 79 h 81"/>
                <a:gd name="T44" fmla="*/ 44 w 72"/>
                <a:gd name="T45" fmla="*/ 79 h 81"/>
                <a:gd name="T46" fmla="*/ 52 w 72"/>
                <a:gd name="T47" fmla="*/ 77 h 81"/>
                <a:gd name="T48" fmla="*/ 55 w 72"/>
                <a:gd name="T49" fmla="*/ 75 h 81"/>
                <a:gd name="T50" fmla="*/ 59 w 72"/>
                <a:gd name="T51" fmla="*/ 70 h 81"/>
                <a:gd name="T52" fmla="*/ 63 w 72"/>
                <a:gd name="T53" fmla="*/ 66 h 81"/>
                <a:gd name="T54" fmla="*/ 55 w 72"/>
                <a:gd name="T55" fmla="*/ 60 h 81"/>
                <a:gd name="T56" fmla="*/ 52 w 72"/>
                <a:gd name="T57" fmla="*/ 53 h 81"/>
                <a:gd name="T58" fmla="*/ 51 w 72"/>
                <a:gd name="T59" fmla="*/ 49 h 81"/>
                <a:gd name="T60" fmla="*/ 60 w 72"/>
                <a:gd name="T61" fmla="*/ 46 h 81"/>
                <a:gd name="T62" fmla="*/ 66 w 72"/>
                <a:gd name="T63" fmla="*/ 43 h 81"/>
                <a:gd name="T64" fmla="*/ 71 w 72"/>
                <a:gd name="T65" fmla="*/ 42 h 81"/>
                <a:gd name="T66" fmla="*/ 71 w 72"/>
                <a:gd name="T67" fmla="*/ 38 h 81"/>
                <a:gd name="T68" fmla="*/ 69 w 72"/>
                <a:gd name="T69" fmla="*/ 31 h 81"/>
                <a:gd name="T70" fmla="*/ 68 w 72"/>
                <a:gd name="T71" fmla="*/ 27 h 81"/>
                <a:gd name="T72" fmla="*/ 66 w 72"/>
                <a:gd name="T73" fmla="*/ 23 h 81"/>
                <a:gd name="T74" fmla="*/ 66 w 72"/>
                <a:gd name="T75" fmla="*/ 20 h 81"/>
                <a:gd name="T76" fmla="*/ 66 w 72"/>
                <a:gd name="T77" fmla="*/ 12 h 81"/>
                <a:gd name="T78" fmla="*/ 66 w 72"/>
                <a:gd name="T79" fmla="*/ 11 h 81"/>
                <a:gd name="T80" fmla="*/ 65 w 72"/>
                <a:gd name="T81" fmla="*/ 10 h 81"/>
                <a:gd name="T82" fmla="*/ 60 w 72"/>
                <a:gd name="T83" fmla="*/ 7 h 81"/>
                <a:gd name="T84" fmla="*/ 61 w 72"/>
                <a:gd name="T85" fmla="*/ 2 h 81"/>
                <a:gd name="T86" fmla="*/ 54 w 72"/>
                <a:gd name="T87" fmla="*/ 4 h 81"/>
                <a:gd name="T88" fmla="*/ 45 w 72"/>
                <a:gd name="T89" fmla="*/ 10 h 81"/>
                <a:gd name="T90" fmla="*/ 41 w 72"/>
                <a:gd name="T91" fmla="*/ 7 h 81"/>
                <a:gd name="T92" fmla="*/ 38 w 72"/>
                <a:gd name="T93" fmla="*/ 5 h 81"/>
                <a:gd name="T94" fmla="*/ 32 w 72"/>
                <a:gd name="T95" fmla="*/ 2 h 81"/>
                <a:gd name="T96" fmla="*/ 31 w 72"/>
                <a:gd name="T97" fmla="*/ 0 h 81"/>
                <a:gd name="T98" fmla="*/ 28 w 72"/>
                <a:gd name="T99" fmla="*/ 0 h 81"/>
                <a:gd name="T100" fmla="*/ 21 w 72"/>
                <a:gd name="T101" fmla="*/ 0 h 81"/>
                <a:gd name="T102" fmla="*/ 22 w 72"/>
                <a:gd name="T103" fmla="*/ 4 h 81"/>
                <a:gd name="T104" fmla="*/ 25 w 72"/>
                <a:gd name="T105" fmla="*/ 10 h 81"/>
                <a:gd name="T106" fmla="*/ 21 w 72"/>
                <a:gd name="T107" fmla="*/ 14 h 81"/>
                <a:gd name="T108" fmla="*/ 15 w 72"/>
                <a:gd name="T109" fmla="*/ 13 h 81"/>
                <a:gd name="T110" fmla="*/ 9 w 72"/>
                <a:gd name="T111" fmla="*/ 14 h 81"/>
                <a:gd name="T112" fmla="*/ 9 w 72"/>
                <a:gd name="T113" fmla="*/ 15 h 81"/>
                <a:gd name="T114" fmla="*/ 9 w 72"/>
                <a:gd name="T115" fmla="*/ 2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2" h="81">
                  <a:moveTo>
                    <a:pt x="9" y="21"/>
                  </a:moveTo>
                  <a:cubicBezTo>
                    <a:pt x="7" y="24"/>
                    <a:pt x="5" y="24"/>
                    <a:pt x="5" y="25"/>
                  </a:cubicBezTo>
                  <a:cubicBezTo>
                    <a:pt x="6" y="25"/>
                    <a:pt x="8" y="28"/>
                    <a:pt x="8" y="29"/>
                  </a:cubicBezTo>
                  <a:cubicBezTo>
                    <a:pt x="7" y="30"/>
                    <a:pt x="6" y="29"/>
                    <a:pt x="6" y="32"/>
                  </a:cubicBezTo>
                  <a:cubicBezTo>
                    <a:pt x="6" y="34"/>
                    <a:pt x="3" y="34"/>
                    <a:pt x="2" y="34"/>
                  </a:cubicBezTo>
                  <a:cubicBezTo>
                    <a:pt x="0" y="34"/>
                    <a:pt x="2" y="36"/>
                    <a:pt x="1" y="38"/>
                  </a:cubicBezTo>
                  <a:cubicBezTo>
                    <a:pt x="0" y="39"/>
                    <a:pt x="0" y="43"/>
                    <a:pt x="0" y="44"/>
                  </a:cubicBezTo>
                  <a:cubicBezTo>
                    <a:pt x="0" y="45"/>
                    <a:pt x="3" y="48"/>
                    <a:pt x="2" y="49"/>
                  </a:cubicBezTo>
                  <a:cubicBezTo>
                    <a:pt x="2" y="50"/>
                    <a:pt x="0" y="51"/>
                    <a:pt x="1" y="52"/>
                  </a:cubicBezTo>
                  <a:cubicBezTo>
                    <a:pt x="1" y="53"/>
                    <a:pt x="3" y="54"/>
                    <a:pt x="3" y="59"/>
                  </a:cubicBezTo>
                  <a:cubicBezTo>
                    <a:pt x="4" y="59"/>
                    <a:pt x="5" y="59"/>
                    <a:pt x="5" y="60"/>
                  </a:cubicBezTo>
                  <a:cubicBezTo>
                    <a:pt x="6" y="61"/>
                    <a:pt x="8" y="62"/>
                    <a:pt x="10" y="62"/>
                  </a:cubicBezTo>
                  <a:cubicBezTo>
                    <a:pt x="12" y="62"/>
                    <a:pt x="13" y="64"/>
                    <a:pt x="14" y="64"/>
                  </a:cubicBezTo>
                  <a:cubicBezTo>
                    <a:pt x="15" y="63"/>
                    <a:pt x="18" y="64"/>
                    <a:pt x="16" y="66"/>
                  </a:cubicBezTo>
                  <a:cubicBezTo>
                    <a:pt x="14" y="68"/>
                    <a:pt x="13" y="71"/>
                    <a:pt x="13" y="73"/>
                  </a:cubicBezTo>
                  <a:cubicBezTo>
                    <a:pt x="12" y="74"/>
                    <a:pt x="12" y="76"/>
                    <a:pt x="12" y="78"/>
                  </a:cubicBezTo>
                  <a:cubicBezTo>
                    <a:pt x="14" y="78"/>
                    <a:pt x="18" y="78"/>
                    <a:pt x="19" y="77"/>
                  </a:cubicBezTo>
                  <a:cubicBezTo>
                    <a:pt x="21" y="77"/>
                    <a:pt x="22" y="77"/>
                    <a:pt x="24" y="77"/>
                  </a:cubicBezTo>
                  <a:cubicBezTo>
                    <a:pt x="26" y="78"/>
                    <a:pt x="28" y="79"/>
                    <a:pt x="29" y="79"/>
                  </a:cubicBezTo>
                  <a:cubicBezTo>
                    <a:pt x="29" y="79"/>
                    <a:pt x="29" y="78"/>
                    <a:pt x="30" y="78"/>
                  </a:cubicBezTo>
                  <a:cubicBezTo>
                    <a:pt x="32" y="78"/>
                    <a:pt x="33" y="81"/>
                    <a:pt x="35" y="80"/>
                  </a:cubicBezTo>
                  <a:cubicBezTo>
                    <a:pt x="36" y="78"/>
                    <a:pt x="38" y="78"/>
                    <a:pt x="39" y="79"/>
                  </a:cubicBezTo>
                  <a:cubicBezTo>
                    <a:pt x="41" y="80"/>
                    <a:pt x="43" y="80"/>
                    <a:pt x="44" y="79"/>
                  </a:cubicBezTo>
                  <a:cubicBezTo>
                    <a:pt x="45" y="77"/>
                    <a:pt x="51" y="76"/>
                    <a:pt x="52" y="77"/>
                  </a:cubicBezTo>
                  <a:cubicBezTo>
                    <a:pt x="53" y="77"/>
                    <a:pt x="57" y="79"/>
                    <a:pt x="55" y="75"/>
                  </a:cubicBezTo>
                  <a:cubicBezTo>
                    <a:pt x="54" y="70"/>
                    <a:pt x="58" y="71"/>
                    <a:pt x="59" y="70"/>
                  </a:cubicBezTo>
                  <a:cubicBezTo>
                    <a:pt x="59" y="68"/>
                    <a:pt x="64" y="67"/>
                    <a:pt x="63" y="66"/>
                  </a:cubicBezTo>
                  <a:cubicBezTo>
                    <a:pt x="62" y="65"/>
                    <a:pt x="56" y="61"/>
                    <a:pt x="55" y="60"/>
                  </a:cubicBezTo>
                  <a:cubicBezTo>
                    <a:pt x="53" y="59"/>
                    <a:pt x="53" y="55"/>
                    <a:pt x="52" y="53"/>
                  </a:cubicBezTo>
                  <a:cubicBezTo>
                    <a:pt x="51" y="51"/>
                    <a:pt x="49" y="49"/>
                    <a:pt x="51" y="49"/>
                  </a:cubicBezTo>
                  <a:cubicBezTo>
                    <a:pt x="54" y="48"/>
                    <a:pt x="58" y="47"/>
                    <a:pt x="60" y="46"/>
                  </a:cubicBezTo>
                  <a:cubicBezTo>
                    <a:pt x="62" y="44"/>
                    <a:pt x="65" y="44"/>
                    <a:pt x="66" y="43"/>
                  </a:cubicBezTo>
                  <a:cubicBezTo>
                    <a:pt x="68" y="41"/>
                    <a:pt x="70" y="43"/>
                    <a:pt x="71" y="42"/>
                  </a:cubicBezTo>
                  <a:cubicBezTo>
                    <a:pt x="71" y="41"/>
                    <a:pt x="72" y="39"/>
                    <a:pt x="71" y="38"/>
                  </a:cubicBezTo>
                  <a:cubicBezTo>
                    <a:pt x="70" y="37"/>
                    <a:pt x="69" y="35"/>
                    <a:pt x="69" y="31"/>
                  </a:cubicBezTo>
                  <a:cubicBezTo>
                    <a:pt x="69" y="28"/>
                    <a:pt x="68" y="29"/>
                    <a:pt x="68" y="27"/>
                  </a:cubicBezTo>
                  <a:cubicBezTo>
                    <a:pt x="68" y="26"/>
                    <a:pt x="67" y="24"/>
                    <a:pt x="66" y="23"/>
                  </a:cubicBezTo>
                  <a:cubicBezTo>
                    <a:pt x="65" y="23"/>
                    <a:pt x="64" y="22"/>
                    <a:pt x="66" y="20"/>
                  </a:cubicBezTo>
                  <a:cubicBezTo>
                    <a:pt x="67" y="18"/>
                    <a:pt x="66" y="13"/>
                    <a:pt x="66" y="12"/>
                  </a:cubicBezTo>
                  <a:cubicBezTo>
                    <a:pt x="66" y="11"/>
                    <a:pt x="66" y="11"/>
                    <a:pt x="66" y="11"/>
                  </a:cubicBezTo>
                  <a:cubicBezTo>
                    <a:pt x="65" y="11"/>
                    <a:pt x="65" y="10"/>
                    <a:pt x="65" y="10"/>
                  </a:cubicBezTo>
                  <a:cubicBezTo>
                    <a:pt x="65" y="8"/>
                    <a:pt x="63" y="7"/>
                    <a:pt x="60" y="7"/>
                  </a:cubicBezTo>
                  <a:cubicBezTo>
                    <a:pt x="57" y="7"/>
                    <a:pt x="62" y="4"/>
                    <a:pt x="61" y="2"/>
                  </a:cubicBezTo>
                  <a:cubicBezTo>
                    <a:pt x="60" y="1"/>
                    <a:pt x="57" y="5"/>
                    <a:pt x="54" y="4"/>
                  </a:cubicBezTo>
                  <a:cubicBezTo>
                    <a:pt x="51" y="3"/>
                    <a:pt x="47" y="8"/>
                    <a:pt x="45" y="10"/>
                  </a:cubicBezTo>
                  <a:cubicBezTo>
                    <a:pt x="42" y="12"/>
                    <a:pt x="39" y="9"/>
                    <a:pt x="41" y="7"/>
                  </a:cubicBezTo>
                  <a:cubicBezTo>
                    <a:pt x="43" y="4"/>
                    <a:pt x="41" y="4"/>
                    <a:pt x="38" y="5"/>
                  </a:cubicBezTo>
                  <a:cubicBezTo>
                    <a:pt x="35" y="6"/>
                    <a:pt x="32" y="5"/>
                    <a:pt x="32" y="2"/>
                  </a:cubicBezTo>
                  <a:cubicBezTo>
                    <a:pt x="32" y="2"/>
                    <a:pt x="32" y="1"/>
                    <a:pt x="31" y="0"/>
                  </a:cubicBezTo>
                  <a:cubicBezTo>
                    <a:pt x="30" y="1"/>
                    <a:pt x="29" y="1"/>
                    <a:pt x="28" y="0"/>
                  </a:cubicBezTo>
                  <a:cubicBezTo>
                    <a:pt x="27" y="0"/>
                    <a:pt x="24" y="0"/>
                    <a:pt x="21" y="0"/>
                  </a:cubicBezTo>
                  <a:cubicBezTo>
                    <a:pt x="22" y="1"/>
                    <a:pt x="23" y="2"/>
                    <a:pt x="22" y="4"/>
                  </a:cubicBezTo>
                  <a:cubicBezTo>
                    <a:pt x="21" y="6"/>
                    <a:pt x="23" y="7"/>
                    <a:pt x="25" y="10"/>
                  </a:cubicBezTo>
                  <a:cubicBezTo>
                    <a:pt x="26" y="13"/>
                    <a:pt x="21" y="12"/>
                    <a:pt x="21" y="14"/>
                  </a:cubicBezTo>
                  <a:cubicBezTo>
                    <a:pt x="21" y="16"/>
                    <a:pt x="17" y="14"/>
                    <a:pt x="15" y="13"/>
                  </a:cubicBezTo>
                  <a:cubicBezTo>
                    <a:pt x="14" y="12"/>
                    <a:pt x="9" y="13"/>
                    <a:pt x="9" y="14"/>
                  </a:cubicBezTo>
                  <a:cubicBezTo>
                    <a:pt x="9" y="14"/>
                    <a:pt x="9" y="15"/>
                    <a:pt x="9" y="15"/>
                  </a:cubicBezTo>
                  <a:cubicBezTo>
                    <a:pt x="10" y="18"/>
                    <a:pt x="10" y="20"/>
                    <a:pt x="9" y="21"/>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48" name="Freeform 91">
              <a:extLst>
                <a:ext uri="{FF2B5EF4-FFF2-40B4-BE49-F238E27FC236}">
                  <a16:creationId xmlns:a16="http://schemas.microsoft.com/office/drawing/2014/main" xmlns="" id="{7AA6B7EC-D4AA-404A-8AA7-756226B8E48C}"/>
                </a:ext>
              </a:extLst>
            </p:cNvPr>
            <p:cNvSpPr>
              <a:spLocks/>
            </p:cNvSpPr>
            <p:nvPr/>
          </p:nvSpPr>
          <p:spPr bwMode="auto">
            <a:xfrm>
              <a:off x="16767397" y="2178716"/>
              <a:ext cx="220663" cy="352425"/>
            </a:xfrm>
            <a:custGeom>
              <a:avLst/>
              <a:gdLst>
                <a:gd name="T0" fmla="*/ 72 w 85"/>
                <a:gd name="T1" fmla="*/ 113 h 135"/>
                <a:gd name="T2" fmla="*/ 84 w 85"/>
                <a:gd name="T3" fmla="*/ 102 h 135"/>
                <a:gd name="T4" fmla="*/ 82 w 85"/>
                <a:gd name="T5" fmla="*/ 96 h 135"/>
                <a:gd name="T6" fmla="*/ 72 w 85"/>
                <a:gd name="T7" fmla="*/ 88 h 135"/>
                <a:gd name="T8" fmla="*/ 77 w 85"/>
                <a:gd name="T9" fmla="*/ 83 h 135"/>
                <a:gd name="T10" fmla="*/ 72 w 85"/>
                <a:gd name="T11" fmla="*/ 79 h 135"/>
                <a:gd name="T12" fmla="*/ 74 w 85"/>
                <a:gd name="T13" fmla="*/ 75 h 135"/>
                <a:gd name="T14" fmla="*/ 70 w 85"/>
                <a:gd name="T15" fmla="*/ 72 h 135"/>
                <a:gd name="T16" fmla="*/ 71 w 85"/>
                <a:gd name="T17" fmla="*/ 70 h 135"/>
                <a:gd name="T18" fmla="*/ 70 w 85"/>
                <a:gd name="T19" fmla="*/ 64 h 135"/>
                <a:gd name="T20" fmla="*/ 73 w 85"/>
                <a:gd name="T21" fmla="*/ 59 h 135"/>
                <a:gd name="T22" fmla="*/ 65 w 85"/>
                <a:gd name="T23" fmla="*/ 47 h 135"/>
                <a:gd name="T24" fmla="*/ 68 w 85"/>
                <a:gd name="T25" fmla="*/ 42 h 135"/>
                <a:gd name="T26" fmla="*/ 73 w 85"/>
                <a:gd name="T27" fmla="*/ 36 h 135"/>
                <a:gd name="T28" fmla="*/ 67 w 85"/>
                <a:gd name="T29" fmla="*/ 30 h 135"/>
                <a:gd name="T30" fmla="*/ 62 w 85"/>
                <a:gd name="T31" fmla="*/ 27 h 135"/>
                <a:gd name="T32" fmla="*/ 61 w 85"/>
                <a:gd name="T33" fmla="*/ 23 h 135"/>
                <a:gd name="T34" fmla="*/ 62 w 85"/>
                <a:gd name="T35" fmla="*/ 19 h 135"/>
                <a:gd name="T36" fmla="*/ 65 w 85"/>
                <a:gd name="T37" fmla="*/ 16 h 135"/>
                <a:gd name="T38" fmla="*/ 67 w 85"/>
                <a:gd name="T39" fmla="*/ 13 h 135"/>
                <a:gd name="T40" fmla="*/ 67 w 85"/>
                <a:gd name="T41" fmla="*/ 9 h 135"/>
                <a:gd name="T42" fmla="*/ 58 w 85"/>
                <a:gd name="T43" fmla="*/ 3 h 135"/>
                <a:gd name="T44" fmla="*/ 52 w 85"/>
                <a:gd name="T45" fmla="*/ 3 h 135"/>
                <a:gd name="T46" fmla="*/ 44 w 85"/>
                <a:gd name="T47" fmla="*/ 5 h 135"/>
                <a:gd name="T48" fmla="*/ 39 w 85"/>
                <a:gd name="T49" fmla="*/ 10 h 135"/>
                <a:gd name="T50" fmla="*/ 37 w 85"/>
                <a:gd name="T51" fmla="*/ 17 h 135"/>
                <a:gd name="T52" fmla="*/ 34 w 85"/>
                <a:gd name="T53" fmla="*/ 22 h 135"/>
                <a:gd name="T54" fmla="*/ 29 w 85"/>
                <a:gd name="T55" fmla="*/ 21 h 135"/>
                <a:gd name="T56" fmla="*/ 23 w 85"/>
                <a:gd name="T57" fmla="*/ 20 h 135"/>
                <a:gd name="T58" fmla="*/ 14 w 85"/>
                <a:gd name="T59" fmla="*/ 20 h 135"/>
                <a:gd name="T60" fmla="*/ 6 w 85"/>
                <a:gd name="T61" fmla="*/ 13 h 135"/>
                <a:gd name="T62" fmla="*/ 0 w 85"/>
                <a:gd name="T63" fmla="*/ 17 h 135"/>
                <a:gd name="T64" fmla="*/ 9 w 85"/>
                <a:gd name="T65" fmla="*/ 24 h 135"/>
                <a:gd name="T66" fmla="*/ 21 w 85"/>
                <a:gd name="T67" fmla="*/ 31 h 135"/>
                <a:gd name="T68" fmla="*/ 21 w 85"/>
                <a:gd name="T69" fmla="*/ 38 h 135"/>
                <a:gd name="T70" fmla="*/ 23 w 85"/>
                <a:gd name="T71" fmla="*/ 45 h 135"/>
                <a:gd name="T72" fmla="*/ 23 w 85"/>
                <a:gd name="T73" fmla="*/ 52 h 135"/>
                <a:gd name="T74" fmla="*/ 24 w 85"/>
                <a:gd name="T75" fmla="*/ 57 h 135"/>
                <a:gd name="T76" fmla="*/ 25 w 85"/>
                <a:gd name="T77" fmla="*/ 61 h 135"/>
                <a:gd name="T78" fmla="*/ 32 w 85"/>
                <a:gd name="T79" fmla="*/ 63 h 135"/>
                <a:gd name="T80" fmla="*/ 34 w 85"/>
                <a:gd name="T81" fmla="*/ 69 h 135"/>
                <a:gd name="T82" fmla="*/ 33 w 85"/>
                <a:gd name="T83" fmla="*/ 72 h 135"/>
                <a:gd name="T84" fmla="*/ 29 w 85"/>
                <a:gd name="T85" fmla="*/ 76 h 135"/>
                <a:gd name="T86" fmla="*/ 20 w 85"/>
                <a:gd name="T87" fmla="*/ 84 h 135"/>
                <a:gd name="T88" fmla="*/ 16 w 85"/>
                <a:gd name="T89" fmla="*/ 88 h 135"/>
                <a:gd name="T90" fmla="*/ 11 w 85"/>
                <a:gd name="T91" fmla="*/ 92 h 135"/>
                <a:gd name="T92" fmla="*/ 6 w 85"/>
                <a:gd name="T93" fmla="*/ 95 h 135"/>
                <a:gd name="T94" fmla="*/ 2 w 85"/>
                <a:gd name="T95" fmla="*/ 100 h 135"/>
                <a:gd name="T96" fmla="*/ 3 w 85"/>
                <a:gd name="T97" fmla="*/ 104 h 135"/>
                <a:gd name="T98" fmla="*/ 3 w 85"/>
                <a:gd name="T99" fmla="*/ 110 h 135"/>
                <a:gd name="T100" fmla="*/ 5 w 85"/>
                <a:gd name="T101" fmla="*/ 119 h 135"/>
                <a:gd name="T102" fmla="*/ 3 w 85"/>
                <a:gd name="T103" fmla="*/ 127 h 135"/>
                <a:gd name="T104" fmla="*/ 10 w 85"/>
                <a:gd name="T105" fmla="*/ 130 h 135"/>
                <a:gd name="T106" fmla="*/ 15 w 85"/>
                <a:gd name="T107" fmla="*/ 133 h 135"/>
                <a:gd name="T108" fmla="*/ 24 w 85"/>
                <a:gd name="T109" fmla="*/ 135 h 135"/>
                <a:gd name="T110" fmla="*/ 49 w 85"/>
                <a:gd name="T111" fmla="*/ 129 h 135"/>
                <a:gd name="T112" fmla="*/ 56 w 85"/>
                <a:gd name="T113" fmla="*/ 128 h 135"/>
                <a:gd name="T114" fmla="*/ 60 w 85"/>
                <a:gd name="T115" fmla="*/ 123 h 135"/>
                <a:gd name="T116" fmla="*/ 72 w 85"/>
                <a:gd name="T117" fmla="*/ 113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5" h="135">
                  <a:moveTo>
                    <a:pt x="72" y="113"/>
                  </a:moveTo>
                  <a:cubicBezTo>
                    <a:pt x="74" y="109"/>
                    <a:pt x="83" y="106"/>
                    <a:pt x="84" y="102"/>
                  </a:cubicBezTo>
                  <a:cubicBezTo>
                    <a:pt x="85" y="100"/>
                    <a:pt x="85" y="99"/>
                    <a:pt x="82" y="96"/>
                  </a:cubicBezTo>
                  <a:cubicBezTo>
                    <a:pt x="79" y="92"/>
                    <a:pt x="72" y="90"/>
                    <a:pt x="72" y="88"/>
                  </a:cubicBezTo>
                  <a:cubicBezTo>
                    <a:pt x="71" y="86"/>
                    <a:pt x="77" y="86"/>
                    <a:pt x="77" y="83"/>
                  </a:cubicBezTo>
                  <a:cubicBezTo>
                    <a:pt x="76" y="81"/>
                    <a:pt x="74" y="81"/>
                    <a:pt x="72" y="79"/>
                  </a:cubicBezTo>
                  <a:cubicBezTo>
                    <a:pt x="71" y="77"/>
                    <a:pt x="74" y="76"/>
                    <a:pt x="74" y="75"/>
                  </a:cubicBezTo>
                  <a:cubicBezTo>
                    <a:pt x="73" y="74"/>
                    <a:pt x="70" y="74"/>
                    <a:pt x="70" y="72"/>
                  </a:cubicBezTo>
                  <a:cubicBezTo>
                    <a:pt x="69" y="71"/>
                    <a:pt x="72" y="71"/>
                    <a:pt x="71" y="70"/>
                  </a:cubicBezTo>
                  <a:cubicBezTo>
                    <a:pt x="71" y="69"/>
                    <a:pt x="69" y="66"/>
                    <a:pt x="70" y="64"/>
                  </a:cubicBezTo>
                  <a:cubicBezTo>
                    <a:pt x="72" y="62"/>
                    <a:pt x="76" y="64"/>
                    <a:pt x="73" y="59"/>
                  </a:cubicBezTo>
                  <a:cubicBezTo>
                    <a:pt x="70" y="54"/>
                    <a:pt x="66" y="48"/>
                    <a:pt x="65" y="47"/>
                  </a:cubicBezTo>
                  <a:cubicBezTo>
                    <a:pt x="64" y="45"/>
                    <a:pt x="66" y="43"/>
                    <a:pt x="68" y="42"/>
                  </a:cubicBezTo>
                  <a:cubicBezTo>
                    <a:pt x="69" y="41"/>
                    <a:pt x="73" y="38"/>
                    <a:pt x="73" y="36"/>
                  </a:cubicBezTo>
                  <a:cubicBezTo>
                    <a:pt x="73" y="35"/>
                    <a:pt x="68" y="31"/>
                    <a:pt x="67" y="30"/>
                  </a:cubicBezTo>
                  <a:cubicBezTo>
                    <a:pt x="66" y="30"/>
                    <a:pt x="63" y="30"/>
                    <a:pt x="62" y="27"/>
                  </a:cubicBezTo>
                  <a:cubicBezTo>
                    <a:pt x="61" y="25"/>
                    <a:pt x="60" y="24"/>
                    <a:pt x="61" y="23"/>
                  </a:cubicBezTo>
                  <a:cubicBezTo>
                    <a:pt x="62" y="21"/>
                    <a:pt x="62" y="20"/>
                    <a:pt x="62" y="19"/>
                  </a:cubicBezTo>
                  <a:cubicBezTo>
                    <a:pt x="62" y="17"/>
                    <a:pt x="65" y="18"/>
                    <a:pt x="65" y="16"/>
                  </a:cubicBezTo>
                  <a:cubicBezTo>
                    <a:pt x="65" y="15"/>
                    <a:pt x="66" y="14"/>
                    <a:pt x="67" y="13"/>
                  </a:cubicBezTo>
                  <a:cubicBezTo>
                    <a:pt x="67" y="12"/>
                    <a:pt x="67" y="10"/>
                    <a:pt x="67" y="9"/>
                  </a:cubicBezTo>
                  <a:cubicBezTo>
                    <a:pt x="66" y="7"/>
                    <a:pt x="60" y="6"/>
                    <a:pt x="58" y="3"/>
                  </a:cubicBezTo>
                  <a:cubicBezTo>
                    <a:pt x="57" y="0"/>
                    <a:pt x="53" y="2"/>
                    <a:pt x="52" y="3"/>
                  </a:cubicBezTo>
                  <a:cubicBezTo>
                    <a:pt x="51" y="5"/>
                    <a:pt x="44" y="3"/>
                    <a:pt x="44" y="5"/>
                  </a:cubicBezTo>
                  <a:cubicBezTo>
                    <a:pt x="44" y="7"/>
                    <a:pt x="39" y="8"/>
                    <a:pt x="39" y="10"/>
                  </a:cubicBezTo>
                  <a:cubicBezTo>
                    <a:pt x="39" y="13"/>
                    <a:pt x="41" y="18"/>
                    <a:pt x="37" y="17"/>
                  </a:cubicBezTo>
                  <a:cubicBezTo>
                    <a:pt x="34" y="17"/>
                    <a:pt x="36" y="19"/>
                    <a:pt x="34" y="22"/>
                  </a:cubicBezTo>
                  <a:cubicBezTo>
                    <a:pt x="32" y="25"/>
                    <a:pt x="32" y="20"/>
                    <a:pt x="29" y="21"/>
                  </a:cubicBezTo>
                  <a:cubicBezTo>
                    <a:pt x="27" y="21"/>
                    <a:pt x="24" y="18"/>
                    <a:pt x="23" y="20"/>
                  </a:cubicBezTo>
                  <a:cubicBezTo>
                    <a:pt x="22" y="22"/>
                    <a:pt x="18" y="21"/>
                    <a:pt x="14" y="20"/>
                  </a:cubicBezTo>
                  <a:cubicBezTo>
                    <a:pt x="11" y="19"/>
                    <a:pt x="9" y="14"/>
                    <a:pt x="6" y="13"/>
                  </a:cubicBezTo>
                  <a:cubicBezTo>
                    <a:pt x="4" y="13"/>
                    <a:pt x="1" y="15"/>
                    <a:pt x="0" y="17"/>
                  </a:cubicBezTo>
                  <a:cubicBezTo>
                    <a:pt x="3" y="19"/>
                    <a:pt x="5" y="22"/>
                    <a:pt x="9" y="24"/>
                  </a:cubicBezTo>
                  <a:cubicBezTo>
                    <a:pt x="13" y="26"/>
                    <a:pt x="21" y="28"/>
                    <a:pt x="21" y="31"/>
                  </a:cubicBezTo>
                  <a:cubicBezTo>
                    <a:pt x="20" y="33"/>
                    <a:pt x="19" y="37"/>
                    <a:pt x="21" y="38"/>
                  </a:cubicBezTo>
                  <a:cubicBezTo>
                    <a:pt x="23" y="39"/>
                    <a:pt x="21" y="44"/>
                    <a:pt x="23" y="45"/>
                  </a:cubicBezTo>
                  <a:cubicBezTo>
                    <a:pt x="25" y="47"/>
                    <a:pt x="24" y="52"/>
                    <a:pt x="23" y="52"/>
                  </a:cubicBezTo>
                  <a:cubicBezTo>
                    <a:pt x="21" y="52"/>
                    <a:pt x="23" y="55"/>
                    <a:pt x="24" y="57"/>
                  </a:cubicBezTo>
                  <a:cubicBezTo>
                    <a:pt x="25" y="57"/>
                    <a:pt x="25" y="59"/>
                    <a:pt x="25" y="61"/>
                  </a:cubicBezTo>
                  <a:cubicBezTo>
                    <a:pt x="28" y="61"/>
                    <a:pt x="30" y="62"/>
                    <a:pt x="32" y="63"/>
                  </a:cubicBezTo>
                  <a:cubicBezTo>
                    <a:pt x="35" y="65"/>
                    <a:pt x="34" y="67"/>
                    <a:pt x="34" y="69"/>
                  </a:cubicBezTo>
                  <a:cubicBezTo>
                    <a:pt x="35" y="72"/>
                    <a:pt x="35" y="73"/>
                    <a:pt x="33" y="72"/>
                  </a:cubicBezTo>
                  <a:cubicBezTo>
                    <a:pt x="31" y="71"/>
                    <a:pt x="30" y="72"/>
                    <a:pt x="29" y="76"/>
                  </a:cubicBezTo>
                  <a:cubicBezTo>
                    <a:pt x="28" y="79"/>
                    <a:pt x="23" y="84"/>
                    <a:pt x="20" y="84"/>
                  </a:cubicBezTo>
                  <a:cubicBezTo>
                    <a:pt x="18" y="84"/>
                    <a:pt x="18" y="87"/>
                    <a:pt x="16" y="88"/>
                  </a:cubicBezTo>
                  <a:cubicBezTo>
                    <a:pt x="13" y="88"/>
                    <a:pt x="11" y="89"/>
                    <a:pt x="11" y="92"/>
                  </a:cubicBezTo>
                  <a:cubicBezTo>
                    <a:pt x="12" y="94"/>
                    <a:pt x="8" y="95"/>
                    <a:pt x="6" y="95"/>
                  </a:cubicBezTo>
                  <a:cubicBezTo>
                    <a:pt x="4" y="95"/>
                    <a:pt x="4" y="99"/>
                    <a:pt x="2" y="100"/>
                  </a:cubicBezTo>
                  <a:cubicBezTo>
                    <a:pt x="0" y="101"/>
                    <a:pt x="1" y="102"/>
                    <a:pt x="3" y="104"/>
                  </a:cubicBezTo>
                  <a:cubicBezTo>
                    <a:pt x="4" y="107"/>
                    <a:pt x="3" y="108"/>
                    <a:pt x="3" y="110"/>
                  </a:cubicBezTo>
                  <a:cubicBezTo>
                    <a:pt x="4" y="112"/>
                    <a:pt x="7" y="115"/>
                    <a:pt x="5" y="119"/>
                  </a:cubicBezTo>
                  <a:cubicBezTo>
                    <a:pt x="3" y="123"/>
                    <a:pt x="1" y="128"/>
                    <a:pt x="3" y="127"/>
                  </a:cubicBezTo>
                  <a:cubicBezTo>
                    <a:pt x="4" y="127"/>
                    <a:pt x="8" y="131"/>
                    <a:pt x="10" y="130"/>
                  </a:cubicBezTo>
                  <a:cubicBezTo>
                    <a:pt x="12" y="130"/>
                    <a:pt x="13" y="134"/>
                    <a:pt x="15" y="133"/>
                  </a:cubicBezTo>
                  <a:cubicBezTo>
                    <a:pt x="17" y="132"/>
                    <a:pt x="17" y="135"/>
                    <a:pt x="24" y="135"/>
                  </a:cubicBezTo>
                  <a:cubicBezTo>
                    <a:pt x="30" y="135"/>
                    <a:pt x="44" y="129"/>
                    <a:pt x="49" y="129"/>
                  </a:cubicBezTo>
                  <a:cubicBezTo>
                    <a:pt x="52" y="129"/>
                    <a:pt x="54" y="129"/>
                    <a:pt x="56" y="128"/>
                  </a:cubicBezTo>
                  <a:cubicBezTo>
                    <a:pt x="57" y="127"/>
                    <a:pt x="58" y="125"/>
                    <a:pt x="60" y="123"/>
                  </a:cubicBezTo>
                  <a:cubicBezTo>
                    <a:pt x="63" y="120"/>
                    <a:pt x="70" y="118"/>
                    <a:pt x="72" y="113"/>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49" name="Freeform 92">
              <a:extLst>
                <a:ext uri="{FF2B5EF4-FFF2-40B4-BE49-F238E27FC236}">
                  <a16:creationId xmlns:a16="http://schemas.microsoft.com/office/drawing/2014/main" xmlns="" id="{2009BC6A-7146-49A3-BFD9-CCC7681AEE2A}"/>
                </a:ext>
              </a:extLst>
            </p:cNvPr>
            <p:cNvSpPr>
              <a:spLocks/>
            </p:cNvSpPr>
            <p:nvPr/>
          </p:nvSpPr>
          <p:spPr bwMode="auto">
            <a:xfrm>
              <a:off x="17048384" y="3280441"/>
              <a:ext cx="442913" cy="355600"/>
            </a:xfrm>
            <a:custGeom>
              <a:avLst/>
              <a:gdLst>
                <a:gd name="T0" fmla="*/ 102 w 170"/>
                <a:gd name="T1" fmla="*/ 29 h 136"/>
                <a:gd name="T2" fmla="*/ 87 w 170"/>
                <a:gd name="T3" fmla="*/ 27 h 136"/>
                <a:gd name="T4" fmla="*/ 78 w 170"/>
                <a:gd name="T5" fmla="*/ 24 h 136"/>
                <a:gd name="T6" fmla="*/ 59 w 170"/>
                <a:gd name="T7" fmla="*/ 10 h 136"/>
                <a:gd name="T8" fmla="*/ 43 w 170"/>
                <a:gd name="T9" fmla="*/ 0 h 136"/>
                <a:gd name="T10" fmla="*/ 36 w 170"/>
                <a:gd name="T11" fmla="*/ 0 h 136"/>
                <a:gd name="T12" fmla="*/ 28 w 170"/>
                <a:gd name="T13" fmla="*/ 3 h 136"/>
                <a:gd name="T14" fmla="*/ 20 w 170"/>
                <a:gd name="T15" fmla="*/ 8 h 136"/>
                <a:gd name="T16" fmla="*/ 26 w 170"/>
                <a:gd name="T17" fmla="*/ 15 h 136"/>
                <a:gd name="T18" fmla="*/ 21 w 170"/>
                <a:gd name="T19" fmla="*/ 19 h 136"/>
                <a:gd name="T20" fmla="*/ 16 w 170"/>
                <a:gd name="T21" fmla="*/ 21 h 136"/>
                <a:gd name="T22" fmla="*/ 10 w 170"/>
                <a:gd name="T23" fmla="*/ 26 h 136"/>
                <a:gd name="T24" fmla="*/ 2 w 170"/>
                <a:gd name="T25" fmla="*/ 22 h 136"/>
                <a:gd name="T26" fmla="*/ 1 w 170"/>
                <a:gd name="T27" fmla="*/ 25 h 136"/>
                <a:gd name="T28" fmla="*/ 1 w 170"/>
                <a:gd name="T29" fmla="*/ 27 h 136"/>
                <a:gd name="T30" fmla="*/ 2 w 170"/>
                <a:gd name="T31" fmla="*/ 36 h 136"/>
                <a:gd name="T32" fmla="*/ 8 w 170"/>
                <a:gd name="T33" fmla="*/ 44 h 136"/>
                <a:gd name="T34" fmla="*/ 20 w 170"/>
                <a:gd name="T35" fmla="*/ 62 h 136"/>
                <a:gd name="T36" fmla="*/ 26 w 170"/>
                <a:gd name="T37" fmla="*/ 71 h 136"/>
                <a:gd name="T38" fmla="*/ 33 w 170"/>
                <a:gd name="T39" fmla="*/ 80 h 136"/>
                <a:gd name="T40" fmla="*/ 36 w 170"/>
                <a:gd name="T41" fmla="*/ 89 h 136"/>
                <a:gd name="T42" fmla="*/ 42 w 170"/>
                <a:gd name="T43" fmla="*/ 102 h 136"/>
                <a:gd name="T44" fmla="*/ 51 w 170"/>
                <a:gd name="T45" fmla="*/ 113 h 136"/>
                <a:gd name="T46" fmla="*/ 59 w 170"/>
                <a:gd name="T47" fmla="*/ 125 h 136"/>
                <a:gd name="T48" fmla="*/ 61 w 170"/>
                <a:gd name="T49" fmla="*/ 131 h 136"/>
                <a:gd name="T50" fmla="*/ 64 w 170"/>
                <a:gd name="T51" fmla="*/ 136 h 136"/>
                <a:gd name="T52" fmla="*/ 68 w 170"/>
                <a:gd name="T53" fmla="*/ 134 h 136"/>
                <a:gd name="T54" fmla="*/ 68 w 170"/>
                <a:gd name="T55" fmla="*/ 130 h 136"/>
                <a:gd name="T56" fmla="*/ 71 w 170"/>
                <a:gd name="T57" fmla="*/ 127 h 136"/>
                <a:gd name="T58" fmla="*/ 77 w 170"/>
                <a:gd name="T59" fmla="*/ 128 h 136"/>
                <a:gd name="T60" fmla="*/ 87 w 170"/>
                <a:gd name="T61" fmla="*/ 129 h 136"/>
                <a:gd name="T62" fmla="*/ 98 w 170"/>
                <a:gd name="T63" fmla="*/ 130 h 136"/>
                <a:gd name="T64" fmla="*/ 104 w 170"/>
                <a:gd name="T65" fmla="*/ 128 h 136"/>
                <a:gd name="T66" fmla="*/ 116 w 170"/>
                <a:gd name="T67" fmla="*/ 117 h 136"/>
                <a:gd name="T68" fmla="*/ 132 w 170"/>
                <a:gd name="T69" fmla="*/ 117 h 136"/>
                <a:gd name="T70" fmla="*/ 164 w 170"/>
                <a:gd name="T71" fmla="*/ 106 h 136"/>
                <a:gd name="T72" fmla="*/ 170 w 170"/>
                <a:gd name="T73" fmla="*/ 89 h 136"/>
                <a:gd name="T74" fmla="*/ 166 w 170"/>
                <a:gd name="T75" fmla="*/ 83 h 136"/>
                <a:gd name="T76" fmla="*/ 145 w 170"/>
                <a:gd name="T77" fmla="*/ 81 h 136"/>
                <a:gd name="T78" fmla="*/ 139 w 170"/>
                <a:gd name="T79" fmla="*/ 73 h 136"/>
                <a:gd name="T80" fmla="*/ 136 w 170"/>
                <a:gd name="T81" fmla="*/ 67 h 136"/>
                <a:gd name="T82" fmla="*/ 129 w 170"/>
                <a:gd name="T83" fmla="*/ 63 h 136"/>
                <a:gd name="T84" fmla="*/ 125 w 170"/>
                <a:gd name="T85" fmla="*/ 54 h 136"/>
                <a:gd name="T86" fmla="*/ 121 w 170"/>
                <a:gd name="T87" fmla="*/ 45 h 136"/>
                <a:gd name="T88" fmla="*/ 113 w 170"/>
                <a:gd name="T89" fmla="*/ 36 h 136"/>
                <a:gd name="T90" fmla="*/ 112 w 170"/>
                <a:gd name="T91" fmla="*/ 32 h 136"/>
                <a:gd name="T92" fmla="*/ 106 w 170"/>
                <a:gd name="T93" fmla="*/ 32 h 136"/>
                <a:gd name="T94" fmla="*/ 102 w 170"/>
                <a:gd name="T95" fmla="*/ 29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0" h="136">
                  <a:moveTo>
                    <a:pt x="102" y="29"/>
                  </a:moveTo>
                  <a:cubicBezTo>
                    <a:pt x="102" y="29"/>
                    <a:pt x="89" y="27"/>
                    <a:pt x="87" y="27"/>
                  </a:cubicBezTo>
                  <a:cubicBezTo>
                    <a:pt x="86" y="27"/>
                    <a:pt x="81" y="26"/>
                    <a:pt x="78" y="24"/>
                  </a:cubicBezTo>
                  <a:cubicBezTo>
                    <a:pt x="75" y="21"/>
                    <a:pt x="61" y="11"/>
                    <a:pt x="59" y="10"/>
                  </a:cubicBezTo>
                  <a:cubicBezTo>
                    <a:pt x="56" y="8"/>
                    <a:pt x="46" y="1"/>
                    <a:pt x="43" y="0"/>
                  </a:cubicBezTo>
                  <a:cubicBezTo>
                    <a:pt x="40" y="0"/>
                    <a:pt x="40" y="0"/>
                    <a:pt x="36" y="0"/>
                  </a:cubicBezTo>
                  <a:cubicBezTo>
                    <a:pt x="33" y="0"/>
                    <a:pt x="34" y="3"/>
                    <a:pt x="28" y="3"/>
                  </a:cubicBezTo>
                  <a:cubicBezTo>
                    <a:pt x="21" y="3"/>
                    <a:pt x="18" y="7"/>
                    <a:pt x="20" y="8"/>
                  </a:cubicBezTo>
                  <a:cubicBezTo>
                    <a:pt x="22" y="9"/>
                    <a:pt x="28" y="14"/>
                    <a:pt x="26" y="15"/>
                  </a:cubicBezTo>
                  <a:cubicBezTo>
                    <a:pt x="24" y="16"/>
                    <a:pt x="24" y="19"/>
                    <a:pt x="21" y="19"/>
                  </a:cubicBezTo>
                  <a:cubicBezTo>
                    <a:pt x="19" y="19"/>
                    <a:pt x="16" y="19"/>
                    <a:pt x="16" y="21"/>
                  </a:cubicBezTo>
                  <a:cubicBezTo>
                    <a:pt x="16" y="23"/>
                    <a:pt x="13" y="26"/>
                    <a:pt x="10" y="26"/>
                  </a:cubicBezTo>
                  <a:cubicBezTo>
                    <a:pt x="8" y="26"/>
                    <a:pt x="4" y="24"/>
                    <a:pt x="2" y="22"/>
                  </a:cubicBezTo>
                  <a:cubicBezTo>
                    <a:pt x="1" y="25"/>
                    <a:pt x="1" y="25"/>
                    <a:pt x="1" y="25"/>
                  </a:cubicBezTo>
                  <a:cubicBezTo>
                    <a:pt x="1" y="27"/>
                    <a:pt x="1" y="27"/>
                    <a:pt x="1" y="27"/>
                  </a:cubicBezTo>
                  <a:cubicBezTo>
                    <a:pt x="1" y="28"/>
                    <a:pt x="0" y="35"/>
                    <a:pt x="2" y="36"/>
                  </a:cubicBezTo>
                  <a:cubicBezTo>
                    <a:pt x="4" y="37"/>
                    <a:pt x="5" y="40"/>
                    <a:pt x="8" y="44"/>
                  </a:cubicBezTo>
                  <a:cubicBezTo>
                    <a:pt x="12" y="48"/>
                    <a:pt x="20" y="59"/>
                    <a:pt x="20" y="62"/>
                  </a:cubicBezTo>
                  <a:cubicBezTo>
                    <a:pt x="20" y="65"/>
                    <a:pt x="21" y="68"/>
                    <a:pt x="26" y="71"/>
                  </a:cubicBezTo>
                  <a:cubicBezTo>
                    <a:pt x="31" y="74"/>
                    <a:pt x="31" y="78"/>
                    <a:pt x="33" y="80"/>
                  </a:cubicBezTo>
                  <a:cubicBezTo>
                    <a:pt x="36" y="82"/>
                    <a:pt x="35" y="84"/>
                    <a:pt x="36" y="89"/>
                  </a:cubicBezTo>
                  <a:cubicBezTo>
                    <a:pt x="36" y="94"/>
                    <a:pt x="38" y="100"/>
                    <a:pt x="42" y="102"/>
                  </a:cubicBezTo>
                  <a:cubicBezTo>
                    <a:pt x="46" y="105"/>
                    <a:pt x="49" y="108"/>
                    <a:pt x="51" y="113"/>
                  </a:cubicBezTo>
                  <a:cubicBezTo>
                    <a:pt x="53" y="118"/>
                    <a:pt x="56" y="122"/>
                    <a:pt x="59" y="125"/>
                  </a:cubicBezTo>
                  <a:cubicBezTo>
                    <a:pt x="61" y="128"/>
                    <a:pt x="60" y="129"/>
                    <a:pt x="61" y="131"/>
                  </a:cubicBezTo>
                  <a:cubicBezTo>
                    <a:pt x="62" y="132"/>
                    <a:pt x="63" y="134"/>
                    <a:pt x="64" y="136"/>
                  </a:cubicBezTo>
                  <a:cubicBezTo>
                    <a:pt x="66" y="135"/>
                    <a:pt x="68" y="134"/>
                    <a:pt x="68" y="134"/>
                  </a:cubicBezTo>
                  <a:cubicBezTo>
                    <a:pt x="68" y="133"/>
                    <a:pt x="67" y="131"/>
                    <a:pt x="68" y="130"/>
                  </a:cubicBezTo>
                  <a:cubicBezTo>
                    <a:pt x="68" y="129"/>
                    <a:pt x="70" y="127"/>
                    <a:pt x="71" y="127"/>
                  </a:cubicBezTo>
                  <a:cubicBezTo>
                    <a:pt x="72" y="126"/>
                    <a:pt x="74" y="128"/>
                    <a:pt x="77" y="128"/>
                  </a:cubicBezTo>
                  <a:cubicBezTo>
                    <a:pt x="80" y="127"/>
                    <a:pt x="86" y="128"/>
                    <a:pt x="87" y="129"/>
                  </a:cubicBezTo>
                  <a:cubicBezTo>
                    <a:pt x="88" y="129"/>
                    <a:pt x="96" y="129"/>
                    <a:pt x="98" y="130"/>
                  </a:cubicBezTo>
                  <a:cubicBezTo>
                    <a:pt x="100" y="132"/>
                    <a:pt x="102" y="131"/>
                    <a:pt x="104" y="128"/>
                  </a:cubicBezTo>
                  <a:cubicBezTo>
                    <a:pt x="105" y="125"/>
                    <a:pt x="115" y="118"/>
                    <a:pt x="116" y="117"/>
                  </a:cubicBezTo>
                  <a:cubicBezTo>
                    <a:pt x="117" y="117"/>
                    <a:pt x="128" y="117"/>
                    <a:pt x="132" y="117"/>
                  </a:cubicBezTo>
                  <a:cubicBezTo>
                    <a:pt x="136" y="116"/>
                    <a:pt x="163" y="107"/>
                    <a:pt x="164" y="106"/>
                  </a:cubicBezTo>
                  <a:cubicBezTo>
                    <a:pt x="165" y="105"/>
                    <a:pt x="170" y="91"/>
                    <a:pt x="170" y="89"/>
                  </a:cubicBezTo>
                  <a:cubicBezTo>
                    <a:pt x="170" y="88"/>
                    <a:pt x="168" y="83"/>
                    <a:pt x="166" y="83"/>
                  </a:cubicBezTo>
                  <a:cubicBezTo>
                    <a:pt x="164" y="84"/>
                    <a:pt x="147" y="82"/>
                    <a:pt x="145" y="81"/>
                  </a:cubicBezTo>
                  <a:cubicBezTo>
                    <a:pt x="145" y="81"/>
                    <a:pt x="140" y="77"/>
                    <a:pt x="139" y="73"/>
                  </a:cubicBezTo>
                  <a:cubicBezTo>
                    <a:pt x="138" y="72"/>
                    <a:pt x="137" y="69"/>
                    <a:pt x="136" y="67"/>
                  </a:cubicBezTo>
                  <a:cubicBezTo>
                    <a:pt x="134" y="68"/>
                    <a:pt x="131" y="67"/>
                    <a:pt x="129" y="63"/>
                  </a:cubicBezTo>
                  <a:cubicBezTo>
                    <a:pt x="128" y="62"/>
                    <a:pt x="124" y="56"/>
                    <a:pt x="125" y="54"/>
                  </a:cubicBezTo>
                  <a:cubicBezTo>
                    <a:pt x="127" y="52"/>
                    <a:pt x="124" y="48"/>
                    <a:pt x="121" y="45"/>
                  </a:cubicBezTo>
                  <a:cubicBezTo>
                    <a:pt x="119" y="43"/>
                    <a:pt x="114" y="39"/>
                    <a:pt x="113" y="36"/>
                  </a:cubicBezTo>
                  <a:cubicBezTo>
                    <a:pt x="113" y="35"/>
                    <a:pt x="113" y="34"/>
                    <a:pt x="112" y="32"/>
                  </a:cubicBezTo>
                  <a:cubicBezTo>
                    <a:pt x="106" y="32"/>
                    <a:pt x="106" y="32"/>
                    <a:pt x="106" y="32"/>
                  </a:cubicBezTo>
                  <a:lnTo>
                    <a:pt x="102" y="29"/>
                  </a:ln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50" name="Freeform 93">
              <a:extLst>
                <a:ext uri="{FF2B5EF4-FFF2-40B4-BE49-F238E27FC236}">
                  <a16:creationId xmlns:a16="http://schemas.microsoft.com/office/drawing/2014/main" xmlns="" id="{4C757C48-3781-4631-9148-43305F32DA60}"/>
                </a:ext>
              </a:extLst>
            </p:cNvPr>
            <p:cNvSpPr>
              <a:spLocks/>
            </p:cNvSpPr>
            <p:nvPr/>
          </p:nvSpPr>
          <p:spPr bwMode="auto">
            <a:xfrm>
              <a:off x="17411922" y="3445541"/>
              <a:ext cx="166688" cy="188912"/>
            </a:xfrm>
            <a:custGeom>
              <a:avLst/>
              <a:gdLst>
                <a:gd name="T0" fmla="*/ 32 w 64"/>
                <a:gd name="T1" fmla="*/ 1 h 72"/>
                <a:gd name="T2" fmla="*/ 32 w 64"/>
                <a:gd name="T3" fmla="*/ 7 h 72"/>
                <a:gd name="T4" fmla="*/ 27 w 64"/>
                <a:gd name="T5" fmla="*/ 14 h 72"/>
                <a:gd name="T6" fmla="*/ 24 w 64"/>
                <a:gd name="T7" fmla="*/ 20 h 72"/>
                <a:gd name="T8" fmla="*/ 26 w 64"/>
                <a:gd name="T9" fmla="*/ 20 h 72"/>
                <a:gd name="T10" fmla="*/ 30 w 64"/>
                <a:gd name="T11" fmla="*/ 26 h 72"/>
                <a:gd name="T12" fmla="*/ 24 w 64"/>
                <a:gd name="T13" fmla="*/ 43 h 72"/>
                <a:gd name="T14" fmla="*/ 0 w 64"/>
                <a:gd name="T15" fmla="*/ 51 h 72"/>
                <a:gd name="T16" fmla="*/ 10 w 64"/>
                <a:gd name="T17" fmla="*/ 72 h 72"/>
                <a:gd name="T18" fmla="*/ 12 w 64"/>
                <a:gd name="T19" fmla="*/ 71 h 72"/>
                <a:gd name="T20" fmla="*/ 25 w 64"/>
                <a:gd name="T21" fmla="*/ 68 h 72"/>
                <a:gd name="T22" fmla="*/ 28 w 64"/>
                <a:gd name="T23" fmla="*/ 62 h 72"/>
                <a:gd name="T24" fmla="*/ 37 w 64"/>
                <a:gd name="T25" fmla="*/ 61 h 72"/>
                <a:gd name="T26" fmla="*/ 42 w 64"/>
                <a:gd name="T27" fmla="*/ 53 h 72"/>
                <a:gd name="T28" fmla="*/ 47 w 64"/>
                <a:gd name="T29" fmla="*/ 51 h 72"/>
                <a:gd name="T30" fmla="*/ 50 w 64"/>
                <a:gd name="T31" fmla="*/ 40 h 72"/>
                <a:gd name="T32" fmla="*/ 56 w 64"/>
                <a:gd name="T33" fmla="*/ 35 h 72"/>
                <a:gd name="T34" fmla="*/ 63 w 64"/>
                <a:gd name="T35" fmla="*/ 26 h 72"/>
                <a:gd name="T36" fmla="*/ 62 w 64"/>
                <a:gd name="T37" fmla="*/ 22 h 72"/>
                <a:gd name="T38" fmla="*/ 55 w 64"/>
                <a:gd name="T39" fmla="*/ 13 h 72"/>
                <a:gd name="T40" fmla="*/ 42 w 64"/>
                <a:gd name="T41" fmla="*/ 8 h 72"/>
                <a:gd name="T42" fmla="*/ 38 w 64"/>
                <a:gd name="T43" fmla="*/ 0 h 72"/>
                <a:gd name="T44" fmla="*/ 35 w 64"/>
                <a:gd name="T45" fmla="*/ 1 h 72"/>
                <a:gd name="T46" fmla="*/ 32 w 64"/>
                <a:gd name="T47" fmla="*/ 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72">
                  <a:moveTo>
                    <a:pt x="32" y="1"/>
                  </a:moveTo>
                  <a:cubicBezTo>
                    <a:pt x="32" y="7"/>
                    <a:pt x="32" y="7"/>
                    <a:pt x="32" y="7"/>
                  </a:cubicBezTo>
                  <a:cubicBezTo>
                    <a:pt x="27" y="14"/>
                    <a:pt x="27" y="14"/>
                    <a:pt x="27" y="14"/>
                  </a:cubicBezTo>
                  <a:cubicBezTo>
                    <a:pt x="24" y="20"/>
                    <a:pt x="24" y="20"/>
                    <a:pt x="24" y="20"/>
                  </a:cubicBezTo>
                  <a:cubicBezTo>
                    <a:pt x="25" y="20"/>
                    <a:pt x="25" y="21"/>
                    <a:pt x="26" y="20"/>
                  </a:cubicBezTo>
                  <a:cubicBezTo>
                    <a:pt x="28" y="20"/>
                    <a:pt x="30" y="25"/>
                    <a:pt x="30" y="26"/>
                  </a:cubicBezTo>
                  <a:cubicBezTo>
                    <a:pt x="30" y="28"/>
                    <a:pt x="25" y="42"/>
                    <a:pt x="24" y="43"/>
                  </a:cubicBezTo>
                  <a:cubicBezTo>
                    <a:pt x="23" y="44"/>
                    <a:pt x="9" y="48"/>
                    <a:pt x="0" y="51"/>
                  </a:cubicBezTo>
                  <a:cubicBezTo>
                    <a:pt x="2" y="56"/>
                    <a:pt x="6" y="64"/>
                    <a:pt x="10" y="72"/>
                  </a:cubicBezTo>
                  <a:cubicBezTo>
                    <a:pt x="10" y="71"/>
                    <a:pt x="11" y="71"/>
                    <a:pt x="12" y="71"/>
                  </a:cubicBezTo>
                  <a:cubicBezTo>
                    <a:pt x="16" y="68"/>
                    <a:pt x="21" y="69"/>
                    <a:pt x="25" y="68"/>
                  </a:cubicBezTo>
                  <a:cubicBezTo>
                    <a:pt x="28" y="67"/>
                    <a:pt x="25" y="65"/>
                    <a:pt x="28" y="62"/>
                  </a:cubicBezTo>
                  <a:cubicBezTo>
                    <a:pt x="31" y="60"/>
                    <a:pt x="35" y="61"/>
                    <a:pt x="37" y="61"/>
                  </a:cubicBezTo>
                  <a:cubicBezTo>
                    <a:pt x="38" y="60"/>
                    <a:pt x="39" y="54"/>
                    <a:pt x="42" y="53"/>
                  </a:cubicBezTo>
                  <a:cubicBezTo>
                    <a:pt x="44" y="52"/>
                    <a:pt x="47" y="53"/>
                    <a:pt x="47" y="51"/>
                  </a:cubicBezTo>
                  <a:cubicBezTo>
                    <a:pt x="47" y="48"/>
                    <a:pt x="47" y="40"/>
                    <a:pt x="50" y="40"/>
                  </a:cubicBezTo>
                  <a:cubicBezTo>
                    <a:pt x="52" y="39"/>
                    <a:pt x="56" y="37"/>
                    <a:pt x="56" y="35"/>
                  </a:cubicBezTo>
                  <a:cubicBezTo>
                    <a:pt x="56" y="34"/>
                    <a:pt x="61" y="29"/>
                    <a:pt x="63" y="26"/>
                  </a:cubicBezTo>
                  <a:cubicBezTo>
                    <a:pt x="64" y="23"/>
                    <a:pt x="64" y="22"/>
                    <a:pt x="62" y="22"/>
                  </a:cubicBezTo>
                  <a:cubicBezTo>
                    <a:pt x="60" y="21"/>
                    <a:pt x="56" y="15"/>
                    <a:pt x="55" y="13"/>
                  </a:cubicBezTo>
                  <a:cubicBezTo>
                    <a:pt x="54" y="11"/>
                    <a:pt x="48" y="12"/>
                    <a:pt x="42" y="8"/>
                  </a:cubicBezTo>
                  <a:cubicBezTo>
                    <a:pt x="40" y="6"/>
                    <a:pt x="38" y="3"/>
                    <a:pt x="38" y="0"/>
                  </a:cubicBezTo>
                  <a:cubicBezTo>
                    <a:pt x="35" y="1"/>
                    <a:pt x="35" y="1"/>
                    <a:pt x="35" y="1"/>
                  </a:cubicBezTo>
                  <a:lnTo>
                    <a:pt x="32" y="1"/>
                  </a:ln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51" name="Freeform 94">
              <a:extLst>
                <a:ext uri="{FF2B5EF4-FFF2-40B4-BE49-F238E27FC236}">
                  <a16:creationId xmlns:a16="http://schemas.microsoft.com/office/drawing/2014/main" xmlns="" id="{D454FFD1-C9CB-40DC-81CE-699C399C6DF9}"/>
                </a:ext>
              </a:extLst>
            </p:cNvPr>
            <p:cNvSpPr>
              <a:spLocks/>
            </p:cNvSpPr>
            <p:nvPr/>
          </p:nvSpPr>
          <p:spPr bwMode="auto">
            <a:xfrm>
              <a:off x="17383347" y="3421729"/>
              <a:ext cx="26988" cy="36512"/>
            </a:xfrm>
            <a:custGeom>
              <a:avLst/>
              <a:gdLst>
                <a:gd name="T0" fmla="*/ 7 w 10"/>
                <a:gd name="T1" fmla="*/ 13 h 14"/>
                <a:gd name="T2" fmla="*/ 7 w 10"/>
                <a:gd name="T3" fmla="*/ 11 h 14"/>
                <a:gd name="T4" fmla="*/ 6 w 10"/>
                <a:gd name="T5" fmla="*/ 1 h 14"/>
                <a:gd name="T6" fmla="*/ 1 w 10"/>
                <a:gd name="T7" fmla="*/ 9 h 14"/>
                <a:gd name="T8" fmla="*/ 0 w 10"/>
                <a:gd name="T9" fmla="*/ 9 h 14"/>
                <a:gd name="T10" fmla="*/ 7 w 10"/>
                <a:gd name="T11" fmla="*/ 13 h 14"/>
              </a:gdLst>
              <a:ahLst/>
              <a:cxnLst>
                <a:cxn ang="0">
                  <a:pos x="T0" y="T1"/>
                </a:cxn>
                <a:cxn ang="0">
                  <a:pos x="T2" y="T3"/>
                </a:cxn>
                <a:cxn ang="0">
                  <a:pos x="T4" y="T5"/>
                </a:cxn>
                <a:cxn ang="0">
                  <a:pos x="T6" y="T7"/>
                </a:cxn>
                <a:cxn ang="0">
                  <a:pos x="T8" y="T9"/>
                </a:cxn>
                <a:cxn ang="0">
                  <a:pos x="T10" y="T11"/>
                </a:cxn>
              </a:cxnLst>
              <a:rect l="0" t="0" r="r" b="b"/>
              <a:pathLst>
                <a:path w="10" h="14">
                  <a:moveTo>
                    <a:pt x="7" y="13"/>
                  </a:moveTo>
                  <a:cubicBezTo>
                    <a:pt x="7" y="13"/>
                    <a:pt x="7" y="12"/>
                    <a:pt x="7" y="11"/>
                  </a:cubicBezTo>
                  <a:cubicBezTo>
                    <a:pt x="9" y="9"/>
                    <a:pt x="10" y="2"/>
                    <a:pt x="6" y="1"/>
                  </a:cubicBezTo>
                  <a:cubicBezTo>
                    <a:pt x="3" y="0"/>
                    <a:pt x="1" y="7"/>
                    <a:pt x="1" y="9"/>
                  </a:cubicBezTo>
                  <a:cubicBezTo>
                    <a:pt x="1" y="9"/>
                    <a:pt x="1" y="9"/>
                    <a:pt x="0" y="9"/>
                  </a:cubicBezTo>
                  <a:cubicBezTo>
                    <a:pt x="2" y="13"/>
                    <a:pt x="5" y="14"/>
                    <a:pt x="7" y="13"/>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52" name="Freeform 95">
              <a:extLst>
                <a:ext uri="{FF2B5EF4-FFF2-40B4-BE49-F238E27FC236}">
                  <a16:creationId xmlns:a16="http://schemas.microsoft.com/office/drawing/2014/main" xmlns="" id="{AFA757C6-5712-4161-A096-9206DBF60936}"/>
                </a:ext>
              </a:extLst>
            </p:cNvPr>
            <p:cNvSpPr>
              <a:spLocks/>
            </p:cNvSpPr>
            <p:nvPr/>
          </p:nvSpPr>
          <p:spPr bwMode="auto">
            <a:xfrm>
              <a:off x="17410334" y="3416966"/>
              <a:ext cx="101600" cy="80962"/>
            </a:xfrm>
            <a:custGeom>
              <a:avLst/>
              <a:gdLst>
                <a:gd name="T0" fmla="*/ 6 w 39"/>
                <a:gd name="T1" fmla="*/ 29 h 31"/>
                <a:gd name="T2" fmla="*/ 25 w 39"/>
                <a:gd name="T3" fmla="*/ 31 h 31"/>
                <a:gd name="T4" fmla="*/ 28 w 39"/>
                <a:gd name="T5" fmla="*/ 25 h 31"/>
                <a:gd name="T6" fmla="*/ 33 w 39"/>
                <a:gd name="T7" fmla="*/ 18 h 31"/>
                <a:gd name="T8" fmla="*/ 33 w 39"/>
                <a:gd name="T9" fmla="*/ 12 h 31"/>
                <a:gd name="T10" fmla="*/ 36 w 39"/>
                <a:gd name="T11" fmla="*/ 12 h 31"/>
                <a:gd name="T12" fmla="*/ 39 w 39"/>
                <a:gd name="T13" fmla="*/ 11 h 31"/>
                <a:gd name="T14" fmla="*/ 36 w 39"/>
                <a:gd name="T15" fmla="*/ 1 h 31"/>
                <a:gd name="T16" fmla="*/ 27 w 39"/>
                <a:gd name="T17" fmla="*/ 11 h 31"/>
                <a:gd name="T18" fmla="*/ 12 w 39"/>
                <a:gd name="T19" fmla="*/ 19 h 31"/>
                <a:gd name="T20" fmla="*/ 2 w 39"/>
                <a:gd name="T21" fmla="*/ 21 h 31"/>
                <a:gd name="T22" fmla="*/ 0 w 39"/>
                <a:gd name="T23" fmla="*/ 21 h 31"/>
                <a:gd name="T24" fmla="*/ 6 w 39"/>
                <a:gd name="T25"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6" y="29"/>
                  </a:moveTo>
                  <a:cubicBezTo>
                    <a:pt x="7" y="30"/>
                    <a:pt x="20" y="31"/>
                    <a:pt x="25" y="31"/>
                  </a:cubicBezTo>
                  <a:cubicBezTo>
                    <a:pt x="28" y="25"/>
                    <a:pt x="28" y="25"/>
                    <a:pt x="28" y="25"/>
                  </a:cubicBezTo>
                  <a:cubicBezTo>
                    <a:pt x="33" y="18"/>
                    <a:pt x="33" y="18"/>
                    <a:pt x="33" y="18"/>
                  </a:cubicBezTo>
                  <a:cubicBezTo>
                    <a:pt x="33" y="12"/>
                    <a:pt x="33" y="12"/>
                    <a:pt x="33" y="12"/>
                  </a:cubicBezTo>
                  <a:cubicBezTo>
                    <a:pt x="36" y="12"/>
                    <a:pt x="36" y="12"/>
                    <a:pt x="36" y="12"/>
                  </a:cubicBezTo>
                  <a:cubicBezTo>
                    <a:pt x="39" y="11"/>
                    <a:pt x="39" y="11"/>
                    <a:pt x="39" y="11"/>
                  </a:cubicBezTo>
                  <a:cubicBezTo>
                    <a:pt x="37" y="6"/>
                    <a:pt x="37" y="1"/>
                    <a:pt x="36" y="1"/>
                  </a:cubicBezTo>
                  <a:cubicBezTo>
                    <a:pt x="35" y="0"/>
                    <a:pt x="29" y="7"/>
                    <a:pt x="27" y="11"/>
                  </a:cubicBezTo>
                  <a:cubicBezTo>
                    <a:pt x="24" y="16"/>
                    <a:pt x="18" y="20"/>
                    <a:pt x="12" y="19"/>
                  </a:cubicBezTo>
                  <a:cubicBezTo>
                    <a:pt x="6" y="17"/>
                    <a:pt x="4" y="20"/>
                    <a:pt x="2" y="21"/>
                  </a:cubicBezTo>
                  <a:cubicBezTo>
                    <a:pt x="2" y="21"/>
                    <a:pt x="1" y="21"/>
                    <a:pt x="0" y="21"/>
                  </a:cubicBezTo>
                  <a:cubicBezTo>
                    <a:pt x="1" y="25"/>
                    <a:pt x="6" y="29"/>
                    <a:pt x="6" y="29"/>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53" name="Freeform 96">
              <a:extLst>
                <a:ext uri="{FF2B5EF4-FFF2-40B4-BE49-F238E27FC236}">
                  <a16:creationId xmlns:a16="http://schemas.microsoft.com/office/drawing/2014/main" xmlns="" id="{8D4DBF55-4776-4A48-ABB7-E02D218307B5}"/>
                </a:ext>
              </a:extLst>
            </p:cNvPr>
            <p:cNvSpPr>
              <a:spLocks noEditPoints="1"/>
            </p:cNvSpPr>
            <p:nvPr/>
          </p:nvSpPr>
          <p:spPr bwMode="auto">
            <a:xfrm>
              <a:off x="18399347" y="3848766"/>
              <a:ext cx="409575" cy="125412"/>
            </a:xfrm>
            <a:custGeom>
              <a:avLst/>
              <a:gdLst>
                <a:gd name="T0" fmla="*/ 29 w 157"/>
                <a:gd name="T1" fmla="*/ 17 h 48"/>
                <a:gd name="T2" fmla="*/ 22 w 157"/>
                <a:gd name="T3" fmla="*/ 9 h 48"/>
                <a:gd name="T4" fmla="*/ 19 w 157"/>
                <a:gd name="T5" fmla="*/ 5 h 48"/>
                <a:gd name="T6" fmla="*/ 18 w 157"/>
                <a:gd name="T7" fmla="*/ 4 h 48"/>
                <a:gd name="T8" fmla="*/ 15 w 157"/>
                <a:gd name="T9" fmla="*/ 7 h 48"/>
                <a:gd name="T10" fmla="*/ 9 w 157"/>
                <a:gd name="T11" fmla="*/ 6 h 48"/>
                <a:gd name="T12" fmla="*/ 5 w 157"/>
                <a:gd name="T13" fmla="*/ 1 h 48"/>
                <a:gd name="T14" fmla="*/ 0 w 157"/>
                <a:gd name="T15" fmla="*/ 1 h 48"/>
                <a:gd name="T16" fmla="*/ 3 w 157"/>
                <a:gd name="T17" fmla="*/ 13 h 48"/>
                <a:gd name="T18" fmla="*/ 11 w 157"/>
                <a:gd name="T19" fmla="*/ 29 h 48"/>
                <a:gd name="T20" fmla="*/ 19 w 157"/>
                <a:gd name="T21" fmla="*/ 36 h 48"/>
                <a:gd name="T22" fmla="*/ 34 w 157"/>
                <a:gd name="T23" fmla="*/ 44 h 48"/>
                <a:gd name="T24" fmla="*/ 29 w 157"/>
                <a:gd name="T25" fmla="*/ 33 h 48"/>
                <a:gd name="T26" fmla="*/ 29 w 157"/>
                <a:gd name="T27" fmla="*/ 17 h 48"/>
                <a:gd name="T28" fmla="*/ 150 w 157"/>
                <a:gd name="T29" fmla="*/ 8 h 48"/>
                <a:gd name="T30" fmla="*/ 143 w 157"/>
                <a:gd name="T31" fmla="*/ 6 h 48"/>
                <a:gd name="T32" fmla="*/ 136 w 157"/>
                <a:gd name="T33" fmla="*/ 0 h 48"/>
                <a:gd name="T34" fmla="*/ 129 w 157"/>
                <a:gd name="T35" fmla="*/ 8 h 48"/>
                <a:gd name="T36" fmla="*/ 125 w 157"/>
                <a:gd name="T37" fmla="*/ 14 h 48"/>
                <a:gd name="T38" fmla="*/ 123 w 157"/>
                <a:gd name="T39" fmla="*/ 16 h 48"/>
                <a:gd name="T40" fmla="*/ 123 w 157"/>
                <a:gd name="T41" fmla="*/ 20 h 48"/>
                <a:gd name="T42" fmla="*/ 118 w 157"/>
                <a:gd name="T43" fmla="*/ 22 h 48"/>
                <a:gd name="T44" fmla="*/ 114 w 157"/>
                <a:gd name="T45" fmla="*/ 17 h 48"/>
                <a:gd name="T46" fmla="*/ 114 w 157"/>
                <a:gd name="T47" fmla="*/ 17 h 48"/>
                <a:gd name="T48" fmla="*/ 106 w 157"/>
                <a:gd name="T49" fmla="*/ 28 h 48"/>
                <a:gd name="T50" fmla="*/ 95 w 157"/>
                <a:gd name="T51" fmla="*/ 31 h 48"/>
                <a:gd name="T52" fmla="*/ 90 w 157"/>
                <a:gd name="T53" fmla="*/ 42 h 48"/>
                <a:gd name="T54" fmla="*/ 78 w 157"/>
                <a:gd name="T55" fmla="*/ 39 h 48"/>
                <a:gd name="T56" fmla="*/ 80 w 157"/>
                <a:gd name="T57" fmla="*/ 44 h 48"/>
                <a:gd name="T58" fmla="*/ 87 w 157"/>
                <a:gd name="T59" fmla="*/ 47 h 48"/>
                <a:gd name="T60" fmla="*/ 97 w 157"/>
                <a:gd name="T61" fmla="*/ 46 h 48"/>
                <a:gd name="T62" fmla="*/ 105 w 157"/>
                <a:gd name="T63" fmla="*/ 43 h 48"/>
                <a:gd name="T64" fmla="*/ 113 w 157"/>
                <a:gd name="T65" fmla="*/ 44 h 48"/>
                <a:gd name="T66" fmla="*/ 120 w 157"/>
                <a:gd name="T67" fmla="*/ 39 h 48"/>
                <a:gd name="T68" fmla="*/ 122 w 157"/>
                <a:gd name="T69" fmla="*/ 32 h 48"/>
                <a:gd name="T70" fmla="*/ 127 w 157"/>
                <a:gd name="T71" fmla="*/ 25 h 48"/>
                <a:gd name="T72" fmla="*/ 140 w 157"/>
                <a:gd name="T73" fmla="*/ 19 h 48"/>
                <a:gd name="T74" fmla="*/ 143 w 157"/>
                <a:gd name="T75" fmla="*/ 21 h 48"/>
                <a:gd name="T76" fmla="*/ 148 w 157"/>
                <a:gd name="T77" fmla="*/ 16 h 48"/>
                <a:gd name="T78" fmla="*/ 156 w 157"/>
                <a:gd name="T79" fmla="*/ 13 h 48"/>
                <a:gd name="T80" fmla="*/ 150 w 157"/>
                <a:gd name="T81" fmla="*/ 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7" h="48">
                  <a:moveTo>
                    <a:pt x="29" y="17"/>
                  </a:moveTo>
                  <a:cubicBezTo>
                    <a:pt x="29" y="12"/>
                    <a:pt x="24" y="12"/>
                    <a:pt x="22" y="9"/>
                  </a:cubicBezTo>
                  <a:cubicBezTo>
                    <a:pt x="21" y="5"/>
                    <a:pt x="19" y="7"/>
                    <a:pt x="19" y="5"/>
                  </a:cubicBezTo>
                  <a:cubicBezTo>
                    <a:pt x="18" y="5"/>
                    <a:pt x="18" y="4"/>
                    <a:pt x="18" y="4"/>
                  </a:cubicBezTo>
                  <a:cubicBezTo>
                    <a:pt x="15" y="5"/>
                    <a:pt x="16" y="7"/>
                    <a:pt x="15" y="7"/>
                  </a:cubicBezTo>
                  <a:cubicBezTo>
                    <a:pt x="14" y="7"/>
                    <a:pt x="9" y="8"/>
                    <a:pt x="9" y="6"/>
                  </a:cubicBezTo>
                  <a:cubicBezTo>
                    <a:pt x="9" y="5"/>
                    <a:pt x="8" y="2"/>
                    <a:pt x="5" y="1"/>
                  </a:cubicBezTo>
                  <a:cubicBezTo>
                    <a:pt x="4" y="1"/>
                    <a:pt x="2" y="1"/>
                    <a:pt x="0" y="1"/>
                  </a:cubicBezTo>
                  <a:cubicBezTo>
                    <a:pt x="2" y="5"/>
                    <a:pt x="3" y="10"/>
                    <a:pt x="3" y="13"/>
                  </a:cubicBezTo>
                  <a:cubicBezTo>
                    <a:pt x="3" y="18"/>
                    <a:pt x="10" y="26"/>
                    <a:pt x="11" y="29"/>
                  </a:cubicBezTo>
                  <a:cubicBezTo>
                    <a:pt x="12" y="32"/>
                    <a:pt x="14" y="33"/>
                    <a:pt x="19" y="36"/>
                  </a:cubicBezTo>
                  <a:cubicBezTo>
                    <a:pt x="23" y="40"/>
                    <a:pt x="32" y="45"/>
                    <a:pt x="34" y="44"/>
                  </a:cubicBezTo>
                  <a:cubicBezTo>
                    <a:pt x="36" y="43"/>
                    <a:pt x="31" y="35"/>
                    <a:pt x="29" y="33"/>
                  </a:cubicBezTo>
                  <a:cubicBezTo>
                    <a:pt x="26" y="30"/>
                    <a:pt x="28" y="23"/>
                    <a:pt x="29" y="17"/>
                  </a:cubicBezTo>
                  <a:close/>
                  <a:moveTo>
                    <a:pt x="150" y="8"/>
                  </a:moveTo>
                  <a:cubicBezTo>
                    <a:pt x="148" y="9"/>
                    <a:pt x="143" y="8"/>
                    <a:pt x="143" y="6"/>
                  </a:cubicBezTo>
                  <a:cubicBezTo>
                    <a:pt x="143" y="4"/>
                    <a:pt x="139" y="0"/>
                    <a:pt x="136" y="0"/>
                  </a:cubicBezTo>
                  <a:cubicBezTo>
                    <a:pt x="133" y="0"/>
                    <a:pt x="130" y="6"/>
                    <a:pt x="129" y="8"/>
                  </a:cubicBezTo>
                  <a:cubicBezTo>
                    <a:pt x="129" y="10"/>
                    <a:pt x="125" y="10"/>
                    <a:pt x="125" y="14"/>
                  </a:cubicBezTo>
                  <a:cubicBezTo>
                    <a:pt x="125" y="15"/>
                    <a:pt x="124" y="15"/>
                    <a:pt x="123" y="16"/>
                  </a:cubicBezTo>
                  <a:cubicBezTo>
                    <a:pt x="124" y="19"/>
                    <a:pt x="124" y="21"/>
                    <a:pt x="123" y="20"/>
                  </a:cubicBezTo>
                  <a:cubicBezTo>
                    <a:pt x="121" y="20"/>
                    <a:pt x="121" y="22"/>
                    <a:pt x="118" y="22"/>
                  </a:cubicBezTo>
                  <a:cubicBezTo>
                    <a:pt x="117" y="22"/>
                    <a:pt x="116" y="20"/>
                    <a:pt x="114" y="17"/>
                  </a:cubicBezTo>
                  <a:cubicBezTo>
                    <a:pt x="114" y="17"/>
                    <a:pt x="114" y="17"/>
                    <a:pt x="114" y="17"/>
                  </a:cubicBezTo>
                  <a:cubicBezTo>
                    <a:pt x="112" y="17"/>
                    <a:pt x="107" y="23"/>
                    <a:pt x="106" y="28"/>
                  </a:cubicBezTo>
                  <a:cubicBezTo>
                    <a:pt x="106" y="32"/>
                    <a:pt x="101" y="31"/>
                    <a:pt x="95" y="31"/>
                  </a:cubicBezTo>
                  <a:cubicBezTo>
                    <a:pt x="88" y="32"/>
                    <a:pt x="91" y="39"/>
                    <a:pt x="90" y="42"/>
                  </a:cubicBezTo>
                  <a:cubicBezTo>
                    <a:pt x="88" y="44"/>
                    <a:pt x="81" y="39"/>
                    <a:pt x="78" y="39"/>
                  </a:cubicBezTo>
                  <a:cubicBezTo>
                    <a:pt x="78" y="41"/>
                    <a:pt x="79" y="44"/>
                    <a:pt x="80" y="44"/>
                  </a:cubicBezTo>
                  <a:cubicBezTo>
                    <a:pt x="82" y="44"/>
                    <a:pt x="85" y="48"/>
                    <a:pt x="87" y="47"/>
                  </a:cubicBezTo>
                  <a:cubicBezTo>
                    <a:pt x="89" y="46"/>
                    <a:pt x="94" y="47"/>
                    <a:pt x="97" y="46"/>
                  </a:cubicBezTo>
                  <a:cubicBezTo>
                    <a:pt x="100" y="45"/>
                    <a:pt x="101" y="43"/>
                    <a:pt x="105" y="43"/>
                  </a:cubicBezTo>
                  <a:cubicBezTo>
                    <a:pt x="110" y="43"/>
                    <a:pt x="108" y="47"/>
                    <a:pt x="113" y="44"/>
                  </a:cubicBezTo>
                  <a:cubicBezTo>
                    <a:pt x="118" y="42"/>
                    <a:pt x="121" y="44"/>
                    <a:pt x="120" y="39"/>
                  </a:cubicBezTo>
                  <a:cubicBezTo>
                    <a:pt x="120" y="35"/>
                    <a:pt x="123" y="35"/>
                    <a:pt x="122" y="32"/>
                  </a:cubicBezTo>
                  <a:cubicBezTo>
                    <a:pt x="122" y="29"/>
                    <a:pt x="128" y="31"/>
                    <a:pt x="127" y="25"/>
                  </a:cubicBezTo>
                  <a:cubicBezTo>
                    <a:pt x="127" y="19"/>
                    <a:pt x="136" y="19"/>
                    <a:pt x="140" y="19"/>
                  </a:cubicBezTo>
                  <a:cubicBezTo>
                    <a:pt x="140" y="19"/>
                    <a:pt x="142" y="20"/>
                    <a:pt x="143" y="21"/>
                  </a:cubicBezTo>
                  <a:cubicBezTo>
                    <a:pt x="146" y="19"/>
                    <a:pt x="150" y="18"/>
                    <a:pt x="148" y="16"/>
                  </a:cubicBezTo>
                  <a:cubicBezTo>
                    <a:pt x="146" y="14"/>
                    <a:pt x="155" y="16"/>
                    <a:pt x="156" y="13"/>
                  </a:cubicBezTo>
                  <a:cubicBezTo>
                    <a:pt x="157" y="10"/>
                    <a:pt x="152" y="8"/>
                    <a:pt x="150" y="8"/>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54" name="Freeform 97">
              <a:extLst>
                <a:ext uri="{FF2B5EF4-FFF2-40B4-BE49-F238E27FC236}">
                  <a16:creationId xmlns:a16="http://schemas.microsoft.com/office/drawing/2014/main" xmlns="" id="{D32A20BD-7CB4-4BC2-9BA4-F64EC3A81FD0}"/>
                </a:ext>
              </a:extLst>
            </p:cNvPr>
            <p:cNvSpPr>
              <a:spLocks/>
            </p:cNvSpPr>
            <p:nvPr/>
          </p:nvSpPr>
          <p:spPr bwMode="auto">
            <a:xfrm>
              <a:off x="18696209" y="3890041"/>
              <a:ext cx="26988" cy="15875"/>
            </a:xfrm>
            <a:custGeom>
              <a:avLst/>
              <a:gdLst>
                <a:gd name="T0" fmla="*/ 4 w 10"/>
                <a:gd name="T1" fmla="*/ 6 h 6"/>
                <a:gd name="T2" fmla="*/ 9 w 10"/>
                <a:gd name="T3" fmla="*/ 4 h 6"/>
                <a:gd name="T4" fmla="*/ 9 w 10"/>
                <a:gd name="T5" fmla="*/ 0 h 6"/>
                <a:gd name="T6" fmla="*/ 5 w 10"/>
                <a:gd name="T7" fmla="*/ 2 h 6"/>
                <a:gd name="T8" fmla="*/ 0 w 10"/>
                <a:gd name="T9" fmla="*/ 1 h 6"/>
                <a:gd name="T10" fmla="*/ 4 w 10"/>
                <a:gd name="T11" fmla="*/ 6 h 6"/>
              </a:gdLst>
              <a:ahLst/>
              <a:cxnLst>
                <a:cxn ang="0">
                  <a:pos x="T0" y="T1"/>
                </a:cxn>
                <a:cxn ang="0">
                  <a:pos x="T2" y="T3"/>
                </a:cxn>
                <a:cxn ang="0">
                  <a:pos x="T4" y="T5"/>
                </a:cxn>
                <a:cxn ang="0">
                  <a:pos x="T6" y="T7"/>
                </a:cxn>
                <a:cxn ang="0">
                  <a:pos x="T8" y="T9"/>
                </a:cxn>
                <a:cxn ang="0">
                  <a:pos x="T10" y="T11"/>
                </a:cxn>
              </a:cxnLst>
              <a:rect l="0" t="0" r="r" b="b"/>
              <a:pathLst>
                <a:path w="10" h="6">
                  <a:moveTo>
                    <a:pt x="4" y="6"/>
                  </a:moveTo>
                  <a:cubicBezTo>
                    <a:pt x="7" y="6"/>
                    <a:pt x="7" y="4"/>
                    <a:pt x="9" y="4"/>
                  </a:cubicBezTo>
                  <a:cubicBezTo>
                    <a:pt x="10" y="5"/>
                    <a:pt x="10" y="3"/>
                    <a:pt x="9" y="0"/>
                  </a:cubicBezTo>
                  <a:cubicBezTo>
                    <a:pt x="8" y="0"/>
                    <a:pt x="5" y="0"/>
                    <a:pt x="5" y="2"/>
                  </a:cubicBezTo>
                  <a:cubicBezTo>
                    <a:pt x="5" y="4"/>
                    <a:pt x="2" y="1"/>
                    <a:pt x="0" y="1"/>
                  </a:cubicBezTo>
                  <a:cubicBezTo>
                    <a:pt x="2" y="4"/>
                    <a:pt x="3" y="6"/>
                    <a:pt x="4" y="6"/>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55" name="Freeform 98">
              <a:extLst>
                <a:ext uri="{FF2B5EF4-FFF2-40B4-BE49-F238E27FC236}">
                  <a16:creationId xmlns:a16="http://schemas.microsoft.com/office/drawing/2014/main" xmlns="" id="{3F884570-9C93-4AA7-A8B5-DA8BF646C4FF}"/>
                </a:ext>
              </a:extLst>
            </p:cNvPr>
            <p:cNvSpPr>
              <a:spLocks/>
            </p:cNvSpPr>
            <p:nvPr/>
          </p:nvSpPr>
          <p:spPr bwMode="auto">
            <a:xfrm>
              <a:off x="17135697" y="3153441"/>
              <a:ext cx="206375" cy="200025"/>
            </a:xfrm>
            <a:custGeom>
              <a:avLst/>
              <a:gdLst>
                <a:gd name="T0" fmla="*/ 66 w 79"/>
                <a:gd name="T1" fmla="*/ 70 h 77"/>
                <a:gd name="T2" fmla="*/ 70 w 79"/>
                <a:gd name="T3" fmla="*/ 67 h 77"/>
                <a:gd name="T4" fmla="*/ 75 w 79"/>
                <a:gd name="T5" fmla="*/ 70 h 77"/>
                <a:gd name="T6" fmla="*/ 79 w 79"/>
                <a:gd name="T7" fmla="*/ 68 h 77"/>
                <a:gd name="T8" fmla="*/ 74 w 79"/>
                <a:gd name="T9" fmla="*/ 62 h 77"/>
                <a:gd name="T10" fmla="*/ 71 w 79"/>
                <a:gd name="T11" fmla="*/ 56 h 77"/>
                <a:gd name="T12" fmla="*/ 72 w 79"/>
                <a:gd name="T13" fmla="*/ 51 h 77"/>
                <a:gd name="T14" fmla="*/ 68 w 79"/>
                <a:gd name="T15" fmla="*/ 46 h 77"/>
                <a:gd name="T16" fmla="*/ 59 w 79"/>
                <a:gd name="T17" fmla="*/ 40 h 77"/>
                <a:gd name="T18" fmla="*/ 55 w 79"/>
                <a:gd name="T19" fmla="*/ 36 h 77"/>
                <a:gd name="T20" fmla="*/ 54 w 79"/>
                <a:gd name="T21" fmla="*/ 28 h 77"/>
                <a:gd name="T22" fmla="*/ 58 w 79"/>
                <a:gd name="T23" fmla="*/ 22 h 77"/>
                <a:gd name="T24" fmla="*/ 59 w 79"/>
                <a:gd name="T25" fmla="*/ 17 h 77"/>
                <a:gd name="T26" fmla="*/ 55 w 79"/>
                <a:gd name="T27" fmla="*/ 14 h 77"/>
                <a:gd name="T28" fmla="*/ 51 w 79"/>
                <a:gd name="T29" fmla="*/ 10 h 77"/>
                <a:gd name="T30" fmla="*/ 48 w 79"/>
                <a:gd name="T31" fmla="*/ 3 h 77"/>
                <a:gd name="T32" fmla="*/ 40 w 79"/>
                <a:gd name="T33" fmla="*/ 2 h 77"/>
                <a:gd name="T34" fmla="*/ 32 w 79"/>
                <a:gd name="T35" fmla="*/ 1 h 77"/>
                <a:gd name="T36" fmla="*/ 29 w 79"/>
                <a:gd name="T37" fmla="*/ 3 h 77"/>
                <a:gd name="T38" fmla="*/ 29 w 79"/>
                <a:gd name="T39" fmla="*/ 3 h 77"/>
                <a:gd name="T40" fmla="*/ 24 w 79"/>
                <a:gd name="T41" fmla="*/ 7 h 77"/>
                <a:gd name="T42" fmla="*/ 19 w 79"/>
                <a:gd name="T43" fmla="*/ 11 h 77"/>
                <a:gd name="T44" fmla="*/ 20 w 79"/>
                <a:gd name="T45" fmla="*/ 17 h 77"/>
                <a:gd name="T46" fmla="*/ 19 w 79"/>
                <a:gd name="T47" fmla="*/ 24 h 77"/>
                <a:gd name="T48" fmla="*/ 17 w 79"/>
                <a:gd name="T49" fmla="*/ 28 h 77"/>
                <a:gd name="T50" fmla="*/ 0 w 79"/>
                <a:gd name="T51" fmla="*/ 38 h 77"/>
                <a:gd name="T52" fmla="*/ 1 w 79"/>
                <a:gd name="T53" fmla="*/ 42 h 77"/>
                <a:gd name="T54" fmla="*/ 2 w 79"/>
                <a:gd name="T55" fmla="*/ 49 h 77"/>
                <a:gd name="T56" fmla="*/ 9 w 79"/>
                <a:gd name="T57" fmla="*/ 49 h 77"/>
                <a:gd name="T58" fmla="*/ 25 w 79"/>
                <a:gd name="T59" fmla="*/ 59 h 77"/>
                <a:gd name="T60" fmla="*/ 44 w 79"/>
                <a:gd name="T61" fmla="*/ 73 h 77"/>
                <a:gd name="T62" fmla="*/ 53 w 79"/>
                <a:gd name="T63" fmla="*/ 76 h 77"/>
                <a:gd name="T64" fmla="*/ 63 w 79"/>
                <a:gd name="T65" fmla="*/ 77 h 77"/>
                <a:gd name="T66" fmla="*/ 66 w 79"/>
                <a:gd name="T67" fmla="*/ 7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9" h="77">
                  <a:moveTo>
                    <a:pt x="66" y="70"/>
                  </a:moveTo>
                  <a:cubicBezTo>
                    <a:pt x="67" y="69"/>
                    <a:pt x="67" y="67"/>
                    <a:pt x="70" y="67"/>
                  </a:cubicBezTo>
                  <a:cubicBezTo>
                    <a:pt x="72" y="67"/>
                    <a:pt x="73" y="68"/>
                    <a:pt x="75" y="70"/>
                  </a:cubicBezTo>
                  <a:cubicBezTo>
                    <a:pt x="76" y="69"/>
                    <a:pt x="77" y="69"/>
                    <a:pt x="79" y="68"/>
                  </a:cubicBezTo>
                  <a:cubicBezTo>
                    <a:pt x="76" y="66"/>
                    <a:pt x="74" y="63"/>
                    <a:pt x="74" y="62"/>
                  </a:cubicBezTo>
                  <a:cubicBezTo>
                    <a:pt x="74" y="59"/>
                    <a:pt x="72" y="58"/>
                    <a:pt x="71" y="56"/>
                  </a:cubicBezTo>
                  <a:cubicBezTo>
                    <a:pt x="71" y="55"/>
                    <a:pt x="73" y="52"/>
                    <a:pt x="72" y="51"/>
                  </a:cubicBezTo>
                  <a:cubicBezTo>
                    <a:pt x="71" y="50"/>
                    <a:pt x="70" y="47"/>
                    <a:pt x="68" y="46"/>
                  </a:cubicBezTo>
                  <a:cubicBezTo>
                    <a:pt x="66" y="46"/>
                    <a:pt x="59" y="42"/>
                    <a:pt x="59" y="40"/>
                  </a:cubicBezTo>
                  <a:cubicBezTo>
                    <a:pt x="59" y="38"/>
                    <a:pt x="57" y="36"/>
                    <a:pt x="55" y="36"/>
                  </a:cubicBezTo>
                  <a:cubicBezTo>
                    <a:pt x="54" y="35"/>
                    <a:pt x="53" y="29"/>
                    <a:pt x="54" y="28"/>
                  </a:cubicBezTo>
                  <a:cubicBezTo>
                    <a:pt x="56" y="28"/>
                    <a:pt x="56" y="22"/>
                    <a:pt x="58" y="22"/>
                  </a:cubicBezTo>
                  <a:cubicBezTo>
                    <a:pt x="59" y="22"/>
                    <a:pt x="58" y="19"/>
                    <a:pt x="59" y="17"/>
                  </a:cubicBezTo>
                  <a:cubicBezTo>
                    <a:pt x="59" y="15"/>
                    <a:pt x="57" y="14"/>
                    <a:pt x="55" y="14"/>
                  </a:cubicBezTo>
                  <a:cubicBezTo>
                    <a:pt x="54" y="14"/>
                    <a:pt x="51" y="12"/>
                    <a:pt x="51" y="10"/>
                  </a:cubicBezTo>
                  <a:cubicBezTo>
                    <a:pt x="51" y="8"/>
                    <a:pt x="48" y="4"/>
                    <a:pt x="48" y="3"/>
                  </a:cubicBezTo>
                  <a:cubicBezTo>
                    <a:pt x="48" y="8"/>
                    <a:pt x="41" y="1"/>
                    <a:pt x="40" y="2"/>
                  </a:cubicBezTo>
                  <a:cubicBezTo>
                    <a:pt x="38" y="3"/>
                    <a:pt x="36" y="0"/>
                    <a:pt x="32" y="1"/>
                  </a:cubicBezTo>
                  <a:cubicBezTo>
                    <a:pt x="30" y="1"/>
                    <a:pt x="30" y="2"/>
                    <a:pt x="29" y="3"/>
                  </a:cubicBezTo>
                  <a:cubicBezTo>
                    <a:pt x="29" y="3"/>
                    <a:pt x="29" y="3"/>
                    <a:pt x="29" y="3"/>
                  </a:cubicBezTo>
                  <a:cubicBezTo>
                    <a:pt x="24" y="7"/>
                    <a:pt x="24" y="7"/>
                    <a:pt x="24" y="7"/>
                  </a:cubicBezTo>
                  <a:cubicBezTo>
                    <a:pt x="24" y="7"/>
                    <a:pt x="20" y="8"/>
                    <a:pt x="19" y="11"/>
                  </a:cubicBezTo>
                  <a:cubicBezTo>
                    <a:pt x="18" y="13"/>
                    <a:pt x="21" y="16"/>
                    <a:pt x="20" y="17"/>
                  </a:cubicBezTo>
                  <a:cubicBezTo>
                    <a:pt x="19" y="19"/>
                    <a:pt x="19" y="22"/>
                    <a:pt x="19" y="24"/>
                  </a:cubicBezTo>
                  <a:cubicBezTo>
                    <a:pt x="19" y="25"/>
                    <a:pt x="17" y="28"/>
                    <a:pt x="17" y="28"/>
                  </a:cubicBezTo>
                  <a:cubicBezTo>
                    <a:pt x="17" y="28"/>
                    <a:pt x="8" y="34"/>
                    <a:pt x="0" y="38"/>
                  </a:cubicBezTo>
                  <a:cubicBezTo>
                    <a:pt x="0" y="39"/>
                    <a:pt x="0" y="40"/>
                    <a:pt x="1" y="42"/>
                  </a:cubicBezTo>
                  <a:cubicBezTo>
                    <a:pt x="1" y="43"/>
                    <a:pt x="2" y="47"/>
                    <a:pt x="2" y="49"/>
                  </a:cubicBezTo>
                  <a:cubicBezTo>
                    <a:pt x="6" y="49"/>
                    <a:pt x="6" y="49"/>
                    <a:pt x="9" y="49"/>
                  </a:cubicBezTo>
                  <a:cubicBezTo>
                    <a:pt x="12" y="50"/>
                    <a:pt x="22" y="57"/>
                    <a:pt x="25" y="59"/>
                  </a:cubicBezTo>
                  <a:cubicBezTo>
                    <a:pt x="27" y="60"/>
                    <a:pt x="41" y="70"/>
                    <a:pt x="44" y="73"/>
                  </a:cubicBezTo>
                  <a:cubicBezTo>
                    <a:pt x="47" y="75"/>
                    <a:pt x="52" y="76"/>
                    <a:pt x="53" y="76"/>
                  </a:cubicBezTo>
                  <a:cubicBezTo>
                    <a:pt x="55" y="76"/>
                    <a:pt x="59" y="77"/>
                    <a:pt x="63" y="77"/>
                  </a:cubicBezTo>
                  <a:cubicBezTo>
                    <a:pt x="64" y="74"/>
                    <a:pt x="65" y="71"/>
                    <a:pt x="66" y="70"/>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56" name="Freeform 99">
              <a:extLst>
                <a:ext uri="{FF2B5EF4-FFF2-40B4-BE49-F238E27FC236}">
                  <a16:creationId xmlns:a16="http://schemas.microsoft.com/office/drawing/2014/main" xmlns="" id="{9FA067C0-33EA-45DF-835F-1DA94C8E78C5}"/>
                </a:ext>
              </a:extLst>
            </p:cNvPr>
            <p:cNvSpPr>
              <a:spLocks/>
            </p:cNvSpPr>
            <p:nvPr/>
          </p:nvSpPr>
          <p:spPr bwMode="auto">
            <a:xfrm>
              <a:off x="17300797" y="3328066"/>
              <a:ext cx="38100" cy="36512"/>
            </a:xfrm>
            <a:custGeom>
              <a:avLst/>
              <a:gdLst>
                <a:gd name="T0" fmla="*/ 5 w 15"/>
                <a:gd name="T1" fmla="*/ 11 h 14"/>
                <a:gd name="T2" fmla="*/ 9 w 15"/>
                <a:gd name="T3" fmla="*/ 14 h 14"/>
                <a:gd name="T4" fmla="*/ 15 w 15"/>
                <a:gd name="T5" fmla="*/ 14 h 14"/>
                <a:gd name="T6" fmla="*/ 11 w 15"/>
                <a:gd name="T7" fmla="*/ 4 h 14"/>
                <a:gd name="T8" fmla="*/ 12 w 15"/>
                <a:gd name="T9" fmla="*/ 3 h 14"/>
                <a:gd name="T10" fmla="*/ 7 w 15"/>
                <a:gd name="T11" fmla="*/ 0 h 14"/>
                <a:gd name="T12" fmla="*/ 3 w 15"/>
                <a:gd name="T13" fmla="*/ 3 h 14"/>
                <a:gd name="T14" fmla="*/ 0 w 15"/>
                <a:gd name="T15" fmla="*/ 10 h 14"/>
                <a:gd name="T16" fmla="*/ 5 w 15"/>
                <a:gd name="T17" fmla="*/ 1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4">
                  <a:moveTo>
                    <a:pt x="5" y="11"/>
                  </a:moveTo>
                  <a:cubicBezTo>
                    <a:pt x="9" y="14"/>
                    <a:pt x="9" y="14"/>
                    <a:pt x="9" y="14"/>
                  </a:cubicBezTo>
                  <a:cubicBezTo>
                    <a:pt x="15" y="14"/>
                    <a:pt x="15" y="14"/>
                    <a:pt x="15" y="14"/>
                  </a:cubicBezTo>
                  <a:cubicBezTo>
                    <a:pt x="14" y="11"/>
                    <a:pt x="11" y="6"/>
                    <a:pt x="11" y="4"/>
                  </a:cubicBezTo>
                  <a:cubicBezTo>
                    <a:pt x="11" y="4"/>
                    <a:pt x="12" y="3"/>
                    <a:pt x="12" y="3"/>
                  </a:cubicBezTo>
                  <a:cubicBezTo>
                    <a:pt x="10" y="1"/>
                    <a:pt x="9" y="0"/>
                    <a:pt x="7" y="0"/>
                  </a:cubicBezTo>
                  <a:cubicBezTo>
                    <a:pt x="4" y="0"/>
                    <a:pt x="4" y="2"/>
                    <a:pt x="3" y="3"/>
                  </a:cubicBezTo>
                  <a:cubicBezTo>
                    <a:pt x="2" y="4"/>
                    <a:pt x="1" y="7"/>
                    <a:pt x="0" y="10"/>
                  </a:cubicBezTo>
                  <a:cubicBezTo>
                    <a:pt x="2" y="10"/>
                    <a:pt x="5" y="11"/>
                    <a:pt x="5" y="11"/>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57" name="Freeform 100">
              <a:extLst>
                <a:ext uri="{FF2B5EF4-FFF2-40B4-BE49-F238E27FC236}">
                  <a16:creationId xmlns:a16="http://schemas.microsoft.com/office/drawing/2014/main" xmlns="" id="{3794E34F-AF07-4051-ABC7-C450024D0051}"/>
                </a:ext>
              </a:extLst>
            </p:cNvPr>
            <p:cNvSpPr>
              <a:spLocks noEditPoints="1"/>
            </p:cNvSpPr>
            <p:nvPr/>
          </p:nvSpPr>
          <p:spPr bwMode="auto">
            <a:xfrm>
              <a:off x="16230822" y="2797841"/>
              <a:ext cx="306388" cy="258762"/>
            </a:xfrm>
            <a:custGeom>
              <a:avLst/>
              <a:gdLst>
                <a:gd name="T0" fmla="*/ 103 w 118"/>
                <a:gd name="T1" fmla="*/ 23 h 99"/>
                <a:gd name="T2" fmla="*/ 99 w 118"/>
                <a:gd name="T3" fmla="*/ 21 h 99"/>
                <a:gd name="T4" fmla="*/ 94 w 118"/>
                <a:gd name="T5" fmla="*/ 19 h 99"/>
                <a:gd name="T6" fmla="*/ 86 w 118"/>
                <a:gd name="T7" fmla="*/ 17 h 99"/>
                <a:gd name="T8" fmla="*/ 81 w 118"/>
                <a:gd name="T9" fmla="*/ 15 h 99"/>
                <a:gd name="T10" fmla="*/ 79 w 118"/>
                <a:gd name="T11" fmla="*/ 11 h 99"/>
                <a:gd name="T12" fmla="*/ 76 w 118"/>
                <a:gd name="T13" fmla="*/ 13 h 99"/>
                <a:gd name="T14" fmla="*/ 73 w 118"/>
                <a:gd name="T15" fmla="*/ 10 h 99"/>
                <a:gd name="T16" fmla="*/ 68 w 118"/>
                <a:gd name="T17" fmla="*/ 7 h 99"/>
                <a:gd name="T18" fmla="*/ 64 w 118"/>
                <a:gd name="T19" fmla="*/ 4 h 99"/>
                <a:gd name="T20" fmla="*/ 61 w 118"/>
                <a:gd name="T21" fmla="*/ 1 h 99"/>
                <a:gd name="T22" fmla="*/ 60 w 118"/>
                <a:gd name="T23" fmla="*/ 0 h 99"/>
                <a:gd name="T24" fmla="*/ 58 w 118"/>
                <a:gd name="T25" fmla="*/ 0 h 99"/>
                <a:gd name="T26" fmla="*/ 54 w 118"/>
                <a:gd name="T27" fmla="*/ 7 h 99"/>
                <a:gd name="T28" fmla="*/ 45 w 118"/>
                <a:gd name="T29" fmla="*/ 13 h 99"/>
                <a:gd name="T30" fmla="*/ 40 w 118"/>
                <a:gd name="T31" fmla="*/ 19 h 99"/>
                <a:gd name="T32" fmla="*/ 30 w 118"/>
                <a:gd name="T33" fmla="*/ 15 h 99"/>
                <a:gd name="T34" fmla="*/ 25 w 118"/>
                <a:gd name="T35" fmla="*/ 18 h 99"/>
                <a:gd name="T36" fmla="*/ 26 w 118"/>
                <a:gd name="T37" fmla="*/ 27 h 99"/>
                <a:gd name="T38" fmla="*/ 19 w 118"/>
                <a:gd name="T39" fmla="*/ 27 h 99"/>
                <a:gd name="T40" fmla="*/ 14 w 118"/>
                <a:gd name="T41" fmla="*/ 24 h 99"/>
                <a:gd name="T42" fmla="*/ 7 w 118"/>
                <a:gd name="T43" fmla="*/ 25 h 99"/>
                <a:gd name="T44" fmla="*/ 2 w 118"/>
                <a:gd name="T45" fmla="*/ 29 h 99"/>
                <a:gd name="T46" fmla="*/ 3 w 118"/>
                <a:gd name="T47" fmla="*/ 34 h 99"/>
                <a:gd name="T48" fmla="*/ 13 w 118"/>
                <a:gd name="T49" fmla="*/ 37 h 99"/>
                <a:gd name="T50" fmla="*/ 20 w 118"/>
                <a:gd name="T51" fmla="*/ 39 h 99"/>
                <a:gd name="T52" fmla="*/ 23 w 118"/>
                <a:gd name="T53" fmla="*/ 43 h 99"/>
                <a:gd name="T54" fmla="*/ 29 w 118"/>
                <a:gd name="T55" fmla="*/ 50 h 99"/>
                <a:gd name="T56" fmla="*/ 31 w 118"/>
                <a:gd name="T57" fmla="*/ 56 h 99"/>
                <a:gd name="T58" fmla="*/ 30 w 118"/>
                <a:gd name="T59" fmla="*/ 66 h 99"/>
                <a:gd name="T60" fmla="*/ 26 w 118"/>
                <a:gd name="T61" fmla="*/ 80 h 99"/>
                <a:gd name="T62" fmla="*/ 26 w 118"/>
                <a:gd name="T63" fmla="*/ 80 h 99"/>
                <a:gd name="T64" fmla="*/ 30 w 118"/>
                <a:gd name="T65" fmla="*/ 82 h 99"/>
                <a:gd name="T66" fmla="*/ 38 w 118"/>
                <a:gd name="T67" fmla="*/ 86 h 99"/>
                <a:gd name="T68" fmla="*/ 45 w 118"/>
                <a:gd name="T69" fmla="*/ 86 h 99"/>
                <a:gd name="T70" fmla="*/ 48 w 118"/>
                <a:gd name="T71" fmla="*/ 86 h 99"/>
                <a:gd name="T72" fmla="*/ 58 w 118"/>
                <a:gd name="T73" fmla="*/ 89 h 99"/>
                <a:gd name="T74" fmla="*/ 66 w 118"/>
                <a:gd name="T75" fmla="*/ 89 h 99"/>
                <a:gd name="T76" fmla="*/ 66 w 118"/>
                <a:gd name="T77" fmla="*/ 87 h 99"/>
                <a:gd name="T78" fmla="*/ 72 w 118"/>
                <a:gd name="T79" fmla="*/ 79 h 99"/>
                <a:gd name="T80" fmla="*/ 87 w 118"/>
                <a:gd name="T81" fmla="*/ 82 h 99"/>
                <a:gd name="T82" fmla="*/ 96 w 118"/>
                <a:gd name="T83" fmla="*/ 79 h 99"/>
                <a:gd name="T84" fmla="*/ 101 w 118"/>
                <a:gd name="T85" fmla="*/ 76 h 99"/>
                <a:gd name="T86" fmla="*/ 102 w 118"/>
                <a:gd name="T87" fmla="*/ 73 h 99"/>
                <a:gd name="T88" fmla="*/ 99 w 118"/>
                <a:gd name="T89" fmla="*/ 72 h 99"/>
                <a:gd name="T90" fmla="*/ 97 w 118"/>
                <a:gd name="T91" fmla="*/ 68 h 99"/>
                <a:gd name="T92" fmla="*/ 94 w 118"/>
                <a:gd name="T93" fmla="*/ 64 h 99"/>
                <a:gd name="T94" fmla="*/ 96 w 118"/>
                <a:gd name="T95" fmla="*/ 62 h 99"/>
                <a:gd name="T96" fmla="*/ 98 w 118"/>
                <a:gd name="T97" fmla="*/ 59 h 99"/>
                <a:gd name="T98" fmla="*/ 97 w 118"/>
                <a:gd name="T99" fmla="*/ 55 h 99"/>
                <a:gd name="T100" fmla="*/ 95 w 118"/>
                <a:gd name="T101" fmla="*/ 51 h 99"/>
                <a:gd name="T102" fmla="*/ 92 w 118"/>
                <a:gd name="T103" fmla="*/ 50 h 99"/>
                <a:gd name="T104" fmla="*/ 91 w 118"/>
                <a:gd name="T105" fmla="*/ 48 h 99"/>
                <a:gd name="T106" fmla="*/ 96 w 118"/>
                <a:gd name="T107" fmla="*/ 41 h 99"/>
                <a:gd name="T108" fmla="*/ 100 w 118"/>
                <a:gd name="T109" fmla="*/ 38 h 99"/>
                <a:gd name="T110" fmla="*/ 102 w 118"/>
                <a:gd name="T111" fmla="*/ 32 h 99"/>
                <a:gd name="T112" fmla="*/ 105 w 118"/>
                <a:gd name="T113" fmla="*/ 25 h 99"/>
                <a:gd name="T114" fmla="*/ 103 w 118"/>
                <a:gd name="T115" fmla="*/ 23 h 99"/>
                <a:gd name="T116" fmla="*/ 116 w 118"/>
                <a:gd name="T117" fmla="*/ 83 h 99"/>
                <a:gd name="T118" fmla="*/ 111 w 118"/>
                <a:gd name="T119" fmla="*/ 87 h 99"/>
                <a:gd name="T120" fmla="*/ 114 w 118"/>
                <a:gd name="T121" fmla="*/ 98 h 99"/>
                <a:gd name="T122" fmla="*/ 116 w 118"/>
                <a:gd name="T123" fmla="*/ 8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8" h="99">
                  <a:moveTo>
                    <a:pt x="103" y="23"/>
                  </a:moveTo>
                  <a:cubicBezTo>
                    <a:pt x="102" y="23"/>
                    <a:pt x="101" y="21"/>
                    <a:pt x="99" y="21"/>
                  </a:cubicBezTo>
                  <a:cubicBezTo>
                    <a:pt x="97" y="21"/>
                    <a:pt x="95" y="20"/>
                    <a:pt x="94" y="19"/>
                  </a:cubicBezTo>
                  <a:cubicBezTo>
                    <a:pt x="93" y="17"/>
                    <a:pt x="87" y="17"/>
                    <a:pt x="86" y="17"/>
                  </a:cubicBezTo>
                  <a:cubicBezTo>
                    <a:pt x="84" y="18"/>
                    <a:pt x="83" y="14"/>
                    <a:pt x="81" y="15"/>
                  </a:cubicBezTo>
                  <a:cubicBezTo>
                    <a:pt x="80" y="15"/>
                    <a:pt x="79" y="12"/>
                    <a:pt x="79" y="11"/>
                  </a:cubicBezTo>
                  <a:cubicBezTo>
                    <a:pt x="79" y="9"/>
                    <a:pt x="77" y="12"/>
                    <a:pt x="76" y="13"/>
                  </a:cubicBezTo>
                  <a:cubicBezTo>
                    <a:pt x="74" y="13"/>
                    <a:pt x="73" y="11"/>
                    <a:pt x="73" y="10"/>
                  </a:cubicBezTo>
                  <a:cubicBezTo>
                    <a:pt x="73" y="9"/>
                    <a:pt x="70" y="8"/>
                    <a:pt x="68" y="7"/>
                  </a:cubicBezTo>
                  <a:cubicBezTo>
                    <a:pt x="67" y="6"/>
                    <a:pt x="65" y="3"/>
                    <a:pt x="64" y="4"/>
                  </a:cubicBezTo>
                  <a:cubicBezTo>
                    <a:pt x="63" y="6"/>
                    <a:pt x="61" y="3"/>
                    <a:pt x="61" y="1"/>
                  </a:cubicBezTo>
                  <a:cubicBezTo>
                    <a:pt x="61" y="1"/>
                    <a:pt x="61" y="1"/>
                    <a:pt x="60" y="0"/>
                  </a:cubicBezTo>
                  <a:cubicBezTo>
                    <a:pt x="60" y="0"/>
                    <a:pt x="59" y="0"/>
                    <a:pt x="58" y="0"/>
                  </a:cubicBezTo>
                  <a:cubicBezTo>
                    <a:pt x="56" y="0"/>
                    <a:pt x="53" y="3"/>
                    <a:pt x="54" y="7"/>
                  </a:cubicBezTo>
                  <a:cubicBezTo>
                    <a:pt x="54" y="12"/>
                    <a:pt x="50" y="13"/>
                    <a:pt x="45" y="13"/>
                  </a:cubicBezTo>
                  <a:cubicBezTo>
                    <a:pt x="40" y="13"/>
                    <a:pt x="42" y="17"/>
                    <a:pt x="40" y="19"/>
                  </a:cubicBezTo>
                  <a:cubicBezTo>
                    <a:pt x="38" y="20"/>
                    <a:pt x="31" y="18"/>
                    <a:pt x="30" y="15"/>
                  </a:cubicBezTo>
                  <a:cubicBezTo>
                    <a:pt x="29" y="13"/>
                    <a:pt x="23" y="15"/>
                    <a:pt x="25" y="18"/>
                  </a:cubicBezTo>
                  <a:cubicBezTo>
                    <a:pt x="28" y="21"/>
                    <a:pt x="28" y="26"/>
                    <a:pt x="26" y="27"/>
                  </a:cubicBezTo>
                  <a:cubicBezTo>
                    <a:pt x="25" y="28"/>
                    <a:pt x="21" y="25"/>
                    <a:pt x="19" y="27"/>
                  </a:cubicBezTo>
                  <a:cubicBezTo>
                    <a:pt x="17" y="28"/>
                    <a:pt x="17" y="25"/>
                    <a:pt x="14" y="24"/>
                  </a:cubicBezTo>
                  <a:cubicBezTo>
                    <a:pt x="12" y="23"/>
                    <a:pt x="11" y="25"/>
                    <a:pt x="7" y="25"/>
                  </a:cubicBezTo>
                  <a:cubicBezTo>
                    <a:pt x="2" y="25"/>
                    <a:pt x="0" y="27"/>
                    <a:pt x="2" y="29"/>
                  </a:cubicBezTo>
                  <a:cubicBezTo>
                    <a:pt x="3" y="31"/>
                    <a:pt x="1" y="32"/>
                    <a:pt x="3" y="34"/>
                  </a:cubicBezTo>
                  <a:cubicBezTo>
                    <a:pt x="4" y="35"/>
                    <a:pt x="9" y="35"/>
                    <a:pt x="13" y="37"/>
                  </a:cubicBezTo>
                  <a:cubicBezTo>
                    <a:pt x="17" y="39"/>
                    <a:pt x="18" y="38"/>
                    <a:pt x="20" y="39"/>
                  </a:cubicBezTo>
                  <a:cubicBezTo>
                    <a:pt x="22" y="41"/>
                    <a:pt x="23" y="40"/>
                    <a:pt x="23" y="43"/>
                  </a:cubicBezTo>
                  <a:cubicBezTo>
                    <a:pt x="23" y="46"/>
                    <a:pt x="25" y="49"/>
                    <a:pt x="29" y="50"/>
                  </a:cubicBezTo>
                  <a:cubicBezTo>
                    <a:pt x="33" y="51"/>
                    <a:pt x="30" y="53"/>
                    <a:pt x="31" y="56"/>
                  </a:cubicBezTo>
                  <a:cubicBezTo>
                    <a:pt x="33" y="58"/>
                    <a:pt x="30" y="62"/>
                    <a:pt x="30" y="66"/>
                  </a:cubicBezTo>
                  <a:cubicBezTo>
                    <a:pt x="31" y="69"/>
                    <a:pt x="28" y="79"/>
                    <a:pt x="26" y="80"/>
                  </a:cubicBezTo>
                  <a:cubicBezTo>
                    <a:pt x="26" y="80"/>
                    <a:pt x="26" y="80"/>
                    <a:pt x="26" y="80"/>
                  </a:cubicBezTo>
                  <a:cubicBezTo>
                    <a:pt x="28" y="81"/>
                    <a:pt x="30" y="82"/>
                    <a:pt x="30" y="82"/>
                  </a:cubicBezTo>
                  <a:cubicBezTo>
                    <a:pt x="32" y="84"/>
                    <a:pt x="36" y="85"/>
                    <a:pt x="38" y="86"/>
                  </a:cubicBezTo>
                  <a:cubicBezTo>
                    <a:pt x="41" y="88"/>
                    <a:pt x="45" y="87"/>
                    <a:pt x="45" y="86"/>
                  </a:cubicBezTo>
                  <a:cubicBezTo>
                    <a:pt x="45" y="84"/>
                    <a:pt x="47" y="85"/>
                    <a:pt x="48" y="86"/>
                  </a:cubicBezTo>
                  <a:cubicBezTo>
                    <a:pt x="50" y="88"/>
                    <a:pt x="55" y="88"/>
                    <a:pt x="58" y="89"/>
                  </a:cubicBezTo>
                  <a:cubicBezTo>
                    <a:pt x="60" y="89"/>
                    <a:pt x="63" y="89"/>
                    <a:pt x="66" y="89"/>
                  </a:cubicBezTo>
                  <a:cubicBezTo>
                    <a:pt x="66" y="88"/>
                    <a:pt x="66" y="88"/>
                    <a:pt x="66" y="87"/>
                  </a:cubicBezTo>
                  <a:cubicBezTo>
                    <a:pt x="64" y="82"/>
                    <a:pt x="68" y="80"/>
                    <a:pt x="72" y="79"/>
                  </a:cubicBezTo>
                  <a:cubicBezTo>
                    <a:pt x="76" y="78"/>
                    <a:pt x="85" y="81"/>
                    <a:pt x="87" y="82"/>
                  </a:cubicBezTo>
                  <a:cubicBezTo>
                    <a:pt x="89" y="84"/>
                    <a:pt x="92" y="83"/>
                    <a:pt x="96" y="79"/>
                  </a:cubicBezTo>
                  <a:cubicBezTo>
                    <a:pt x="98" y="77"/>
                    <a:pt x="100" y="76"/>
                    <a:pt x="101" y="76"/>
                  </a:cubicBezTo>
                  <a:cubicBezTo>
                    <a:pt x="102" y="75"/>
                    <a:pt x="102" y="74"/>
                    <a:pt x="102" y="73"/>
                  </a:cubicBezTo>
                  <a:cubicBezTo>
                    <a:pt x="103" y="72"/>
                    <a:pt x="100" y="72"/>
                    <a:pt x="99" y="72"/>
                  </a:cubicBezTo>
                  <a:cubicBezTo>
                    <a:pt x="97" y="72"/>
                    <a:pt x="96" y="70"/>
                    <a:pt x="97" y="68"/>
                  </a:cubicBezTo>
                  <a:cubicBezTo>
                    <a:pt x="98" y="66"/>
                    <a:pt x="96" y="66"/>
                    <a:pt x="94" y="64"/>
                  </a:cubicBezTo>
                  <a:cubicBezTo>
                    <a:pt x="93" y="62"/>
                    <a:pt x="95" y="62"/>
                    <a:pt x="96" y="62"/>
                  </a:cubicBezTo>
                  <a:cubicBezTo>
                    <a:pt x="97" y="61"/>
                    <a:pt x="99" y="59"/>
                    <a:pt x="98" y="59"/>
                  </a:cubicBezTo>
                  <a:cubicBezTo>
                    <a:pt x="97" y="58"/>
                    <a:pt x="96" y="57"/>
                    <a:pt x="97" y="55"/>
                  </a:cubicBezTo>
                  <a:cubicBezTo>
                    <a:pt x="98" y="53"/>
                    <a:pt x="95" y="52"/>
                    <a:pt x="95" y="51"/>
                  </a:cubicBezTo>
                  <a:cubicBezTo>
                    <a:pt x="95" y="49"/>
                    <a:pt x="93" y="48"/>
                    <a:pt x="92" y="50"/>
                  </a:cubicBezTo>
                  <a:cubicBezTo>
                    <a:pt x="90" y="52"/>
                    <a:pt x="90" y="51"/>
                    <a:pt x="91" y="48"/>
                  </a:cubicBezTo>
                  <a:cubicBezTo>
                    <a:pt x="92" y="45"/>
                    <a:pt x="96" y="43"/>
                    <a:pt x="96" y="41"/>
                  </a:cubicBezTo>
                  <a:cubicBezTo>
                    <a:pt x="96" y="40"/>
                    <a:pt x="98" y="38"/>
                    <a:pt x="100" y="38"/>
                  </a:cubicBezTo>
                  <a:cubicBezTo>
                    <a:pt x="102" y="38"/>
                    <a:pt x="101" y="34"/>
                    <a:pt x="102" y="32"/>
                  </a:cubicBezTo>
                  <a:cubicBezTo>
                    <a:pt x="102" y="30"/>
                    <a:pt x="103" y="27"/>
                    <a:pt x="105" y="25"/>
                  </a:cubicBezTo>
                  <a:cubicBezTo>
                    <a:pt x="107" y="23"/>
                    <a:pt x="104" y="22"/>
                    <a:pt x="103" y="23"/>
                  </a:cubicBezTo>
                  <a:close/>
                  <a:moveTo>
                    <a:pt x="116" y="83"/>
                  </a:moveTo>
                  <a:cubicBezTo>
                    <a:pt x="115" y="83"/>
                    <a:pt x="114" y="85"/>
                    <a:pt x="111" y="87"/>
                  </a:cubicBezTo>
                  <a:cubicBezTo>
                    <a:pt x="108" y="89"/>
                    <a:pt x="111" y="99"/>
                    <a:pt x="114" y="98"/>
                  </a:cubicBezTo>
                  <a:cubicBezTo>
                    <a:pt x="118" y="98"/>
                    <a:pt x="117" y="83"/>
                    <a:pt x="116" y="83"/>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58" name="Freeform 101">
              <a:extLst>
                <a:ext uri="{FF2B5EF4-FFF2-40B4-BE49-F238E27FC236}">
                  <a16:creationId xmlns:a16="http://schemas.microsoft.com/office/drawing/2014/main" xmlns="" id="{A6DCC251-A583-471C-ABB5-55E4F1FD014E}"/>
                </a:ext>
              </a:extLst>
            </p:cNvPr>
            <p:cNvSpPr>
              <a:spLocks/>
            </p:cNvSpPr>
            <p:nvPr/>
          </p:nvSpPr>
          <p:spPr bwMode="auto">
            <a:xfrm>
              <a:off x="14430597" y="3680491"/>
              <a:ext cx="49213" cy="26987"/>
            </a:xfrm>
            <a:custGeom>
              <a:avLst/>
              <a:gdLst>
                <a:gd name="T0" fmla="*/ 19 w 19"/>
                <a:gd name="T1" fmla="*/ 4 h 10"/>
                <a:gd name="T2" fmla="*/ 10 w 19"/>
                <a:gd name="T3" fmla="*/ 2 h 10"/>
                <a:gd name="T4" fmla="*/ 6 w 19"/>
                <a:gd name="T5" fmla="*/ 0 h 10"/>
                <a:gd name="T6" fmla="*/ 6 w 19"/>
                <a:gd name="T7" fmla="*/ 0 h 10"/>
                <a:gd name="T8" fmla="*/ 0 w 19"/>
                <a:gd name="T9" fmla="*/ 5 h 10"/>
                <a:gd name="T10" fmla="*/ 16 w 19"/>
                <a:gd name="T11" fmla="*/ 10 h 10"/>
                <a:gd name="T12" fmla="*/ 19 w 19"/>
                <a:gd name="T13" fmla="*/ 9 h 10"/>
                <a:gd name="T14" fmla="*/ 19 w 19"/>
                <a:gd name="T15" fmla="*/ 4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0">
                  <a:moveTo>
                    <a:pt x="19" y="4"/>
                  </a:moveTo>
                  <a:cubicBezTo>
                    <a:pt x="17" y="2"/>
                    <a:pt x="14" y="4"/>
                    <a:pt x="10" y="2"/>
                  </a:cubicBezTo>
                  <a:cubicBezTo>
                    <a:pt x="9" y="1"/>
                    <a:pt x="8" y="0"/>
                    <a:pt x="6" y="0"/>
                  </a:cubicBezTo>
                  <a:cubicBezTo>
                    <a:pt x="6" y="0"/>
                    <a:pt x="6" y="0"/>
                    <a:pt x="6" y="0"/>
                  </a:cubicBezTo>
                  <a:cubicBezTo>
                    <a:pt x="5" y="0"/>
                    <a:pt x="3" y="2"/>
                    <a:pt x="0" y="5"/>
                  </a:cubicBezTo>
                  <a:cubicBezTo>
                    <a:pt x="3" y="7"/>
                    <a:pt x="13" y="10"/>
                    <a:pt x="16" y="10"/>
                  </a:cubicBezTo>
                  <a:cubicBezTo>
                    <a:pt x="17" y="10"/>
                    <a:pt x="18" y="9"/>
                    <a:pt x="19" y="9"/>
                  </a:cubicBezTo>
                  <a:cubicBezTo>
                    <a:pt x="19" y="6"/>
                    <a:pt x="19" y="4"/>
                    <a:pt x="19" y="4"/>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59" name="Freeform 102">
              <a:extLst>
                <a:ext uri="{FF2B5EF4-FFF2-40B4-BE49-F238E27FC236}">
                  <a16:creationId xmlns:a16="http://schemas.microsoft.com/office/drawing/2014/main" xmlns="" id="{1B3364DF-ECDF-4CDA-8300-0B325A4CA4A1}"/>
                </a:ext>
              </a:extLst>
            </p:cNvPr>
            <p:cNvSpPr>
              <a:spLocks/>
            </p:cNvSpPr>
            <p:nvPr/>
          </p:nvSpPr>
          <p:spPr bwMode="auto">
            <a:xfrm>
              <a:off x="14446472" y="3642391"/>
              <a:ext cx="130175" cy="69850"/>
            </a:xfrm>
            <a:custGeom>
              <a:avLst/>
              <a:gdLst>
                <a:gd name="T0" fmla="*/ 21 w 50"/>
                <a:gd name="T1" fmla="*/ 24 h 27"/>
                <a:gd name="T2" fmla="*/ 24 w 50"/>
                <a:gd name="T3" fmla="*/ 19 h 27"/>
                <a:gd name="T4" fmla="*/ 32 w 50"/>
                <a:gd name="T5" fmla="*/ 15 h 27"/>
                <a:gd name="T6" fmla="*/ 40 w 50"/>
                <a:gd name="T7" fmla="*/ 14 h 27"/>
                <a:gd name="T8" fmla="*/ 50 w 50"/>
                <a:gd name="T9" fmla="*/ 10 h 27"/>
                <a:gd name="T10" fmla="*/ 41 w 50"/>
                <a:gd name="T11" fmla="*/ 3 h 27"/>
                <a:gd name="T12" fmla="*/ 23 w 50"/>
                <a:gd name="T13" fmla="*/ 3 h 27"/>
                <a:gd name="T14" fmla="*/ 8 w 50"/>
                <a:gd name="T15" fmla="*/ 4 h 27"/>
                <a:gd name="T16" fmla="*/ 8 w 50"/>
                <a:gd name="T17" fmla="*/ 4 h 27"/>
                <a:gd name="T18" fmla="*/ 4 w 50"/>
                <a:gd name="T19" fmla="*/ 9 h 27"/>
                <a:gd name="T20" fmla="*/ 0 w 50"/>
                <a:gd name="T21" fmla="*/ 15 h 27"/>
                <a:gd name="T22" fmla="*/ 4 w 50"/>
                <a:gd name="T23" fmla="*/ 17 h 27"/>
                <a:gd name="T24" fmla="*/ 13 w 50"/>
                <a:gd name="T25" fmla="*/ 19 h 27"/>
                <a:gd name="T26" fmla="*/ 13 w 50"/>
                <a:gd name="T27" fmla="*/ 24 h 27"/>
                <a:gd name="T28" fmla="*/ 15 w 50"/>
                <a:gd name="T29" fmla="*/ 24 h 27"/>
                <a:gd name="T30" fmla="*/ 16 w 50"/>
                <a:gd name="T31" fmla="*/ 27 h 27"/>
                <a:gd name="T32" fmla="*/ 19 w 50"/>
                <a:gd name="T33" fmla="*/ 26 h 27"/>
                <a:gd name="T34" fmla="*/ 21 w 50"/>
                <a:gd name="T35" fmla="*/ 2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 h="27">
                  <a:moveTo>
                    <a:pt x="21" y="24"/>
                  </a:moveTo>
                  <a:cubicBezTo>
                    <a:pt x="21" y="23"/>
                    <a:pt x="19" y="19"/>
                    <a:pt x="24" y="19"/>
                  </a:cubicBezTo>
                  <a:cubicBezTo>
                    <a:pt x="28" y="19"/>
                    <a:pt x="32" y="18"/>
                    <a:pt x="32" y="15"/>
                  </a:cubicBezTo>
                  <a:cubicBezTo>
                    <a:pt x="33" y="12"/>
                    <a:pt x="39" y="14"/>
                    <a:pt x="40" y="14"/>
                  </a:cubicBezTo>
                  <a:cubicBezTo>
                    <a:pt x="41" y="13"/>
                    <a:pt x="46" y="10"/>
                    <a:pt x="50" y="10"/>
                  </a:cubicBezTo>
                  <a:cubicBezTo>
                    <a:pt x="50" y="6"/>
                    <a:pt x="44" y="7"/>
                    <a:pt x="41" y="3"/>
                  </a:cubicBezTo>
                  <a:cubicBezTo>
                    <a:pt x="37" y="0"/>
                    <a:pt x="28" y="1"/>
                    <a:pt x="23" y="3"/>
                  </a:cubicBezTo>
                  <a:cubicBezTo>
                    <a:pt x="19" y="5"/>
                    <a:pt x="13" y="1"/>
                    <a:pt x="8" y="4"/>
                  </a:cubicBezTo>
                  <a:cubicBezTo>
                    <a:pt x="8" y="4"/>
                    <a:pt x="8" y="4"/>
                    <a:pt x="8" y="4"/>
                  </a:cubicBezTo>
                  <a:cubicBezTo>
                    <a:pt x="7" y="5"/>
                    <a:pt x="6" y="7"/>
                    <a:pt x="4" y="9"/>
                  </a:cubicBezTo>
                  <a:cubicBezTo>
                    <a:pt x="1" y="11"/>
                    <a:pt x="2" y="14"/>
                    <a:pt x="0" y="15"/>
                  </a:cubicBezTo>
                  <a:cubicBezTo>
                    <a:pt x="2" y="15"/>
                    <a:pt x="3" y="16"/>
                    <a:pt x="4" y="17"/>
                  </a:cubicBezTo>
                  <a:cubicBezTo>
                    <a:pt x="8" y="19"/>
                    <a:pt x="11" y="17"/>
                    <a:pt x="13" y="19"/>
                  </a:cubicBezTo>
                  <a:cubicBezTo>
                    <a:pt x="13" y="19"/>
                    <a:pt x="13" y="21"/>
                    <a:pt x="13" y="24"/>
                  </a:cubicBezTo>
                  <a:cubicBezTo>
                    <a:pt x="13" y="23"/>
                    <a:pt x="14" y="23"/>
                    <a:pt x="15" y="24"/>
                  </a:cubicBezTo>
                  <a:cubicBezTo>
                    <a:pt x="16" y="25"/>
                    <a:pt x="16" y="26"/>
                    <a:pt x="16" y="27"/>
                  </a:cubicBezTo>
                  <a:cubicBezTo>
                    <a:pt x="19" y="26"/>
                    <a:pt x="19" y="26"/>
                    <a:pt x="19" y="26"/>
                  </a:cubicBezTo>
                  <a:cubicBezTo>
                    <a:pt x="19" y="26"/>
                    <a:pt x="21" y="25"/>
                    <a:pt x="21" y="24"/>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60" name="Freeform 103">
              <a:extLst>
                <a:ext uri="{FF2B5EF4-FFF2-40B4-BE49-F238E27FC236}">
                  <a16:creationId xmlns:a16="http://schemas.microsoft.com/office/drawing/2014/main" xmlns="" id="{B550E3EE-38C3-4675-971F-40097137BC84}"/>
                </a:ext>
              </a:extLst>
            </p:cNvPr>
            <p:cNvSpPr>
              <a:spLocks/>
            </p:cNvSpPr>
            <p:nvPr/>
          </p:nvSpPr>
          <p:spPr bwMode="auto">
            <a:xfrm>
              <a:off x="13865447" y="3270916"/>
              <a:ext cx="638175" cy="396875"/>
            </a:xfrm>
            <a:custGeom>
              <a:avLst/>
              <a:gdLst>
                <a:gd name="T0" fmla="*/ 214 w 245"/>
                <a:gd name="T1" fmla="*/ 142 h 152"/>
                <a:gd name="T2" fmla="*/ 211 w 245"/>
                <a:gd name="T3" fmla="*/ 128 h 152"/>
                <a:gd name="T4" fmla="*/ 231 w 245"/>
                <a:gd name="T5" fmla="*/ 123 h 152"/>
                <a:gd name="T6" fmla="*/ 238 w 245"/>
                <a:gd name="T7" fmla="*/ 115 h 152"/>
                <a:gd name="T8" fmla="*/ 244 w 245"/>
                <a:gd name="T9" fmla="*/ 99 h 152"/>
                <a:gd name="T10" fmla="*/ 224 w 245"/>
                <a:gd name="T11" fmla="*/ 98 h 152"/>
                <a:gd name="T12" fmla="*/ 212 w 245"/>
                <a:gd name="T13" fmla="*/ 114 h 152"/>
                <a:gd name="T14" fmla="*/ 200 w 245"/>
                <a:gd name="T15" fmla="*/ 121 h 152"/>
                <a:gd name="T16" fmla="*/ 172 w 245"/>
                <a:gd name="T17" fmla="*/ 121 h 152"/>
                <a:gd name="T18" fmla="*/ 159 w 245"/>
                <a:gd name="T19" fmla="*/ 102 h 152"/>
                <a:gd name="T20" fmla="*/ 159 w 245"/>
                <a:gd name="T21" fmla="*/ 64 h 152"/>
                <a:gd name="T22" fmla="*/ 156 w 245"/>
                <a:gd name="T23" fmla="*/ 59 h 152"/>
                <a:gd name="T24" fmla="*/ 143 w 245"/>
                <a:gd name="T25" fmla="*/ 50 h 152"/>
                <a:gd name="T26" fmla="*/ 133 w 245"/>
                <a:gd name="T27" fmla="*/ 33 h 152"/>
                <a:gd name="T28" fmla="*/ 112 w 245"/>
                <a:gd name="T29" fmla="*/ 33 h 152"/>
                <a:gd name="T30" fmla="*/ 100 w 245"/>
                <a:gd name="T31" fmla="*/ 23 h 152"/>
                <a:gd name="T32" fmla="*/ 86 w 245"/>
                <a:gd name="T33" fmla="*/ 8 h 152"/>
                <a:gd name="T34" fmla="*/ 71 w 245"/>
                <a:gd name="T35" fmla="*/ 12 h 152"/>
                <a:gd name="T36" fmla="*/ 27 w 245"/>
                <a:gd name="T37" fmla="*/ 5 h 152"/>
                <a:gd name="T38" fmla="*/ 0 w 245"/>
                <a:gd name="T39" fmla="*/ 2 h 152"/>
                <a:gd name="T40" fmla="*/ 11 w 245"/>
                <a:gd name="T41" fmla="*/ 25 h 152"/>
                <a:gd name="T42" fmla="*/ 25 w 245"/>
                <a:gd name="T43" fmla="*/ 43 h 152"/>
                <a:gd name="T44" fmla="*/ 28 w 245"/>
                <a:gd name="T45" fmla="*/ 51 h 152"/>
                <a:gd name="T46" fmla="*/ 39 w 245"/>
                <a:gd name="T47" fmla="*/ 67 h 152"/>
                <a:gd name="T48" fmla="*/ 57 w 245"/>
                <a:gd name="T49" fmla="*/ 85 h 152"/>
                <a:gd name="T50" fmla="*/ 59 w 245"/>
                <a:gd name="T51" fmla="*/ 76 h 152"/>
                <a:gd name="T52" fmla="*/ 50 w 245"/>
                <a:gd name="T53" fmla="*/ 66 h 152"/>
                <a:gd name="T54" fmla="*/ 36 w 245"/>
                <a:gd name="T55" fmla="*/ 43 h 152"/>
                <a:gd name="T56" fmla="*/ 31 w 245"/>
                <a:gd name="T57" fmla="*/ 30 h 152"/>
                <a:gd name="T58" fmla="*/ 20 w 245"/>
                <a:gd name="T59" fmla="*/ 21 h 152"/>
                <a:gd name="T60" fmla="*/ 20 w 245"/>
                <a:gd name="T61" fmla="*/ 8 h 152"/>
                <a:gd name="T62" fmla="*/ 27 w 245"/>
                <a:gd name="T63" fmla="*/ 11 h 152"/>
                <a:gd name="T64" fmla="*/ 34 w 245"/>
                <a:gd name="T65" fmla="*/ 22 h 152"/>
                <a:gd name="T66" fmla="*/ 39 w 245"/>
                <a:gd name="T67" fmla="*/ 34 h 152"/>
                <a:gd name="T68" fmla="*/ 52 w 245"/>
                <a:gd name="T69" fmla="*/ 43 h 152"/>
                <a:gd name="T70" fmla="*/ 61 w 245"/>
                <a:gd name="T71" fmla="*/ 53 h 152"/>
                <a:gd name="T72" fmla="*/ 68 w 245"/>
                <a:gd name="T73" fmla="*/ 64 h 152"/>
                <a:gd name="T74" fmla="*/ 91 w 245"/>
                <a:gd name="T75" fmla="*/ 89 h 152"/>
                <a:gd name="T76" fmla="*/ 95 w 245"/>
                <a:gd name="T77" fmla="*/ 104 h 152"/>
                <a:gd name="T78" fmla="*/ 99 w 245"/>
                <a:gd name="T79" fmla="*/ 116 h 152"/>
                <a:gd name="T80" fmla="*/ 123 w 245"/>
                <a:gd name="T81" fmla="*/ 128 h 152"/>
                <a:gd name="T82" fmla="*/ 157 w 245"/>
                <a:gd name="T83" fmla="*/ 144 h 152"/>
                <a:gd name="T84" fmla="*/ 188 w 245"/>
                <a:gd name="T85" fmla="*/ 145 h 152"/>
                <a:gd name="T86" fmla="*/ 204 w 245"/>
                <a:gd name="T87" fmla="*/ 14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5" h="152">
                  <a:moveTo>
                    <a:pt x="204" y="143"/>
                  </a:moveTo>
                  <a:cubicBezTo>
                    <a:pt x="204" y="143"/>
                    <a:pt x="213" y="144"/>
                    <a:pt x="214" y="142"/>
                  </a:cubicBezTo>
                  <a:cubicBezTo>
                    <a:pt x="215" y="140"/>
                    <a:pt x="208" y="135"/>
                    <a:pt x="208" y="134"/>
                  </a:cubicBezTo>
                  <a:cubicBezTo>
                    <a:pt x="209" y="134"/>
                    <a:pt x="210" y="128"/>
                    <a:pt x="211" y="128"/>
                  </a:cubicBezTo>
                  <a:cubicBezTo>
                    <a:pt x="212" y="128"/>
                    <a:pt x="225" y="129"/>
                    <a:pt x="226" y="128"/>
                  </a:cubicBezTo>
                  <a:cubicBezTo>
                    <a:pt x="226" y="128"/>
                    <a:pt x="229" y="124"/>
                    <a:pt x="231" y="123"/>
                  </a:cubicBezTo>
                  <a:cubicBezTo>
                    <a:pt x="232" y="123"/>
                    <a:pt x="233" y="124"/>
                    <a:pt x="235" y="126"/>
                  </a:cubicBezTo>
                  <a:cubicBezTo>
                    <a:pt x="237" y="124"/>
                    <a:pt x="238" y="119"/>
                    <a:pt x="238" y="115"/>
                  </a:cubicBezTo>
                  <a:cubicBezTo>
                    <a:pt x="239" y="110"/>
                    <a:pt x="237" y="108"/>
                    <a:pt x="240" y="106"/>
                  </a:cubicBezTo>
                  <a:cubicBezTo>
                    <a:pt x="242" y="103"/>
                    <a:pt x="245" y="103"/>
                    <a:pt x="244" y="99"/>
                  </a:cubicBezTo>
                  <a:cubicBezTo>
                    <a:pt x="243" y="95"/>
                    <a:pt x="240" y="99"/>
                    <a:pt x="237" y="97"/>
                  </a:cubicBezTo>
                  <a:cubicBezTo>
                    <a:pt x="234" y="96"/>
                    <a:pt x="232" y="97"/>
                    <a:pt x="224" y="98"/>
                  </a:cubicBezTo>
                  <a:cubicBezTo>
                    <a:pt x="217" y="99"/>
                    <a:pt x="214" y="102"/>
                    <a:pt x="214" y="107"/>
                  </a:cubicBezTo>
                  <a:cubicBezTo>
                    <a:pt x="214" y="112"/>
                    <a:pt x="212" y="110"/>
                    <a:pt x="212" y="114"/>
                  </a:cubicBezTo>
                  <a:cubicBezTo>
                    <a:pt x="212" y="119"/>
                    <a:pt x="206" y="119"/>
                    <a:pt x="206" y="122"/>
                  </a:cubicBezTo>
                  <a:cubicBezTo>
                    <a:pt x="207" y="124"/>
                    <a:pt x="202" y="122"/>
                    <a:pt x="200" y="121"/>
                  </a:cubicBezTo>
                  <a:cubicBezTo>
                    <a:pt x="199" y="120"/>
                    <a:pt x="184" y="125"/>
                    <a:pt x="181" y="125"/>
                  </a:cubicBezTo>
                  <a:cubicBezTo>
                    <a:pt x="179" y="125"/>
                    <a:pt x="175" y="121"/>
                    <a:pt x="172" y="121"/>
                  </a:cubicBezTo>
                  <a:cubicBezTo>
                    <a:pt x="169" y="121"/>
                    <a:pt x="168" y="116"/>
                    <a:pt x="168" y="112"/>
                  </a:cubicBezTo>
                  <a:cubicBezTo>
                    <a:pt x="167" y="109"/>
                    <a:pt x="162" y="105"/>
                    <a:pt x="159" y="102"/>
                  </a:cubicBezTo>
                  <a:cubicBezTo>
                    <a:pt x="157" y="99"/>
                    <a:pt x="156" y="91"/>
                    <a:pt x="156" y="86"/>
                  </a:cubicBezTo>
                  <a:cubicBezTo>
                    <a:pt x="156" y="81"/>
                    <a:pt x="155" y="73"/>
                    <a:pt x="159" y="64"/>
                  </a:cubicBezTo>
                  <a:cubicBezTo>
                    <a:pt x="159" y="63"/>
                    <a:pt x="159" y="61"/>
                    <a:pt x="159" y="60"/>
                  </a:cubicBezTo>
                  <a:cubicBezTo>
                    <a:pt x="158" y="60"/>
                    <a:pt x="157" y="59"/>
                    <a:pt x="156" y="59"/>
                  </a:cubicBezTo>
                  <a:cubicBezTo>
                    <a:pt x="153" y="59"/>
                    <a:pt x="146" y="55"/>
                    <a:pt x="145" y="55"/>
                  </a:cubicBezTo>
                  <a:cubicBezTo>
                    <a:pt x="144" y="55"/>
                    <a:pt x="144" y="52"/>
                    <a:pt x="143" y="50"/>
                  </a:cubicBezTo>
                  <a:cubicBezTo>
                    <a:pt x="141" y="49"/>
                    <a:pt x="142" y="45"/>
                    <a:pt x="141" y="44"/>
                  </a:cubicBezTo>
                  <a:cubicBezTo>
                    <a:pt x="139" y="43"/>
                    <a:pt x="135" y="39"/>
                    <a:pt x="133" y="33"/>
                  </a:cubicBezTo>
                  <a:cubicBezTo>
                    <a:pt x="132" y="28"/>
                    <a:pt x="122" y="25"/>
                    <a:pt x="119" y="25"/>
                  </a:cubicBezTo>
                  <a:cubicBezTo>
                    <a:pt x="115" y="25"/>
                    <a:pt x="113" y="32"/>
                    <a:pt x="112" y="33"/>
                  </a:cubicBezTo>
                  <a:cubicBezTo>
                    <a:pt x="112" y="33"/>
                    <a:pt x="105" y="29"/>
                    <a:pt x="103" y="28"/>
                  </a:cubicBezTo>
                  <a:cubicBezTo>
                    <a:pt x="101" y="27"/>
                    <a:pt x="100" y="25"/>
                    <a:pt x="100" y="23"/>
                  </a:cubicBezTo>
                  <a:cubicBezTo>
                    <a:pt x="100" y="20"/>
                    <a:pt x="96" y="17"/>
                    <a:pt x="95" y="16"/>
                  </a:cubicBezTo>
                  <a:cubicBezTo>
                    <a:pt x="94" y="16"/>
                    <a:pt x="86" y="8"/>
                    <a:pt x="86" y="8"/>
                  </a:cubicBezTo>
                  <a:cubicBezTo>
                    <a:pt x="73" y="8"/>
                    <a:pt x="73" y="8"/>
                    <a:pt x="73" y="8"/>
                  </a:cubicBezTo>
                  <a:cubicBezTo>
                    <a:pt x="71" y="12"/>
                    <a:pt x="71" y="12"/>
                    <a:pt x="71" y="12"/>
                  </a:cubicBezTo>
                  <a:cubicBezTo>
                    <a:pt x="48" y="12"/>
                    <a:pt x="48" y="12"/>
                    <a:pt x="48" y="12"/>
                  </a:cubicBezTo>
                  <a:cubicBezTo>
                    <a:pt x="48" y="12"/>
                    <a:pt x="30" y="5"/>
                    <a:pt x="27" y="5"/>
                  </a:cubicBezTo>
                  <a:cubicBezTo>
                    <a:pt x="24" y="4"/>
                    <a:pt x="18" y="0"/>
                    <a:pt x="18" y="0"/>
                  </a:cubicBezTo>
                  <a:cubicBezTo>
                    <a:pt x="0" y="2"/>
                    <a:pt x="0" y="2"/>
                    <a:pt x="0" y="2"/>
                  </a:cubicBezTo>
                  <a:cubicBezTo>
                    <a:pt x="1" y="4"/>
                    <a:pt x="2" y="6"/>
                    <a:pt x="4" y="9"/>
                  </a:cubicBezTo>
                  <a:cubicBezTo>
                    <a:pt x="8" y="14"/>
                    <a:pt x="10" y="22"/>
                    <a:pt x="11" y="25"/>
                  </a:cubicBezTo>
                  <a:cubicBezTo>
                    <a:pt x="11" y="27"/>
                    <a:pt x="16" y="30"/>
                    <a:pt x="21" y="33"/>
                  </a:cubicBezTo>
                  <a:cubicBezTo>
                    <a:pt x="25" y="35"/>
                    <a:pt x="25" y="42"/>
                    <a:pt x="25" y="43"/>
                  </a:cubicBezTo>
                  <a:cubicBezTo>
                    <a:pt x="24" y="45"/>
                    <a:pt x="19" y="42"/>
                    <a:pt x="18" y="44"/>
                  </a:cubicBezTo>
                  <a:cubicBezTo>
                    <a:pt x="18" y="45"/>
                    <a:pt x="25" y="52"/>
                    <a:pt x="28" y="51"/>
                  </a:cubicBezTo>
                  <a:cubicBezTo>
                    <a:pt x="31" y="51"/>
                    <a:pt x="32" y="53"/>
                    <a:pt x="37" y="57"/>
                  </a:cubicBezTo>
                  <a:cubicBezTo>
                    <a:pt x="41" y="61"/>
                    <a:pt x="41" y="65"/>
                    <a:pt x="39" y="67"/>
                  </a:cubicBezTo>
                  <a:cubicBezTo>
                    <a:pt x="37" y="68"/>
                    <a:pt x="43" y="71"/>
                    <a:pt x="49" y="75"/>
                  </a:cubicBezTo>
                  <a:cubicBezTo>
                    <a:pt x="54" y="79"/>
                    <a:pt x="57" y="83"/>
                    <a:pt x="57" y="85"/>
                  </a:cubicBezTo>
                  <a:cubicBezTo>
                    <a:pt x="58" y="87"/>
                    <a:pt x="60" y="85"/>
                    <a:pt x="61" y="83"/>
                  </a:cubicBezTo>
                  <a:cubicBezTo>
                    <a:pt x="62" y="80"/>
                    <a:pt x="59" y="79"/>
                    <a:pt x="59" y="76"/>
                  </a:cubicBezTo>
                  <a:cubicBezTo>
                    <a:pt x="59" y="73"/>
                    <a:pt x="55" y="74"/>
                    <a:pt x="52" y="73"/>
                  </a:cubicBezTo>
                  <a:cubicBezTo>
                    <a:pt x="50" y="73"/>
                    <a:pt x="53" y="68"/>
                    <a:pt x="50" y="66"/>
                  </a:cubicBezTo>
                  <a:cubicBezTo>
                    <a:pt x="48" y="64"/>
                    <a:pt x="46" y="59"/>
                    <a:pt x="45" y="55"/>
                  </a:cubicBezTo>
                  <a:cubicBezTo>
                    <a:pt x="44" y="51"/>
                    <a:pt x="39" y="47"/>
                    <a:pt x="36" y="43"/>
                  </a:cubicBezTo>
                  <a:cubicBezTo>
                    <a:pt x="34" y="38"/>
                    <a:pt x="32" y="35"/>
                    <a:pt x="30" y="34"/>
                  </a:cubicBezTo>
                  <a:cubicBezTo>
                    <a:pt x="28" y="33"/>
                    <a:pt x="32" y="31"/>
                    <a:pt x="31" y="30"/>
                  </a:cubicBezTo>
                  <a:cubicBezTo>
                    <a:pt x="29" y="28"/>
                    <a:pt x="27" y="28"/>
                    <a:pt x="25" y="27"/>
                  </a:cubicBezTo>
                  <a:cubicBezTo>
                    <a:pt x="22" y="26"/>
                    <a:pt x="20" y="24"/>
                    <a:pt x="20" y="21"/>
                  </a:cubicBezTo>
                  <a:cubicBezTo>
                    <a:pt x="20" y="18"/>
                    <a:pt x="18" y="11"/>
                    <a:pt x="17" y="9"/>
                  </a:cubicBezTo>
                  <a:cubicBezTo>
                    <a:pt x="17" y="7"/>
                    <a:pt x="19" y="7"/>
                    <a:pt x="20" y="8"/>
                  </a:cubicBezTo>
                  <a:cubicBezTo>
                    <a:pt x="21" y="9"/>
                    <a:pt x="22" y="10"/>
                    <a:pt x="23" y="9"/>
                  </a:cubicBezTo>
                  <a:cubicBezTo>
                    <a:pt x="24" y="9"/>
                    <a:pt x="27" y="9"/>
                    <a:pt x="27" y="11"/>
                  </a:cubicBezTo>
                  <a:cubicBezTo>
                    <a:pt x="28" y="13"/>
                    <a:pt x="31" y="11"/>
                    <a:pt x="33" y="12"/>
                  </a:cubicBezTo>
                  <a:cubicBezTo>
                    <a:pt x="34" y="13"/>
                    <a:pt x="30" y="14"/>
                    <a:pt x="34" y="22"/>
                  </a:cubicBezTo>
                  <a:cubicBezTo>
                    <a:pt x="39" y="31"/>
                    <a:pt x="36" y="26"/>
                    <a:pt x="36" y="32"/>
                  </a:cubicBezTo>
                  <a:cubicBezTo>
                    <a:pt x="36" y="37"/>
                    <a:pt x="39" y="35"/>
                    <a:pt x="39" y="34"/>
                  </a:cubicBezTo>
                  <a:cubicBezTo>
                    <a:pt x="40" y="33"/>
                    <a:pt x="43" y="35"/>
                    <a:pt x="45" y="38"/>
                  </a:cubicBezTo>
                  <a:cubicBezTo>
                    <a:pt x="47" y="41"/>
                    <a:pt x="52" y="41"/>
                    <a:pt x="52" y="43"/>
                  </a:cubicBezTo>
                  <a:cubicBezTo>
                    <a:pt x="52" y="45"/>
                    <a:pt x="53" y="48"/>
                    <a:pt x="56" y="48"/>
                  </a:cubicBezTo>
                  <a:cubicBezTo>
                    <a:pt x="59" y="49"/>
                    <a:pt x="59" y="52"/>
                    <a:pt x="61" y="53"/>
                  </a:cubicBezTo>
                  <a:cubicBezTo>
                    <a:pt x="63" y="53"/>
                    <a:pt x="64" y="55"/>
                    <a:pt x="63" y="57"/>
                  </a:cubicBezTo>
                  <a:cubicBezTo>
                    <a:pt x="62" y="60"/>
                    <a:pt x="63" y="62"/>
                    <a:pt x="68" y="64"/>
                  </a:cubicBezTo>
                  <a:cubicBezTo>
                    <a:pt x="73" y="66"/>
                    <a:pt x="70" y="66"/>
                    <a:pt x="74" y="70"/>
                  </a:cubicBezTo>
                  <a:cubicBezTo>
                    <a:pt x="78" y="73"/>
                    <a:pt x="89" y="86"/>
                    <a:pt x="91" y="89"/>
                  </a:cubicBezTo>
                  <a:cubicBezTo>
                    <a:pt x="94" y="92"/>
                    <a:pt x="95" y="95"/>
                    <a:pt x="95" y="98"/>
                  </a:cubicBezTo>
                  <a:cubicBezTo>
                    <a:pt x="96" y="100"/>
                    <a:pt x="94" y="101"/>
                    <a:pt x="95" y="104"/>
                  </a:cubicBezTo>
                  <a:cubicBezTo>
                    <a:pt x="96" y="106"/>
                    <a:pt x="92" y="105"/>
                    <a:pt x="93" y="106"/>
                  </a:cubicBezTo>
                  <a:cubicBezTo>
                    <a:pt x="93" y="108"/>
                    <a:pt x="95" y="116"/>
                    <a:pt x="99" y="116"/>
                  </a:cubicBezTo>
                  <a:cubicBezTo>
                    <a:pt x="103" y="117"/>
                    <a:pt x="107" y="122"/>
                    <a:pt x="111" y="124"/>
                  </a:cubicBezTo>
                  <a:cubicBezTo>
                    <a:pt x="114" y="127"/>
                    <a:pt x="119" y="126"/>
                    <a:pt x="123" y="128"/>
                  </a:cubicBezTo>
                  <a:cubicBezTo>
                    <a:pt x="128" y="130"/>
                    <a:pt x="132" y="134"/>
                    <a:pt x="139" y="136"/>
                  </a:cubicBezTo>
                  <a:cubicBezTo>
                    <a:pt x="146" y="138"/>
                    <a:pt x="153" y="141"/>
                    <a:pt x="157" y="144"/>
                  </a:cubicBezTo>
                  <a:cubicBezTo>
                    <a:pt x="162" y="147"/>
                    <a:pt x="167" y="146"/>
                    <a:pt x="174" y="143"/>
                  </a:cubicBezTo>
                  <a:cubicBezTo>
                    <a:pt x="180" y="141"/>
                    <a:pt x="185" y="144"/>
                    <a:pt x="188" y="145"/>
                  </a:cubicBezTo>
                  <a:cubicBezTo>
                    <a:pt x="190" y="146"/>
                    <a:pt x="194" y="149"/>
                    <a:pt x="197" y="152"/>
                  </a:cubicBezTo>
                  <a:cubicBezTo>
                    <a:pt x="200" y="148"/>
                    <a:pt x="203" y="143"/>
                    <a:pt x="204" y="143"/>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61" name="Freeform 104">
              <a:extLst>
                <a:ext uri="{FF2B5EF4-FFF2-40B4-BE49-F238E27FC236}">
                  <a16:creationId xmlns:a16="http://schemas.microsoft.com/office/drawing/2014/main" xmlns="" id="{2F0994D2-E627-4224-AFD4-E0A65B0CF91F}"/>
                </a:ext>
              </a:extLst>
            </p:cNvPr>
            <p:cNvSpPr>
              <a:spLocks/>
            </p:cNvSpPr>
            <p:nvPr/>
          </p:nvSpPr>
          <p:spPr bwMode="auto">
            <a:xfrm>
              <a:off x="14378209" y="3605879"/>
              <a:ext cx="88900" cy="87312"/>
            </a:xfrm>
            <a:custGeom>
              <a:avLst/>
              <a:gdLst>
                <a:gd name="T0" fmla="*/ 30 w 34"/>
                <a:gd name="T1" fmla="*/ 23 h 34"/>
                <a:gd name="T2" fmla="*/ 34 w 34"/>
                <a:gd name="T3" fmla="*/ 18 h 34"/>
                <a:gd name="T4" fmla="*/ 31 w 34"/>
                <a:gd name="T5" fmla="*/ 16 h 34"/>
                <a:gd name="T6" fmla="*/ 27 w 34"/>
                <a:gd name="T7" fmla="*/ 17 h 34"/>
                <a:gd name="T8" fmla="*/ 27 w 34"/>
                <a:gd name="T9" fmla="*/ 0 h 34"/>
                <a:gd name="T10" fmla="*/ 14 w 34"/>
                <a:gd name="T11" fmla="*/ 0 h 34"/>
                <a:gd name="T12" fmla="*/ 11 w 34"/>
                <a:gd name="T13" fmla="*/ 6 h 34"/>
                <a:gd name="T14" fmla="*/ 17 w 34"/>
                <a:gd name="T15" fmla="*/ 14 h 34"/>
                <a:gd name="T16" fmla="*/ 7 w 34"/>
                <a:gd name="T17" fmla="*/ 15 h 34"/>
                <a:gd name="T18" fmla="*/ 0 w 34"/>
                <a:gd name="T19" fmla="*/ 24 h 34"/>
                <a:gd name="T20" fmla="*/ 9 w 34"/>
                <a:gd name="T21" fmla="*/ 32 h 34"/>
                <a:gd name="T22" fmla="*/ 20 w 34"/>
                <a:gd name="T23" fmla="*/ 34 h 34"/>
                <a:gd name="T24" fmla="*/ 20 w 34"/>
                <a:gd name="T25" fmla="*/ 34 h 34"/>
                <a:gd name="T26" fmla="*/ 26 w 34"/>
                <a:gd name="T27" fmla="*/ 29 h 34"/>
                <a:gd name="T28" fmla="*/ 30 w 34"/>
                <a:gd name="T29"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4">
                  <a:moveTo>
                    <a:pt x="30" y="23"/>
                  </a:moveTo>
                  <a:cubicBezTo>
                    <a:pt x="32" y="21"/>
                    <a:pt x="33" y="19"/>
                    <a:pt x="34" y="18"/>
                  </a:cubicBezTo>
                  <a:cubicBezTo>
                    <a:pt x="32" y="20"/>
                    <a:pt x="31" y="18"/>
                    <a:pt x="31" y="16"/>
                  </a:cubicBezTo>
                  <a:cubicBezTo>
                    <a:pt x="27" y="17"/>
                    <a:pt x="27" y="17"/>
                    <a:pt x="27" y="17"/>
                  </a:cubicBezTo>
                  <a:cubicBezTo>
                    <a:pt x="27" y="0"/>
                    <a:pt x="27" y="0"/>
                    <a:pt x="27" y="0"/>
                  </a:cubicBezTo>
                  <a:cubicBezTo>
                    <a:pt x="24" y="1"/>
                    <a:pt x="15" y="0"/>
                    <a:pt x="14" y="0"/>
                  </a:cubicBezTo>
                  <a:cubicBezTo>
                    <a:pt x="13" y="0"/>
                    <a:pt x="12" y="6"/>
                    <a:pt x="11" y="6"/>
                  </a:cubicBezTo>
                  <a:cubicBezTo>
                    <a:pt x="11" y="7"/>
                    <a:pt x="18" y="12"/>
                    <a:pt x="17" y="14"/>
                  </a:cubicBezTo>
                  <a:cubicBezTo>
                    <a:pt x="16" y="16"/>
                    <a:pt x="7" y="15"/>
                    <a:pt x="7" y="15"/>
                  </a:cubicBezTo>
                  <a:cubicBezTo>
                    <a:pt x="6" y="15"/>
                    <a:pt x="3" y="20"/>
                    <a:pt x="0" y="24"/>
                  </a:cubicBezTo>
                  <a:cubicBezTo>
                    <a:pt x="4" y="27"/>
                    <a:pt x="7" y="30"/>
                    <a:pt x="9" y="32"/>
                  </a:cubicBezTo>
                  <a:cubicBezTo>
                    <a:pt x="12" y="34"/>
                    <a:pt x="18" y="31"/>
                    <a:pt x="20" y="34"/>
                  </a:cubicBezTo>
                  <a:cubicBezTo>
                    <a:pt x="20" y="34"/>
                    <a:pt x="20" y="34"/>
                    <a:pt x="20" y="34"/>
                  </a:cubicBezTo>
                  <a:cubicBezTo>
                    <a:pt x="23" y="31"/>
                    <a:pt x="25" y="29"/>
                    <a:pt x="26" y="29"/>
                  </a:cubicBezTo>
                  <a:cubicBezTo>
                    <a:pt x="28" y="28"/>
                    <a:pt x="26" y="26"/>
                    <a:pt x="30" y="23"/>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62" name="Freeform 105">
              <a:extLst>
                <a:ext uri="{FF2B5EF4-FFF2-40B4-BE49-F238E27FC236}">
                  <a16:creationId xmlns:a16="http://schemas.microsoft.com/office/drawing/2014/main" xmlns="" id="{2F6E91EB-C125-4059-A871-E8D845A6B488}"/>
                </a:ext>
              </a:extLst>
            </p:cNvPr>
            <p:cNvSpPr>
              <a:spLocks/>
            </p:cNvSpPr>
            <p:nvPr/>
          </p:nvSpPr>
          <p:spPr bwMode="auto">
            <a:xfrm>
              <a:off x="14449647" y="3591591"/>
              <a:ext cx="28575" cy="57150"/>
            </a:xfrm>
            <a:custGeom>
              <a:avLst/>
              <a:gdLst>
                <a:gd name="T0" fmla="*/ 2 w 11"/>
                <a:gd name="T1" fmla="*/ 5 h 22"/>
                <a:gd name="T2" fmla="*/ 0 w 11"/>
                <a:gd name="T3" fmla="*/ 5 h 22"/>
                <a:gd name="T4" fmla="*/ 0 w 11"/>
                <a:gd name="T5" fmla="*/ 22 h 22"/>
                <a:gd name="T6" fmla="*/ 4 w 11"/>
                <a:gd name="T7" fmla="*/ 21 h 22"/>
                <a:gd name="T8" fmla="*/ 7 w 11"/>
                <a:gd name="T9" fmla="*/ 17 h 22"/>
                <a:gd name="T10" fmla="*/ 9 w 11"/>
                <a:gd name="T11" fmla="*/ 4 h 22"/>
                <a:gd name="T12" fmla="*/ 11 w 11"/>
                <a:gd name="T13" fmla="*/ 3 h 22"/>
                <a:gd name="T14" fmla="*/ 7 w 11"/>
                <a:gd name="T15" fmla="*/ 0 h 22"/>
                <a:gd name="T16" fmla="*/ 2 w 11"/>
                <a:gd name="T17" fmla="*/ 5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22">
                  <a:moveTo>
                    <a:pt x="2" y="5"/>
                  </a:moveTo>
                  <a:cubicBezTo>
                    <a:pt x="1" y="5"/>
                    <a:pt x="1" y="5"/>
                    <a:pt x="0" y="5"/>
                  </a:cubicBezTo>
                  <a:cubicBezTo>
                    <a:pt x="0" y="22"/>
                    <a:pt x="0" y="22"/>
                    <a:pt x="0" y="22"/>
                  </a:cubicBezTo>
                  <a:cubicBezTo>
                    <a:pt x="4" y="21"/>
                    <a:pt x="4" y="21"/>
                    <a:pt x="4" y="21"/>
                  </a:cubicBezTo>
                  <a:cubicBezTo>
                    <a:pt x="4" y="20"/>
                    <a:pt x="5" y="18"/>
                    <a:pt x="7" y="17"/>
                  </a:cubicBezTo>
                  <a:cubicBezTo>
                    <a:pt x="10" y="15"/>
                    <a:pt x="5" y="5"/>
                    <a:pt x="9" y="4"/>
                  </a:cubicBezTo>
                  <a:cubicBezTo>
                    <a:pt x="9" y="4"/>
                    <a:pt x="10" y="3"/>
                    <a:pt x="11" y="3"/>
                  </a:cubicBezTo>
                  <a:cubicBezTo>
                    <a:pt x="9" y="1"/>
                    <a:pt x="8" y="0"/>
                    <a:pt x="7" y="0"/>
                  </a:cubicBezTo>
                  <a:cubicBezTo>
                    <a:pt x="5" y="1"/>
                    <a:pt x="2" y="5"/>
                    <a:pt x="2" y="5"/>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63" name="Freeform 106">
              <a:extLst>
                <a:ext uri="{FF2B5EF4-FFF2-40B4-BE49-F238E27FC236}">
                  <a16:creationId xmlns:a16="http://schemas.microsoft.com/office/drawing/2014/main" xmlns="" id="{F3AA28E5-D105-4DAA-B3AC-A424A1D15C5A}"/>
                </a:ext>
              </a:extLst>
            </p:cNvPr>
            <p:cNvSpPr>
              <a:spLocks/>
            </p:cNvSpPr>
            <p:nvPr/>
          </p:nvSpPr>
          <p:spPr bwMode="auto">
            <a:xfrm>
              <a:off x="14756034" y="3553491"/>
              <a:ext cx="61913" cy="52387"/>
            </a:xfrm>
            <a:custGeom>
              <a:avLst/>
              <a:gdLst>
                <a:gd name="T0" fmla="*/ 11 w 24"/>
                <a:gd name="T1" fmla="*/ 2 h 20"/>
                <a:gd name="T2" fmla="*/ 17 w 24"/>
                <a:gd name="T3" fmla="*/ 13 h 20"/>
                <a:gd name="T4" fmla="*/ 1 w 24"/>
                <a:gd name="T5" fmla="*/ 16 h 20"/>
                <a:gd name="T6" fmla="*/ 11 w 24"/>
                <a:gd name="T7" fmla="*/ 18 h 20"/>
                <a:gd name="T8" fmla="*/ 22 w 24"/>
                <a:gd name="T9" fmla="*/ 20 h 20"/>
                <a:gd name="T10" fmla="*/ 24 w 24"/>
                <a:gd name="T11" fmla="*/ 4 h 20"/>
                <a:gd name="T12" fmla="*/ 11 w 24"/>
                <a:gd name="T13" fmla="*/ 2 h 20"/>
              </a:gdLst>
              <a:ahLst/>
              <a:cxnLst>
                <a:cxn ang="0">
                  <a:pos x="T0" y="T1"/>
                </a:cxn>
                <a:cxn ang="0">
                  <a:pos x="T2" y="T3"/>
                </a:cxn>
                <a:cxn ang="0">
                  <a:pos x="T4" y="T5"/>
                </a:cxn>
                <a:cxn ang="0">
                  <a:pos x="T6" y="T7"/>
                </a:cxn>
                <a:cxn ang="0">
                  <a:pos x="T8" y="T9"/>
                </a:cxn>
                <a:cxn ang="0">
                  <a:pos x="T10" y="T11"/>
                </a:cxn>
                <a:cxn ang="0">
                  <a:pos x="T12" y="T13"/>
                </a:cxn>
              </a:cxnLst>
              <a:rect l="0" t="0" r="r" b="b"/>
              <a:pathLst>
                <a:path w="24" h="20">
                  <a:moveTo>
                    <a:pt x="11" y="2"/>
                  </a:moveTo>
                  <a:cubicBezTo>
                    <a:pt x="8" y="4"/>
                    <a:pt x="17" y="10"/>
                    <a:pt x="17" y="13"/>
                  </a:cubicBezTo>
                  <a:cubicBezTo>
                    <a:pt x="17" y="16"/>
                    <a:pt x="2" y="12"/>
                    <a:pt x="1" y="16"/>
                  </a:cubicBezTo>
                  <a:cubicBezTo>
                    <a:pt x="0" y="18"/>
                    <a:pt x="6" y="20"/>
                    <a:pt x="11" y="18"/>
                  </a:cubicBezTo>
                  <a:cubicBezTo>
                    <a:pt x="16" y="17"/>
                    <a:pt x="20" y="18"/>
                    <a:pt x="22" y="20"/>
                  </a:cubicBezTo>
                  <a:cubicBezTo>
                    <a:pt x="23" y="14"/>
                    <a:pt x="23" y="8"/>
                    <a:pt x="24" y="4"/>
                  </a:cubicBezTo>
                  <a:cubicBezTo>
                    <a:pt x="20" y="3"/>
                    <a:pt x="14" y="0"/>
                    <a:pt x="11" y="2"/>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64" name="Freeform 107">
              <a:extLst>
                <a:ext uri="{FF2B5EF4-FFF2-40B4-BE49-F238E27FC236}">
                  <a16:creationId xmlns:a16="http://schemas.microsoft.com/office/drawing/2014/main" xmlns="" id="{8D178496-57C5-4C0B-9788-552AE0002DD8}"/>
                </a:ext>
              </a:extLst>
            </p:cNvPr>
            <p:cNvSpPr>
              <a:spLocks/>
            </p:cNvSpPr>
            <p:nvPr/>
          </p:nvSpPr>
          <p:spPr bwMode="auto">
            <a:xfrm>
              <a:off x="14813184" y="3561429"/>
              <a:ext cx="73025" cy="46037"/>
            </a:xfrm>
            <a:custGeom>
              <a:avLst/>
              <a:gdLst>
                <a:gd name="T0" fmla="*/ 11 w 28"/>
                <a:gd name="T1" fmla="*/ 13 h 18"/>
                <a:gd name="T2" fmla="*/ 28 w 28"/>
                <a:gd name="T3" fmla="*/ 10 h 18"/>
                <a:gd name="T4" fmla="*/ 6 w 28"/>
                <a:gd name="T5" fmla="*/ 1 h 18"/>
                <a:gd name="T6" fmla="*/ 2 w 28"/>
                <a:gd name="T7" fmla="*/ 1 h 18"/>
                <a:gd name="T8" fmla="*/ 0 w 28"/>
                <a:gd name="T9" fmla="*/ 17 h 18"/>
                <a:gd name="T10" fmla="*/ 1 w 28"/>
                <a:gd name="T11" fmla="*/ 17 h 18"/>
                <a:gd name="T12" fmla="*/ 11 w 28"/>
                <a:gd name="T13" fmla="*/ 13 h 18"/>
              </a:gdLst>
              <a:ahLst/>
              <a:cxnLst>
                <a:cxn ang="0">
                  <a:pos x="T0" y="T1"/>
                </a:cxn>
                <a:cxn ang="0">
                  <a:pos x="T2" y="T3"/>
                </a:cxn>
                <a:cxn ang="0">
                  <a:pos x="T4" y="T5"/>
                </a:cxn>
                <a:cxn ang="0">
                  <a:pos x="T6" y="T7"/>
                </a:cxn>
                <a:cxn ang="0">
                  <a:pos x="T8" y="T9"/>
                </a:cxn>
                <a:cxn ang="0">
                  <a:pos x="T10" y="T11"/>
                </a:cxn>
                <a:cxn ang="0">
                  <a:pos x="T12" y="T13"/>
                </a:cxn>
              </a:cxnLst>
              <a:rect l="0" t="0" r="r" b="b"/>
              <a:pathLst>
                <a:path w="28" h="18">
                  <a:moveTo>
                    <a:pt x="11" y="13"/>
                  </a:moveTo>
                  <a:cubicBezTo>
                    <a:pt x="17" y="11"/>
                    <a:pt x="28" y="15"/>
                    <a:pt x="28" y="10"/>
                  </a:cubicBezTo>
                  <a:cubicBezTo>
                    <a:pt x="28" y="5"/>
                    <a:pt x="11" y="0"/>
                    <a:pt x="6" y="1"/>
                  </a:cubicBezTo>
                  <a:cubicBezTo>
                    <a:pt x="5" y="2"/>
                    <a:pt x="4" y="2"/>
                    <a:pt x="2" y="1"/>
                  </a:cubicBezTo>
                  <a:cubicBezTo>
                    <a:pt x="1" y="5"/>
                    <a:pt x="1" y="11"/>
                    <a:pt x="0" y="17"/>
                  </a:cubicBezTo>
                  <a:cubicBezTo>
                    <a:pt x="1" y="17"/>
                    <a:pt x="1" y="17"/>
                    <a:pt x="1" y="17"/>
                  </a:cubicBezTo>
                  <a:cubicBezTo>
                    <a:pt x="4" y="18"/>
                    <a:pt x="5" y="16"/>
                    <a:pt x="11" y="13"/>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65" name="Freeform 108">
              <a:extLst>
                <a:ext uri="{FF2B5EF4-FFF2-40B4-BE49-F238E27FC236}">
                  <a16:creationId xmlns:a16="http://schemas.microsoft.com/office/drawing/2014/main" xmlns="" id="{ADEACF98-1446-445D-A31E-60427AC6419D}"/>
                </a:ext>
              </a:extLst>
            </p:cNvPr>
            <p:cNvSpPr>
              <a:spLocks/>
            </p:cNvSpPr>
            <p:nvPr/>
          </p:nvSpPr>
          <p:spPr bwMode="auto">
            <a:xfrm>
              <a:off x="14486159" y="3667791"/>
              <a:ext cx="90488" cy="92075"/>
            </a:xfrm>
            <a:custGeom>
              <a:avLst/>
              <a:gdLst>
                <a:gd name="T0" fmla="*/ 19 w 35"/>
                <a:gd name="T1" fmla="*/ 33 h 35"/>
                <a:gd name="T2" fmla="*/ 27 w 35"/>
                <a:gd name="T3" fmla="*/ 34 h 35"/>
                <a:gd name="T4" fmla="*/ 31 w 35"/>
                <a:gd name="T5" fmla="*/ 35 h 35"/>
                <a:gd name="T6" fmla="*/ 30 w 35"/>
                <a:gd name="T7" fmla="*/ 33 h 35"/>
                <a:gd name="T8" fmla="*/ 32 w 35"/>
                <a:gd name="T9" fmla="*/ 23 h 35"/>
                <a:gd name="T10" fmla="*/ 33 w 35"/>
                <a:gd name="T11" fmla="*/ 9 h 35"/>
                <a:gd name="T12" fmla="*/ 35 w 35"/>
                <a:gd name="T13" fmla="*/ 1 h 35"/>
                <a:gd name="T14" fmla="*/ 35 w 35"/>
                <a:gd name="T15" fmla="*/ 0 h 35"/>
                <a:gd name="T16" fmla="*/ 25 w 35"/>
                <a:gd name="T17" fmla="*/ 4 h 35"/>
                <a:gd name="T18" fmla="*/ 17 w 35"/>
                <a:gd name="T19" fmla="*/ 5 h 35"/>
                <a:gd name="T20" fmla="*/ 9 w 35"/>
                <a:gd name="T21" fmla="*/ 9 h 35"/>
                <a:gd name="T22" fmla="*/ 6 w 35"/>
                <a:gd name="T23" fmla="*/ 14 h 35"/>
                <a:gd name="T24" fmla="*/ 4 w 35"/>
                <a:gd name="T25" fmla="*/ 16 h 35"/>
                <a:gd name="T26" fmla="*/ 1 w 35"/>
                <a:gd name="T27" fmla="*/ 17 h 35"/>
                <a:gd name="T28" fmla="*/ 2 w 35"/>
                <a:gd name="T29" fmla="*/ 20 h 35"/>
                <a:gd name="T30" fmla="*/ 12 w 35"/>
                <a:gd name="T31" fmla="*/ 30 h 35"/>
                <a:gd name="T32" fmla="*/ 14 w 35"/>
                <a:gd name="T33" fmla="*/ 33 h 35"/>
                <a:gd name="T34" fmla="*/ 19 w 35"/>
                <a:gd name="T35" fmla="*/ 3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35">
                  <a:moveTo>
                    <a:pt x="19" y="33"/>
                  </a:moveTo>
                  <a:cubicBezTo>
                    <a:pt x="21" y="34"/>
                    <a:pt x="25" y="33"/>
                    <a:pt x="27" y="34"/>
                  </a:cubicBezTo>
                  <a:cubicBezTo>
                    <a:pt x="28" y="35"/>
                    <a:pt x="29" y="35"/>
                    <a:pt x="31" y="35"/>
                  </a:cubicBezTo>
                  <a:cubicBezTo>
                    <a:pt x="30" y="34"/>
                    <a:pt x="30" y="33"/>
                    <a:pt x="30" y="33"/>
                  </a:cubicBezTo>
                  <a:cubicBezTo>
                    <a:pt x="28" y="31"/>
                    <a:pt x="31" y="26"/>
                    <a:pt x="32" y="23"/>
                  </a:cubicBezTo>
                  <a:cubicBezTo>
                    <a:pt x="33" y="19"/>
                    <a:pt x="31" y="11"/>
                    <a:pt x="33" y="9"/>
                  </a:cubicBezTo>
                  <a:cubicBezTo>
                    <a:pt x="35" y="7"/>
                    <a:pt x="34" y="6"/>
                    <a:pt x="35" y="1"/>
                  </a:cubicBezTo>
                  <a:cubicBezTo>
                    <a:pt x="35" y="0"/>
                    <a:pt x="35" y="0"/>
                    <a:pt x="35" y="0"/>
                  </a:cubicBezTo>
                  <a:cubicBezTo>
                    <a:pt x="31" y="0"/>
                    <a:pt x="26" y="3"/>
                    <a:pt x="25" y="4"/>
                  </a:cubicBezTo>
                  <a:cubicBezTo>
                    <a:pt x="24" y="4"/>
                    <a:pt x="18" y="2"/>
                    <a:pt x="17" y="5"/>
                  </a:cubicBezTo>
                  <a:cubicBezTo>
                    <a:pt x="17" y="8"/>
                    <a:pt x="13" y="9"/>
                    <a:pt x="9" y="9"/>
                  </a:cubicBezTo>
                  <a:cubicBezTo>
                    <a:pt x="4" y="9"/>
                    <a:pt x="6" y="13"/>
                    <a:pt x="6" y="14"/>
                  </a:cubicBezTo>
                  <a:cubicBezTo>
                    <a:pt x="6" y="15"/>
                    <a:pt x="4" y="16"/>
                    <a:pt x="4" y="16"/>
                  </a:cubicBezTo>
                  <a:cubicBezTo>
                    <a:pt x="1" y="17"/>
                    <a:pt x="1" y="17"/>
                    <a:pt x="1" y="17"/>
                  </a:cubicBezTo>
                  <a:cubicBezTo>
                    <a:pt x="0" y="18"/>
                    <a:pt x="0" y="19"/>
                    <a:pt x="2" y="20"/>
                  </a:cubicBezTo>
                  <a:cubicBezTo>
                    <a:pt x="5" y="22"/>
                    <a:pt x="9" y="28"/>
                    <a:pt x="12" y="30"/>
                  </a:cubicBezTo>
                  <a:cubicBezTo>
                    <a:pt x="13" y="30"/>
                    <a:pt x="14" y="32"/>
                    <a:pt x="14" y="33"/>
                  </a:cubicBezTo>
                  <a:cubicBezTo>
                    <a:pt x="16" y="33"/>
                    <a:pt x="18" y="33"/>
                    <a:pt x="19" y="33"/>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66" name="Freeform 109">
              <a:extLst>
                <a:ext uri="{FF2B5EF4-FFF2-40B4-BE49-F238E27FC236}">
                  <a16:creationId xmlns:a16="http://schemas.microsoft.com/office/drawing/2014/main" xmlns="" id="{009D2EAC-3649-4283-B43F-AE492FC375C4}"/>
                </a:ext>
              </a:extLst>
            </p:cNvPr>
            <p:cNvSpPr>
              <a:spLocks/>
            </p:cNvSpPr>
            <p:nvPr/>
          </p:nvSpPr>
          <p:spPr bwMode="auto">
            <a:xfrm>
              <a:off x="14768734" y="3877341"/>
              <a:ext cx="836613" cy="857250"/>
            </a:xfrm>
            <a:custGeom>
              <a:avLst/>
              <a:gdLst>
                <a:gd name="T0" fmla="*/ 180 w 321"/>
                <a:gd name="T1" fmla="*/ 304 h 328"/>
                <a:gd name="T2" fmla="*/ 185 w 321"/>
                <a:gd name="T3" fmla="*/ 306 h 328"/>
                <a:gd name="T4" fmla="*/ 206 w 321"/>
                <a:gd name="T5" fmla="*/ 270 h 328"/>
                <a:gd name="T6" fmla="*/ 219 w 321"/>
                <a:gd name="T7" fmla="*/ 244 h 328"/>
                <a:gd name="T8" fmla="*/ 240 w 321"/>
                <a:gd name="T9" fmla="*/ 232 h 328"/>
                <a:gd name="T10" fmla="*/ 265 w 321"/>
                <a:gd name="T11" fmla="*/ 225 h 328"/>
                <a:gd name="T12" fmla="*/ 275 w 321"/>
                <a:gd name="T13" fmla="*/ 206 h 328"/>
                <a:gd name="T14" fmla="*/ 283 w 321"/>
                <a:gd name="T15" fmla="*/ 188 h 328"/>
                <a:gd name="T16" fmla="*/ 286 w 321"/>
                <a:gd name="T17" fmla="*/ 151 h 328"/>
                <a:gd name="T18" fmla="*/ 292 w 321"/>
                <a:gd name="T19" fmla="*/ 147 h 328"/>
                <a:gd name="T20" fmla="*/ 317 w 321"/>
                <a:gd name="T21" fmla="*/ 112 h 328"/>
                <a:gd name="T22" fmla="*/ 290 w 321"/>
                <a:gd name="T23" fmla="*/ 74 h 328"/>
                <a:gd name="T24" fmla="*/ 240 w 321"/>
                <a:gd name="T25" fmla="*/ 68 h 328"/>
                <a:gd name="T26" fmla="*/ 211 w 321"/>
                <a:gd name="T27" fmla="*/ 53 h 328"/>
                <a:gd name="T28" fmla="*/ 208 w 321"/>
                <a:gd name="T29" fmla="*/ 47 h 328"/>
                <a:gd name="T30" fmla="*/ 188 w 321"/>
                <a:gd name="T31" fmla="*/ 43 h 328"/>
                <a:gd name="T32" fmla="*/ 184 w 321"/>
                <a:gd name="T33" fmla="*/ 9 h 328"/>
                <a:gd name="T34" fmla="*/ 158 w 321"/>
                <a:gd name="T35" fmla="*/ 23 h 328"/>
                <a:gd name="T36" fmla="*/ 136 w 321"/>
                <a:gd name="T37" fmla="*/ 27 h 328"/>
                <a:gd name="T38" fmla="*/ 118 w 321"/>
                <a:gd name="T39" fmla="*/ 28 h 328"/>
                <a:gd name="T40" fmla="*/ 112 w 321"/>
                <a:gd name="T41" fmla="*/ 1 h 328"/>
                <a:gd name="T42" fmla="*/ 92 w 321"/>
                <a:gd name="T43" fmla="*/ 12 h 328"/>
                <a:gd name="T44" fmla="*/ 76 w 321"/>
                <a:gd name="T45" fmla="*/ 11 h 328"/>
                <a:gd name="T46" fmla="*/ 86 w 321"/>
                <a:gd name="T47" fmla="*/ 23 h 328"/>
                <a:gd name="T48" fmla="*/ 75 w 321"/>
                <a:gd name="T49" fmla="*/ 33 h 328"/>
                <a:gd name="T50" fmla="*/ 60 w 321"/>
                <a:gd name="T51" fmla="*/ 35 h 328"/>
                <a:gd name="T52" fmla="*/ 34 w 321"/>
                <a:gd name="T53" fmla="*/ 30 h 328"/>
                <a:gd name="T54" fmla="*/ 32 w 321"/>
                <a:gd name="T55" fmla="*/ 42 h 328"/>
                <a:gd name="T56" fmla="*/ 33 w 321"/>
                <a:gd name="T57" fmla="*/ 77 h 328"/>
                <a:gd name="T58" fmla="*/ 9 w 321"/>
                <a:gd name="T59" fmla="*/ 86 h 328"/>
                <a:gd name="T60" fmla="*/ 1 w 321"/>
                <a:gd name="T61" fmla="*/ 103 h 328"/>
                <a:gd name="T62" fmla="*/ 11 w 321"/>
                <a:gd name="T63" fmla="*/ 120 h 328"/>
                <a:gd name="T64" fmla="*/ 27 w 321"/>
                <a:gd name="T65" fmla="*/ 122 h 328"/>
                <a:gd name="T66" fmla="*/ 47 w 321"/>
                <a:gd name="T67" fmla="*/ 131 h 328"/>
                <a:gd name="T68" fmla="*/ 71 w 321"/>
                <a:gd name="T69" fmla="*/ 124 h 328"/>
                <a:gd name="T70" fmla="*/ 88 w 321"/>
                <a:gd name="T71" fmla="*/ 146 h 328"/>
                <a:gd name="T72" fmla="*/ 107 w 321"/>
                <a:gd name="T73" fmla="*/ 154 h 328"/>
                <a:gd name="T74" fmla="*/ 112 w 321"/>
                <a:gd name="T75" fmla="*/ 173 h 328"/>
                <a:gd name="T76" fmla="*/ 133 w 321"/>
                <a:gd name="T77" fmla="*/ 189 h 328"/>
                <a:gd name="T78" fmla="*/ 130 w 321"/>
                <a:gd name="T79" fmla="*/ 209 h 328"/>
                <a:gd name="T80" fmla="*/ 142 w 321"/>
                <a:gd name="T81" fmla="*/ 226 h 328"/>
                <a:gd name="T82" fmla="*/ 158 w 321"/>
                <a:gd name="T83" fmla="*/ 240 h 328"/>
                <a:gd name="T84" fmla="*/ 164 w 321"/>
                <a:gd name="T85" fmla="*/ 267 h 328"/>
                <a:gd name="T86" fmla="*/ 134 w 321"/>
                <a:gd name="T87" fmla="*/ 296 h 328"/>
                <a:gd name="T88" fmla="*/ 146 w 321"/>
                <a:gd name="T89" fmla="*/ 304 h 328"/>
                <a:gd name="T90" fmla="*/ 165 w 321"/>
                <a:gd name="T91" fmla="*/ 31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1" h="328">
                  <a:moveTo>
                    <a:pt x="170" y="324"/>
                  </a:moveTo>
                  <a:cubicBezTo>
                    <a:pt x="175" y="320"/>
                    <a:pt x="174" y="318"/>
                    <a:pt x="176" y="314"/>
                  </a:cubicBezTo>
                  <a:cubicBezTo>
                    <a:pt x="178" y="310"/>
                    <a:pt x="176" y="308"/>
                    <a:pt x="180" y="304"/>
                  </a:cubicBezTo>
                  <a:cubicBezTo>
                    <a:pt x="184" y="301"/>
                    <a:pt x="180" y="298"/>
                    <a:pt x="185" y="296"/>
                  </a:cubicBezTo>
                  <a:cubicBezTo>
                    <a:pt x="190" y="293"/>
                    <a:pt x="189" y="298"/>
                    <a:pt x="185" y="303"/>
                  </a:cubicBezTo>
                  <a:cubicBezTo>
                    <a:pt x="181" y="308"/>
                    <a:pt x="180" y="310"/>
                    <a:pt x="185" y="306"/>
                  </a:cubicBezTo>
                  <a:cubicBezTo>
                    <a:pt x="191" y="302"/>
                    <a:pt x="193" y="296"/>
                    <a:pt x="196" y="290"/>
                  </a:cubicBezTo>
                  <a:cubicBezTo>
                    <a:pt x="199" y="284"/>
                    <a:pt x="201" y="282"/>
                    <a:pt x="204" y="281"/>
                  </a:cubicBezTo>
                  <a:cubicBezTo>
                    <a:pt x="206" y="281"/>
                    <a:pt x="206" y="274"/>
                    <a:pt x="206" y="270"/>
                  </a:cubicBezTo>
                  <a:cubicBezTo>
                    <a:pt x="206" y="265"/>
                    <a:pt x="204" y="261"/>
                    <a:pt x="206" y="258"/>
                  </a:cubicBezTo>
                  <a:cubicBezTo>
                    <a:pt x="208" y="255"/>
                    <a:pt x="206" y="252"/>
                    <a:pt x="209" y="252"/>
                  </a:cubicBezTo>
                  <a:cubicBezTo>
                    <a:pt x="211" y="252"/>
                    <a:pt x="215" y="248"/>
                    <a:pt x="219" y="244"/>
                  </a:cubicBezTo>
                  <a:cubicBezTo>
                    <a:pt x="223" y="240"/>
                    <a:pt x="225" y="240"/>
                    <a:pt x="229" y="240"/>
                  </a:cubicBezTo>
                  <a:cubicBezTo>
                    <a:pt x="234" y="239"/>
                    <a:pt x="231" y="238"/>
                    <a:pt x="234" y="237"/>
                  </a:cubicBezTo>
                  <a:cubicBezTo>
                    <a:pt x="237" y="236"/>
                    <a:pt x="238" y="234"/>
                    <a:pt x="240" y="232"/>
                  </a:cubicBezTo>
                  <a:cubicBezTo>
                    <a:pt x="242" y="231"/>
                    <a:pt x="249" y="233"/>
                    <a:pt x="253" y="233"/>
                  </a:cubicBezTo>
                  <a:cubicBezTo>
                    <a:pt x="258" y="233"/>
                    <a:pt x="261" y="233"/>
                    <a:pt x="261" y="230"/>
                  </a:cubicBezTo>
                  <a:cubicBezTo>
                    <a:pt x="261" y="228"/>
                    <a:pt x="263" y="225"/>
                    <a:pt x="265" y="225"/>
                  </a:cubicBezTo>
                  <a:cubicBezTo>
                    <a:pt x="268" y="225"/>
                    <a:pt x="269" y="225"/>
                    <a:pt x="269" y="221"/>
                  </a:cubicBezTo>
                  <a:cubicBezTo>
                    <a:pt x="269" y="218"/>
                    <a:pt x="270" y="215"/>
                    <a:pt x="272" y="214"/>
                  </a:cubicBezTo>
                  <a:cubicBezTo>
                    <a:pt x="274" y="212"/>
                    <a:pt x="274" y="209"/>
                    <a:pt x="275" y="206"/>
                  </a:cubicBezTo>
                  <a:cubicBezTo>
                    <a:pt x="276" y="204"/>
                    <a:pt x="278" y="205"/>
                    <a:pt x="278" y="202"/>
                  </a:cubicBezTo>
                  <a:cubicBezTo>
                    <a:pt x="278" y="199"/>
                    <a:pt x="279" y="195"/>
                    <a:pt x="279" y="192"/>
                  </a:cubicBezTo>
                  <a:cubicBezTo>
                    <a:pt x="279" y="190"/>
                    <a:pt x="282" y="190"/>
                    <a:pt x="283" y="188"/>
                  </a:cubicBezTo>
                  <a:cubicBezTo>
                    <a:pt x="285" y="186"/>
                    <a:pt x="282" y="184"/>
                    <a:pt x="284" y="178"/>
                  </a:cubicBezTo>
                  <a:cubicBezTo>
                    <a:pt x="286" y="172"/>
                    <a:pt x="284" y="167"/>
                    <a:pt x="284" y="162"/>
                  </a:cubicBezTo>
                  <a:cubicBezTo>
                    <a:pt x="284" y="157"/>
                    <a:pt x="284" y="152"/>
                    <a:pt x="286" y="151"/>
                  </a:cubicBezTo>
                  <a:cubicBezTo>
                    <a:pt x="288" y="149"/>
                    <a:pt x="287" y="148"/>
                    <a:pt x="286" y="147"/>
                  </a:cubicBezTo>
                  <a:cubicBezTo>
                    <a:pt x="284" y="147"/>
                    <a:pt x="286" y="145"/>
                    <a:pt x="287" y="145"/>
                  </a:cubicBezTo>
                  <a:cubicBezTo>
                    <a:pt x="288" y="145"/>
                    <a:pt x="290" y="148"/>
                    <a:pt x="292" y="147"/>
                  </a:cubicBezTo>
                  <a:cubicBezTo>
                    <a:pt x="294" y="145"/>
                    <a:pt x="296" y="139"/>
                    <a:pt x="298" y="134"/>
                  </a:cubicBezTo>
                  <a:cubicBezTo>
                    <a:pt x="300" y="129"/>
                    <a:pt x="304" y="129"/>
                    <a:pt x="306" y="128"/>
                  </a:cubicBezTo>
                  <a:cubicBezTo>
                    <a:pt x="309" y="127"/>
                    <a:pt x="314" y="121"/>
                    <a:pt x="317" y="112"/>
                  </a:cubicBezTo>
                  <a:cubicBezTo>
                    <a:pt x="321" y="104"/>
                    <a:pt x="317" y="95"/>
                    <a:pt x="316" y="89"/>
                  </a:cubicBezTo>
                  <a:cubicBezTo>
                    <a:pt x="314" y="83"/>
                    <a:pt x="312" y="84"/>
                    <a:pt x="309" y="84"/>
                  </a:cubicBezTo>
                  <a:cubicBezTo>
                    <a:pt x="305" y="85"/>
                    <a:pt x="298" y="84"/>
                    <a:pt x="290" y="74"/>
                  </a:cubicBezTo>
                  <a:cubicBezTo>
                    <a:pt x="281" y="64"/>
                    <a:pt x="272" y="65"/>
                    <a:pt x="266" y="67"/>
                  </a:cubicBezTo>
                  <a:cubicBezTo>
                    <a:pt x="260" y="68"/>
                    <a:pt x="254" y="64"/>
                    <a:pt x="250" y="63"/>
                  </a:cubicBezTo>
                  <a:cubicBezTo>
                    <a:pt x="246" y="62"/>
                    <a:pt x="242" y="67"/>
                    <a:pt x="240" y="68"/>
                  </a:cubicBezTo>
                  <a:cubicBezTo>
                    <a:pt x="237" y="69"/>
                    <a:pt x="241" y="64"/>
                    <a:pt x="241" y="60"/>
                  </a:cubicBezTo>
                  <a:cubicBezTo>
                    <a:pt x="241" y="57"/>
                    <a:pt x="230" y="52"/>
                    <a:pt x="222" y="49"/>
                  </a:cubicBezTo>
                  <a:cubicBezTo>
                    <a:pt x="214" y="46"/>
                    <a:pt x="211" y="47"/>
                    <a:pt x="211" y="53"/>
                  </a:cubicBezTo>
                  <a:cubicBezTo>
                    <a:pt x="211" y="58"/>
                    <a:pt x="207" y="51"/>
                    <a:pt x="205" y="57"/>
                  </a:cubicBezTo>
                  <a:cubicBezTo>
                    <a:pt x="202" y="62"/>
                    <a:pt x="198" y="58"/>
                    <a:pt x="201" y="57"/>
                  </a:cubicBezTo>
                  <a:cubicBezTo>
                    <a:pt x="204" y="55"/>
                    <a:pt x="207" y="51"/>
                    <a:pt x="208" y="47"/>
                  </a:cubicBezTo>
                  <a:cubicBezTo>
                    <a:pt x="209" y="44"/>
                    <a:pt x="196" y="41"/>
                    <a:pt x="191" y="43"/>
                  </a:cubicBezTo>
                  <a:cubicBezTo>
                    <a:pt x="187" y="45"/>
                    <a:pt x="190" y="51"/>
                    <a:pt x="186" y="49"/>
                  </a:cubicBezTo>
                  <a:cubicBezTo>
                    <a:pt x="183" y="47"/>
                    <a:pt x="186" y="43"/>
                    <a:pt x="188" y="43"/>
                  </a:cubicBezTo>
                  <a:cubicBezTo>
                    <a:pt x="191" y="43"/>
                    <a:pt x="194" y="37"/>
                    <a:pt x="196" y="33"/>
                  </a:cubicBezTo>
                  <a:cubicBezTo>
                    <a:pt x="198" y="29"/>
                    <a:pt x="193" y="28"/>
                    <a:pt x="190" y="24"/>
                  </a:cubicBezTo>
                  <a:cubicBezTo>
                    <a:pt x="187" y="21"/>
                    <a:pt x="187" y="10"/>
                    <a:pt x="184" y="9"/>
                  </a:cubicBezTo>
                  <a:cubicBezTo>
                    <a:pt x="181" y="12"/>
                    <a:pt x="176" y="18"/>
                    <a:pt x="175" y="22"/>
                  </a:cubicBezTo>
                  <a:cubicBezTo>
                    <a:pt x="173" y="27"/>
                    <a:pt x="171" y="24"/>
                    <a:pt x="166" y="25"/>
                  </a:cubicBezTo>
                  <a:cubicBezTo>
                    <a:pt x="162" y="27"/>
                    <a:pt x="159" y="25"/>
                    <a:pt x="158" y="23"/>
                  </a:cubicBezTo>
                  <a:cubicBezTo>
                    <a:pt x="157" y="21"/>
                    <a:pt x="152" y="23"/>
                    <a:pt x="149" y="23"/>
                  </a:cubicBezTo>
                  <a:cubicBezTo>
                    <a:pt x="146" y="22"/>
                    <a:pt x="148" y="26"/>
                    <a:pt x="146" y="28"/>
                  </a:cubicBezTo>
                  <a:cubicBezTo>
                    <a:pt x="144" y="29"/>
                    <a:pt x="138" y="25"/>
                    <a:pt x="136" y="27"/>
                  </a:cubicBezTo>
                  <a:cubicBezTo>
                    <a:pt x="134" y="30"/>
                    <a:pt x="133" y="27"/>
                    <a:pt x="132" y="29"/>
                  </a:cubicBezTo>
                  <a:cubicBezTo>
                    <a:pt x="131" y="31"/>
                    <a:pt x="128" y="30"/>
                    <a:pt x="127" y="31"/>
                  </a:cubicBezTo>
                  <a:cubicBezTo>
                    <a:pt x="126" y="32"/>
                    <a:pt x="122" y="33"/>
                    <a:pt x="118" y="28"/>
                  </a:cubicBezTo>
                  <a:cubicBezTo>
                    <a:pt x="114" y="24"/>
                    <a:pt x="114" y="16"/>
                    <a:pt x="116" y="14"/>
                  </a:cubicBezTo>
                  <a:cubicBezTo>
                    <a:pt x="118" y="13"/>
                    <a:pt x="118" y="9"/>
                    <a:pt x="116" y="7"/>
                  </a:cubicBezTo>
                  <a:cubicBezTo>
                    <a:pt x="113" y="6"/>
                    <a:pt x="116" y="1"/>
                    <a:pt x="112" y="1"/>
                  </a:cubicBezTo>
                  <a:cubicBezTo>
                    <a:pt x="109" y="0"/>
                    <a:pt x="109" y="4"/>
                    <a:pt x="107" y="5"/>
                  </a:cubicBezTo>
                  <a:cubicBezTo>
                    <a:pt x="105" y="6"/>
                    <a:pt x="100" y="10"/>
                    <a:pt x="97" y="9"/>
                  </a:cubicBezTo>
                  <a:cubicBezTo>
                    <a:pt x="95" y="9"/>
                    <a:pt x="92" y="10"/>
                    <a:pt x="92" y="12"/>
                  </a:cubicBezTo>
                  <a:cubicBezTo>
                    <a:pt x="92" y="15"/>
                    <a:pt x="89" y="14"/>
                    <a:pt x="89" y="12"/>
                  </a:cubicBezTo>
                  <a:cubicBezTo>
                    <a:pt x="88" y="10"/>
                    <a:pt x="83" y="11"/>
                    <a:pt x="82" y="10"/>
                  </a:cubicBezTo>
                  <a:cubicBezTo>
                    <a:pt x="80" y="8"/>
                    <a:pt x="73" y="9"/>
                    <a:pt x="76" y="11"/>
                  </a:cubicBezTo>
                  <a:cubicBezTo>
                    <a:pt x="79" y="12"/>
                    <a:pt x="79" y="14"/>
                    <a:pt x="79" y="17"/>
                  </a:cubicBezTo>
                  <a:cubicBezTo>
                    <a:pt x="79" y="19"/>
                    <a:pt x="82" y="18"/>
                    <a:pt x="82" y="22"/>
                  </a:cubicBezTo>
                  <a:cubicBezTo>
                    <a:pt x="82" y="25"/>
                    <a:pt x="84" y="23"/>
                    <a:pt x="86" y="23"/>
                  </a:cubicBezTo>
                  <a:cubicBezTo>
                    <a:pt x="87" y="23"/>
                    <a:pt x="87" y="25"/>
                    <a:pt x="85" y="26"/>
                  </a:cubicBezTo>
                  <a:cubicBezTo>
                    <a:pt x="82" y="26"/>
                    <a:pt x="81" y="28"/>
                    <a:pt x="80" y="30"/>
                  </a:cubicBezTo>
                  <a:cubicBezTo>
                    <a:pt x="79" y="33"/>
                    <a:pt x="77" y="31"/>
                    <a:pt x="75" y="33"/>
                  </a:cubicBezTo>
                  <a:cubicBezTo>
                    <a:pt x="73" y="35"/>
                    <a:pt x="71" y="37"/>
                    <a:pt x="69" y="36"/>
                  </a:cubicBezTo>
                  <a:cubicBezTo>
                    <a:pt x="68" y="35"/>
                    <a:pt x="67" y="36"/>
                    <a:pt x="65" y="37"/>
                  </a:cubicBezTo>
                  <a:cubicBezTo>
                    <a:pt x="63" y="38"/>
                    <a:pt x="63" y="37"/>
                    <a:pt x="60" y="35"/>
                  </a:cubicBezTo>
                  <a:cubicBezTo>
                    <a:pt x="58" y="33"/>
                    <a:pt x="57" y="30"/>
                    <a:pt x="54" y="27"/>
                  </a:cubicBezTo>
                  <a:cubicBezTo>
                    <a:pt x="52" y="27"/>
                    <a:pt x="48" y="29"/>
                    <a:pt x="46" y="29"/>
                  </a:cubicBezTo>
                  <a:cubicBezTo>
                    <a:pt x="43" y="29"/>
                    <a:pt x="34" y="28"/>
                    <a:pt x="34" y="30"/>
                  </a:cubicBezTo>
                  <a:cubicBezTo>
                    <a:pt x="33" y="31"/>
                    <a:pt x="35" y="34"/>
                    <a:pt x="36" y="34"/>
                  </a:cubicBezTo>
                  <a:cubicBezTo>
                    <a:pt x="37" y="34"/>
                    <a:pt x="41" y="35"/>
                    <a:pt x="38" y="37"/>
                  </a:cubicBezTo>
                  <a:cubicBezTo>
                    <a:pt x="35" y="40"/>
                    <a:pt x="32" y="37"/>
                    <a:pt x="32" y="42"/>
                  </a:cubicBezTo>
                  <a:cubicBezTo>
                    <a:pt x="32" y="47"/>
                    <a:pt x="39" y="50"/>
                    <a:pt x="37" y="55"/>
                  </a:cubicBezTo>
                  <a:cubicBezTo>
                    <a:pt x="37" y="57"/>
                    <a:pt x="36" y="63"/>
                    <a:pt x="36" y="66"/>
                  </a:cubicBezTo>
                  <a:cubicBezTo>
                    <a:pt x="36" y="68"/>
                    <a:pt x="35" y="76"/>
                    <a:pt x="33" y="77"/>
                  </a:cubicBezTo>
                  <a:cubicBezTo>
                    <a:pt x="30" y="77"/>
                    <a:pt x="29" y="75"/>
                    <a:pt x="26" y="77"/>
                  </a:cubicBezTo>
                  <a:cubicBezTo>
                    <a:pt x="23" y="80"/>
                    <a:pt x="19" y="78"/>
                    <a:pt x="16" y="81"/>
                  </a:cubicBezTo>
                  <a:cubicBezTo>
                    <a:pt x="13" y="83"/>
                    <a:pt x="9" y="82"/>
                    <a:pt x="9" y="86"/>
                  </a:cubicBezTo>
                  <a:cubicBezTo>
                    <a:pt x="9" y="89"/>
                    <a:pt x="5" y="90"/>
                    <a:pt x="6" y="93"/>
                  </a:cubicBezTo>
                  <a:cubicBezTo>
                    <a:pt x="7" y="96"/>
                    <a:pt x="5" y="95"/>
                    <a:pt x="3" y="97"/>
                  </a:cubicBezTo>
                  <a:cubicBezTo>
                    <a:pt x="0" y="100"/>
                    <a:pt x="3" y="101"/>
                    <a:pt x="1" y="103"/>
                  </a:cubicBezTo>
                  <a:cubicBezTo>
                    <a:pt x="0" y="104"/>
                    <a:pt x="2" y="107"/>
                    <a:pt x="4" y="110"/>
                  </a:cubicBezTo>
                  <a:cubicBezTo>
                    <a:pt x="5" y="112"/>
                    <a:pt x="7" y="114"/>
                    <a:pt x="7" y="116"/>
                  </a:cubicBezTo>
                  <a:cubicBezTo>
                    <a:pt x="7" y="119"/>
                    <a:pt x="9" y="120"/>
                    <a:pt x="11" y="120"/>
                  </a:cubicBezTo>
                  <a:cubicBezTo>
                    <a:pt x="13" y="119"/>
                    <a:pt x="11" y="124"/>
                    <a:pt x="15" y="124"/>
                  </a:cubicBezTo>
                  <a:cubicBezTo>
                    <a:pt x="19" y="124"/>
                    <a:pt x="23" y="125"/>
                    <a:pt x="24" y="123"/>
                  </a:cubicBezTo>
                  <a:cubicBezTo>
                    <a:pt x="25" y="121"/>
                    <a:pt x="27" y="119"/>
                    <a:pt x="27" y="122"/>
                  </a:cubicBezTo>
                  <a:cubicBezTo>
                    <a:pt x="27" y="125"/>
                    <a:pt x="27" y="134"/>
                    <a:pt x="29" y="133"/>
                  </a:cubicBezTo>
                  <a:cubicBezTo>
                    <a:pt x="32" y="132"/>
                    <a:pt x="37" y="132"/>
                    <a:pt x="40" y="133"/>
                  </a:cubicBezTo>
                  <a:cubicBezTo>
                    <a:pt x="42" y="134"/>
                    <a:pt x="45" y="133"/>
                    <a:pt x="47" y="131"/>
                  </a:cubicBezTo>
                  <a:cubicBezTo>
                    <a:pt x="48" y="130"/>
                    <a:pt x="50" y="130"/>
                    <a:pt x="54" y="128"/>
                  </a:cubicBezTo>
                  <a:cubicBezTo>
                    <a:pt x="57" y="126"/>
                    <a:pt x="60" y="123"/>
                    <a:pt x="63" y="123"/>
                  </a:cubicBezTo>
                  <a:cubicBezTo>
                    <a:pt x="66" y="123"/>
                    <a:pt x="71" y="121"/>
                    <a:pt x="71" y="124"/>
                  </a:cubicBezTo>
                  <a:cubicBezTo>
                    <a:pt x="70" y="126"/>
                    <a:pt x="69" y="135"/>
                    <a:pt x="73" y="140"/>
                  </a:cubicBezTo>
                  <a:cubicBezTo>
                    <a:pt x="77" y="144"/>
                    <a:pt x="79" y="146"/>
                    <a:pt x="83" y="145"/>
                  </a:cubicBezTo>
                  <a:cubicBezTo>
                    <a:pt x="86" y="145"/>
                    <a:pt x="86" y="147"/>
                    <a:pt x="88" y="146"/>
                  </a:cubicBezTo>
                  <a:cubicBezTo>
                    <a:pt x="91" y="146"/>
                    <a:pt x="89" y="149"/>
                    <a:pt x="92" y="149"/>
                  </a:cubicBezTo>
                  <a:cubicBezTo>
                    <a:pt x="94" y="149"/>
                    <a:pt x="98" y="150"/>
                    <a:pt x="98" y="152"/>
                  </a:cubicBezTo>
                  <a:cubicBezTo>
                    <a:pt x="98" y="155"/>
                    <a:pt x="106" y="153"/>
                    <a:pt x="107" y="154"/>
                  </a:cubicBezTo>
                  <a:cubicBezTo>
                    <a:pt x="109" y="156"/>
                    <a:pt x="111" y="157"/>
                    <a:pt x="110" y="160"/>
                  </a:cubicBezTo>
                  <a:cubicBezTo>
                    <a:pt x="110" y="163"/>
                    <a:pt x="114" y="165"/>
                    <a:pt x="112" y="166"/>
                  </a:cubicBezTo>
                  <a:cubicBezTo>
                    <a:pt x="109" y="167"/>
                    <a:pt x="112" y="169"/>
                    <a:pt x="112" y="173"/>
                  </a:cubicBezTo>
                  <a:cubicBezTo>
                    <a:pt x="113" y="176"/>
                    <a:pt x="116" y="177"/>
                    <a:pt x="121" y="177"/>
                  </a:cubicBezTo>
                  <a:cubicBezTo>
                    <a:pt x="127" y="176"/>
                    <a:pt x="128" y="177"/>
                    <a:pt x="128" y="181"/>
                  </a:cubicBezTo>
                  <a:cubicBezTo>
                    <a:pt x="128" y="184"/>
                    <a:pt x="132" y="185"/>
                    <a:pt x="133" y="189"/>
                  </a:cubicBezTo>
                  <a:cubicBezTo>
                    <a:pt x="134" y="192"/>
                    <a:pt x="131" y="196"/>
                    <a:pt x="132" y="199"/>
                  </a:cubicBezTo>
                  <a:cubicBezTo>
                    <a:pt x="132" y="201"/>
                    <a:pt x="131" y="203"/>
                    <a:pt x="129" y="204"/>
                  </a:cubicBezTo>
                  <a:cubicBezTo>
                    <a:pt x="131" y="207"/>
                    <a:pt x="131" y="208"/>
                    <a:pt x="130" y="209"/>
                  </a:cubicBezTo>
                  <a:cubicBezTo>
                    <a:pt x="127" y="210"/>
                    <a:pt x="132" y="213"/>
                    <a:pt x="131" y="219"/>
                  </a:cubicBezTo>
                  <a:cubicBezTo>
                    <a:pt x="130" y="224"/>
                    <a:pt x="130" y="225"/>
                    <a:pt x="135" y="225"/>
                  </a:cubicBezTo>
                  <a:cubicBezTo>
                    <a:pt x="141" y="225"/>
                    <a:pt x="140" y="227"/>
                    <a:pt x="142" y="226"/>
                  </a:cubicBezTo>
                  <a:cubicBezTo>
                    <a:pt x="144" y="225"/>
                    <a:pt x="147" y="230"/>
                    <a:pt x="148" y="233"/>
                  </a:cubicBezTo>
                  <a:cubicBezTo>
                    <a:pt x="148" y="235"/>
                    <a:pt x="151" y="242"/>
                    <a:pt x="152" y="242"/>
                  </a:cubicBezTo>
                  <a:cubicBezTo>
                    <a:pt x="153" y="242"/>
                    <a:pt x="155" y="239"/>
                    <a:pt x="158" y="240"/>
                  </a:cubicBezTo>
                  <a:cubicBezTo>
                    <a:pt x="161" y="241"/>
                    <a:pt x="158" y="251"/>
                    <a:pt x="158" y="255"/>
                  </a:cubicBezTo>
                  <a:cubicBezTo>
                    <a:pt x="160" y="254"/>
                    <a:pt x="162" y="254"/>
                    <a:pt x="163" y="255"/>
                  </a:cubicBezTo>
                  <a:cubicBezTo>
                    <a:pt x="164" y="256"/>
                    <a:pt x="165" y="265"/>
                    <a:pt x="164" y="267"/>
                  </a:cubicBezTo>
                  <a:cubicBezTo>
                    <a:pt x="164" y="269"/>
                    <a:pt x="158" y="271"/>
                    <a:pt x="155" y="273"/>
                  </a:cubicBezTo>
                  <a:cubicBezTo>
                    <a:pt x="152" y="275"/>
                    <a:pt x="144" y="282"/>
                    <a:pt x="141" y="287"/>
                  </a:cubicBezTo>
                  <a:cubicBezTo>
                    <a:pt x="139" y="291"/>
                    <a:pt x="136" y="293"/>
                    <a:pt x="134" y="296"/>
                  </a:cubicBezTo>
                  <a:cubicBezTo>
                    <a:pt x="135" y="296"/>
                    <a:pt x="135" y="296"/>
                    <a:pt x="136" y="296"/>
                  </a:cubicBezTo>
                  <a:cubicBezTo>
                    <a:pt x="138" y="295"/>
                    <a:pt x="140" y="295"/>
                    <a:pt x="143" y="298"/>
                  </a:cubicBezTo>
                  <a:cubicBezTo>
                    <a:pt x="146" y="301"/>
                    <a:pt x="145" y="304"/>
                    <a:pt x="146" y="304"/>
                  </a:cubicBezTo>
                  <a:cubicBezTo>
                    <a:pt x="148" y="303"/>
                    <a:pt x="149" y="299"/>
                    <a:pt x="151" y="302"/>
                  </a:cubicBezTo>
                  <a:cubicBezTo>
                    <a:pt x="153" y="305"/>
                    <a:pt x="159" y="308"/>
                    <a:pt x="160" y="309"/>
                  </a:cubicBezTo>
                  <a:cubicBezTo>
                    <a:pt x="161" y="311"/>
                    <a:pt x="165" y="312"/>
                    <a:pt x="165" y="316"/>
                  </a:cubicBezTo>
                  <a:cubicBezTo>
                    <a:pt x="165" y="318"/>
                    <a:pt x="164" y="323"/>
                    <a:pt x="166" y="328"/>
                  </a:cubicBezTo>
                  <a:cubicBezTo>
                    <a:pt x="167" y="326"/>
                    <a:pt x="168" y="325"/>
                    <a:pt x="170" y="324"/>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67" name="Freeform 110">
              <a:extLst>
                <a:ext uri="{FF2B5EF4-FFF2-40B4-BE49-F238E27FC236}">
                  <a16:creationId xmlns:a16="http://schemas.microsoft.com/office/drawing/2014/main" xmlns="" id="{FBACDF6B-E771-4358-AFE2-1062D1BE273D}"/>
                </a:ext>
              </a:extLst>
            </p:cNvPr>
            <p:cNvSpPr>
              <a:spLocks/>
            </p:cNvSpPr>
            <p:nvPr/>
          </p:nvSpPr>
          <p:spPr bwMode="auto">
            <a:xfrm>
              <a:off x="15097347" y="4647279"/>
              <a:ext cx="104775" cy="115887"/>
            </a:xfrm>
            <a:custGeom>
              <a:avLst/>
              <a:gdLst>
                <a:gd name="T0" fmla="*/ 39 w 40"/>
                <a:gd name="T1" fmla="*/ 21 h 44"/>
                <a:gd name="T2" fmla="*/ 34 w 40"/>
                <a:gd name="T3" fmla="*/ 14 h 44"/>
                <a:gd name="T4" fmla="*/ 25 w 40"/>
                <a:gd name="T5" fmla="*/ 7 h 44"/>
                <a:gd name="T6" fmla="*/ 20 w 40"/>
                <a:gd name="T7" fmla="*/ 9 h 44"/>
                <a:gd name="T8" fmla="*/ 17 w 40"/>
                <a:gd name="T9" fmla="*/ 3 h 44"/>
                <a:gd name="T10" fmla="*/ 10 w 40"/>
                <a:gd name="T11" fmla="*/ 1 h 44"/>
                <a:gd name="T12" fmla="*/ 8 w 40"/>
                <a:gd name="T13" fmla="*/ 1 h 44"/>
                <a:gd name="T14" fmla="*/ 5 w 40"/>
                <a:gd name="T15" fmla="*/ 5 h 44"/>
                <a:gd name="T16" fmla="*/ 2 w 40"/>
                <a:gd name="T17" fmla="*/ 19 h 44"/>
                <a:gd name="T18" fmla="*/ 0 w 40"/>
                <a:gd name="T19" fmla="*/ 29 h 44"/>
                <a:gd name="T20" fmla="*/ 3 w 40"/>
                <a:gd name="T21" fmla="*/ 34 h 44"/>
                <a:gd name="T22" fmla="*/ 2 w 40"/>
                <a:gd name="T23" fmla="*/ 38 h 44"/>
                <a:gd name="T24" fmla="*/ 5 w 40"/>
                <a:gd name="T25" fmla="*/ 39 h 44"/>
                <a:gd name="T26" fmla="*/ 15 w 40"/>
                <a:gd name="T27" fmla="*/ 42 h 44"/>
                <a:gd name="T28" fmla="*/ 22 w 40"/>
                <a:gd name="T29" fmla="*/ 42 h 44"/>
                <a:gd name="T30" fmla="*/ 34 w 40"/>
                <a:gd name="T31" fmla="*/ 40 h 44"/>
                <a:gd name="T32" fmla="*/ 40 w 40"/>
                <a:gd name="T33" fmla="*/ 33 h 44"/>
                <a:gd name="T34" fmla="*/ 39 w 40"/>
                <a:gd name="T35"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44">
                  <a:moveTo>
                    <a:pt x="39" y="21"/>
                  </a:moveTo>
                  <a:cubicBezTo>
                    <a:pt x="39" y="17"/>
                    <a:pt x="35" y="16"/>
                    <a:pt x="34" y="14"/>
                  </a:cubicBezTo>
                  <a:cubicBezTo>
                    <a:pt x="33" y="13"/>
                    <a:pt x="27" y="10"/>
                    <a:pt x="25" y="7"/>
                  </a:cubicBezTo>
                  <a:cubicBezTo>
                    <a:pt x="23" y="4"/>
                    <a:pt x="22" y="8"/>
                    <a:pt x="20" y="9"/>
                  </a:cubicBezTo>
                  <a:cubicBezTo>
                    <a:pt x="19" y="9"/>
                    <a:pt x="20" y="6"/>
                    <a:pt x="17" y="3"/>
                  </a:cubicBezTo>
                  <a:cubicBezTo>
                    <a:pt x="14" y="0"/>
                    <a:pt x="12" y="0"/>
                    <a:pt x="10" y="1"/>
                  </a:cubicBezTo>
                  <a:cubicBezTo>
                    <a:pt x="9" y="1"/>
                    <a:pt x="9" y="1"/>
                    <a:pt x="8" y="1"/>
                  </a:cubicBezTo>
                  <a:cubicBezTo>
                    <a:pt x="6" y="2"/>
                    <a:pt x="5" y="4"/>
                    <a:pt x="5" y="5"/>
                  </a:cubicBezTo>
                  <a:cubicBezTo>
                    <a:pt x="5" y="9"/>
                    <a:pt x="3" y="12"/>
                    <a:pt x="2" y="19"/>
                  </a:cubicBezTo>
                  <a:cubicBezTo>
                    <a:pt x="2" y="25"/>
                    <a:pt x="0" y="24"/>
                    <a:pt x="0" y="29"/>
                  </a:cubicBezTo>
                  <a:cubicBezTo>
                    <a:pt x="0" y="34"/>
                    <a:pt x="2" y="34"/>
                    <a:pt x="3" y="34"/>
                  </a:cubicBezTo>
                  <a:cubicBezTo>
                    <a:pt x="3" y="35"/>
                    <a:pt x="2" y="36"/>
                    <a:pt x="2" y="38"/>
                  </a:cubicBezTo>
                  <a:cubicBezTo>
                    <a:pt x="3" y="38"/>
                    <a:pt x="3" y="39"/>
                    <a:pt x="5" y="39"/>
                  </a:cubicBezTo>
                  <a:cubicBezTo>
                    <a:pt x="8" y="39"/>
                    <a:pt x="12" y="40"/>
                    <a:pt x="15" y="42"/>
                  </a:cubicBezTo>
                  <a:cubicBezTo>
                    <a:pt x="19" y="44"/>
                    <a:pt x="18" y="41"/>
                    <a:pt x="22" y="42"/>
                  </a:cubicBezTo>
                  <a:cubicBezTo>
                    <a:pt x="25" y="42"/>
                    <a:pt x="30" y="43"/>
                    <a:pt x="34" y="40"/>
                  </a:cubicBezTo>
                  <a:cubicBezTo>
                    <a:pt x="37" y="39"/>
                    <a:pt x="38" y="36"/>
                    <a:pt x="40" y="33"/>
                  </a:cubicBezTo>
                  <a:cubicBezTo>
                    <a:pt x="38" y="28"/>
                    <a:pt x="39" y="23"/>
                    <a:pt x="39" y="21"/>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68" name="Freeform 111">
              <a:extLst>
                <a:ext uri="{FF2B5EF4-FFF2-40B4-BE49-F238E27FC236}">
                  <a16:creationId xmlns:a16="http://schemas.microsoft.com/office/drawing/2014/main" xmlns="" id="{B76FF060-35AA-49B3-BF25-751EAB8D26DA}"/>
                </a:ext>
              </a:extLst>
            </p:cNvPr>
            <p:cNvSpPr>
              <a:spLocks noEditPoints="1"/>
            </p:cNvSpPr>
            <p:nvPr/>
          </p:nvSpPr>
          <p:spPr bwMode="auto">
            <a:xfrm>
              <a:off x="14775084" y="4455191"/>
              <a:ext cx="423863" cy="841375"/>
            </a:xfrm>
            <a:custGeom>
              <a:avLst/>
              <a:gdLst>
                <a:gd name="T0" fmla="*/ 46 w 163"/>
                <a:gd name="T1" fmla="*/ 305 h 322"/>
                <a:gd name="T2" fmla="*/ 43 w 163"/>
                <a:gd name="T3" fmla="*/ 298 h 322"/>
                <a:gd name="T4" fmla="*/ 40 w 163"/>
                <a:gd name="T5" fmla="*/ 320 h 322"/>
                <a:gd name="T6" fmla="*/ 57 w 163"/>
                <a:gd name="T7" fmla="*/ 321 h 322"/>
                <a:gd name="T8" fmla="*/ 62 w 163"/>
                <a:gd name="T9" fmla="*/ 315 h 322"/>
                <a:gd name="T10" fmla="*/ 156 w 163"/>
                <a:gd name="T11" fmla="*/ 34 h 322"/>
                <a:gd name="T12" fmla="*/ 152 w 163"/>
                <a:gd name="T13" fmla="*/ 46 h 322"/>
                <a:gd name="T14" fmla="*/ 138 w 163"/>
                <a:gd name="T15" fmla="*/ 51 h 322"/>
                <a:gd name="T16" fmla="*/ 123 w 163"/>
                <a:gd name="T17" fmla="*/ 48 h 322"/>
                <a:gd name="T18" fmla="*/ 132 w 163"/>
                <a:gd name="T19" fmla="*/ 32 h 322"/>
                <a:gd name="T20" fmla="*/ 108 w 163"/>
                <a:gd name="T21" fmla="*/ 20 h 322"/>
                <a:gd name="T22" fmla="*/ 88 w 163"/>
                <a:gd name="T23" fmla="*/ 3 h 322"/>
                <a:gd name="T24" fmla="*/ 75 w 163"/>
                <a:gd name="T25" fmla="*/ 8 h 322"/>
                <a:gd name="T26" fmla="*/ 59 w 163"/>
                <a:gd name="T27" fmla="*/ 4 h 322"/>
                <a:gd name="T28" fmla="*/ 51 w 163"/>
                <a:gd name="T29" fmla="*/ 19 h 322"/>
                <a:gd name="T30" fmla="*/ 42 w 163"/>
                <a:gd name="T31" fmla="*/ 32 h 322"/>
                <a:gd name="T32" fmla="*/ 43 w 163"/>
                <a:gd name="T33" fmla="*/ 46 h 322"/>
                <a:gd name="T34" fmla="*/ 35 w 163"/>
                <a:gd name="T35" fmla="*/ 56 h 322"/>
                <a:gd name="T36" fmla="*/ 30 w 163"/>
                <a:gd name="T37" fmla="*/ 68 h 322"/>
                <a:gd name="T38" fmla="*/ 26 w 163"/>
                <a:gd name="T39" fmla="*/ 82 h 322"/>
                <a:gd name="T40" fmla="*/ 29 w 163"/>
                <a:gd name="T41" fmla="*/ 99 h 322"/>
                <a:gd name="T42" fmla="*/ 29 w 163"/>
                <a:gd name="T43" fmla="*/ 113 h 322"/>
                <a:gd name="T44" fmla="*/ 26 w 163"/>
                <a:gd name="T45" fmla="*/ 129 h 322"/>
                <a:gd name="T46" fmla="*/ 20 w 163"/>
                <a:gd name="T47" fmla="*/ 147 h 322"/>
                <a:gd name="T48" fmla="*/ 18 w 163"/>
                <a:gd name="T49" fmla="*/ 155 h 322"/>
                <a:gd name="T50" fmla="*/ 15 w 163"/>
                <a:gd name="T51" fmla="*/ 166 h 322"/>
                <a:gd name="T52" fmla="*/ 15 w 163"/>
                <a:gd name="T53" fmla="*/ 177 h 322"/>
                <a:gd name="T54" fmla="*/ 13 w 163"/>
                <a:gd name="T55" fmla="*/ 194 h 322"/>
                <a:gd name="T56" fmla="*/ 15 w 163"/>
                <a:gd name="T57" fmla="*/ 204 h 322"/>
                <a:gd name="T58" fmla="*/ 19 w 163"/>
                <a:gd name="T59" fmla="*/ 212 h 322"/>
                <a:gd name="T60" fmla="*/ 17 w 163"/>
                <a:gd name="T61" fmla="*/ 219 h 322"/>
                <a:gd name="T62" fmla="*/ 15 w 163"/>
                <a:gd name="T63" fmla="*/ 231 h 322"/>
                <a:gd name="T64" fmla="*/ 9 w 163"/>
                <a:gd name="T65" fmla="*/ 242 h 322"/>
                <a:gd name="T66" fmla="*/ 6 w 163"/>
                <a:gd name="T67" fmla="*/ 254 h 322"/>
                <a:gd name="T68" fmla="*/ 2 w 163"/>
                <a:gd name="T69" fmla="*/ 267 h 322"/>
                <a:gd name="T70" fmla="*/ 11 w 163"/>
                <a:gd name="T71" fmla="*/ 274 h 322"/>
                <a:gd name="T72" fmla="*/ 15 w 163"/>
                <a:gd name="T73" fmla="*/ 287 h 322"/>
                <a:gd name="T74" fmla="*/ 34 w 163"/>
                <a:gd name="T75" fmla="*/ 289 h 322"/>
                <a:gd name="T76" fmla="*/ 37 w 163"/>
                <a:gd name="T77" fmla="*/ 283 h 322"/>
                <a:gd name="T78" fmla="*/ 38 w 163"/>
                <a:gd name="T79" fmla="*/ 269 h 322"/>
                <a:gd name="T80" fmla="*/ 47 w 163"/>
                <a:gd name="T81" fmla="*/ 260 h 322"/>
                <a:gd name="T82" fmla="*/ 62 w 163"/>
                <a:gd name="T83" fmla="*/ 243 h 322"/>
                <a:gd name="T84" fmla="*/ 56 w 163"/>
                <a:gd name="T85" fmla="*/ 233 h 322"/>
                <a:gd name="T86" fmla="*/ 64 w 163"/>
                <a:gd name="T87" fmla="*/ 214 h 322"/>
                <a:gd name="T88" fmla="*/ 68 w 163"/>
                <a:gd name="T89" fmla="*/ 204 h 322"/>
                <a:gd name="T90" fmla="*/ 73 w 163"/>
                <a:gd name="T91" fmla="*/ 193 h 322"/>
                <a:gd name="T92" fmla="*/ 78 w 163"/>
                <a:gd name="T93" fmla="*/ 192 h 322"/>
                <a:gd name="T94" fmla="*/ 75 w 163"/>
                <a:gd name="T95" fmla="*/ 188 h 322"/>
                <a:gd name="T96" fmla="*/ 70 w 163"/>
                <a:gd name="T97" fmla="*/ 179 h 322"/>
                <a:gd name="T98" fmla="*/ 82 w 163"/>
                <a:gd name="T99" fmla="*/ 175 h 322"/>
                <a:gd name="T100" fmla="*/ 92 w 163"/>
                <a:gd name="T101" fmla="*/ 163 h 322"/>
                <a:gd name="T102" fmla="*/ 95 w 163"/>
                <a:gd name="T103" fmla="*/ 154 h 322"/>
                <a:gd name="T104" fmla="*/ 131 w 163"/>
                <a:gd name="T105" fmla="*/ 145 h 322"/>
                <a:gd name="T106" fmla="*/ 135 w 163"/>
                <a:gd name="T107" fmla="*/ 129 h 322"/>
                <a:gd name="T108" fmla="*/ 129 w 163"/>
                <a:gd name="T109" fmla="*/ 118 h 322"/>
                <a:gd name="T110" fmla="*/ 126 w 163"/>
                <a:gd name="T111" fmla="*/ 112 h 322"/>
                <a:gd name="T112" fmla="*/ 124 w 163"/>
                <a:gd name="T113" fmla="*/ 103 h 322"/>
                <a:gd name="T114" fmla="*/ 129 w 163"/>
                <a:gd name="T115" fmla="*/ 79 h 322"/>
                <a:gd name="T116" fmla="*/ 153 w 163"/>
                <a:gd name="T117" fmla="*/ 52 h 322"/>
                <a:gd name="T118" fmla="*/ 161 w 163"/>
                <a:gd name="T119" fmla="*/ 34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3" h="322">
                  <a:moveTo>
                    <a:pt x="62" y="315"/>
                  </a:moveTo>
                  <a:cubicBezTo>
                    <a:pt x="58" y="315"/>
                    <a:pt x="49" y="307"/>
                    <a:pt x="46" y="305"/>
                  </a:cubicBezTo>
                  <a:cubicBezTo>
                    <a:pt x="44" y="303"/>
                    <a:pt x="46" y="301"/>
                    <a:pt x="42" y="301"/>
                  </a:cubicBezTo>
                  <a:cubicBezTo>
                    <a:pt x="39" y="302"/>
                    <a:pt x="41" y="299"/>
                    <a:pt x="43" y="298"/>
                  </a:cubicBezTo>
                  <a:cubicBezTo>
                    <a:pt x="45" y="297"/>
                    <a:pt x="42" y="294"/>
                    <a:pt x="40" y="293"/>
                  </a:cubicBezTo>
                  <a:cubicBezTo>
                    <a:pt x="40" y="298"/>
                    <a:pt x="39" y="320"/>
                    <a:pt x="40" y="320"/>
                  </a:cubicBezTo>
                  <a:cubicBezTo>
                    <a:pt x="42" y="320"/>
                    <a:pt x="51" y="319"/>
                    <a:pt x="54" y="321"/>
                  </a:cubicBezTo>
                  <a:cubicBezTo>
                    <a:pt x="55" y="321"/>
                    <a:pt x="56" y="322"/>
                    <a:pt x="57" y="321"/>
                  </a:cubicBezTo>
                  <a:cubicBezTo>
                    <a:pt x="59" y="319"/>
                    <a:pt x="65" y="320"/>
                    <a:pt x="67" y="318"/>
                  </a:cubicBezTo>
                  <a:cubicBezTo>
                    <a:pt x="70" y="316"/>
                    <a:pt x="67" y="316"/>
                    <a:pt x="62" y="315"/>
                  </a:cubicBezTo>
                  <a:close/>
                  <a:moveTo>
                    <a:pt x="161" y="34"/>
                  </a:moveTo>
                  <a:cubicBezTo>
                    <a:pt x="160" y="33"/>
                    <a:pt x="158" y="33"/>
                    <a:pt x="156" y="34"/>
                  </a:cubicBezTo>
                  <a:cubicBezTo>
                    <a:pt x="156" y="34"/>
                    <a:pt x="156" y="34"/>
                    <a:pt x="156" y="34"/>
                  </a:cubicBezTo>
                  <a:cubicBezTo>
                    <a:pt x="156" y="38"/>
                    <a:pt x="154" y="46"/>
                    <a:pt x="152" y="46"/>
                  </a:cubicBezTo>
                  <a:cubicBezTo>
                    <a:pt x="149" y="46"/>
                    <a:pt x="147" y="50"/>
                    <a:pt x="145" y="49"/>
                  </a:cubicBezTo>
                  <a:cubicBezTo>
                    <a:pt x="143" y="49"/>
                    <a:pt x="141" y="52"/>
                    <a:pt x="138" y="51"/>
                  </a:cubicBezTo>
                  <a:cubicBezTo>
                    <a:pt x="136" y="49"/>
                    <a:pt x="132" y="51"/>
                    <a:pt x="131" y="50"/>
                  </a:cubicBezTo>
                  <a:cubicBezTo>
                    <a:pt x="129" y="49"/>
                    <a:pt x="123" y="50"/>
                    <a:pt x="123" y="48"/>
                  </a:cubicBezTo>
                  <a:cubicBezTo>
                    <a:pt x="123" y="47"/>
                    <a:pt x="126" y="47"/>
                    <a:pt x="126" y="43"/>
                  </a:cubicBezTo>
                  <a:cubicBezTo>
                    <a:pt x="126" y="39"/>
                    <a:pt x="133" y="34"/>
                    <a:pt x="132" y="32"/>
                  </a:cubicBezTo>
                  <a:cubicBezTo>
                    <a:pt x="131" y="30"/>
                    <a:pt x="119" y="27"/>
                    <a:pt x="117" y="25"/>
                  </a:cubicBezTo>
                  <a:cubicBezTo>
                    <a:pt x="115" y="22"/>
                    <a:pt x="113" y="21"/>
                    <a:pt x="108" y="20"/>
                  </a:cubicBezTo>
                  <a:cubicBezTo>
                    <a:pt x="103" y="20"/>
                    <a:pt x="103" y="17"/>
                    <a:pt x="99" y="15"/>
                  </a:cubicBezTo>
                  <a:cubicBezTo>
                    <a:pt x="96" y="12"/>
                    <a:pt x="90" y="6"/>
                    <a:pt x="88" y="3"/>
                  </a:cubicBezTo>
                  <a:cubicBezTo>
                    <a:pt x="85" y="3"/>
                    <a:pt x="81" y="2"/>
                    <a:pt x="80" y="3"/>
                  </a:cubicBezTo>
                  <a:cubicBezTo>
                    <a:pt x="79" y="5"/>
                    <a:pt x="77" y="11"/>
                    <a:pt x="75" y="8"/>
                  </a:cubicBezTo>
                  <a:cubicBezTo>
                    <a:pt x="74" y="5"/>
                    <a:pt x="70" y="5"/>
                    <a:pt x="66" y="4"/>
                  </a:cubicBezTo>
                  <a:cubicBezTo>
                    <a:pt x="62" y="4"/>
                    <a:pt x="63" y="0"/>
                    <a:pt x="59" y="4"/>
                  </a:cubicBezTo>
                  <a:cubicBezTo>
                    <a:pt x="57" y="6"/>
                    <a:pt x="55" y="8"/>
                    <a:pt x="53" y="9"/>
                  </a:cubicBezTo>
                  <a:cubicBezTo>
                    <a:pt x="53" y="13"/>
                    <a:pt x="52" y="17"/>
                    <a:pt x="51" y="19"/>
                  </a:cubicBezTo>
                  <a:cubicBezTo>
                    <a:pt x="50" y="20"/>
                    <a:pt x="42" y="24"/>
                    <a:pt x="42" y="26"/>
                  </a:cubicBezTo>
                  <a:cubicBezTo>
                    <a:pt x="42" y="28"/>
                    <a:pt x="43" y="30"/>
                    <a:pt x="42" y="32"/>
                  </a:cubicBezTo>
                  <a:cubicBezTo>
                    <a:pt x="40" y="33"/>
                    <a:pt x="45" y="39"/>
                    <a:pt x="42" y="40"/>
                  </a:cubicBezTo>
                  <a:cubicBezTo>
                    <a:pt x="40" y="42"/>
                    <a:pt x="44" y="44"/>
                    <a:pt x="43" y="46"/>
                  </a:cubicBezTo>
                  <a:cubicBezTo>
                    <a:pt x="41" y="47"/>
                    <a:pt x="38" y="48"/>
                    <a:pt x="38" y="50"/>
                  </a:cubicBezTo>
                  <a:cubicBezTo>
                    <a:pt x="38" y="51"/>
                    <a:pt x="38" y="55"/>
                    <a:pt x="35" y="56"/>
                  </a:cubicBezTo>
                  <a:cubicBezTo>
                    <a:pt x="33" y="57"/>
                    <a:pt x="32" y="61"/>
                    <a:pt x="32" y="64"/>
                  </a:cubicBezTo>
                  <a:cubicBezTo>
                    <a:pt x="32" y="66"/>
                    <a:pt x="28" y="64"/>
                    <a:pt x="30" y="68"/>
                  </a:cubicBezTo>
                  <a:cubicBezTo>
                    <a:pt x="31" y="71"/>
                    <a:pt x="32" y="75"/>
                    <a:pt x="30" y="76"/>
                  </a:cubicBezTo>
                  <a:cubicBezTo>
                    <a:pt x="27" y="77"/>
                    <a:pt x="28" y="82"/>
                    <a:pt x="26" y="82"/>
                  </a:cubicBezTo>
                  <a:cubicBezTo>
                    <a:pt x="25" y="82"/>
                    <a:pt x="24" y="88"/>
                    <a:pt x="26" y="91"/>
                  </a:cubicBezTo>
                  <a:cubicBezTo>
                    <a:pt x="28" y="94"/>
                    <a:pt x="29" y="96"/>
                    <a:pt x="29" y="99"/>
                  </a:cubicBezTo>
                  <a:cubicBezTo>
                    <a:pt x="29" y="102"/>
                    <a:pt x="32" y="103"/>
                    <a:pt x="31" y="106"/>
                  </a:cubicBezTo>
                  <a:cubicBezTo>
                    <a:pt x="30" y="109"/>
                    <a:pt x="30" y="112"/>
                    <a:pt x="29" y="113"/>
                  </a:cubicBezTo>
                  <a:cubicBezTo>
                    <a:pt x="27" y="114"/>
                    <a:pt x="28" y="118"/>
                    <a:pt x="26" y="119"/>
                  </a:cubicBezTo>
                  <a:cubicBezTo>
                    <a:pt x="24" y="120"/>
                    <a:pt x="28" y="127"/>
                    <a:pt x="26" y="129"/>
                  </a:cubicBezTo>
                  <a:cubicBezTo>
                    <a:pt x="25" y="130"/>
                    <a:pt x="20" y="131"/>
                    <a:pt x="20" y="137"/>
                  </a:cubicBezTo>
                  <a:cubicBezTo>
                    <a:pt x="20" y="142"/>
                    <a:pt x="21" y="145"/>
                    <a:pt x="20" y="147"/>
                  </a:cubicBezTo>
                  <a:cubicBezTo>
                    <a:pt x="20" y="149"/>
                    <a:pt x="23" y="149"/>
                    <a:pt x="22" y="152"/>
                  </a:cubicBezTo>
                  <a:cubicBezTo>
                    <a:pt x="22" y="155"/>
                    <a:pt x="18" y="153"/>
                    <a:pt x="18" y="155"/>
                  </a:cubicBezTo>
                  <a:cubicBezTo>
                    <a:pt x="18" y="157"/>
                    <a:pt x="19" y="161"/>
                    <a:pt x="17" y="161"/>
                  </a:cubicBezTo>
                  <a:cubicBezTo>
                    <a:pt x="16" y="161"/>
                    <a:pt x="15" y="163"/>
                    <a:pt x="15" y="166"/>
                  </a:cubicBezTo>
                  <a:cubicBezTo>
                    <a:pt x="15" y="170"/>
                    <a:pt x="13" y="170"/>
                    <a:pt x="13" y="172"/>
                  </a:cubicBezTo>
                  <a:cubicBezTo>
                    <a:pt x="13" y="173"/>
                    <a:pt x="15" y="175"/>
                    <a:pt x="15" y="177"/>
                  </a:cubicBezTo>
                  <a:cubicBezTo>
                    <a:pt x="15" y="179"/>
                    <a:pt x="16" y="186"/>
                    <a:pt x="14" y="186"/>
                  </a:cubicBezTo>
                  <a:cubicBezTo>
                    <a:pt x="12" y="186"/>
                    <a:pt x="12" y="193"/>
                    <a:pt x="13" y="194"/>
                  </a:cubicBezTo>
                  <a:cubicBezTo>
                    <a:pt x="14" y="195"/>
                    <a:pt x="14" y="197"/>
                    <a:pt x="14" y="199"/>
                  </a:cubicBezTo>
                  <a:cubicBezTo>
                    <a:pt x="13" y="200"/>
                    <a:pt x="17" y="202"/>
                    <a:pt x="15" y="204"/>
                  </a:cubicBezTo>
                  <a:cubicBezTo>
                    <a:pt x="13" y="206"/>
                    <a:pt x="14" y="209"/>
                    <a:pt x="17" y="208"/>
                  </a:cubicBezTo>
                  <a:cubicBezTo>
                    <a:pt x="20" y="207"/>
                    <a:pt x="21" y="212"/>
                    <a:pt x="19" y="212"/>
                  </a:cubicBezTo>
                  <a:cubicBezTo>
                    <a:pt x="16" y="212"/>
                    <a:pt x="13" y="212"/>
                    <a:pt x="15" y="213"/>
                  </a:cubicBezTo>
                  <a:cubicBezTo>
                    <a:pt x="18" y="215"/>
                    <a:pt x="20" y="217"/>
                    <a:pt x="17" y="219"/>
                  </a:cubicBezTo>
                  <a:cubicBezTo>
                    <a:pt x="13" y="220"/>
                    <a:pt x="16" y="222"/>
                    <a:pt x="15" y="225"/>
                  </a:cubicBezTo>
                  <a:cubicBezTo>
                    <a:pt x="15" y="228"/>
                    <a:pt x="18" y="230"/>
                    <a:pt x="15" y="231"/>
                  </a:cubicBezTo>
                  <a:cubicBezTo>
                    <a:pt x="13" y="232"/>
                    <a:pt x="16" y="236"/>
                    <a:pt x="13" y="237"/>
                  </a:cubicBezTo>
                  <a:cubicBezTo>
                    <a:pt x="9" y="237"/>
                    <a:pt x="12" y="240"/>
                    <a:pt x="9" y="242"/>
                  </a:cubicBezTo>
                  <a:cubicBezTo>
                    <a:pt x="7" y="244"/>
                    <a:pt x="12" y="247"/>
                    <a:pt x="10" y="248"/>
                  </a:cubicBezTo>
                  <a:cubicBezTo>
                    <a:pt x="7" y="250"/>
                    <a:pt x="9" y="254"/>
                    <a:pt x="6" y="254"/>
                  </a:cubicBezTo>
                  <a:cubicBezTo>
                    <a:pt x="4" y="254"/>
                    <a:pt x="2" y="257"/>
                    <a:pt x="2" y="259"/>
                  </a:cubicBezTo>
                  <a:cubicBezTo>
                    <a:pt x="2" y="261"/>
                    <a:pt x="0" y="264"/>
                    <a:pt x="2" y="267"/>
                  </a:cubicBezTo>
                  <a:cubicBezTo>
                    <a:pt x="4" y="269"/>
                    <a:pt x="2" y="271"/>
                    <a:pt x="4" y="272"/>
                  </a:cubicBezTo>
                  <a:cubicBezTo>
                    <a:pt x="5" y="273"/>
                    <a:pt x="12" y="271"/>
                    <a:pt x="11" y="274"/>
                  </a:cubicBezTo>
                  <a:cubicBezTo>
                    <a:pt x="10" y="277"/>
                    <a:pt x="10" y="283"/>
                    <a:pt x="12" y="283"/>
                  </a:cubicBezTo>
                  <a:cubicBezTo>
                    <a:pt x="13" y="283"/>
                    <a:pt x="13" y="287"/>
                    <a:pt x="15" y="287"/>
                  </a:cubicBezTo>
                  <a:cubicBezTo>
                    <a:pt x="17" y="287"/>
                    <a:pt x="26" y="286"/>
                    <a:pt x="30" y="287"/>
                  </a:cubicBezTo>
                  <a:cubicBezTo>
                    <a:pt x="31" y="287"/>
                    <a:pt x="33" y="288"/>
                    <a:pt x="34" y="289"/>
                  </a:cubicBezTo>
                  <a:cubicBezTo>
                    <a:pt x="36" y="288"/>
                    <a:pt x="41" y="291"/>
                    <a:pt x="42" y="290"/>
                  </a:cubicBezTo>
                  <a:cubicBezTo>
                    <a:pt x="43" y="289"/>
                    <a:pt x="37" y="284"/>
                    <a:pt x="37" y="283"/>
                  </a:cubicBezTo>
                  <a:cubicBezTo>
                    <a:pt x="37" y="281"/>
                    <a:pt x="36" y="278"/>
                    <a:pt x="36" y="277"/>
                  </a:cubicBezTo>
                  <a:cubicBezTo>
                    <a:pt x="36" y="275"/>
                    <a:pt x="36" y="271"/>
                    <a:pt x="38" y="269"/>
                  </a:cubicBezTo>
                  <a:cubicBezTo>
                    <a:pt x="41" y="267"/>
                    <a:pt x="41" y="266"/>
                    <a:pt x="42" y="266"/>
                  </a:cubicBezTo>
                  <a:cubicBezTo>
                    <a:pt x="44" y="266"/>
                    <a:pt x="47" y="264"/>
                    <a:pt x="47" y="260"/>
                  </a:cubicBezTo>
                  <a:cubicBezTo>
                    <a:pt x="47" y="256"/>
                    <a:pt x="49" y="254"/>
                    <a:pt x="53" y="251"/>
                  </a:cubicBezTo>
                  <a:cubicBezTo>
                    <a:pt x="57" y="248"/>
                    <a:pt x="63" y="245"/>
                    <a:pt x="62" y="243"/>
                  </a:cubicBezTo>
                  <a:cubicBezTo>
                    <a:pt x="62" y="242"/>
                    <a:pt x="64" y="237"/>
                    <a:pt x="64" y="236"/>
                  </a:cubicBezTo>
                  <a:cubicBezTo>
                    <a:pt x="64" y="234"/>
                    <a:pt x="58" y="234"/>
                    <a:pt x="56" y="233"/>
                  </a:cubicBezTo>
                  <a:cubicBezTo>
                    <a:pt x="54" y="233"/>
                    <a:pt x="47" y="228"/>
                    <a:pt x="50" y="221"/>
                  </a:cubicBezTo>
                  <a:cubicBezTo>
                    <a:pt x="54" y="215"/>
                    <a:pt x="61" y="214"/>
                    <a:pt x="64" y="214"/>
                  </a:cubicBezTo>
                  <a:cubicBezTo>
                    <a:pt x="66" y="213"/>
                    <a:pt x="64" y="210"/>
                    <a:pt x="65" y="209"/>
                  </a:cubicBezTo>
                  <a:cubicBezTo>
                    <a:pt x="67" y="208"/>
                    <a:pt x="68" y="206"/>
                    <a:pt x="68" y="204"/>
                  </a:cubicBezTo>
                  <a:cubicBezTo>
                    <a:pt x="68" y="201"/>
                    <a:pt x="68" y="196"/>
                    <a:pt x="71" y="196"/>
                  </a:cubicBezTo>
                  <a:cubicBezTo>
                    <a:pt x="74" y="195"/>
                    <a:pt x="75" y="193"/>
                    <a:pt x="73" y="193"/>
                  </a:cubicBezTo>
                  <a:cubicBezTo>
                    <a:pt x="71" y="192"/>
                    <a:pt x="70" y="190"/>
                    <a:pt x="73" y="190"/>
                  </a:cubicBezTo>
                  <a:cubicBezTo>
                    <a:pt x="77" y="189"/>
                    <a:pt x="75" y="192"/>
                    <a:pt x="78" y="192"/>
                  </a:cubicBezTo>
                  <a:cubicBezTo>
                    <a:pt x="80" y="192"/>
                    <a:pt x="84" y="188"/>
                    <a:pt x="81" y="186"/>
                  </a:cubicBezTo>
                  <a:cubicBezTo>
                    <a:pt x="78" y="184"/>
                    <a:pt x="77" y="187"/>
                    <a:pt x="75" y="188"/>
                  </a:cubicBezTo>
                  <a:cubicBezTo>
                    <a:pt x="74" y="188"/>
                    <a:pt x="73" y="185"/>
                    <a:pt x="71" y="185"/>
                  </a:cubicBezTo>
                  <a:cubicBezTo>
                    <a:pt x="69" y="185"/>
                    <a:pt x="70" y="181"/>
                    <a:pt x="70" y="179"/>
                  </a:cubicBezTo>
                  <a:cubicBezTo>
                    <a:pt x="69" y="178"/>
                    <a:pt x="68" y="174"/>
                    <a:pt x="69" y="172"/>
                  </a:cubicBezTo>
                  <a:cubicBezTo>
                    <a:pt x="71" y="170"/>
                    <a:pt x="77" y="175"/>
                    <a:pt x="82" y="175"/>
                  </a:cubicBezTo>
                  <a:cubicBezTo>
                    <a:pt x="88" y="176"/>
                    <a:pt x="92" y="173"/>
                    <a:pt x="92" y="171"/>
                  </a:cubicBezTo>
                  <a:cubicBezTo>
                    <a:pt x="92" y="169"/>
                    <a:pt x="89" y="165"/>
                    <a:pt x="92" y="163"/>
                  </a:cubicBezTo>
                  <a:cubicBezTo>
                    <a:pt x="95" y="161"/>
                    <a:pt x="93" y="160"/>
                    <a:pt x="92" y="157"/>
                  </a:cubicBezTo>
                  <a:cubicBezTo>
                    <a:pt x="91" y="154"/>
                    <a:pt x="93" y="153"/>
                    <a:pt x="95" y="154"/>
                  </a:cubicBezTo>
                  <a:cubicBezTo>
                    <a:pt x="96" y="155"/>
                    <a:pt x="107" y="155"/>
                    <a:pt x="115" y="153"/>
                  </a:cubicBezTo>
                  <a:cubicBezTo>
                    <a:pt x="124" y="151"/>
                    <a:pt x="130" y="148"/>
                    <a:pt x="131" y="145"/>
                  </a:cubicBezTo>
                  <a:cubicBezTo>
                    <a:pt x="131" y="143"/>
                    <a:pt x="137" y="137"/>
                    <a:pt x="138" y="135"/>
                  </a:cubicBezTo>
                  <a:cubicBezTo>
                    <a:pt x="139" y="133"/>
                    <a:pt x="138" y="130"/>
                    <a:pt x="135" y="129"/>
                  </a:cubicBezTo>
                  <a:cubicBezTo>
                    <a:pt x="131" y="129"/>
                    <a:pt x="131" y="125"/>
                    <a:pt x="133" y="122"/>
                  </a:cubicBezTo>
                  <a:cubicBezTo>
                    <a:pt x="135" y="120"/>
                    <a:pt x="132" y="118"/>
                    <a:pt x="129" y="118"/>
                  </a:cubicBezTo>
                  <a:cubicBezTo>
                    <a:pt x="125" y="117"/>
                    <a:pt x="120" y="115"/>
                    <a:pt x="123" y="112"/>
                  </a:cubicBezTo>
                  <a:cubicBezTo>
                    <a:pt x="125" y="111"/>
                    <a:pt x="125" y="111"/>
                    <a:pt x="126" y="112"/>
                  </a:cubicBezTo>
                  <a:cubicBezTo>
                    <a:pt x="126" y="110"/>
                    <a:pt x="127" y="109"/>
                    <a:pt x="127" y="108"/>
                  </a:cubicBezTo>
                  <a:cubicBezTo>
                    <a:pt x="126" y="108"/>
                    <a:pt x="124" y="108"/>
                    <a:pt x="124" y="103"/>
                  </a:cubicBezTo>
                  <a:cubicBezTo>
                    <a:pt x="124" y="98"/>
                    <a:pt x="126" y="99"/>
                    <a:pt x="126" y="93"/>
                  </a:cubicBezTo>
                  <a:cubicBezTo>
                    <a:pt x="127" y="86"/>
                    <a:pt x="129" y="83"/>
                    <a:pt x="129" y="79"/>
                  </a:cubicBezTo>
                  <a:cubicBezTo>
                    <a:pt x="129" y="76"/>
                    <a:pt x="135" y="72"/>
                    <a:pt x="139" y="66"/>
                  </a:cubicBezTo>
                  <a:cubicBezTo>
                    <a:pt x="142" y="61"/>
                    <a:pt x="150" y="54"/>
                    <a:pt x="153" y="52"/>
                  </a:cubicBezTo>
                  <a:cubicBezTo>
                    <a:pt x="156" y="50"/>
                    <a:pt x="162" y="48"/>
                    <a:pt x="162" y="46"/>
                  </a:cubicBezTo>
                  <a:cubicBezTo>
                    <a:pt x="163" y="44"/>
                    <a:pt x="162" y="35"/>
                    <a:pt x="161" y="34"/>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69" name="Freeform 112">
              <a:extLst>
                <a:ext uri="{FF2B5EF4-FFF2-40B4-BE49-F238E27FC236}">
                  <a16:creationId xmlns:a16="http://schemas.microsoft.com/office/drawing/2014/main" xmlns="" id="{49EDE020-874B-4599-8307-F0341D3E1D20}"/>
                </a:ext>
              </a:extLst>
            </p:cNvPr>
            <p:cNvSpPr>
              <a:spLocks/>
            </p:cNvSpPr>
            <p:nvPr/>
          </p:nvSpPr>
          <p:spPr bwMode="auto">
            <a:xfrm>
              <a:off x="14730634" y="4359941"/>
              <a:ext cx="184150" cy="952500"/>
            </a:xfrm>
            <a:custGeom>
              <a:avLst/>
              <a:gdLst>
                <a:gd name="T0" fmla="*/ 28 w 71"/>
                <a:gd name="T1" fmla="*/ 310 h 364"/>
                <a:gd name="T2" fmla="*/ 19 w 71"/>
                <a:gd name="T3" fmla="*/ 295 h 364"/>
                <a:gd name="T4" fmla="*/ 26 w 71"/>
                <a:gd name="T5" fmla="*/ 278 h 364"/>
                <a:gd name="T6" fmla="*/ 32 w 71"/>
                <a:gd name="T7" fmla="*/ 261 h 364"/>
                <a:gd name="T8" fmla="*/ 36 w 71"/>
                <a:gd name="T9" fmla="*/ 248 h 364"/>
                <a:gd name="T10" fmla="*/ 31 w 71"/>
                <a:gd name="T11" fmla="*/ 235 h 364"/>
                <a:gd name="T12" fmla="*/ 32 w 71"/>
                <a:gd name="T13" fmla="*/ 213 h 364"/>
                <a:gd name="T14" fmla="*/ 34 w 71"/>
                <a:gd name="T15" fmla="*/ 197 h 364"/>
                <a:gd name="T16" fmla="*/ 37 w 71"/>
                <a:gd name="T17" fmla="*/ 183 h 364"/>
                <a:gd name="T18" fmla="*/ 43 w 71"/>
                <a:gd name="T19" fmla="*/ 155 h 364"/>
                <a:gd name="T20" fmla="*/ 46 w 71"/>
                <a:gd name="T21" fmla="*/ 135 h 364"/>
                <a:gd name="T22" fmla="*/ 47 w 71"/>
                <a:gd name="T23" fmla="*/ 112 h 364"/>
                <a:gd name="T24" fmla="*/ 52 w 71"/>
                <a:gd name="T25" fmla="*/ 92 h 364"/>
                <a:gd name="T26" fmla="*/ 59 w 71"/>
                <a:gd name="T27" fmla="*/ 76 h 364"/>
                <a:gd name="T28" fmla="*/ 68 w 71"/>
                <a:gd name="T29" fmla="*/ 55 h 364"/>
                <a:gd name="T30" fmla="*/ 63 w 71"/>
                <a:gd name="T31" fmla="*/ 38 h 364"/>
                <a:gd name="T32" fmla="*/ 59 w 71"/>
                <a:gd name="T33" fmla="*/ 18 h 364"/>
                <a:gd name="T34" fmla="*/ 50 w 71"/>
                <a:gd name="T35" fmla="*/ 2 h 364"/>
                <a:gd name="T36" fmla="*/ 45 w 71"/>
                <a:gd name="T37" fmla="*/ 17 h 364"/>
                <a:gd name="T38" fmla="*/ 44 w 71"/>
                <a:gd name="T39" fmla="*/ 54 h 364"/>
                <a:gd name="T40" fmla="*/ 37 w 71"/>
                <a:gd name="T41" fmla="*/ 91 h 364"/>
                <a:gd name="T42" fmla="*/ 33 w 71"/>
                <a:gd name="T43" fmla="*/ 117 h 364"/>
                <a:gd name="T44" fmla="*/ 29 w 71"/>
                <a:gd name="T45" fmla="*/ 150 h 364"/>
                <a:gd name="T46" fmla="*/ 18 w 71"/>
                <a:gd name="T47" fmla="*/ 179 h 364"/>
                <a:gd name="T48" fmla="*/ 17 w 71"/>
                <a:gd name="T49" fmla="*/ 204 h 364"/>
                <a:gd name="T50" fmla="*/ 11 w 71"/>
                <a:gd name="T51" fmla="*/ 228 h 364"/>
                <a:gd name="T52" fmla="*/ 22 w 71"/>
                <a:gd name="T53" fmla="*/ 215 h 364"/>
                <a:gd name="T54" fmla="*/ 24 w 71"/>
                <a:gd name="T55" fmla="*/ 229 h 364"/>
                <a:gd name="T56" fmla="*/ 21 w 71"/>
                <a:gd name="T57" fmla="*/ 244 h 364"/>
                <a:gd name="T58" fmla="*/ 17 w 71"/>
                <a:gd name="T59" fmla="*/ 255 h 364"/>
                <a:gd name="T60" fmla="*/ 16 w 71"/>
                <a:gd name="T61" fmla="*/ 253 h 364"/>
                <a:gd name="T62" fmla="*/ 10 w 71"/>
                <a:gd name="T63" fmla="*/ 255 h 364"/>
                <a:gd name="T64" fmla="*/ 1 w 71"/>
                <a:gd name="T65" fmla="*/ 267 h 364"/>
                <a:gd name="T66" fmla="*/ 11 w 71"/>
                <a:gd name="T67" fmla="*/ 268 h 364"/>
                <a:gd name="T68" fmla="*/ 17 w 71"/>
                <a:gd name="T69" fmla="*/ 278 h 364"/>
                <a:gd name="T70" fmla="*/ 7 w 71"/>
                <a:gd name="T71" fmla="*/ 280 h 364"/>
                <a:gd name="T72" fmla="*/ 8 w 71"/>
                <a:gd name="T73" fmla="*/ 286 h 364"/>
                <a:gd name="T74" fmla="*/ 3 w 71"/>
                <a:gd name="T75" fmla="*/ 294 h 364"/>
                <a:gd name="T76" fmla="*/ 10 w 71"/>
                <a:gd name="T77" fmla="*/ 297 h 364"/>
                <a:gd name="T78" fmla="*/ 11 w 71"/>
                <a:gd name="T79" fmla="*/ 305 h 364"/>
                <a:gd name="T80" fmla="*/ 6 w 71"/>
                <a:gd name="T81" fmla="*/ 315 h 364"/>
                <a:gd name="T82" fmla="*/ 16 w 71"/>
                <a:gd name="T83" fmla="*/ 317 h 364"/>
                <a:gd name="T84" fmla="*/ 20 w 71"/>
                <a:gd name="T85" fmla="*/ 320 h 364"/>
                <a:gd name="T86" fmla="*/ 15 w 71"/>
                <a:gd name="T87" fmla="*/ 330 h 364"/>
                <a:gd name="T88" fmla="*/ 28 w 71"/>
                <a:gd name="T89" fmla="*/ 330 h 364"/>
                <a:gd name="T90" fmla="*/ 19 w 71"/>
                <a:gd name="T91" fmla="*/ 337 h 364"/>
                <a:gd name="T92" fmla="*/ 30 w 71"/>
                <a:gd name="T93" fmla="*/ 335 h 364"/>
                <a:gd name="T94" fmla="*/ 18 w 71"/>
                <a:gd name="T95" fmla="*/ 344 h 364"/>
                <a:gd name="T96" fmla="*/ 28 w 71"/>
                <a:gd name="T97" fmla="*/ 345 h 364"/>
                <a:gd name="T98" fmla="*/ 45 w 71"/>
                <a:gd name="T99" fmla="*/ 329 h 364"/>
                <a:gd name="T100" fmla="*/ 50 w 71"/>
                <a:gd name="T101" fmla="*/ 338 h 364"/>
                <a:gd name="T102" fmla="*/ 43 w 71"/>
                <a:gd name="T103" fmla="*/ 341 h 364"/>
                <a:gd name="T104" fmla="*/ 35 w 71"/>
                <a:gd name="T105" fmla="*/ 347 h 364"/>
                <a:gd name="T106" fmla="*/ 41 w 71"/>
                <a:gd name="T107" fmla="*/ 359 h 364"/>
                <a:gd name="T108" fmla="*/ 52 w 71"/>
                <a:gd name="T109" fmla="*/ 357 h 364"/>
                <a:gd name="T110" fmla="*/ 64 w 71"/>
                <a:gd name="T111" fmla="*/ 358 h 364"/>
                <a:gd name="T112" fmla="*/ 57 w 71"/>
                <a:gd name="T113" fmla="*/ 356 h 364"/>
                <a:gd name="T114" fmla="*/ 50 w 71"/>
                <a:gd name="T115" fmla="*/ 326 h 364"/>
                <a:gd name="T116" fmla="*/ 32 w 71"/>
                <a:gd name="T117" fmla="*/ 323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1" h="364">
                  <a:moveTo>
                    <a:pt x="32" y="323"/>
                  </a:moveTo>
                  <a:cubicBezTo>
                    <a:pt x="30" y="323"/>
                    <a:pt x="30" y="319"/>
                    <a:pt x="29" y="319"/>
                  </a:cubicBezTo>
                  <a:cubicBezTo>
                    <a:pt x="27" y="319"/>
                    <a:pt x="27" y="313"/>
                    <a:pt x="28" y="310"/>
                  </a:cubicBezTo>
                  <a:cubicBezTo>
                    <a:pt x="29" y="307"/>
                    <a:pt x="22" y="309"/>
                    <a:pt x="21" y="308"/>
                  </a:cubicBezTo>
                  <a:cubicBezTo>
                    <a:pt x="19" y="307"/>
                    <a:pt x="21" y="305"/>
                    <a:pt x="19" y="303"/>
                  </a:cubicBezTo>
                  <a:cubicBezTo>
                    <a:pt x="17" y="300"/>
                    <a:pt x="19" y="297"/>
                    <a:pt x="19" y="295"/>
                  </a:cubicBezTo>
                  <a:cubicBezTo>
                    <a:pt x="19" y="293"/>
                    <a:pt x="21" y="290"/>
                    <a:pt x="23" y="290"/>
                  </a:cubicBezTo>
                  <a:cubicBezTo>
                    <a:pt x="26" y="290"/>
                    <a:pt x="24" y="286"/>
                    <a:pt x="27" y="284"/>
                  </a:cubicBezTo>
                  <a:cubicBezTo>
                    <a:pt x="29" y="283"/>
                    <a:pt x="24" y="280"/>
                    <a:pt x="26" y="278"/>
                  </a:cubicBezTo>
                  <a:cubicBezTo>
                    <a:pt x="29" y="276"/>
                    <a:pt x="26" y="273"/>
                    <a:pt x="30" y="273"/>
                  </a:cubicBezTo>
                  <a:cubicBezTo>
                    <a:pt x="33" y="272"/>
                    <a:pt x="30" y="268"/>
                    <a:pt x="32" y="267"/>
                  </a:cubicBezTo>
                  <a:cubicBezTo>
                    <a:pt x="35" y="266"/>
                    <a:pt x="32" y="264"/>
                    <a:pt x="32" y="261"/>
                  </a:cubicBezTo>
                  <a:cubicBezTo>
                    <a:pt x="33" y="258"/>
                    <a:pt x="30" y="256"/>
                    <a:pt x="34" y="255"/>
                  </a:cubicBezTo>
                  <a:cubicBezTo>
                    <a:pt x="37" y="253"/>
                    <a:pt x="35" y="251"/>
                    <a:pt x="32" y="249"/>
                  </a:cubicBezTo>
                  <a:cubicBezTo>
                    <a:pt x="30" y="248"/>
                    <a:pt x="33" y="248"/>
                    <a:pt x="36" y="248"/>
                  </a:cubicBezTo>
                  <a:cubicBezTo>
                    <a:pt x="38" y="248"/>
                    <a:pt x="37" y="243"/>
                    <a:pt x="34" y="244"/>
                  </a:cubicBezTo>
                  <a:cubicBezTo>
                    <a:pt x="31" y="245"/>
                    <a:pt x="30" y="242"/>
                    <a:pt x="32" y="240"/>
                  </a:cubicBezTo>
                  <a:cubicBezTo>
                    <a:pt x="34" y="238"/>
                    <a:pt x="30" y="236"/>
                    <a:pt x="31" y="235"/>
                  </a:cubicBezTo>
                  <a:cubicBezTo>
                    <a:pt x="31" y="233"/>
                    <a:pt x="31" y="231"/>
                    <a:pt x="30" y="230"/>
                  </a:cubicBezTo>
                  <a:cubicBezTo>
                    <a:pt x="29" y="229"/>
                    <a:pt x="29" y="222"/>
                    <a:pt x="31" y="222"/>
                  </a:cubicBezTo>
                  <a:cubicBezTo>
                    <a:pt x="33" y="222"/>
                    <a:pt x="32" y="215"/>
                    <a:pt x="32" y="213"/>
                  </a:cubicBezTo>
                  <a:cubicBezTo>
                    <a:pt x="32" y="211"/>
                    <a:pt x="30" y="209"/>
                    <a:pt x="30" y="208"/>
                  </a:cubicBezTo>
                  <a:cubicBezTo>
                    <a:pt x="30" y="206"/>
                    <a:pt x="32" y="206"/>
                    <a:pt x="32" y="202"/>
                  </a:cubicBezTo>
                  <a:cubicBezTo>
                    <a:pt x="32" y="199"/>
                    <a:pt x="33" y="197"/>
                    <a:pt x="34" y="197"/>
                  </a:cubicBezTo>
                  <a:cubicBezTo>
                    <a:pt x="36" y="197"/>
                    <a:pt x="35" y="193"/>
                    <a:pt x="35" y="191"/>
                  </a:cubicBezTo>
                  <a:cubicBezTo>
                    <a:pt x="35" y="189"/>
                    <a:pt x="39" y="191"/>
                    <a:pt x="39" y="188"/>
                  </a:cubicBezTo>
                  <a:cubicBezTo>
                    <a:pt x="40" y="185"/>
                    <a:pt x="37" y="185"/>
                    <a:pt x="37" y="183"/>
                  </a:cubicBezTo>
                  <a:cubicBezTo>
                    <a:pt x="38" y="181"/>
                    <a:pt x="37" y="178"/>
                    <a:pt x="37" y="173"/>
                  </a:cubicBezTo>
                  <a:cubicBezTo>
                    <a:pt x="37" y="167"/>
                    <a:pt x="42" y="166"/>
                    <a:pt x="43" y="165"/>
                  </a:cubicBezTo>
                  <a:cubicBezTo>
                    <a:pt x="45" y="163"/>
                    <a:pt x="41" y="156"/>
                    <a:pt x="43" y="155"/>
                  </a:cubicBezTo>
                  <a:cubicBezTo>
                    <a:pt x="45" y="154"/>
                    <a:pt x="44" y="150"/>
                    <a:pt x="46" y="149"/>
                  </a:cubicBezTo>
                  <a:cubicBezTo>
                    <a:pt x="47" y="148"/>
                    <a:pt x="47" y="145"/>
                    <a:pt x="48" y="142"/>
                  </a:cubicBezTo>
                  <a:cubicBezTo>
                    <a:pt x="49" y="139"/>
                    <a:pt x="46" y="138"/>
                    <a:pt x="46" y="135"/>
                  </a:cubicBezTo>
                  <a:cubicBezTo>
                    <a:pt x="46" y="132"/>
                    <a:pt x="45" y="130"/>
                    <a:pt x="43" y="127"/>
                  </a:cubicBezTo>
                  <a:cubicBezTo>
                    <a:pt x="41" y="124"/>
                    <a:pt x="42" y="118"/>
                    <a:pt x="43" y="118"/>
                  </a:cubicBezTo>
                  <a:cubicBezTo>
                    <a:pt x="45" y="118"/>
                    <a:pt x="44" y="113"/>
                    <a:pt x="47" y="112"/>
                  </a:cubicBezTo>
                  <a:cubicBezTo>
                    <a:pt x="49" y="111"/>
                    <a:pt x="48" y="107"/>
                    <a:pt x="47" y="104"/>
                  </a:cubicBezTo>
                  <a:cubicBezTo>
                    <a:pt x="45" y="100"/>
                    <a:pt x="49" y="102"/>
                    <a:pt x="49" y="100"/>
                  </a:cubicBezTo>
                  <a:cubicBezTo>
                    <a:pt x="49" y="97"/>
                    <a:pt x="50" y="93"/>
                    <a:pt x="52" y="92"/>
                  </a:cubicBezTo>
                  <a:cubicBezTo>
                    <a:pt x="55" y="91"/>
                    <a:pt x="55" y="87"/>
                    <a:pt x="55" y="86"/>
                  </a:cubicBezTo>
                  <a:cubicBezTo>
                    <a:pt x="55" y="84"/>
                    <a:pt x="58" y="83"/>
                    <a:pt x="60" y="82"/>
                  </a:cubicBezTo>
                  <a:cubicBezTo>
                    <a:pt x="61" y="80"/>
                    <a:pt x="57" y="78"/>
                    <a:pt x="59" y="76"/>
                  </a:cubicBezTo>
                  <a:cubicBezTo>
                    <a:pt x="62" y="75"/>
                    <a:pt x="57" y="69"/>
                    <a:pt x="59" y="68"/>
                  </a:cubicBezTo>
                  <a:cubicBezTo>
                    <a:pt x="60" y="66"/>
                    <a:pt x="59" y="64"/>
                    <a:pt x="59" y="62"/>
                  </a:cubicBezTo>
                  <a:cubicBezTo>
                    <a:pt x="59" y="60"/>
                    <a:pt x="67" y="56"/>
                    <a:pt x="68" y="55"/>
                  </a:cubicBezTo>
                  <a:cubicBezTo>
                    <a:pt x="69" y="53"/>
                    <a:pt x="70" y="49"/>
                    <a:pt x="70" y="45"/>
                  </a:cubicBezTo>
                  <a:cubicBezTo>
                    <a:pt x="68" y="47"/>
                    <a:pt x="65" y="48"/>
                    <a:pt x="65" y="47"/>
                  </a:cubicBezTo>
                  <a:cubicBezTo>
                    <a:pt x="64" y="45"/>
                    <a:pt x="65" y="40"/>
                    <a:pt x="63" y="38"/>
                  </a:cubicBezTo>
                  <a:cubicBezTo>
                    <a:pt x="61" y="36"/>
                    <a:pt x="62" y="32"/>
                    <a:pt x="60" y="31"/>
                  </a:cubicBezTo>
                  <a:cubicBezTo>
                    <a:pt x="58" y="30"/>
                    <a:pt x="55" y="25"/>
                    <a:pt x="57" y="24"/>
                  </a:cubicBezTo>
                  <a:cubicBezTo>
                    <a:pt x="59" y="23"/>
                    <a:pt x="57" y="20"/>
                    <a:pt x="59" y="18"/>
                  </a:cubicBezTo>
                  <a:cubicBezTo>
                    <a:pt x="61" y="17"/>
                    <a:pt x="58" y="17"/>
                    <a:pt x="56" y="14"/>
                  </a:cubicBezTo>
                  <a:cubicBezTo>
                    <a:pt x="53" y="11"/>
                    <a:pt x="57" y="7"/>
                    <a:pt x="54" y="5"/>
                  </a:cubicBezTo>
                  <a:cubicBezTo>
                    <a:pt x="51" y="3"/>
                    <a:pt x="51" y="0"/>
                    <a:pt x="50" y="2"/>
                  </a:cubicBezTo>
                  <a:cubicBezTo>
                    <a:pt x="49" y="3"/>
                    <a:pt x="49" y="7"/>
                    <a:pt x="47" y="8"/>
                  </a:cubicBezTo>
                  <a:cubicBezTo>
                    <a:pt x="46" y="8"/>
                    <a:pt x="46" y="9"/>
                    <a:pt x="45" y="9"/>
                  </a:cubicBezTo>
                  <a:cubicBezTo>
                    <a:pt x="45" y="11"/>
                    <a:pt x="44" y="15"/>
                    <a:pt x="45" y="17"/>
                  </a:cubicBezTo>
                  <a:cubicBezTo>
                    <a:pt x="46" y="19"/>
                    <a:pt x="47" y="32"/>
                    <a:pt x="46" y="37"/>
                  </a:cubicBezTo>
                  <a:cubicBezTo>
                    <a:pt x="45" y="42"/>
                    <a:pt x="44" y="46"/>
                    <a:pt x="43" y="49"/>
                  </a:cubicBezTo>
                  <a:cubicBezTo>
                    <a:pt x="41" y="52"/>
                    <a:pt x="45" y="53"/>
                    <a:pt x="44" y="54"/>
                  </a:cubicBezTo>
                  <a:cubicBezTo>
                    <a:pt x="42" y="55"/>
                    <a:pt x="43" y="59"/>
                    <a:pt x="43" y="65"/>
                  </a:cubicBezTo>
                  <a:cubicBezTo>
                    <a:pt x="43" y="70"/>
                    <a:pt x="39" y="80"/>
                    <a:pt x="39" y="83"/>
                  </a:cubicBezTo>
                  <a:cubicBezTo>
                    <a:pt x="39" y="86"/>
                    <a:pt x="37" y="88"/>
                    <a:pt x="37" y="91"/>
                  </a:cubicBezTo>
                  <a:cubicBezTo>
                    <a:pt x="37" y="95"/>
                    <a:pt x="35" y="97"/>
                    <a:pt x="33" y="98"/>
                  </a:cubicBezTo>
                  <a:cubicBezTo>
                    <a:pt x="31" y="100"/>
                    <a:pt x="37" y="105"/>
                    <a:pt x="36" y="108"/>
                  </a:cubicBezTo>
                  <a:cubicBezTo>
                    <a:pt x="36" y="111"/>
                    <a:pt x="33" y="112"/>
                    <a:pt x="33" y="117"/>
                  </a:cubicBezTo>
                  <a:cubicBezTo>
                    <a:pt x="35" y="123"/>
                    <a:pt x="33" y="132"/>
                    <a:pt x="33" y="134"/>
                  </a:cubicBezTo>
                  <a:cubicBezTo>
                    <a:pt x="33" y="136"/>
                    <a:pt x="31" y="136"/>
                    <a:pt x="32" y="140"/>
                  </a:cubicBezTo>
                  <a:cubicBezTo>
                    <a:pt x="32" y="144"/>
                    <a:pt x="29" y="145"/>
                    <a:pt x="29" y="150"/>
                  </a:cubicBezTo>
                  <a:cubicBezTo>
                    <a:pt x="28" y="155"/>
                    <a:pt x="24" y="163"/>
                    <a:pt x="23" y="167"/>
                  </a:cubicBezTo>
                  <a:cubicBezTo>
                    <a:pt x="21" y="171"/>
                    <a:pt x="21" y="173"/>
                    <a:pt x="19" y="173"/>
                  </a:cubicBezTo>
                  <a:cubicBezTo>
                    <a:pt x="17" y="173"/>
                    <a:pt x="16" y="176"/>
                    <a:pt x="18" y="179"/>
                  </a:cubicBezTo>
                  <a:cubicBezTo>
                    <a:pt x="19" y="183"/>
                    <a:pt x="17" y="186"/>
                    <a:pt x="19" y="190"/>
                  </a:cubicBezTo>
                  <a:cubicBezTo>
                    <a:pt x="21" y="193"/>
                    <a:pt x="20" y="194"/>
                    <a:pt x="19" y="198"/>
                  </a:cubicBezTo>
                  <a:cubicBezTo>
                    <a:pt x="18" y="201"/>
                    <a:pt x="17" y="201"/>
                    <a:pt x="17" y="204"/>
                  </a:cubicBezTo>
                  <a:cubicBezTo>
                    <a:pt x="17" y="208"/>
                    <a:pt x="14" y="210"/>
                    <a:pt x="16" y="214"/>
                  </a:cubicBezTo>
                  <a:cubicBezTo>
                    <a:pt x="17" y="218"/>
                    <a:pt x="17" y="219"/>
                    <a:pt x="15" y="219"/>
                  </a:cubicBezTo>
                  <a:cubicBezTo>
                    <a:pt x="13" y="219"/>
                    <a:pt x="12" y="222"/>
                    <a:pt x="11" y="228"/>
                  </a:cubicBezTo>
                  <a:cubicBezTo>
                    <a:pt x="11" y="233"/>
                    <a:pt x="11" y="233"/>
                    <a:pt x="15" y="233"/>
                  </a:cubicBezTo>
                  <a:cubicBezTo>
                    <a:pt x="20" y="233"/>
                    <a:pt x="16" y="218"/>
                    <a:pt x="19" y="218"/>
                  </a:cubicBezTo>
                  <a:cubicBezTo>
                    <a:pt x="21" y="218"/>
                    <a:pt x="19" y="216"/>
                    <a:pt x="22" y="215"/>
                  </a:cubicBezTo>
                  <a:cubicBezTo>
                    <a:pt x="25" y="215"/>
                    <a:pt x="22" y="218"/>
                    <a:pt x="24" y="218"/>
                  </a:cubicBezTo>
                  <a:cubicBezTo>
                    <a:pt x="26" y="219"/>
                    <a:pt x="27" y="220"/>
                    <a:pt x="25" y="222"/>
                  </a:cubicBezTo>
                  <a:cubicBezTo>
                    <a:pt x="22" y="224"/>
                    <a:pt x="25" y="227"/>
                    <a:pt x="24" y="229"/>
                  </a:cubicBezTo>
                  <a:cubicBezTo>
                    <a:pt x="23" y="231"/>
                    <a:pt x="21" y="233"/>
                    <a:pt x="22" y="235"/>
                  </a:cubicBezTo>
                  <a:cubicBezTo>
                    <a:pt x="23" y="237"/>
                    <a:pt x="21" y="237"/>
                    <a:pt x="20" y="240"/>
                  </a:cubicBezTo>
                  <a:cubicBezTo>
                    <a:pt x="20" y="243"/>
                    <a:pt x="22" y="244"/>
                    <a:pt x="21" y="244"/>
                  </a:cubicBezTo>
                  <a:cubicBezTo>
                    <a:pt x="20" y="245"/>
                    <a:pt x="22" y="247"/>
                    <a:pt x="21" y="248"/>
                  </a:cubicBezTo>
                  <a:cubicBezTo>
                    <a:pt x="19" y="248"/>
                    <a:pt x="20" y="250"/>
                    <a:pt x="21" y="252"/>
                  </a:cubicBezTo>
                  <a:cubicBezTo>
                    <a:pt x="22" y="255"/>
                    <a:pt x="19" y="253"/>
                    <a:pt x="17" y="255"/>
                  </a:cubicBezTo>
                  <a:cubicBezTo>
                    <a:pt x="15" y="256"/>
                    <a:pt x="19" y="258"/>
                    <a:pt x="18" y="260"/>
                  </a:cubicBezTo>
                  <a:cubicBezTo>
                    <a:pt x="16" y="262"/>
                    <a:pt x="14" y="259"/>
                    <a:pt x="12" y="258"/>
                  </a:cubicBezTo>
                  <a:cubicBezTo>
                    <a:pt x="11" y="257"/>
                    <a:pt x="14" y="255"/>
                    <a:pt x="16" y="253"/>
                  </a:cubicBezTo>
                  <a:cubicBezTo>
                    <a:pt x="18" y="251"/>
                    <a:pt x="14" y="246"/>
                    <a:pt x="12" y="247"/>
                  </a:cubicBezTo>
                  <a:cubicBezTo>
                    <a:pt x="9" y="248"/>
                    <a:pt x="14" y="251"/>
                    <a:pt x="14" y="253"/>
                  </a:cubicBezTo>
                  <a:cubicBezTo>
                    <a:pt x="14" y="256"/>
                    <a:pt x="10" y="253"/>
                    <a:pt x="10" y="255"/>
                  </a:cubicBezTo>
                  <a:cubicBezTo>
                    <a:pt x="10" y="258"/>
                    <a:pt x="7" y="257"/>
                    <a:pt x="5" y="259"/>
                  </a:cubicBezTo>
                  <a:cubicBezTo>
                    <a:pt x="4" y="260"/>
                    <a:pt x="8" y="262"/>
                    <a:pt x="6" y="262"/>
                  </a:cubicBezTo>
                  <a:cubicBezTo>
                    <a:pt x="4" y="263"/>
                    <a:pt x="1" y="265"/>
                    <a:pt x="1" y="267"/>
                  </a:cubicBezTo>
                  <a:cubicBezTo>
                    <a:pt x="1" y="269"/>
                    <a:pt x="3" y="269"/>
                    <a:pt x="3" y="268"/>
                  </a:cubicBezTo>
                  <a:cubicBezTo>
                    <a:pt x="3" y="266"/>
                    <a:pt x="6" y="265"/>
                    <a:pt x="7" y="268"/>
                  </a:cubicBezTo>
                  <a:cubicBezTo>
                    <a:pt x="7" y="270"/>
                    <a:pt x="9" y="268"/>
                    <a:pt x="11" y="268"/>
                  </a:cubicBezTo>
                  <a:cubicBezTo>
                    <a:pt x="14" y="269"/>
                    <a:pt x="13" y="272"/>
                    <a:pt x="12" y="272"/>
                  </a:cubicBezTo>
                  <a:cubicBezTo>
                    <a:pt x="10" y="272"/>
                    <a:pt x="9" y="275"/>
                    <a:pt x="9" y="277"/>
                  </a:cubicBezTo>
                  <a:cubicBezTo>
                    <a:pt x="10" y="280"/>
                    <a:pt x="15" y="277"/>
                    <a:pt x="17" y="278"/>
                  </a:cubicBezTo>
                  <a:cubicBezTo>
                    <a:pt x="19" y="279"/>
                    <a:pt x="18" y="282"/>
                    <a:pt x="17" y="281"/>
                  </a:cubicBezTo>
                  <a:cubicBezTo>
                    <a:pt x="16" y="280"/>
                    <a:pt x="13" y="278"/>
                    <a:pt x="12" y="280"/>
                  </a:cubicBezTo>
                  <a:cubicBezTo>
                    <a:pt x="10" y="282"/>
                    <a:pt x="8" y="281"/>
                    <a:pt x="7" y="280"/>
                  </a:cubicBezTo>
                  <a:cubicBezTo>
                    <a:pt x="5" y="280"/>
                    <a:pt x="0" y="283"/>
                    <a:pt x="2" y="285"/>
                  </a:cubicBezTo>
                  <a:cubicBezTo>
                    <a:pt x="3" y="286"/>
                    <a:pt x="3" y="288"/>
                    <a:pt x="5" y="288"/>
                  </a:cubicBezTo>
                  <a:cubicBezTo>
                    <a:pt x="6" y="288"/>
                    <a:pt x="8" y="287"/>
                    <a:pt x="8" y="286"/>
                  </a:cubicBezTo>
                  <a:cubicBezTo>
                    <a:pt x="9" y="284"/>
                    <a:pt x="12" y="283"/>
                    <a:pt x="12" y="286"/>
                  </a:cubicBezTo>
                  <a:cubicBezTo>
                    <a:pt x="12" y="289"/>
                    <a:pt x="8" y="288"/>
                    <a:pt x="8" y="290"/>
                  </a:cubicBezTo>
                  <a:cubicBezTo>
                    <a:pt x="7" y="291"/>
                    <a:pt x="6" y="293"/>
                    <a:pt x="3" y="294"/>
                  </a:cubicBezTo>
                  <a:cubicBezTo>
                    <a:pt x="1" y="296"/>
                    <a:pt x="3" y="299"/>
                    <a:pt x="5" y="298"/>
                  </a:cubicBezTo>
                  <a:cubicBezTo>
                    <a:pt x="7" y="297"/>
                    <a:pt x="5" y="300"/>
                    <a:pt x="7" y="300"/>
                  </a:cubicBezTo>
                  <a:cubicBezTo>
                    <a:pt x="10" y="301"/>
                    <a:pt x="10" y="299"/>
                    <a:pt x="10" y="297"/>
                  </a:cubicBezTo>
                  <a:cubicBezTo>
                    <a:pt x="9" y="295"/>
                    <a:pt x="11" y="291"/>
                    <a:pt x="13" y="293"/>
                  </a:cubicBezTo>
                  <a:cubicBezTo>
                    <a:pt x="15" y="295"/>
                    <a:pt x="12" y="297"/>
                    <a:pt x="12" y="299"/>
                  </a:cubicBezTo>
                  <a:cubicBezTo>
                    <a:pt x="12" y="301"/>
                    <a:pt x="11" y="303"/>
                    <a:pt x="11" y="305"/>
                  </a:cubicBezTo>
                  <a:cubicBezTo>
                    <a:pt x="11" y="307"/>
                    <a:pt x="8" y="306"/>
                    <a:pt x="9" y="308"/>
                  </a:cubicBezTo>
                  <a:cubicBezTo>
                    <a:pt x="9" y="310"/>
                    <a:pt x="4" y="309"/>
                    <a:pt x="6" y="310"/>
                  </a:cubicBezTo>
                  <a:cubicBezTo>
                    <a:pt x="8" y="312"/>
                    <a:pt x="5" y="314"/>
                    <a:pt x="6" y="315"/>
                  </a:cubicBezTo>
                  <a:cubicBezTo>
                    <a:pt x="7" y="316"/>
                    <a:pt x="8" y="313"/>
                    <a:pt x="10" y="314"/>
                  </a:cubicBezTo>
                  <a:cubicBezTo>
                    <a:pt x="12" y="315"/>
                    <a:pt x="12" y="315"/>
                    <a:pt x="14" y="314"/>
                  </a:cubicBezTo>
                  <a:cubicBezTo>
                    <a:pt x="17" y="313"/>
                    <a:pt x="18" y="316"/>
                    <a:pt x="16" y="317"/>
                  </a:cubicBezTo>
                  <a:cubicBezTo>
                    <a:pt x="13" y="317"/>
                    <a:pt x="11" y="320"/>
                    <a:pt x="12" y="320"/>
                  </a:cubicBezTo>
                  <a:cubicBezTo>
                    <a:pt x="13" y="321"/>
                    <a:pt x="16" y="319"/>
                    <a:pt x="17" y="321"/>
                  </a:cubicBezTo>
                  <a:cubicBezTo>
                    <a:pt x="18" y="323"/>
                    <a:pt x="19" y="323"/>
                    <a:pt x="20" y="320"/>
                  </a:cubicBezTo>
                  <a:cubicBezTo>
                    <a:pt x="20" y="318"/>
                    <a:pt x="24" y="320"/>
                    <a:pt x="25" y="322"/>
                  </a:cubicBezTo>
                  <a:cubicBezTo>
                    <a:pt x="25" y="324"/>
                    <a:pt x="20" y="325"/>
                    <a:pt x="18" y="325"/>
                  </a:cubicBezTo>
                  <a:cubicBezTo>
                    <a:pt x="15" y="324"/>
                    <a:pt x="13" y="327"/>
                    <a:pt x="15" y="330"/>
                  </a:cubicBezTo>
                  <a:cubicBezTo>
                    <a:pt x="17" y="332"/>
                    <a:pt x="19" y="330"/>
                    <a:pt x="21" y="328"/>
                  </a:cubicBezTo>
                  <a:cubicBezTo>
                    <a:pt x="23" y="326"/>
                    <a:pt x="33" y="326"/>
                    <a:pt x="33" y="328"/>
                  </a:cubicBezTo>
                  <a:cubicBezTo>
                    <a:pt x="34" y="330"/>
                    <a:pt x="29" y="329"/>
                    <a:pt x="28" y="330"/>
                  </a:cubicBezTo>
                  <a:cubicBezTo>
                    <a:pt x="28" y="331"/>
                    <a:pt x="24" y="332"/>
                    <a:pt x="23" y="331"/>
                  </a:cubicBezTo>
                  <a:cubicBezTo>
                    <a:pt x="23" y="329"/>
                    <a:pt x="19" y="331"/>
                    <a:pt x="19" y="334"/>
                  </a:cubicBezTo>
                  <a:cubicBezTo>
                    <a:pt x="19" y="336"/>
                    <a:pt x="16" y="336"/>
                    <a:pt x="19" y="337"/>
                  </a:cubicBezTo>
                  <a:cubicBezTo>
                    <a:pt x="22" y="338"/>
                    <a:pt x="21" y="333"/>
                    <a:pt x="26" y="334"/>
                  </a:cubicBezTo>
                  <a:cubicBezTo>
                    <a:pt x="31" y="334"/>
                    <a:pt x="34" y="329"/>
                    <a:pt x="36" y="332"/>
                  </a:cubicBezTo>
                  <a:cubicBezTo>
                    <a:pt x="37" y="335"/>
                    <a:pt x="31" y="337"/>
                    <a:pt x="30" y="335"/>
                  </a:cubicBezTo>
                  <a:cubicBezTo>
                    <a:pt x="28" y="334"/>
                    <a:pt x="25" y="337"/>
                    <a:pt x="25" y="339"/>
                  </a:cubicBezTo>
                  <a:cubicBezTo>
                    <a:pt x="26" y="342"/>
                    <a:pt x="20" y="339"/>
                    <a:pt x="17" y="338"/>
                  </a:cubicBezTo>
                  <a:cubicBezTo>
                    <a:pt x="14" y="338"/>
                    <a:pt x="15" y="341"/>
                    <a:pt x="18" y="344"/>
                  </a:cubicBezTo>
                  <a:cubicBezTo>
                    <a:pt x="20" y="346"/>
                    <a:pt x="22" y="343"/>
                    <a:pt x="25" y="345"/>
                  </a:cubicBezTo>
                  <a:cubicBezTo>
                    <a:pt x="28" y="347"/>
                    <a:pt x="28" y="349"/>
                    <a:pt x="30" y="347"/>
                  </a:cubicBezTo>
                  <a:cubicBezTo>
                    <a:pt x="32" y="345"/>
                    <a:pt x="30" y="346"/>
                    <a:pt x="28" y="345"/>
                  </a:cubicBezTo>
                  <a:cubicBezTo>
                    <a:pt x="27" y="344"/>
                    <a:pt x="28" y="341"/>
                    <a:pt x="32" y="342"/>
                  </a:cubicBezTo>
                  <a:cubicBezTo>
                    <a:pt x="35" y="344"/>
                    <a:pt x="39" y="341"/>
                    <a:pt x="38" y="337"/>
                  </a:cubicBezTo>
                  <a:cubicBezTo>
                    <a:pt x="37" y="332"/>
                    <a:pt x="41" y="330"/>
                    <a:pt x="45" y="329"/>
                  </a:cubicBezTo>
                  <a:cubicBezTo>
                    <a:pt x="49" y="328"/>
                    <a:pt x="47" y="332"/>
                    <a:pt x="44" y="333"/>
                  </a:cubicBezTo>
                  <a:cubicBezTo>
                    <a:pt x="41" y="334"/>
                    <a:pt x="40" y="335"/>
                    <a:pt x="43" y="338"/>
                  </a:cubicBezTo>
                  <a:cubicBezTo>
                    <a:pt x="45" y="340"/>
                    <a:pt x="48" y="336"/>
                    <a:pt x="50" y="338"/>
                  </a:cubicBezTo>
                  <a:cubicBezTo>
                    <a:pt x="52" y="340"/>
                    <a:pt x="46" y="340"/>
                    <a:pt x="46" y="341"/>
                  </a:cubicBezTo>
                  <a:cubicBezTo>
                    <a:pt x="45" y="343"/>
                    <a:pt x="49" y="346"/>
                    <a:pt x="46" y="347"/>
                  </a:cubicBezTo>
                  <a:cubicBezTo>
                    <a:pt x="43" y="349"/>
                    <a:pt x="44" y="341"/>
                    <a:pt x="43" y="341"/>
                  </a:cubicBezTo>
                  <a:cubicBezTo>
                    <a:pt x="41" y="340"/>
                    <a:pt x="39" y="341"/>
                    <a:pt x="41" y="346"/>
                  </a:cubicBezTo>
                  <a:cubicBezTo>
                    <a:pt x="43" y="350"/>
                    <a:pt x="39" y="346"/>
                    <a:pt x="37" y="344"/>
                  </a:cubicBezTo>
                  <a:cubicBezTo>
                    <a:pt x="35" y="342"/>
                    <a:pt x="33" y="345"/>
                    <a:pt x="35" y="347"/>
                  </a:cubicBezTo>
                  <a:cubicBezTo>
                    <a:pt x="37" y="349"/>
                    <a:pt x="31" y="347"/>
                    <a:pt x="31" y="350"/>
                  </a:cubicBezTo>
                  <a:cubicBezTo>
                    <a:pt x="31" y="354"/>
                    <a:pt x="33" y="351"/>
                    <a:pt x="37" y="352"/>
                  </a:cubicBezTo>
                  <a:cubicBezTo>
                    <a:pt x="40" y="352"/>
                    <a:pt x="38" y="357"/>
                    <a:pt x="41" y="359"/>
                  </a:cubicBezTo>
                  <a:cubicBezTo>
                    <a:pt x="43" y="361"/>
                    <a:pt x="41" y="353"/>
                    <a:pt x="44" y="353"/>
                  </a:cubicBezTo>
                  <a:cubicBezTo>
                    <a:pt x="46" y="352"/>
                    <a:pt x="44" y="358"/>
                    <a:pt x="49" y="360"/>
                  </a:cubicBezTo>
                  <a:cubicBezTo>
                    <a:pt x="55" y="362"/>
                    <a:pt x="50" y="359"/>
                    <a:pt x="52" y="357"/>
                  </a:cubicBezTo>
                  <a:cubicBezTo>
                    <a:pt x="55" y="355"/>
                    <a:pt x="58" y="363"/>
                    <a:pt x="61" y="363"/>
                  </a:cubicBezTo>
                  <a:cubicBezTo>
                    <a:pt x="63" y="364"/>
                    <a:pt x="61" y="360"/>
                    <a:pt x="59" y="358"/>
                  </a:cubicBezTo>
                  <a:cubicBezTo>
                    <a:pt x="58" y="356"/>
                    <a:pt x="61" y="357"/>
                    <a:pt x="64" y="358"/>
                  </a:cubicBezTo>
                  <a:cubicBezTo>
                    <a:pt x="67" y="359"/>
                    <a:pt x="69" y="359"/>
                    <a:pt x="69" y="357"/>
                  </a:cubicBezTo>
                  <a:cubicBezTo>
                    <a:pt x="70" y="356"/>
                    <a:pt x="70" y="356"/>
                    <a:pt x="71" y="357"/>
                  </a:cubicBezTo>
                  <a:cubicBezTo>
                    <a:pt x="68" y="355"/>
                    <a:pt x="59" y="356"/>
                    <a:pt x="57" y="356"/>
                  </a:cubicBezTo>
                  <a:cubicBezTo>
                    <a:pt x="56" y="356"/>
                    <a:pt x="57" y="334"/>
                    <a:pt x="57" y="329"/>
                  </a:cubicBezTo>
                  <a:cubicBezTo>
                    <a:pt x="57" y="329"/>
                    <a:pt x="57" y="329"/>
                    <a:pt x="57" y="329"/>
                  </a:cubicBezTo>
                  <a:cubicBezTo>
                    <a:pt x="54" y="329"/>
                    <a:pt x="49" y="330"/>
                    <a:pt x="50" y="326"/>
                  </a:cubicBezTo>
                  <a:cubicBezTo>
                    <a:pt x="50" y="326"/>
                    <a:pt x="51" y="325"/>
                    <a:pt x="51" y="325"/>
                  </a:cubicBezTo>
                  <a:cubicBezTo>
                    <a:pt x="50" y="324"/>
                    <a:pt x="48" y="323"/>
                    <a:pt x="47" y="323"/>
                  </a:cubicBezTo>
                  <a:cubicBezTo>
                    <a:pt x="43" y="322"/>
                    <a:pt x="34" y="323"/>
                    <a:pt x="32" y="323"/>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70" name="Freeform 113">
              <a:extLst>
                <a:ext uri="{FF2B5EF4-FFF2-40B4-BE49-F238E27FC236}">
                  <a16:creationId xmlns:a16="http://schemas.microsoft.com/office/drawing/2014/main" xmlns="" id="{881A316A-3D10-4C87-B100-1F1D7D8DA4D8}"/>
                </a:ext>
              </a:extLst>
            </p:cNvPr>
            <p:cNvSpPr>
              <a:spLocks/>
            </p:cNvSpPr>
            <p:nvPr/>
          </p:nvSpPr>
          <p:spPr bwMode="auto">
            <a:xfrm>
              <a:off x="15003684" y="4402804"/>
              <a:ext cx="184150" cy="187325"/>
            </a:xfrm>
            <a:custGeom>
              <a:avLst/>
              <a:gdLst>
                <a:gd name="T0" fmla="*/ 68 w 71"/>
                <a:gd name="T1" fmla="*/ 39 h 72"/>
                <a:gd name="T2" fmla="*/ 62 w 71"/>
                <a:gd name="T3" fmla="*/ 41 h 72"/>
                <a:gd name="T4" fmla="*/ 58 w 71"/>
                <a:gd name="T5" fmla="*/ 32 h 72"/>
                <a:gd name="T6" fmla="*/ 52 w 71"/>
                <a:gd name="T7" fmla="*/ 25 h 72"/>
                <a:gd name="T8" fmla="*/ 45 w 71"/>
                <a:gd name="T9" fmla="*/ 24 h 72"/>
                <a:gd name="T10" fmla="*/ 41 w 71"/>
                <a:gd name="T11" fmla="*/ 18 h 72"/>
                <a:gd name="T12" fmla="*/ 40 w 71"/>
                <a:gd name="T13" fmla="*/ 8 h 72"/>
                <a:gd name="T14" fmla="*/ 39 w 71"/>
                <a:gd name="T15" fmla="*/ 3 h 72"/>
                <a:gd name="T16" fmla="*/ 38 w 71"/>
                <a:gd name="T17" fmla="*/ 4 h 72"/>
                <a:gd name="T18" fmla="*/ 30 w 71"/>
                <a:gd name="T19" fmla="*/ 1 h 72"/>
                <a:gd name="T20" fmla="*/ 21 w 71"/>
                <a:gd name="T21" fmla="*/ 2 h 72"/>
                <a:gd name="T22" fmla="*/ 11 w 71"/>
                <a:gd name="T23" fmla="*/ 3 h 72"/>
                <a:gd name="T24" fmla="*/ 5 w 71"/>
                <a:gd name="T25" fmla="*/ 11 h 72"/>
                <a:gd name="T26" fmla="*/ 3 w 71"/>
                <a:gd name="T27" fmla="*/ 23 h 72"/>
                <a:gd name="T28" fmla="*/ 0 w 71"/>
                <a:gd name="T29" fmla="*/ 23 h 72"/>
                <a:gd name="T30" fmla="*/ 11 w 71"/>
                <a:gd name="T31" fmla="*/ 35 h 72"/>
                <a:gd name="T32" fmla="*/ 20 w 71"/>
                <a:gd name="T33" fmla="*/ 40 h 72"/>
                <a:gd name="T34" fmla="*/ 29 w 71"/>
                <a:gd name="T35" fmla="*/ 45 h 72"/>
                <a:gd name="T36" fmla="*/ 44 w 71"/>
                <a:gd name="T37" fmla="*/ 52 h 72"/>
                <a:gd name="T38" fmla="*/ 38 w 71"/>
                <a:gd name="T39" fmla="*/ 63 h 72"/>
                <a:gd name="T40" fmla="*/ 35 w 71"/>
                <a:gd name="T41" fmla="*/ 68 h 72"/>
                <a:gd name="T42" fmla="*/ 43 w 71"/>
                <a:gd name="T43" fmla="*/ 70 h 72"/>
                <a:gd name="T44" fmla="*/ 50 w 71"/>
                <a:gd name="T45" fmla="*/ 71 h 72"/>
                <a:gd name="T46" fmla="*/ 57 w 71"/>
                <a:gd name="T47" fmla="*/ 69 h 72"/>
                <a:gd name="T48" fmla="*/ 64 w 71"/>
                <a:gd name="T49" fmla="*/ 66 h 72"/>
                <a:gd name="T50" fmla="*/ 68 w 71"/>
                <a:gd name="T51" fmla="*/ 54 h 72"/>
                <a:gd name="T52" fmla="*/ 68 w 71"/>
                <a:gd name="T53" fmla="*/ 3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1" h="72">
                  <a:moveTo>
                    <a:pt x="68" y="39"/>
                  </a:moveTo>
                  <a:cubicBezTo>
                    <a:pt x="65" y="38"/>
                    <a:pt x="63" y="41"/>
                    <a:pt x="62" y="41"/>
                  </a:cubicBezTo>
                  <a:cubicBezTo>
                    <a:pt x="61" y="41"/>
                    <a:pt x="58" y="34"/>
                    <a:pt x="58" y="32"/>
                  </a:cubicBezTo>
                  <a:cubicBezTo>
                    <a:pt x="57" y="29"/>
                    <a:pt x="54" y="24"/>
                    <a:pt x="52" y="25"/>
                  </a:cubicBezTo>
                  <a:cubicBezTo>
                    <a:pt x="50" y="26"/>
                    <a:pt x="51" y="24"/>
                    <a:pt x="45" y="24"/>
                  </a:cubicBezTo>
                  <a:cubicBezTo>
                    <a:pt x="40" y="24"/>
                    <a:pt x="40" y="23"/>
                    <a:pt x="41" y="18"/>
                  </a:cubicBezTo>
                  <a:cubicBezTo>
                    <a:pt x="42" y="12"/>
                    <a:pt x="37" y="9"/>
                    <a:pt x="40" y="8"/>
                  </a:cubicBezTo>
                  <a:cubicBezTo>
                    <a:pt x="41" y="7"/>
                    <a:pt x="41" y="6"/>
                    <a:pt x="39" y="3"/>
                  </a:cubicBezTo>
                  <a:cubicBezTo>
                    <a:pt x="39" y="4"/>
                    <a:pt x="38" y="4"/>
                    <a:pt x="38" y="4"/>
                  </a:cubicBezTo>
                  <a:cubicBezTo>
                    <a:pt x="36" y="4"/>
                    <a:pt x="34" y="1"/>
                    <a:pt x="30" y="1"/>
                  </a:cubicBezTo>
                  <a:cubicBezTo>
                    <a:pt x="27" y="1"/>
                    <a:pt x="23" y="0"/>
                    <a:pt x="21" y="2"/>
                  </a:cubicBezTo>
                  <a:cubicBezTo>
                    <a:pt x="19" y="3"/>
                    <a:pt x="14" y="1"/>
                    <a:pt x="11" y="3"/>
                  </a:cubicBezTo>
                  <a:cubicBezTo>
                    <a:pt x="8" y="5"/>
                    <a:pt x="5" y="9"/>
                    <a:pt x="5" y="11"/>
                  </a:cubicBezTo>
                  <a:cubicBezTo>
                    <a:pt x="5" y="12"/>
                    <a:pt x="4" y="23"/>
                    <a:pt x="3" y="23"/>
                  </a:cubicBezTo>
                  <a:cubicBezTo>
                    <a:pt x="2" y="23"/>
                    <a:pt x="1" y="23"/>
                    <a:pt x="0" y="23"/>
                  </a:cubicBezTo>
                  <a:cubicBezTo>
                    <a:pt x="2" y="26"/>
                    <a:pt x="8" y="32"/>
                    <a:pt x="11" y="35"/>
                  </a:cubicBezTo>
                  <a:cubicBezTo>
                    <a:pt x="15" y="37"/>
                    <a:pt x="15" y="40"/>
                    <a:pt x="20" y="40"/>
                  </a:cubicBezTo>
                  <a:cubicBezTo>
                    <a:pt x="25" y="41"/>
                    <a:pt x="27" y="42"/>
                    <a:pt x="29" y="45"/>
                  </a:cubicBezTo>
                  <a:cubicBezTo>
                    <a:pt x="31" y="47"/>
                    <a:pt x="43" y="50"/>
                    <a:pt x="44" y="52"/>
                  </a:cubicBezTo>
                  <a:cubicBezTo>
                    <a:pt x="45" y="54"/>
                    <a:pt x="38" y="59"/>
                    <a:pt x="38" y="63"/>
                  </a:cubicBezTo>
                  <a:cubicBezTo>
                    <a:pt x="38" y="67"/>
                    <a:pt x="35" y="67"/>
                    <a:pt x="35" y="68"/>
                  </a:cubicBezTo>
                  <a:cubicBezTo>
                    <a:pt x="35" y="70"/>
                    <a:pt x="41" y="69"/>
                    <a:pt x="43" y="70"/>
                  </a:cubicBezTo>
                  <a:cubicBezTo>
                    <a:pt x="44" y="71"/>
                    <a:pt x="48" y="69"/>
                    <a:pt x="50" y="71"/>
                  </a:cubicBezTo>
                  <a:cubicBezTo>
                    <a:pt x="53" y="72"/>
                    <a:pt x="55" y="69"/>
                    <a:pt x="57" y="69"/>
                  </a:cubicBezTo>
                  <a:cubicBezTo>
                    <a:pt x="59" y="70"/>
                    <a:pt x="61" y="66"/>
                    <a:pt x="64" y="66"/>
                  </a:cubicBezTo>
                  <a:cubicBezTo>
                    <a:pt x="66" y="66"/>
                    <a:pt x="68" y="58"/>
                    <a:pt x="68" y="54"/>
                  </a:cubicBezTo>
                  <a:cubicBezTo>
                    <a:pt x="67" y="51"/>
                    <a:pt x="71" y="41"/>
                    <a:pt x="68" y="39"/>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71" name="Freeform 114">
              <a:extLst>
                <a:ext uri="{FF2B5EF4-FFF2-40B4-BE49-F238E27FC236}">
                  <a16:creationId xmlns:a16="http://schemas.microsoft.com/office/drawing/2014/main" xmlns="" id="{09E6E70D-0702-4F7B-BEAE-C181EC632D97}"/>
                </a:ext>
              </a:extLst>
            </p:cNvPr>
            <p:cNvSpPr>
              <a:spLocks/>
            </p:cNvSpPr>
            <p:nvPr/>
          </p:nvSpPr>
          <p:spPr bwMode="auto">
            <a:xfrm>
              <a:off x="14516322" y="3753516"/>
              <a:ext cx="69850" cy="55562"/>
            </a:xfrm>
            <a:custGeom>
              <a:avLst/>
              <a:gdLst>
                <a:gd name="T0" fmla="*/ 26 w 27"/>
                <a:gd name="T1" fmla="*/ 17 h 21"/>
                <a:gd name="T2" fmla="*/ 27 w 27"/>
                <a:gd name="T3" fmla="*/ 12 h 21"/>
                <a:gd name="T4" fmla="*/ 19 w 27"/>
                <a:gd name="T5" fmla="*/ 2 h 21"/>
                <a:gd name="T6" fmla="*/ 15 w 27"/>
                <a:gd name="T7" fmla="*/ 1 h 21"/>
                <a:gd name="T8" fmla="*/ 7 w 27"/>
                <a:gd name="T9" fmla="*/ 0 h 21"/>
                <a:gd name="T10" fmla="*/ 2 w 27"/>
                <a:gd name="T11" fmla="*/ 0 h 21"/>
                <a:gd name="T12" fmla="*/ 2 w 27"/>
                <a:gd name="T13" fmla="*/ 3 h 21"/>
                <a:gd name="T14" fmla="*/ 4 w 27"/>
                <a:gd name="T15" fmla="*/ 10 h 21"/>
                <a:gd name="T16" fmla="*/ 9 w 27"/>
                <a:gd name="T17" fmla="*/ 9 h 21"/>
                <a:gd name="T18" fmla="*/ 12 w 27"/>
                <a:gd name="T19" fmla="*/ 12 h 21"/>
                <a:gd name="T20" fmla="*/ 18 w 27"/>
                <a:gd name="T21" fmla="*/ 17 h 21"/>
                <a:gd name="T22" fmla="*/ 23 w 27"/>
                <a:gd name="T23" fmla="*/ 21 h 21"/>
                <a:gd name="T24" fmla="*/ 24 w 27"/>
                <a:gd name="T25" fmla="*/ 21 h 21"/>
                <a:gd name="T26" fmla="*/ 26 w 27"/>
                <a:gd name="T2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1">
                  <a:moveTo>
                    <a:pt x="26" y="17"/>
                  </a:moveTo>
                  <a:cubicBezTo>
                    <a:pt x="25" y="16"/>
                    <a:pt x="25" y="14"/>
                    <a:pt x="27" y="12"/>
                  </a:cubicBezTo>
                  <a:cubicBezTo>
                    <a:pt x="24" y="9"/>
                    <a:pt x="21" y="4"/>
                    <a:pt x="19" y="2"/>
                  </a:cubicBezTo>
                  <a:cubicBezTo>
                    <a:pt x="17" y="2"/>
                    <a:pt x="16" y="2"/>
                    <a:pt x="15" y="1"/>
                  </a:cubicBezTo>
                  <a:cubicBezTo>
                    <a:pt x="13" y="0"/>
                    <a:pt x="9" y="1"/>
                    <a:pt x="7" y="0"/>
                  </a:cubicBezTo>
                  <a:cubicBezTo>
                    <a:pt x="6" y="0"/>
                    <a:pt x="4" y="0"/>
                    <a:pt x="2" y="0"/>
                  </a:cubicBezTo>
                  <a:cubicBezTo>
                    <a:pt x="3" y="1"/>
                    <a:pt x="3" y="2"/>
                    <a:pt x="2" y="3"/>
                  </a:cubicBezTo>
                  <a:cubicBezTo>
                    <a:pt x="0" y="4"/>
                    <a:pt x="0" y="8"/>
                    <a:pt x="4" y="10"/>
                  </a:cubicBezTo>
                  <a:cubicBezTo>
                    <a:pt x="8" y="11"/>
                    <a:pt x="7" y="9"/>
                    <a:pt x="9" y="9"/>
                  </a:cubicBezTo>
                  <a:cubicBezTo>
                    <a:pt x="11" y="9"/>
                    <a:pt x="10" y="12"/>
                    <a:pt x="12" y="12"/>
                  </a:cubicBezTo>
                  <a:cubicBezTo>
                    <a:pt x="14" y="12"/>
                    <a:pt x="18" y="14"/>
                    <a:pt x="18" y="17"/>
                  </a:cubicBezTo>
                  <a:cubicBezTo>
                    <a:pt x="18" y="20"/>
                    <a:pt x="19" y="21"/>
                    <a:pt x="23" y="21"/>
                  </a:cubicBezTo>
                  <a:cubicBezTo>
                    <a:pt x="23" y="21"/>
                    <a:pt x="24" y="21"/>
                    <a:pt x="24" y="21"/>
                  </a:cubicBezTo>
                  <a:cubicBezTo>
                    <a:pt x="25" y="19"/>
                    <a:pt x="26" y="18"/>
                    <a:pt x="26" y="17"/>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72" name="Freeform 115">
              <a:extLst>
                <a:ext uri="{FF2B5EF4-FFF2-40B4-BE49-F238E27FC236}">
                  <a16:creationId xmlns:a16="http://schemas.microsoft.com/office/drawing/2014/main" xmlns="" id="{65DA0DDD-D735-48E1-A45A-C4D4B7E63018}"/>
                </a:ext>
              </a:extLst>
            </p:cNvPr>
            <p:cNvSpPr>
              <a:spLocks/>
            </p:cNvSpPr>
            <p:nvPr/>
          </p:nvSpPr>
          <p:spPr bwMode="auto">
            <a:xfrm>
              <a:off x="14579822" y="3780504"/>
              <a:ext cx="122238" cy="60325"/>
            </a:xfrm>
            <a:custGeom>
              <a:avLst/>
              <a:gdLst>
                <a:gd name="T0" fmla="*/ 42 w 47"/>
                <a:gd name="T1" fmla="*/ 7 h 23"/>
                <a:gd name="T2" fmla="*/ 31 w 47"/>
                <a:gd name="T3" fmla="*/ 1 h 23"/>
                <a:gd name="T4" fmla="*/ 20 w 47"/>
                <a:gd name="T5" fmla="*/ 6 h 23"/>
                <a:gd name="T6" fmla="*/ 7 w 47"/>
                <a:gd name="T7" fmla="*/ 5 h 23"/>
                <a:gd name="T8" fmla="*/ 3 w 47"/>
                <a:gd name="T9" fmla="*/ 2 h 23"/>
                <a:gd name="T10" fmla="*/ 2 w 47"/>
                <a:gd name="T11" fmla="*/ 7 h 23"/>
                <a:gd name="T12" fmla="*/ 0 w 47"/>
                <a:gd name="T13" fmla="*/ 11 h 23"/>
                <a:gd name="T14" fmla="*/ 11 w 47"/>
                <a:gd name="T15" fmla="*/ 16 h 23"/>
                <a:gd name="T16" fmla="*/ 17 w 47"/>
                <a:gd name="T17" fmla="*/ 20 h 23"/>
                <a:gd name="T18" fmla="*/ 23 w 47"/>
                <a:gd name="T19" fmla="*/ 18 h 23"/>
                <a:gd name="T20" fmla="*/ 21 w 47"/>
                <a:gd name="T21" fmla="*/ 14 h 23"/>
                <a:gd name="T22" fmla="*/ 25 w 47"/>
                <a:gd name="T23" fmla="*/ 10 h 23"/>
                <a:gd name="T24" fmla="*/ 34 w 47"/>
                <a:gd name="T25" fmla="*/ 7 h 23"/>
                <a:gd name="T26" fmla="*/ 36 w 47"/>
                <a:gd name="T27" fmla="*/ 13 h 23"/>
                <a:gd name="T28" fmla="*/ 41 w 47"/>
                <a:gd name="T29" fmla="*/ 21 h 23"/>
                <a:gd name="T30" fmla="*/ 46 w 47"/>
                <a:gd name="T31" fmla="*/ 16 h 23"/>
                <a:gd name="T32" fmla="*/ 47 w 47"/>
                <a:gd name="T33" fmla="*/ 13 h 23"/>
                <a:gd name="T34" fmla="*/ 42 w 47"/>
                <a:gd name="T35" fmla="*/ 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7" h="23">
                  <a:moveTo>
                    <a:pt x="42" y="7"/>
                  </a:moveTo>
                  <a:cubicBezTo>
                    <a:pt x="40" y="3"/>
                    <a:pt x="34" y="3"/>
                    <a:pt x="31" y="1"/>
                  </a:cubicBezTo>
                  <a:cubicBezTo>
                    <a:pt x="28" y="0"/>
                    <a:pt x="24" y="2"/>
                    <a:pt x="20" y="6"/>
                  </a:cubicBezTo>
                  <a:cubicBezTo>
                    <a:pt x="16" y="10"/>
                    <a:pt x="10" y="7"/>
                    <a:pt x="7" y="5"/>
                  </a:cubicBezTo>
                  <a:cubicBezTo>
                    <a:pt x="6" y="5"/>
                    <a:pt x="4" y="3"/>
                    <a:pt x="3" y="2"/>
                  </a:cubicBezTo>
                  <a:cubicBezTo>
                    <a:pt x="1" y="4"/>
                    <a:pt x="1" y="6"/>
                    <a:pt x="2" y="7"/>
                  </a:cubicBezTo>
                  <a:cubicBezTo>
                    <a:pt x="2" y="8"/>
                    <a:pt x="1" y="9"/>
                    <a:pt x="0" y="11"/>
                  </a:cubicBezTo>
                  <a:cubicBezTo>
                    <a:pt x="4" y="12"/>
                    <a:pt x="9" y="13"/>
                    <a:pt x="11" y="16"/>
                  </a:cubicBezTo>
                  <a:cubicBezTo>
                    <a:pt x="13" y="19"/>
                    <a:pt x="15" y="17"/>
                    <a:pt x="17" y="20"/>
                  </a:cubicBezTo>
                  <a:cubicBezTo>
                    <a:pt x="18" y="23"/>
                    <a:pt x="22" y="20"/>
                    <a:pt x="23" y="18"/>
                  </a:cubicBezTo>
                  <a:cubicBezTo>
                    <a:pt x="24" y="16"/>
                    <a:pt x="21" y="16"/>
                    <a:pt x="21" y="14"/>
                  </a:cubicBezTo>
                  <a:cubicBezTo>
                    <a:pt x="20" y="12"/>
                    <a:pt x="24" y="13"/>
                    <a:pt x="25" y="10"/>
                  </a:cubicBezTo>
                  <a:cubicBezTo>
                    <a:pt x="26" y="7"/>
                    <a:pt x="31" y="6"/>
                    <a:pt x="34" y="7"/>
                  </a:cubicBezTo>
                  <a:cubicBezTo>
                    <a:pt x="36" y="8"/>
                    <a:pt x="38" y="10"/>
                    <a:pt x="36" y="13"/>
                  </a:cubicBezTo>
                  <a:cubicBezTo>
                    <a:pt x="34" y="15"/>
                    <a:pt x="38" y="18"/>
                    <a:pt x="41" y="21"/>
                  </a:cubicBezTo>
                  <a:cubicBezTo>
                    <a:pt x="43" y="19"/>
                    <a:pt x="45" y="16"/>
                    <a:pt x="46" y="16"/>
                  </a:cubicBezTo>
                  <a:cubicBezTo>
                    <a:pt x="47" y="15"/>
                    <a:pt x="47" y="14"/>
                    <a:pt x="47" y="13"/>
                  </a:cubicBezTo>
                  <a:cubicBezTo>
                    <a:pt x="46" y="12"/>
                    <a:pt x="44" y="10"/>
                    <a:pt x="42" y="7"/>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73" name="Freeform 116">
              <a:extLst>
                <a:ext uri="{FF2B5EF4-FFF2-40B4-BE49-F238E27FC236}">
                  <a16:creationId xmlns:a16="http://schemas.microsoft.com/office/drawing/2014/main" xmlns="" id="{A8EC5F9F-5C1E-4D15-A9FA-329729E4295E}"/>
                </a:ext>
              </a:extLst>
            </p:cNvPr>
            <p:cNvSpPr>
              <a:spLocks/>
            </p:cNvSpPr>
            <p:nvPr/>
          </p:nvSpPr>
          <p:spPr bwMode="auto">
            <a:xfrm>
              <a:off x="14662372" y="3720179"/>
              <a:ext cx="252413" cy="357187"/>
            </a:xfrm>
            <a:custGeom>
              <a:avLst/>
              <a:gdLst>
                <a:gd name="T0" fmla="*/ 15 w 97"/>
                <a:gd name="T1" fmla="*/ 100 h 137"/>
                <a:gd name="T2" fmla="*/ 21 w 97"/>
                <a:gd name="T3" fmla="*/ 100 h 137"/>
                <a:gd name="T4" fmla="*/ 27 w 97"/>
                <a:gd name="T5" fmla="*/ 104 h 137"/>
                <a:gd name="T6" fmla="*/ 28 w 97"/>
                <a:gd name="T7" fmla="*/ 105 h 137"/>
                <a:gd name="T8" fmla="*/ 35 w 97"/>
                <a:gd name="T9" fmla="*/ 104 h 137"/>
                <a:gd name="T10" fmla="*/ 39 w 97"/>
                <a:gd name="T11" fmla="*/ 111 h 137"/>
                <a:gd name="T12" fmla="*/ 44 w 97"/>
                <a:gd name="T13" fmla="*/ 116 h 137"/>
                <a:gd name="T14" fmla="*/ 47 w 97"/>
                <a:gd name="T15" fmla="*/ 121 h 137"/>
                <a:gd name="T16" fmla="*/ 57 w 97"/>
                <a:gd name="T17" fmla="*/ 122 h 137"/>
                <a:gd name="T18" fmla="*/ 61 w 97"/>
                <a:gd name="T19" fmla="*/ 122 h 137"/>
                <a:gd name="T20" fmla="*/ 67 w 97"/>
                <a:gd name="T21" fmla="*/ 121 h 137"/>
                <a:gd name="T22" fmla="*/ 73 w 97"/>
                <a:gd name="T23" fmla="*/ 126 h 137"/>
                <a:gd name="T24" fmla="*/ 68 w 97"/>
                <a:gd name="T25" fmla="*/ 133 h 137"/>
                <a:gd name="T26" fmla="*/ 73 w 97"/>
                <a:gd name="T27" fmla="*/ 137 h 137"/>
                <a:gd name="T28" fmla="*/ 74 w 97"/>
                <a:gd name="T29" fmla="*/ 137 h 137"/>
                <a:gd name="T30" fmla="*/ 77 w 97"/>
                <a:gd name="T31" fmla="*/ 126 h 137"/>
                <a:gd name="T32" fmla="*/ 78 w 97"/>
                <a:gd name="T33" fmla="*/ 115 h 137"/>
                <a:gd name="T34" fmla="*/ 73 w 97"/>
                <a:gd name="T35" fmla="*/ 102 h 137"/>
                <a:gd name="T36" fmla="*/ 79 w 97"/>
                <a:gd name="T37" fmla="*/ 97 h 137"/>
                <a:gd name="T38" fmla="*/ 77 w 97"/>
                <a:gd name="T39" fmla="*/ 94 h 137"/>
                <a:gd name="T40" fmla="*/ 75 w 97"/>
                <a:gd name="T41" fmla="*/ 90 h 137"/>
                <a:gd name="T42" fmla="*/ 87 w 97"/>
                <a:gd name="T43" fmla="*/ 89 h 137"/>
                <a:gd name="T44" fmla="*/ 96 w 97"/>
                <a:gd name="T45" fmla="*/ 86 h 137"/>
                <a:gd name="T46" fmla="*/ 95 w 97"/>
                <a:gd name="T47" fmla="*/ 82 h 137"/>
                <a:gd name="T48" fmla="*/ 95 w 97"/>
                <a:gd name="T49" fmla="*/ 76 h 137"/>
                <a:gd name="T50" fmla="*/ 92 w 97"/>
                <a:gd name="T51" fmla="*/ 70 h 137"/>
                <a:gd name="T52" fmla="*/ 94 w 97"/>
                <a:gd name="T53" fmla="*/ 55 h 137"/>
                <a:gd name="T54" fmla="*/ 84 w 97"/>
                <a:gd name="T55" fmla="*/ 52 h 137"/>
                <a:gd name="T56" fmla="*/ 73 w 97"/>
                <a:gd name="T57" fmla="*/ 47 h 137"/>
                <a:gd name="T58" fmla="*/ 59 w 97"/>
                <a:gd name="T59" fmla="*/ 46 h 137"/>
                <a:gd name="T60" fmla="*/ 54 w 97"/>
                <a:gd name="T61" fmla="*/ 36 h 137"/>
                <a:gd name="T62" fmla="*/ 51 w 97"/>
                <a:gd name="T63" fmla="*/ 30 h 137"/>
                <a:gd name="T64" fmla="*/ 47 w 97"/>
                <a:gd name="T65" fmla="*/ 29 h 137"/>
                <a:gd name="T66" fmla="*/ 48 w 97"/>
                <a:gd name="T67" fmla="*/ 25 h 137"/>
                <a:gd name="T68" fmla="*/ 49 w 97"/>
                <a:gd name="T69" fmla="*/ 19 h 137"/>
                <a:gd name="T70" fmla="*/ 56 w 97"/>
                <a:gd name="T71" fmla="*/ 10 h 137"/>
                <a:gd name="T72" fmla="*/ 59 w 97"/>
                <a:gd name="T73" fmla="*/ 8 h 137"/>
                <a:gd name="T74" fmla="*/ 61 w 97"/>
                <a:gd name="T75" fmla="*/ 7 h 137"/>
                <a:gd name="T76" fmla="*/ 63 w 97"/>
                <a:gd name="T77" fmla="*/ 2 h 137"/>
                <a:gd name="T78" fmla="*/ 54 w 97"/>
                <a:gd name="T79" fmla="*/ 6 h 137"/>
                <a:gd name="T80" fmla="*/ 47 w 97"/>
                <a:gd name="T81" fmla="*/ 10 h 137"/>
                <a:gd name="T82" fmla="*/ 39 w 97"/>
                <a:gd name="T83" fmla="*/ 12 h 137"/>
                <a:gd name="T84" fmla="*/ 36 w 97"/>
                <a:gd name="T85" fmla="*/ 12 h 137"/>
                <a:gd name="T86" fmla="*/ 28 w 97"/>
                <a:gd name="T87" fmla="*/ 19 h 137"/>
                <a:gd name="T88" fmla="*/ 25 w 97"/>
                <a:gd name="T89" fmla="*/ 26 h 137"/>
                <a:gd name="T90" fmla="*/ 17 w 97"/>
                <a:gd name="T91" fmla="*/ 36 h 137"/>
                <a:gd name="T92" fmla="*/ 15 w 97"/>
                <a:gd name="T93" fmla="*/ 36 h 137"/>
                <a:gd name="T94" fmla="*/ 14 w 97"/>
                <a:gd name="T95" fmla="*/ 39 h 137"/>
                <a:gd name="T96" fmla="*/ 9 w 97"/>
                <a:gd name="T97" fmla="*/ 44 h 137"/>
                <a:gd name="T98" fmla="*/ 11 w 97"/>
                <a:gd name="T99" fmla="*/ 46 h 137"/>
                <a:gd name="T100" fmla="*/ 13 w 97"/>
                <a:gd name="T101" fmla="*/ 53 h 137"/>
                <a:gd name="T102" fmla="*/ 13 w 97"/>
                <a:gd name="T103" fmla="*/ 57 h 137"/>
                <a:gd name="T104" fmla="*/ 14 w 97"/>
                <a:gd name="T105" fmla="*/ 70 h 137"/>
                <a:gd name="T106" fmla="*/ 13 w 97"/>
                <a:gd name="T107" fmla="*/ 77 h 137"/>
                <a:gd name="T108" fmla="*/ 6 w 97"/>
                <a:gd name="T109" fmla="*/ 82 h 137"/>
                <a:gd name="T110" fmla="*/ 2 w 97"/>
                <a:gd name="T111" fmla="*/ 87 h 137"/>
                <a:gd name="T112" fmla="*/ 0 w 97"/>
                <a:gd name="T113" fmla="*/ 90 h 137"/>
                <a:gd name="T114" fmla="*/ 10 w 97"/>
                <a:gd name="T115" fmla="*/ 96 h 137"/>
                <a:gd name="T116" fmla="*/ 15 w 97"/>
                <a:gd name="T117" fmla="*/ 10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7" h="137">
                  <a:moveTo>
                    <a:pt x="15" y="100"/>
                  </a:moveTo>
                  <a:cubicBezTo>
                    <a:pt x="18" y="101"/>
                    <a:pt x="21" y="101"/>
                    <a:pt x="21" y="100"/>
                  </a:cubicBezTo>
                  <a:cubicBezTo>
                    <a:pt x="22" y="99"/>
                    <a:pt x="24" y="101"/>
                    <a:pt x="27" y="104"/>
                  </a:cubicBezTo>
                  <a:cubicBezTo>
                    <a:pt x="27" y="104"/>
                    <a:pt x="27" y="104"/>
                    <a:pt x="28" y="105"/>
                  </a:cubicBezTo>
                  <a:cubicBezTo>
                    <a:pt x="30" y="104"/>
                    <a:pt x="33" y="104"/>
                    <a:pt x="35" y="104"/>
                  </a:cubicBezTo>
                  <a:cubicBezTo>
                    <a:pt x="37" y="106"/>
                    <a:pt x="36" y="111"/>
                    <a:pt x="39" y="111"/>
                  </a:cubicBezTo>
                  <a:cubicBezTo>
                    <a:pt x="42" y="111"/>
                    <a:pt x="45" y="114"/>
                    <a:pt x="44" y="116"/>
                  </a:cubicBezTo>
                  <a:cubicBezTo>
                    <a:pt x="44" y="118"/>
                    <a:pt x="48" y="119"/>
                    <a:pt x="47" y="121"/>
                  </a:cubicBezTo>
                  <a:cubicBezTo>
                    <a:pt x="47" y="124"/>
                    <a:pt x="56" y="123"/>
                    <a:pt x="57" y="122"/>
                  </a:cubicBezTo>
                  <a:cubicBezTo>
                    <a:pt x="58" y="121"/>
                    <a:pt x="60" y="121"/>
                    <a:pt x="61" y="122"/>
                  </a:cubicBezTo>
                  <a:cubicBezTo>
                    <a:pt x="63" y="123"/>
                    <a:pt x="65" y="121"/>
                    <a:pt x="67" y="121"/>
                  </a:cubicBezTo>
                  <a:cubicBezTo>
                    <a:pt x="68" y="122"/>
                    <a:pt x="74" y="124"/>
                    <a:pt x="73" y="126"/>
                  </a:cubicBezTo>
                  <a:cubicBezTo>
                    <a:pt x="71" y="128"/>
                    <a:pt x="68" y="131"/>
                    <a:pt x="68" y="133"/>
                  </a:cubicBezTo>
                  <a:cubicBezTo>
                    <a:pt x="69" y="134"/>
                    <a:pt x="72" y="135"/>
                    <a:pt x="73" y="137"/>
                  </a:cubicBezTo>
                  <a:cubicBezTo>
                    <a:pt x="73" y="137"/>
                    <a:pt x="73" y="137"/>
                    <a:pt x="74" y="137"/>
                  </a:cubicBezTo>
                  <a:cubicBezTo>
                    <a:pt x="76" y="136"/>
                    <a:pt x="77" y="128"/>
                    <a:pt x="77" y="126"/>
                  </a:cubicBezTo>
                  <a:cubicBezTo>
                    <a:pt x="77" y="123"/>
                    <a:pt x="78" y="117"/>
                    <a:pt x="78" y="115"/>
                  </a:cubicBezTo>
                  <a:cubicBezTo>
                    <a:pt x="80" y="110"/>
                    <a:pt x="73" y="107"/>
                    <a:pt x="73" y="102"/>
                  </a:cubicBezTo>
                  <a:cubicBezTo>
                    <a:pt x="73" y="97"/>
                    <a:pt x="76" y="100"/>
                    <a:pt x="79" y="97"/>
                  </a:cubicBezTo>
                  <a:cubicBezTo>
                    <a:pt x="82" y="95"/>
                    <a:pt x="78" y="94"/>
                    <a:pt x="77" y="94"/>
                  </a:cubicBezTo>
                  <a:cubicBezTo>
                    <a:pt x="76" y="94"/>
                    <a:pt x="74" y="91"/>
                    <a:pt x="75" y="90"/>
                  </a:cubicBezTo>
                  <a:cubicBezTo>
                    <a:pt x="75" y="88"/>
                    <a:pt x="84" y="89"/>
                    <a:pt x="87" y="89"/>
                  </a:cubicBezTo>
                  <a:cubicBezTo>
                    <a:pt x="90" y="89"/>
                    <a:pt x="96" y="86"/>
                    <a:pt x="96" y="86"/>
                  </a:cubicBezTo>
                  <a:cubicBezTo>
                    <a:pt x="96" y="85"/>
                    <a:pt x="97" y="83"/>
                    <a:pt x="95" y="82"/>
                  </a:cubicBezTo>
                  <a:cubicBezTo>
                    <a:pt x="92" y="80"/>
                    <a:pt x="93" y="78"/>
                    <a:pt x="95" y="76"/>
                  </a:cubicBezTo>
                  <a:cubicBezTo>
                    <a:pt x="97" y="74"/>
                    <a:pt x="94" y="72"/>
                    <a:pt x="92" y="70"/>
                  </a:cubicBezTo>
                  <a:cubicBezTo>
                    <a:pt x="90" y="67"/>
                    <a:pt x="91" y="59"/>
                    <a:pt x="94" y="55"/>
                  </a:cubicBezTo>
                  <a:cubicBezTo>
                    <a:pt x="96" y="51"/>
                    <a:pt x="89" y="52"/>
                    <a:pt x="84" y="52"/>
                  </a:cubicBezTo>
                  <a:cubicBezTo>
                    <a:pt x="80" y="53"/>
                    <a:pt x="76" y="51"/>
                    <a:pt x="73" y="47"/>
                  </a:cubicBezTo>
                  <a:cubicBezTo>
                    <a:pt x="70" y="44"/>
                    <a:pt x="66" y="46"/>
                    <a:pt x="59" y="46"/>
                  </a:cubicBezTo>
                  <a:cubicBezTo>
                    <a:pt x="52" y="46"/>
                    <a:pt x="54" y="39"/>
                    <a:pt x="54" y="36"/>
                  </a:cubicBezTo>
                  <a:cubicBezTo>
                    <a:pt x="54" y="33"/>
                    <a:pt x="51" y="32"/>
                    <a:pt x="51" y="30"/>
                  </a:cubicBezTo>
                  <a:cubicBezTo>
                    <a:pt x="51" y="28"/>
                    <a:pt x="49" y="28"/>
                    <a:pt x="47" y="29"/>
                  </a:cubicBezTo>
                  <a:cubicBezTo>
                    <a:pt x="45" y="29"/>
                    <a:pt x="47" y="26"/>
                    <a:pt x="48" y="25"/>
                  </a:cubicBezTo>
                  <a:cubicBezTo>
                    <a:pt x="49" y="23"/>
                    <a:pt x="49" y="22"/>
                    <a:pt x="49" y="19"/>
                  </a:cubicBezTo>
                  <a:cubicBezTo>
                    <a:pt x="49" y="16"/>
                    <a:pt x="54" y="13"/>
                    <a:pt x="56" y="10"/>
                  </a:cubicBezTo>
                  <a:cubicBezTo>
                    <a:pt x="57" y="9"/>
                    <a:pt x="58" y="9"/>
                    <a:pt x="59" y="8"/>
                  </a:cubicBezTo>
                  <a:cubicBezTo>
                    <a:pt x="59" y="7"/>
                    <a:pt x="60" y="7"/>
                    <a:pt x="61" y="7"/>
                  </a:cubicBezTo>
                  <a:cubicBezTo>
                    <a:pt x="64" y="6"/>
                    <a:pt x="66" y="4"/>
                    <a:pt x="63" y="2"/>
                  </a:cubicBezTo>
                  <a:cubicBezTo>
                    <a:pt x="59" y="0"/>
                    <a:pt x="57" y="5"/>
                    <a:pt x="54" y="6"/>
                  </a:cubicBezTo>
                  <a:cubicBezTo>
                    <a:pt x="50" y="6"/>
                    <a:pt x="49" y="9"/>
                    <a:pt x="47" y="10"/>
                  </a:cubicBezTo>
                  <a:cubicBezTo>
                    <a:pt x="44" y="11"/>
                    <a:pt x="39" y="10"/>
                    <a:pt x="39" y="12"/>
                  </a:cubicBezTo>
                  <a:cubicBezTo>
                    <a:pt x="39" y="15"/>
                    <a:pt x="38" y="12"/>
                    <a:pt x="36" y="12"/>
                  </a:cubicBezTo>
                  <a:cubicBezTo>
                    <a:pt x="33" y="11"/>
                    <a:pt x="28" y="16"/>
                    <a:pt x="28" y="19"/>
                  </a:cubicBezTo>
                  <a:cubicBezTo>
                    <a:pt x="28" y="21"/>
                    <a:pt x="29" y="24"/>
                    <a:pt x="25" y="26"/>
                  </a:cubicBezTo>
                  <a:cubicBezTo>
                    <a:pt x="21" y="29"/>
                    <a:pt x="19" y="34"/>
                    <a:pt x="17" y="36"/>
                  </a:cubicBezTo>
                  <a:cubicBezTo>
                    <a:pt x="17" y="36"/>
                    <a:pt x="16" y="36"/>
                    <a:pt x="15" y="36"/>
                  </a:cubicBezTo>
                  <a:cubicBezTo>
                    <a:pt x="15" y="37"/>
                    <a:pt x="15" y="38"/>
                    <a:pt x="14" y="39"/>
                  </a:cubicBezTo>
                  <a:cubicBezTo>
                    <a:pt x="13" y="39"/>
                    <a:pt x="11" y="42"/>
                    <a:pt x="9" y="44"/>
                  </a:cubicBezTo>
                  <a:cubicBezTo>
                    <a:pt x="10" y="45"/>
                    <a:pt x="11" y="46"/>
                    <a:pt x="11" y="46"/>
                  </a:cubicBezTo>
                  <a:cubicBezTo>
                    <a:pt x="14" y="49"/>
                    <a:pt x="12" y="51"/>
                    <a:pt x="13" y="53"/>
                  </a:cubicBezTo>
                  <a:cubicBezTo>
                    <a:pt x="14" y="54"/>
                    <a:pt x="14" y="56"/>
                    <a:pt x="13" y="57"/>
                  </a:cubicBezTo>
                  <a:cubicBezTo>
                    <a:pt x="12" y="58"/>
                    <a:pt x="13" y="68"/>
                    <a:pt x="14" y="70"/>
                  </a:cubicBezTo>
                  <a:cubicBezTo>
                    <a:pt x="16" y="71"/>
                    <a:pt x="14" y="73"/>
                    <a:pt x="13" y="77"/>
                  </a:cubicBezTo>
                  <a:cubicBezTo>
                    <a:pt x="11" y="80"/>
                    <a:pt x="9" y="82"/>
                    <a:pt x="6" y="82"/>
                  </a:cubicBezTo>
                  <a:cubicBezTo>
                    <a:pt x="3" y="82"/>
                    <a:pt x="3" y="87"/>
                    <a:pt x="2" y="87"/>
                  </a:cubicBezTo>
                  <a:cubicBezTo>
                    <a:pt x="1" y="87"/>
                    <a:pt x="1" y="89"/>
                    <a:pt x="0" y="90"/>
                  </a:cubicBezTo>
                  <a:cubicBezTo>
                    <a:pt x="3" y="93"/>
                    <a:pt x="9" y="96"/>
                    <a:pt x="10" y="96"/>
                  </a:cubicBezTo>
                  <a:cubicBezTo>
                    <a:pt x="12" y="96"/>
                    <a:pt x="13" y="98"/>
                    <a:pt x="15" y="100"/>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74" name="Freeform 117">
              <a:extLst>
                <a:ext uri="{FF2B5EF4-FFF2-40B4-BE49-F238E27FC236}">
                  <a16:creationId xmlns:a16="http://schemas.microsoft.com/office/drawing/2014/main" xmlns="" id="{1C8ABF9A-5822-4F56-A039-2C3F34D323CB}"/>
                </a:ext>
              </a:extLst>
            </p:cNvPr>
            <p:cNvSpPr>
              <a:spLocks/>
            </p:cNvSpPr>
            <p:nvPr/>
          </p:nvSpPr>
          <p:spPr bwMode="auto">
            <a:xfrm>
              <a:off x="14860809" y="4193254"/>
              <a:ext cx="257175" cy="292100"/>
            </a:xfrm>
            <a:custGeom>
              <a:avLst/>
              <a:gdLst>
                <a:gd name="T0" fmla="*/ 98 w 99"/>
                <a:gd name="T1" fmla="*/ 68 h 112"/>
                <a:gd name="T2" fmla="*/ 93 w 99"/>
                <a:gd name="T3" fmla="*/ 60 h 112"/>
                <a:gd name="T4" fmla="*/ 86 w 99"/>
                <a:gd name="T5" fmla="*/ 56 h 112"/>
                <a:gd name="T6" fmla="*/ 77 w 99"/>
                <a:gd name="T7" fmla="*/ 52 h 112"/>
                <a:gd name="T8" fmla="*/ 77 w 99"/>
                <a:gd name="T9" fmla="*/ 45 h 112"/>
                <a:gd name="T10" fmla="*/ 75 w 99"/>
                <a:gd name="T11" fmla="*/ 39 h 112"/>
                <a:gd name="T12" fmla="*/ 72 w 99"/>
                <a:gd name="T13" fmla="*/ 33 h 112"/>
                <a:gd name="T14" fmla="*/ 63 w 99"/>
                <a:gd name="T15" fmla="*/ 31 h 112"/>
                <a:gd name="T16" fmla="*/ 57 w 99"/>
                <a:gd name="T17" fmla="*/ 28 h 112"/>
                <a:gd name="T18" fmla="*/ 53 w 99"/>
                <a:gd name="T19" fmla="*/ 25 h 112"/>
                <a:gd name="T20" fmla="*/ 48 w 99"/>
                <a:gd name="T21" fmla="*/ 24 h 112"/>
                <a:gd name="T22" fmla="*/ 38 w 99"/>
                <a:gd name="T23" fmla="*/ 19 h 112"/>
                <a:gd name="T24" fmla="*/ 36 w 99"/>
                <a:gd name="T25" fmla="*/ 3 h 112"/>
                <a:gd name="T26" fmla="*/ 28 w 99"/>
                <a:gd name="T27" fmla="*/ 2 h 112"/>
                <a:gd name="T28" fmla="*/ 19 w 99"/>
                <a:gd name="T29" fmla="*/ 7 h 112"/>
                <a:gd name="T30" fmla="*/ 12 w 99"/>
                <a:gd name="T31" fmla="*/ 10 h 112"/>
                <a:gd name="T32" fmla="*/ 5 w 99"/>
                <a:gd name="T33" fmla="*/ 12 h 112"/>
                <a:gd name="T34" fmla="*/ 2 w 99"/>
                <a:gd name="T35" fmla="*/ 11 h 112"/>
                <a:gd name="T36" fmla="*/ 8 w 99"/>
                <a:gd name="T37" fmla="*/ 23 h 112"/>
                <a:gd name="T38" fmla="*/ 5 w 99"/>
                <a:gd name="T39" fmla="*/ 27 h 112"/>
                <a:gd name="T40" fmla="*/ 6 w 99"/>
                <a:gd name="T41" fmla="*/ 38 h 112"/>
                <a:gd name="T42" fmla="*/ 4 w 99"/>
                <a:gd name="T43" fmla="*/ 45 h 112"/>
                <a:gd name="T44" fmla="*/ 2 w 99"/>
                <a:gd name="T45" fmla="*/ 52 h 112"/>
                <a:gd name="T46" fmla="*/ 5 w 99"/>
                <a:gd name="T47" fmla="*/ 56 h 112"/>
                <a:gd name="T48" fmla="*/ 1 w 99"/>
                <a:gd name="T49" fmla="*/ 62 h 112"/>
                <a:gd name="T50" fmla="*/ 0 w 99"/>
                <a:gd name="T51" fmla="*/ 65 h 112"/>
                <a:gd name="T52" fmla="*/ 4 w 99"/>
                <a:gd name="T53" fmla="*/ 69 h 112"/>
                <a:gd name="T54" fmla="*/ 6 w 99"/>
                <a:gd name="T55" fmla="*/ 78 h 112"/>
                <a:gd name="T56" fmla="*/ 9 w 99"/>
                <a:gd name="T57" fmla="*/ 82 h 112"/>
                <a:gd name="T58" fmla="*/ 7 w 99"/>
                <a:gd name="T59" fmla="*/ 88 h 112"/>
                <a:gd name="T60" fmla="*/ 10 w 99"/>
                <a:gd name="T61" fmla="*/ 95 h 112"/>
                <a:gd name="T62" fmla="*/ 13 w 99"/>
                <a:gd name="T63" fmla="*/ 102 h 112"/>
                <a:gd name="T64" fmla="*/ 15 w 99"/>
                <a:gd name="T65" fmla="*/ 111 h 112"/>
                <a:gd name="T66" fmla="*/ 26 w 99"/>
                <a:gd name="T67" fmla="*/ 104 h 112"/>
                <a:gd name="T68" fmla="*/ 33 w 99"/>
                <a:gd name="T69" fmla="*/ 104 h 112"/>
                <a:gd name="T70" fmla="*/ 42 w 99"/>
                <a:gd name="T71" fmla="*/ 108 h 112"/>
                <a:gd name="T72" fmla="*/ 47 w 99"/>
                <a:gd name="T73" fmla="*/ 103 h 112"/>
                <a:gd name="T74" fmla="*/ 58 w 99"/>
                <a:gd name="T75" fmla="*/ 103 h 112"/>
                <a:gd name="T76" fmla="*/ 60 w 99"/>
                <a:gd name="T77" fmla="*/ 91 h 112"/>
                <a:gd name="T78" fmla="*/ 66 w 99"/>
                <a:gd name="T79" fmla="*/ 83 h 112"/>
                <a:gd name="T80" fmla="*/ 76 w 99"/>
                <a:gd name="T81" fmla="*/ 82 h 112"/>
                <a:gd name="T82" fmla="*/ 85 w 99"/>
                <a:gd name="T83" fmla="*/ 81 h 112"/>
                <a:gd name="T84" fmla="*/ 93 w 99"/>
                <a:gd name="T85" fmla="*/ 84 h 112"/>
                <a:gd name="T86" fmla="*/ 97 w 99"/>
                <a:gd name="T87" fmla="*/ 78 h 112"/>
                <a:gd name="T88" fmla="*/ 98 w 99"/>
                <a:gd name="T89" fmla="*/ 6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9" h="112">
                  <a:moveTo>
                    <a:pt x="98" y="68"/>
                  </a:moveTo>
                  <a:cubicBezTo>
                    <a:pt x="97" y="64"/>
                    <a:pt x="93" y="63"/>
                    <a:pt x="93" y="60"/>
                  </a:cubicBezTo>
                  <a:cubicBezTo>
                    <a:pt x="93" y="56"/>
                    <a:pt x="92" y="55"/>
                    <a:pt x="86" y="56"/>
                  </a:cubicBezTo>
                  <a:cubicBezTo>
                    <a:pt x="81" y="56"/>
                    <a:pt x="78" y="55"/>
                    <a:pt x="77" y="52"/>
                  </a:cubicBezTo>
                  <a:cubicBezTo>
                    <a:pt x="77" y="48"/>
                    <a:pt x="74" y="46"/>
                    <a:pt x="77" y="45"/>
                  </a:cubicBezTo>
                  <a:cubicBezTo>
                    <a:pt x="79" y="44"/>
                    <a:pt x="75" y="42"/>
                    <a:pt x="75" y="39"/>
                  </a:cubicBezTo>
                  <a:cubicBezTo>
                    <a:pt x="76" y="36"/>
                    <a:pt x="74" y="35"/>
                    <a:pt x="72" y="33"/>
                  </a:cubicBezTo>
                  <a:cubicBezTo>
                    <a:pt x="71" y="32"/>
                    <a:pt x="63" y="34"/>
                    <a:pt x="63" y="31"/>
                  </a:cubicBezTo>
                  <a:cubicBezTo>
                    <a:pt x="63" y="29"/>
                    <a:pt x="59" y="28"/>
                    <a:pt x="57" y="28"/>
                  </a:cubicBezTo>
                  <a:cubicBezTo>
                    <a:pt x="54" y="28"/>
                    <a:pt x="56" y="25"/>
                    <a:pt x="53" y="25"/>
                  </a:cubicBezTo>
                  <a:cubicBezTo>
                    <a:pt x="51" y="26"/>
                    <a:pt x="51" y="24"/>
                    <a:pt x="48" y="24"/>
                  </a:cubicBezTo>
                  <a:cubicBezTo>
                    <a:pt x="44" y="25"/>
                    <a:pt x="42" y="23"/>
                    <a:pt x="38" y="19"/>
                  </a:cubicBezTo>
                  <a:cubicBezTo>
                    <a:pt x="34" y="14"/>
                    <a:pt x="35" y="5"/>
                    <a:pt x="36" y="3"/>
                  </a:cubicBezTo>
                  <a:cubicBezTo>
                    <a:pt x="36" y="0"/>
                    <a:pt x="31" y="2"/>
                    <a:pt x="28" y="2"/>
                  </a:cubicBezTo>
                  <a:cubicBezTo>
                    <a:pt x="25" y="2"/>
                    <a:pt x="22" y="5"/>
                    <a:pt x="19" y="7"/>
                  </a:cubicBezTo>
                  <a:cubicBezTo>
                    <a:pt x="15" y="9"/>
                    <a:pt x="13" y="9"/>
                    <a:pt x="12" y="10"/>
                  </a:cubicBezTo>
                  <a:cubicBezTo>
                    <a:pt x="10" y="12"/>
                    <a:pt x="7" y="13"/>
                    <a:pt x="5" y="12"/>
                  </a:cubicBezTo>
                  <a:cubicBezTo>
                    <a:pt x="4" y="12"/>
                    <a:pt x="3" y="11"/>
                    <a:pt x="2" y="11"/>
                  </a:cubicBezTo>
                  <a:cubicBezTo>
                    <a:pt x="3" y="15"/>
                    <a:pt x="7" y="20"/>
                    <a:pt x="8" y="23"/>
                  </a:cubicBezTo>
                  <a:cubicBezTo>
                    <a:pt x="9" y="25"/>
                    <a:pt x="6" y="26"/>
                    <a:pt x="5" y="27"/>
                  </a:cubicBezTo>
                  <a:cubicBezTo>
                    <a:pt x="4" y="28"/>
                    <a:pt x="6" y="36"/>
                    <a:pt x="6" y="38"/>
                  </a:cubicBezTo>
                  <a:cubicBezTo>
                    <a:pt x="6" y="40"/>
                    <a:pt x="3" y="44"/>
                    <a:pt x="4" y="45"/>
                  </a:cubicBezTo>
                  <a:cubicBezTo>
                    <a:pt x="6" y="46"/>
                    <a:pt x="2" y="50"/>
                    <a:pt x="2" y="52"/>
                  </a:cubicBezTo>
                  <a:cubicBezTo>
                    <a:pt x="2" y="54"/>
                    <a:pt x="5" y="54"/>
                    <a:pt x="5" y="56"/>
                  </a:cubicBezTo>
                  <a:cubicBezTo>
                    <a:pt x="5" y="57"/>
                    <a:pt x="3" y="61"/>
                    <a:pt x="1" y="62"/>
                  </a:cubicBezTo>
                  <a:cubicBezTo>
                    <a:pt x="0" y="63"/>
                    <a:pt x="0" y="64"/>
                    <a:pt x="0" y="65"/>
                  </a:cubicBezTo>
                  <a:cubicBezTo>
                    <a:pt x="1" y="65"/>
                    <a:pt x="1" y="67"/>
                    <a:pt x="4" y="69"/>
                  </a:cubicBezTo>
                  <a:cubicBezTo>
                    <a:pt x="7" y="71"/>
                    <a:pt x="3" y="75"/>
                    <a:pt x="6" y="78"/>
                  </a:cubicBezTo>
                  <a:cubicBezTo>
                    <a:pt x="8" y="81"/>
                    <a:pt x="11" y="81"/>
                    <a:pt x="9" y="82"/>
                  </a:cubicBezTo>
                  <a:cubicBezTo>
                    <a:pt x="7" y="84"/>
                    <a:pt x="9" y="87"/>
                    <a:pt x="7" y="88"/>
                  </a:cubicBezTo>
                  <a:cubicBezTo>
                    <a:pt x="5" y="89"/>
                    <a:pt x="8" y="94"/>
                    <a:pt x="10" y="95"/>
                  </a:cubicBezTo>
                  <a:cubicBezTo>
                    <a:pt x="12" y="96"/>
                    <a:pt x="11" y="100"/>
                    <a:pt x="13" y="102"/>
                  </a:cubicBezTo>
                  <a:cubicBezTo>
                    <a:pt x="15" y="104"/>
                    <a:pt x="14" y="109"/>
                    <a:pt x="15" y="111"/>
                  </a:cubicBezTo>
                  <a:cubicBezTo>
                    <a:pt x="16" y="112"/>
                    <a:pt x="22" y="108"/>
                    <a:pt x="26" y="104"/>
                  </a:cubicBezTo>
                  <a:cubicBezTo>
                    <a:pt x="30" y="100"/>
                    <a:pt x="29" y="104"/>
                    <a:pt x="33" y="104"/>
                  </a:cubicBezTo>
                  <a:cubicBezTo>
                    <a:pt x="37" y="105"/>
                    <a:pt x="41" y="105"/>
                    <a:pt x="42" y="108"/>
                  </a:cubicBezTo>
                  <a:cubicBezTo>
                    <a:pt x="44" y="111"/>
                    <a:pt x="46" y="105"/>
                    <a:pt x="47" y="103"/>
                  </a:cubicBezTo>
                  <a:cubicBezTo>
                    <a:pt x="48" y="102"/>
                    <a:pt x="56" y="104"/>
                    <a:pt x="58" y="103"/>
                  </a:cubicBezTo>
                  <a:cubicBezTo>
                    <a:pt x="59" y="103"/>
                    <a:pt x="60" y="92"/>
                    <a:pt x="60" y="91"/>
                  </a:cubicBezTo>
                  <a:cubicBezTo>
                    <a:pt x="60" y="89"/>
                    <a:pt x="63" y="85"/>
                    <a:pt x="66" y="83"/>
                  </a:cubicBezTo>
                  <a:cubicBezTo>
                    <a:pt x="69" y="81"/>
                    <a:pt x="74" y="83"/>
                    <a:pt x="76" y="82"/>
                  </a:cubicBezTo>
                  <a:cubicBezTo>
                    <a:pt x="78" y="80"/>
                    <a:pt x="82" y="81"/>
                    <a:pt x="85" y="81"/>
                  </a:cubicBezTo>
                  <a:cubicBezTo>
                    <a:pt x="89" y="81"/>
                    <a:pt x="91" y="84"/>
                    <a:pt x="93" y="84"/>
                  </a:cubicBezTo>
                  <a:cubicBezTo>
                    <a:pt x="95" y="84"/>
                    <a:pt x="97" y="81"/>
                    <a:pt x="97" y="78"/>
                  </a:cubicBezTo>
                  <a:cubicBezTo>
                    <a:pt x="96" y="75"/>
                    <a:pt x="99" y="71"/>
                    <a:pt x="98" y="68"/>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75" name="Freeform 118">
              <a:extLst>
                <a:ext uri="{FF2B5EF4-FFF2-40B4-BE49-F238E27FC236}">
                  <a16:creationId xmlns:a16="http://schemas.microsoft.com/office/drawing/2014/main" xmlns="" id="{F3C376BB-E540-4FF8-AA2F-B8DE39B0822E}"/>
                </a:ext>
              </a:extLst>
            </p:cNvPr>
            <p:cNvSpPr>
              <a:spLocks/>
            </p:cNvSpPr>
            <p:nvPr/>
          </p:nvSpPr>
          <p:spPr bwMode="auto">
            <a:xfrm>
              <a:off x="14609984" y="3991641"/>
              <a:ext cx="273050" cy="392112"/>
            </a:xfrm>
            <a:custGeom>
              <a:avLst/>
              <a:gdLst>
                <a:gd name="T0" fmla="*/ 96 w 105"/>
                <a:gd name="T1" fmla="*/ 143 h 150"/>
                <a:gd name="T2" fmla="*/ 96 w 105"/>
                <a:gd name="T3" fmla="*/ 142 h 150"/>
                <a:gd name="T4" fmla="*/ 97 w 105"/>
                <a:gd name="T5" fmla="*/ 139 h 150"/>
                <a:gd name="T6" fmla="*/ 101 w 105"/>
                <a:gd name="T7" fmla="*/ 133 h 150"/>
                <a:gd name="T8" fmla="*/ 98 w 105"/>
                <a:gd name="T9" fmla="*/ 129 h 150"/>
                <a:gd name="T10" fmla="*/ 100 w 105"/>
                <a:gd name="T11" fmla="*/ 122 h 150"/>
                <a:gd name="T12" fmla="*/ 102 w 105"/>
                <a:gd name="T13" fmla="*/ 115 h 150"/>
                <a:gd name="T14" fmla="*/ 101 w 105"/>
                <a:gd name="T15" fmla="*/ 104 h 150"/>
                <a:gd name="T16" fmla="*/ 104 w 105"/>
                <a:gd name="T17" fmla="*/ 100 h 150"/>
                <a:gd name="T18" fmla="*/ 98 w 105"/>
                <a:gd name="T19" fmla="*/ 88 h 150"/>
                <a:gd name="T20" fmla="*/ 90 w 105"/>
                <a:gd name="T21" fmla="*/ 89 h 150"/>
                <a:gd name="T22" fmla="*/ 88 w 105"/>
                <a:gd name="T23" fmla="*/ 78 h 150"/>
                <a:gd name="T24" fmla="*/ 85 w 105"/>
                <a:gd name="T25" fmla="*/ 79 h 150"/>
                <a:gd name="T26" fmla="*/ 76 w 105"/>
                <a:gd name="T27" fmla="*/ 80 h 150"/>
                <a:gd name="T28" fmla="*/ 72 w 105"/>
                <a:gd name="T29" fmla="*/ 76 h 150"/>
                <a:gd name="T30" fmla="*/ 68 w 105"/>
                <a:gd name="T31" fmla="*/ 72 h 150"/>
                <a:gd name="T32" fmla="*/ 65 w 105"/>
                <a:gd name="T33" fmla="*/ 66 h 150"/>
                <a:gd name="T34" fmla="*/ 62 w 105"/>
                <a:gd name="T35" fmla="*/ 59 h 150"/>
                <a:gd name="T36" fmla="*/ 64 w 105"/>
                <a:gd name="T37" fmla="*/ 53 h 150"/>
                <a:gd name="T38" fmla="*/ 67 w 105"/>
                <a:gd name="T39" fmla="*/ 49 h 150"/>
                <a:gd name="T40" fmla="*/ 70 w 105"/>
                <a:gd name="T41" fmla="*/ 42 h 150"/>
                <a:gd name="T42" fmla="*/ 77 w 105"/>
                <a:gd name="T43" fmla="*/ 37 h 150"/>
                <a:gd name="T44" fmla="*/ 87 w 105"/>
                <a:gd name="T45" fmla="*/ 33 h 150"/>
                <a:gd name="T46" fmla="*/ 93 w 105"/>
                <a:gd name="T47" fmla="*/ 33 h 150"/>
                <a:gd name="T48" fmla="*/ 88 w 105"/>
                <a:gd name="T49" fmla="*/ 29 h 150"/>
                <a:gd name="T50" fmla="*/ 93 w 105"/>
                <a:gd name="T51" fmla="*/ 22 h 150"/>
                <a:gd name="T52" fmla="*/ 87 w 105"/>
                <a:gd name="T53" fmla="*/ 17 h 150"/>
                <a:gd name="T54" fmla="*/ 81 w 105"/>
                <a:gd name="T55" fmla="*/ 18 h 150"/>
                <a:gd name="T56" fmla="*/ 77 w 105"/>
                <a:gd name="T57" fmla="*/ 18 h 150"/>
                <a:gd name="T58" fmla="*/ 67 w 105"/>
                <a:gd name="T59" fmla="*/ 17 h 150"/>
                <a:gd name="T60" fmla="*/ 64 w 105"/>
                <a:gd name="T61" fmla="*/ 12 h 150"/>
                <a:gd name="T62" fmla="*/ 59 w 105"/>
                <a:gd name="T63" fmla="*/ 7 h 150"/>
                <a:gd name="T64" fmla="*/ 55 w 105"/>
                <a:gd name="T65" fmla="*/ 0 h 150"/>
                <a:gd name="T66" fmla="*/ 48 w 105"/>
                <a:gd name="T67" fmla="*/ 1 h 150"/>
                <a:gd name="T68" fmla="*/ 49 w 105"/>
                <a:gd name="T69" fmla="*/ 6 h 150"/>
                <a:gd name="T70" fmla="*/ 45 w 105"/>
                <a:gd name="T71" fmla="*/ 15 h 150"/>
                <a:gd name="T72" fmla="*/ 29 w 105"/>
                <a:gd name="T73" fmla="*/ 23 h 150"/>
                <a:gd name="T74" fmla="*/ 22 w 105"/>
                <a:gd name="T75" fmla="*/ 36 h 150"/>
                <a:gd name="T76" fmla="*/ 16 w 105"/>
                <a:gd name="T77" fmla="*/ 36 h 150"/>
                <a:gd name="T78" fmla="*/ 10 w 105"/>
                <a:gd name="T79" fmla="*/ 35 h 150"/>
                <a:gd name="T80" fmla="*/ 10 w 105"/>
                <a:gd name="T81" fmla="*/ 31 h 150"/>
                <a:gd name="T82" fmla="*/ 9 w 105"/>
                <a:gd name="T83" fmla="*/ 26 h 150"/>
                <a:gd name="T84" fmla="*/ 2 w 105"/>
                <a:gd name="T85" fmla="*/ 33 h 150"/>
                <a:gd name="T86" fmla="*/ 5 w 105"/>
                <a:gd name="T87" fmla="*/ 44 h 150"/>
                <a:gd name="T88" fmla="*/ 2 w 105"/>
                <a:gd name="T89" fmla="*/ 47 h 150"/>
                <a:gd name="T90" fmla="*/ 11 w 105"/>
                <a:gd name="T91" fmla="*/ 54 h 150"/>
                <a:gd name="T92" fmla="*/ 19 w 105"/>
                <a:gd name="T93" fmla="*/ 65 h 150"/>
                <a:gd name="T94" fmla="*/ 25 w 105"/>
                <a:gd name="T95" fmla="*/ 77 h 150"/>
                <a:gd name="T96" fmla="*/ 37 w 105"/>
                <a:gd name="T97" fmla="*/ 101 h 150"/>
                <a:gd name="T98" fmla="*/ 42 w 105"/>
                <a:gd name="T99" fmla="*/ 111 h 150"/>
                <a:gd name="T100" fmla="*/ 45 w 105"/>
                <a:gd name="T101" fmla="*/ 118 h 150"/>
                <a:gd name="T102" fmla="*/ 58 w 105"/>
                <a:gd name="T103" fmla="*/ 127 h 150"/>
                <a:gd name="T104" fmla="*/ 81 w 105"/>
                <a:gd name="T105" fmla="*/ 141 h 150"/>
                <a:gd name="T106" fmla="*/ 91 w 105"/>
                <a:gd name="T107" fmla="*/ 149 h 150"/>
                <a:gd name="T108" fmla="*/ 91 w 105"/>
                <a:gd name="T109" fmla="*/ 150 h 150"/>
                <a:gd name="T110" fmla="*/ 93 w 105"/>
                <a:gd name="T111" fmla="*/ 149 h 150"/>
                <a:gd name="T112" fmla="*/ 96 w 105"/>
                <a:gd name="T113" fmla="*/ 143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5" h="150">
                  <a:moveTo>
                    <a:pt x="96" y="143"/>
                  </a:moveTo>
                  <a:cubicBezTo>
                    <a:pt x="96" y="142"/>
                    <a:pt x="96" y="142"/>
                    <a:pt x="96" y="142"/>
                  </a:cubicBezTo>
                  <a:cubicBezTo>
                    <a:pt x="96" y="141"/>
                    <a:pt x="96" y="140"/>
                    <a:pt x="97" y="139"/>
                  </a:cubicBezTo>
                  <a:cubicBezTo>
                    <a:pt x="99" y="138"/>
                    <a:pt x="101" y="134"/>
                    <a:pt x="101" y="133"/>
                  </a:cubicBezTo>
                  <a:cubicBezTo>
                    <a:pt x="101" y="131"/>
                    <a:pt x="98" y="131"/>
                    <a:pt x="98" y="129"/>
                  </a:cubicBezTo>
                  <a:cubicBezTo>
                    <a:pt x="98" y="127"/>
                    <a:pt x="102" y="123"/>
                    <a:pt x="100" y="122"/>
                  </a:cubicBezTo>
                  <a:cubicBezTo>
                    <a:pt x="99" y="121"/>
                    <a:pt x="102" y="117"/>
                    <a:pt x="102" y="115"/>
                  </a:cubicBezTo>
                  <a:cubicBezTo>
                    <a:pt x="102" y="113"/>
                    <a:pt x="100" y="105"/>
                    <a:pt x="101" y="104"/>
                  </a:cubicBezTo>
                  <a:cubicBezTo>
                    <a:pt x="102" y="103"/>
                    <a:pt x="105" y="102"/>
                    <a:pt x="104" y="100"/>
                  </a:cubicBezTo>
                  <a:cubicBezTo>
                    <a:pt x="103" y="97"/>
                    <a:pt x="99" y="92"/>
                    <a:pt x="98" y="88"/>
                  </a:cubicBezTo>
                  <a:cubicBezTo>
                    <a:pt x="95" y="88"/>
                    <a:pt x="92" y="88"/>
                    <a:pt x="90" y="89"/>
                  </a:cubicBezTo>
                  <a:cubicBezTo>
                    <a:pt x="88" y="90"/>
                    <a:pt x="88" y="81"/>
                    <a:pt x="88" y="78"/>
                  </a:cubicBezTo>
                  <a:cubicBezTo>
                    <a:pt x="88" y="75"/>
                    <a:pt x="86" y="77"/>
                    <a:pt x="85" y="79"/>
                  </a:cubicBezTo>
                  <a:cubicBezTo>
                    <a:pt x="84" y="81"/>
                    <a:pt x="80" y="80"/>
                    <a:pt x="76" y="80"/>
                  </a:cubicBezTo>
                  <a:cubicBezTo>
                    <a:pt x="72" y="80"/>
                    <a:pt x="74" y="75"/>
                    <a:pt x="72" y="76"/>
                  </a:cubicBezTo>
                  <a:cubicBezTo>
                    <a:pt x="70" y="76"/>
                    <a:pt x="68" y="75"/>
                    <a:pt x="68" y="72"/>
                  </a:cubicBezTo>
                  <a:cubicBezTo>
                    <a:pt x="68" y="70"/>
                    <a:pt x="66" y="68"/>
                    <a:pt x="65" y="66"/>
                  </a:cubicBezTo>
                  <a:cubicBezTo>
                    <a:pt x="63" y="63"/>
                    <a:pt x="61" y="60"/>
                    <a:pt x="62" y="59"/>
                  </a:cubicBezTo>
                  <a:cubicBezTo>
                    <a:pt x="64" y="57"/>
                    <a:pt x="61" y="56"/>
                    <a:pt x="64" y="53"/>
                  </a:cubicBezTo>
                  <a:cubicBezTo>
                    <a:pt x="66" y="51"/>
                    <a:pt x="68" y="52"/>
                    <a:pt x="67" y="49"/>
                  </a:cubicBezTo>
                  <a:cubicBezTo>
                    <a:pt x="66" y="46"/>
                    <a:pt x="70" y="45"/>
                    <a:pt x="70" y="42"/>
                  </a:cubicBezTo>
                  <a:cubicBezTo>
                    <a:pt x="70" y="38"/>
                    <a:pt x="74" y="39"/>
                    <a:pt x="77" y="37"/>
                  </a:cubicBezTo>
                  <a:cubicBezTo>
                    <a:pt x="80" y="34"/>
                    <a:pt x="84" y="36"/>
                    <a:pt x="87" y="33"/>
                  </a:cubicBezTo>
                  <a:cubicBezTo>
                    <a:pt x="89" y="31"/>
                    <a:pt x="91" y="33"/>
                    <a:pt x="93" y="33"/>
                  </a:cubicBezTo>
                  <a:cubicBezTo>
                    <a:pt x="92" y="31"/>
                    <a:pt x="89" y="30"/>
                    <a:pt x="88" y="29"/>
                  </a:cubicBezTo>
                  <a:cubicBezTo>
                    <a:pt x="88" y="27"/>
                    <a:pt x="91" y="24"/>
                    <a:pt x="93" y="22"/>
                  </a:cubicBezTo>
                  <a:cubicBezTo>
                    <a:pt x="94" y="20"/>
                    <a:pt x="88" y="18"/>
                    <a:pt x="87" y="17"/>
                  </a:cubicBezTo>
                  <a:cubicBezTo>
                    <a:pt x="85" y="17"/>
                    <a:pt x="83" y="19"/>
                    <a:pt x="81" y="18"/>
                  </a:cubicBezTo>
                  <a:cubicBezTo>
                    <a:pt x="80" y="17"/>
                    <a:pt x="78" y="17"/>
                    <a:pt x="77" y="18"/>
                  </a:cubicBezTo>
                  <a:cubicBezTo>
                    <a:pt x="76" y="19"/>
                    <a:pt x="67" y="20"/>
                    <a:pt x="67" y="17"/>
                  </a:cubicBezTo>
                  <a:cubicBezTo>
                    <a:pt x="68" y="15"/>
                    <a:pt x="64" y="14"/>
                    <a:pt x="64" y="12"/>
                  </a:cubicBezTo>
                  <a:cubicBezTo>
                    <a:pt x="65" y="10"/>
                    <a:pt x="62" y="7"/>
                    <a:pt x="59" y="7"/>
                  </a:cubicBezTo>
                  <a:cubicBezTo>
                    <a:pt x="56" y="7"/>
                    <a:pt x="57" y="2"/>
                    <a:pt x="55" y="0"/>
                  </a:cubicBezTo>
                  <a:cubicBezTo>
                    <a:pt x="53" y="0"/>
                    <a:pt x="50" y="0"/>
                    <a:pt x="48" y="1"/>
                  </a:cubicBezTo>
                  <a:cubicBezTo>
                    <a:pt x="50" y="4"/>
                    <a:pt x="51" y="5"/>
                    <a:pt x="49" y="6"/>
                  </a:cubicBezTo>
                  <a:cubicBezTo>
                    <a:pt x="47" y="8"/>
                    <a:pt x="49" y="9"/>
                    <a:pt x="45" y="15"/>
                  </a:cubicBezTo>
                  <a:cubicBezTo>
                    <a:pt x="41" y="20"/>
                    <a:pt x="33" y="22"/>
                    <a:pt x="29" y="23"/>
                  </a:cubicBezTo>
                  <a:cubicBezTo>
                    <a:pt x="26" y="24"/>
                    <a:pt x="24" y="31"/>
                    <a:pt x="22" y="36"/>
                  </a:cubicBezTo>
                  <a:cubicBezTo>
                    <a:pt x="20" y="41"/>
                    <a:pt x="18" y="39"/>
                    <a:pt x="16" y="36"/>
                  </a:cubicBezTo>
                  <a:cubicBezTo>
                    <a:pt x="14" y="33"/>
                    <a:pt x="12" y="37"/>
                    <a:pt x="10" y="35"/>
                  </a:cubicBezTo>
                  <a:cubicBezTo>
                    <a:pt x="8" y="32"/>
                    <a:pt x="9" y="32"/>
                    <a:pt x="10" y="31"/>
                  </a:cubicBezTo>
                  <a:cubicBezTo>
                    <a:pt x="11" y="30"/>
                    <a:pt x="10" y="28"/>
                    <a:pt x="9" y="26"/>
                  </a:cubicBezTo>
                  <a:cubicBezTo>
                    <a:pt x="6" y="27"/>
                    <a:pt x="3" y="31"/>
                    <a:pt x="2" y="33"/>
                  </a:cubicBezTo>
                  <a:cubicBezTo>
                    <a:pt x="0" y="36"/>
                    <a:pt x="4" y="42"/>
                    <a:pt x="5" y="44"/>
                  </a:cubicBezTo>
                  <a:cubicBezTo>
                    <a:pt x="5" y="47"/>
                    <a:pt x="3" y="45"/>
                    <a:pt x="2" y="47"/>
                  </a:cubicBezTo>
                  <a:cubicBezTo>
                    <a:pt x="2" y="49"/>
                    <a:pt x="8" y="51"/>
                    <a:pt x="11" y="54"/>
                  </a:cubicBezTo>
                  <a:cubicBezTo>
                    <a:pt x="14" y="56"/>
                    <a:pt x="16" y="62"/>
                    <a:pt x="19" y="65"/>
                  </a:cubicBezTo>
                  <a:cubicBezTo>
                    <a:pt x="22" y="67"/>
                    <a:pt x="22" y="70"/>
                    <a:pt x="25" y="77"/>
                  </a:cubicBezTo>
                  <a:cubicBezTo>
                    <a:pt x="28" y="84"/>
                    <a:pt x="33" y="96"/>
                    <a:pt x="37" y="101"/>
                  </a:cubicBezTo>
                  <a:cubicBezTo>
                    <a:pt x="41" y="106"/>
                    <a:pt x="43" y="110"/>
                    <a:pt x="42" y="111"/>
                  </a:cubicBezTo>
                  <a:cubicBezTo>
                    <a:pt x="41" y="112"/>
                    <a:pt x="42" y="116"/>
                    <a:pt x="45" y="118"/>
                  </a:cubicBezTo>
                  <a:cubicBezTo>
                    <a:pt x="48" y="120"/>
                    <a:pt x="50" y="123"/>
                    <a:pt x="58" y="127"/>
                  </a:cubicBezTo>
                  <a:cubicBezTo>
                    <a:pt x="65" y="131"/>
                    <a:pt x="79" y="138"/>
                    <a:pt x="81" y="141"/>
                  </a:cubicBezTo>
                  <a:cubicBezTo>
                    <a:pt x="83" y="145"/>
                    <a:pt x="89" y="148"/>
                    <a:pt x="91" y="149"/>
                  </a:cubicBezTo>
                  <a:cubicBezTo>
                    <a:pt x="91" y="149"/>
                    <a:pt x="91" y="150"/>
                    <a:pt x="91" y="150"/>
                  </a:cubicBezTo>
                  <a:cubicBezTo>
                    <a:pt x="92" y="150"/>
                    <a:pt x="92" y="149"/>
                    <a:pt x="93" y="149"/>
                  </a:cubicBezTo>
                  <a:cubicBezTo>
                    <a:pt x="95" y="148"/>
                    <a:pt x="95" y="144"/>
                    <a:pt x="96" y="143"/>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76" name="Freeform 119">
              <a:extLst>
                <a:ext uri="{FF2B5EF4-FFF2-40B4-BE49-F238E27FC236}">
                  <a16:creationId xmlns:a16="http://schemas.microsoft.com/office/drawing/2014/main" xmlns="" id="{4F73650C-C6BF-4234-8F8B-94FE8A01C11E}"/>
                </a:ext>
              </a:extLst>
            </p:cNvPr>
            <p:cNvSpPr>
              <a:spLocks/>
            </p:cNvSpPr>
            <p:nvPr/>
          </p:nvSpPr>
          <p:spPr bwMode="auto">
            <a:xfrm>
              <a:off x="14779847" y="3731291"/>
              <a:ext cx="292100" cy="244475"/>
            </a:xfrm>
            <a:custGeom>
              <a:avLst/>
              <a:gdLst>
                <a:gd name="T0" fmla="*/ 11 w 112"/>
                <a:gd name="T1" fmla="*/ 6 h 94"/>
                <a:gd name="T2" fmla="*/ 4 w 112"/>
                <a:gd name="T3" fmla="*/ 15 h 94"/>
                <a:gd name="T4" fmla="*/ 3 w 112"/>
                <a:gd name="T5" fmla="*/ 21 h 94"/>
                <a:gd name="T6" fmla="*/ 2 w 112"/>
                <a:gd name="T7" fmla="*/ 25 h 94"/>
                <a:gd name="T8" fmla="*/ 6 w 112"/>
                <a:gd name="T9" fmla="*/ 26 h 94"/>
                <a:gd name="T10" fmla="*/ 9 w 112"/>
                <a:gd name="T11" fmla="*/ 32 h 94"/>
                <a:gd name="T12" fmla="*/ 14 w 112"/>
                <a:gd name="T13" fmla="*/ 42 h 94"/>
                <a:gd name="T14" fmla="*/ 28 w 112"/>
                <a:gd name="T15" fmla="*/ 43 h 94"/>
                <a:gd name="T16" fmla="*/ 39 w 112"/>
                <a:gd name="T17" fmla="*/ 48 h 94"/>
                <a:gd name="T18" fmla="*/ 49 w 112"/>
                <a:gd name="T19" fmla="*/ 51 h 94"/>
                <a:gd name="T20" fmla="*/ 47 w 112"/>
                <a:gd name="T21" fmla="*/ 66 h 94"/>
                <a:gd name="T22" fmla="*/ 50 w 112"/>
                <a:gd name="T23" fmla="*/ 72 h 94"/>
                <a:gd name="T24" fmla="*/ 50 w 112"/>
                <a:gd name="T25" fmla="*/ 78 h 94"/>
                <a:gd name="T26" fmla="*/ 51 w 112"/>
                <a:gd name="T27" fmla="*/ 82 h 94"/>
                <a:gd name="T28" fmla="*/ 50 w 112"/>
                <a:gd name="T29" fmla="*/ 83 h 94"/>
                <a:gd name="T30" fmla="*/ 56 w 112"/>
                <a:gd name="T31" fmla="*/ 91 h 94"/>
                <a:gd name="T32" fmla="*/ 61 w 112"/>
                <a:gd name="T33" fmla="*/ 93 h 94"/>
                <a:gd name="T34" fmla="*/ 65 w 112"/>
                <a:gd name="T35" fmla="*/ 92 h 94"/>
                <a:gd name="T36" fmla="*/ 71 w 112"/>
                <a:gd name="T37" fmla="*/ 89 h 94"/>
                <a:gd name="T38" fmla="*/ 76 w 112"/>
                <a:gd name="T39" fmla="*/ 86 h 94"/>
                <a:gd name="T40" fmla="*/ 81 w 112"/>
                <a:gd name="T41" fmla="*/ 82 h 94"/>
                <a:gd name="T42" fmla="*/ 82 w 112"/>
                <a:gd name="T43" fmla="*/ 79 h 94"/>
                <a:gd name="T44" fmla="*/ 78 w 112"/>
                <a:gd name="T45" fmla="*/ 78 h 94"/>
                <a:gd name="T46" fmla="*/ 75 w 112"/>
                <a:gd name="T47" fmla="*/ 73 h 94"/>
                <a:gd name="T48" fmla="*/ 72 w 112"/>
                <a:gd name="T49" fmla="*/ 67 h 94"/>
                <a:gd name="T50" fmla="*/ 78 w 112"/>
                <a:gd name="T51" fmla="*/ 66 h 94"/>
                <a:gd name="T52" fmla="*/ 85 w 112"/>
                <a:gd name="T53" fmla="*/ 68 h 94"/>
                <a:gd name="T54" fmla="*/ 88 w 112"/>
                <a:gd name="T55" fmla="*/ 68 h 94"/>
                <a:gd name="T56" fmla="*/ 93 w 112"/>
                <a:gd name="T57" fmla="*/ 65 h 94"/>
                <a:gd name="T58" fmla="*/ 103 w 112"/>
                <a:gd name="T59" fmla="*/ 61 h 94"/>
                <a:gd name="T60" fmla="*/ 105 w 112"/>
                <a:gd name="T61" fmla="*/ 58 h 94"/>
                <a:gd name="T62" fmla="*/ 100 w 112"/>
                <a:gd name="T63" fmla="*/ 52 h 94"/>
                <a:gd name="T64" fmla="*/ 101 w 112"/>
                <a:gd name="T65" fmla="*/ 48 h 94"/>
                <a:gd name="T66" fmla="*/ 105 w 112"/>
                <a:gd name="T67" fmla="*/ 44 h 94"/>
                <a:gd name="T68" fmla="*/ 106 w 112"/>
                <a:gd name="T69" fmla="*/ 39 h 94"/>
                <a:gd name="T70" fmla="*/ 109 w 112"/>
                <a:gd name="T71" fmla="*/ 34 h 94"/>
                <a:gd name="T72" fmla="*/ 112 w 112"/>
                <a:gd name="T73" fmla="*/ 30 h 94"/>
                <a:gd name="T74" fmla="*/ 100 w 112"/>
                <a:gd name="T75" fmla="*/ 29 h 94"/>
                <a:gd name="T76" fmla="*/ 102 w 112"/>
                <a:gd name="T77" fmla="*/ 22 h 94"/>
                <a:gd name="T78" fmla="*/ 90 w 112"/>
                <a:gd name="T79" fmla="*/ 18 h 94"/>
                <a:gd name="T80" fmla="*/ 91 w 112"/>
                <a:gd name="T81" fmla="*/ 13 h 94"/>
                <a:gd name="T82" fmla="*/ 85 w 112"/>
                <a:gd name="T83" fmla="*/ 11 h 94"/>
                <a:gd name="T84" fmla="*/ 69 w 112"/>
                <a:gd name="T85" fmla="*/ 17 h 94"/>
                <a:gd name="T86" fmla="*/ 54 w 112"/>
                <a:gd name="T87" fmla="*/ 12 h 94"/>
                <a:gd name="T88" fmla="*/ 43 w 112"/>
                <a:gd name="T89" fmla="*/ 11 h 94"/>
                <a:gd name="T90" fmla="*/ 37 w 112"/>
                <a:gd name="T91" fmla="*/ 4 h 94"/>
                <a:gd name="T92" fmla="*/ 30 w 112"/>
                <a:gd name="T93" fmla="*/ 0 h 94"/>
                <a:gd name="T94" fmla="*/ 28 w 112"/>
                <a:gd name="T95" fmla="*/ 5 h 94"/>
                <a:gd name="T96" fmla="*/ 17 w 112"/>
                <a:gd name="T97" fmla="*/ 11 h 94"/>
                <a:gd name="T98" fmla="*/ 20 w 112"/>
                <a:gd name="T99" fmla="*/ 23 h 94"/>
                <a:gd name="T100" fmla="*/ 11 w 112"/>
                <a:gd name="T101" fmla="*/ 20 h 94"/>
                <a:gd name="T102" fmla="*/ 15 w 112"/>
                <a:gd name="T103" fmla="*/ 10 h 94"/>
                <a:gd name="T104" fmla="*/ 14 w 112"/>
                <a:gd name="T105" fmla="*/ 4 h 94"/>
                <a:gd name="T106" fmla="*/ 11 w 112"/>
                <a:gd name="T107" fmla="*/ 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2" h="94">
                  <a:moveTo>
                    <a:pt x="11" y="6"/>
                  </a:moveTo>
                  <a:cubicBezTo>
                    <a:pt x="9" y="9"/>
                    <a:pt x="4" y="12"/>
                    <a:pt x="4" y="15"/>
                  </a:cubicBezTo>
                  <a:cubicBezTo>
                    <a:pt x="4" y="18"/>
                    <a:pt x="4" y="19"/>
                    <a:pt x="3" y="21"/>
                  </a:cubicBezTo>
                  <a:cubicBezTo>
                    <a:pt x="2" y="22"/>
                    <a:pt x="0" y="25"/>
                    <a:pt x="2" y="25"/>
                  </a:cubicBezTo>
                  <a:cubicBezTo>
                    <a:pt x="4" y="24"/>
                    <a:pt x="6" y="24"/>
                    <a:pt x="6" y="26"/>
                  </a:cubicBezTo>
                  <a:cubicBezTo>
                    <a:pt x="6" y="28"/>
                    <a:pt x="9" y="29"/>
                    <a:pt x="9" y="32"/>
                  </a:cubicBezTo>
                  <a:cubicBezTo>
                    <a:pt x="9" y="35"/>
                    <a:pt x="7" y="42"/>
                    <a:pt x="14" y="42"/>
                  </a:cubicBezTo>
                  <a:cubicBezTo>
                    <a:pt x="21" y="42"/>
                    <a:pt x="25" y="40"/>
                    <a:pt x="28" y="43"/>
                  </a:cubicBezTo>
                  <a:cubicBezTo>
                    <a:pt x="31" y="47"/>
                    <a:pt x="35" y="49"/>
                    <a:pt x="39" y="48"/>
                  </a:cubicBezTo>
                  <a:cubicBezTo>
                    <a:pt x="44" y="48"/>
                    <a:pt x="51" y="47"/>
                    <a:pt x="49" y="51"/>
                  </a:cubicBezTo>
                  <a:cubicBezTo>
                    <a:pt x="46" y="55"/>
                    <a:pt x="45" y="63"/>
                    <a:pt x="47" y="66"/>
                  </a:cubicBezTo>
                  <a:cubicBezTo>
                    <a:pt x="49" y="68"/>
                    <a:pt x="52" y="70"/>
                    <a:pt x="50" y="72"/>
                  </a:cubicBezTo>
                  <a:cubicBezTo>
                    <a:pt x="48" y="74"/>
                    <a:pt x="47" y="76"/>
                    <a:pt x="50" y="78"/>
                  </a:cubicBezTo>
                  <a:cubicBezTo>
                    <a:pt x="52" y="79"/>
                    <a:pt x="51" y="81"/>
                    <a:pt x="51" y="82"/>
                  </a:cubicBezTo>
                  <a:cubicBezTo>
                    <a:pt x="51" y="82"/>
                    <a:pt x="51" y="82"/>
                    <a:pt x="50" y="83"/>
                  </a:cubicBezTo>
                  <a:cubicBezTo>
                    <a:pt x="53" y="86"/>
                    <a:pt x="54" y="89"/>
                    <a:pt x="56" y="91"/>
                  </a:cubicBezTo>
                  <a:cubicBezTo>
                    <a:pt x="59" y="93"/>
                    <a:pt x="59" y="94"/>
                    <a:pt x="61" y="93"/>
                  </a:cubicBezTo>
                  <a:cubicBezTo>
                    <a:pt x="63" y="92"/>
                    <a:pt x="64" y="91"/>
                    <a:pt x="65" y="92"/>
                  </a:cubicBezTo>
                  <a:cubicBezTo>
                    <a:pt x="67" y="93"/>
                    <a:pt x="69" y="91"/>
                    <a:pt x="71" y="89"/>
                  </a:cubicBezTo>
                  <a:cubicBezTo>
                    <a:pt x="73" y="87"/>
                    <a:pt x="75" y="89"/>
                    <a:pt x="76" y="86"/>
                  </a:cubicBezTo>
                  <a:cubicBezTo>
                    <a:pt x="77" y="84"/>
                    <a:pt x="78" y="82"/>
                    <a:pt x="81" y="82"/>
                  </a:cubicBezTo>
                  <a:cubicBezTo>
                    <a:pt x="83" y="81"/>
                    <a:pt x="83" y="79"/>
                    <a:pt x="82" y="79"/>
                  </a:cubicBezTo>
                  <a:cubicBezTo>
                    <a:pt x="80" y="79"/>
                    <a:pt x="78" y="81"/>
                    <a:pt x="78" y="78"/>
                  </a:cubicBezTo>
                  <a:cubicBezTo>
                    <a:pt x="78" y="74"/>
                    <a:pt x="75" y="75"/>
                    <a:pt x="75" y="73"/>
                  </a:cubicBezTo>
                  <a:cubicBezTo>
                    <a:pt x="75" y="70"/>
                    <a:pt x="75" y="68"/>
                    <a:pt x="72" y="67"/>
                  </a:cubicBezTo>
                  <a:cubicBezTo>
                    <a:pt x="69" y="65"/>
                    <a:pt x="76" y="64"/>
                    <a:pt x="78" y="66"/>
                  </a:cubicBezTo>
                  <a:cubicBezTo>
                    <a:pt x="79" y="67"/>
                    <a:pt x="84" y="66"/>
                    <a:pt x="85" y="68"/>
                  </a:cubicBezTo>
                  <a:cubicBezTo>
                    <a:pt x="85" y="70"/>
                    <a:pt x="88" y="71"/>
                    <a:pt x="88" y="68"/>
                  </a:cubicBezTo>
                  <a:cubicBezTo>
                    <a:pt x="88" y="66"/>
                    <a:pt x="91" y="65"/>
                    <a:pt x="93" y="65"/>
                  </a:cubicBezTo>
                  <a:cubicBezTo>
                    <a:pt x="96" y="66"/>
                    <a:pt x="101" y="62"/>
                    <a:pt x="103" y="61"/>
                  </a:cubicBezTo>
                  <a:cubicBezTo>
                    <a:pt x="104" y="61"/>
                    <a:pt x="105" y="59"/>
                    <a:pt x="105" y="58"/>
                  </a:cubicBezTo>
                  <a:cubicBezTo>
                    <a:pt x="104" y="56"/>
                    <a:pt x="101" y="53"/>
                    <a:pt x="100" y="52"/>
                  </a:cubicBezTo>
                  <a:cubicBezTo>
                    <a:pt x="98" y="50"/>
                    <a:pt x="101" y="50"/>
                    <a:pt x="101" y="48"/>
                  </a:cubicBezTo>
                  <a:cubicBezTo>
                    <a:pt x="101" y="45"/>
                    <a:pt x="101" y="44"/>
                    <a:pt x="105" y="44"/>
                  </a:cubicBezTo>
                  <a:cubicBezTo>
                    <a:pt x="108" y="43"/>
                    <a:pt x="108" y="41"/>
                    <a:pt x="106" y="39"/>
                  </a:cubicBezTo>
                  <a:cubicBezTo>
                    <a:pt x="104" y="38"/>
                    <a:pt x="107" y="35"/>
                    <a:pt x="109" y="34"/>
                  </a:cubicBezTo>
                  <a:cubicBezTo>
                    <a:pt x="110" y="33"/>
                    <a:pt x="111" y="32"/>
                    <a:pt x="112" y="30"/>
                  </a:cubicBezTo>
                  <a:cubicBezTo>
                    <a:pt x="108" y="29"/>
                    <a:pt x="102" y="29"/>
                    <a:pt x="100" y="29"/>
                  </a:cubicBezTo>
                  <a:cubicBezTo>
                    <a:pt x="97" y="29"/>
                    <a:pt x="102" y="25"/>
                    <a:pt x="102" y="22"/>
                  </a:cubicBezTo>
                  <a:cubicBezTo>
                    <a:pt x="102" y="19"/>
                    <a:pt x="94" y="19"/>
                    <a:pt x="90" y="18"/>
                  </a:cubicBezTo>
                  <a:cubicBezTo>
                    <a:pt x="87" y="17"/>
                    <a:pt x="88" y="14"/>
                    <a:pt x="91" y="13"/>
                  </a:cubicBezTo>
                  <a:cubicBezTo>
                    <a:pt x="95" y="13"/>
                    <a:pt x="89" y="11"/>
                    <a:pt x="85" y="11"/>
                  </a:cubicBezTo>
                  <a:cubicBezTo>
                    <a:pt x="80" y="12"/>
                    <a:pt x="73" y="15"/>
                    <a:pt x="69" y="17"/>
                  </a:cubicBezTo>
                  <a:cubicBezTo>
                    <a:pt x="65" y="19"/>
                    <a:pt x="58" y="11"/>
                    <a:pt x="54" y="12"/>
                  </a:cubicBezTo>
                  <a:cubicBezTo>
                    <a:pt x="49" y="14"/>
                    <a:pt x="43" y="14"/>
                    <a:pt x="43" y="11"/>
                  </a:cubicBezTo>
                  <a:cubicBezTo>
                    <a:pt x="44" y="7"/>
                    <a:pt x="42" y="4"/>
                    <a:pt x="37" y="4"/>
                  </a:cubicBezTo>
                  <a:cubicBezTo>
                    <a:pt x="33" y="5"/>
                    <a:pt x="34" y="0"/>
                    <a:pt x="30" y="0"/>
                  </a:cubicBezTo>
                  <a:cubicBezTo>
                    <a:pt x="27" y="0"/>
                    <a:pt x="30" y="4"/>
                    <a:pt x="28" y="5"/>
                  </a:cubicBezTo>
                  <a:cubicBezTo>
                    <a:pt x="26" y="6"/>
                    <a:pt x="18" y="8"/>
                    <a:pt x="17" y="11"/>
                  </a:cubicBezTo>
                  <a:cubicBezTo>
                    <a:pt x="17" y="15"/>
                    <a:pt x="21" y="20"/>
                    <a:pt x="20" y="23"/>
                  </a:cubicBezTo>
                  <a:cubicBezTo>
                    <a:pt x="18" y="26"/>
                    <a:pt x="13" y="24"/>
                    <a:pt x="11" y="20"/>
                  </a:cubicBezTo>
                  <a:cubicBezTo>
                    <a:pt x="10" y="17"/>
                    <a:pt x="16" y="12"/>
                    <a:pt x="15" y="10"/>
                  </a:cubicBezTo>
                  <a:cubicBezTo>
                    <a:pt x="14" y="8"/>
                    <a:pt x="13" y="6"/>
                    <a:pt x="14" y="4"/>
                  </a:cubicBezTo>
                  <a:cubicBezTo>
                    <a:pt x="13" y="5"/>
                    <a:pt x="12" y="5"/>
                    <a:pt x="11" y="6"/>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77" name="Freeform 120">
              <a:extLst>
                <a:ext uri="{FF2B5EF4-FFF2-40B4-BE49-F238E27FC236}">
                  <a16:creationId xmlns:a16="http://schemas.microsoft.com/office/drawing/2014/main" xmlns="" id="{E9D11318-2AA2-4173-9581-10C1A0165B55}"/>
                </a:ext>
              </a:extLst>
            </p:cNvPr>
            <p:cNvSpPr>
              <a:spLocks/>
            </p:cNvSpPr>
            <p:nvPr/>
          </p:nvSpPr>
          <p:spPr bwMode="auto">
            <a:xfrm>
              <a:off x="15105284" y="3856704"/>
              <a:ext cx="88900" cy="93662"/>
            </a:xfrm>
            <a:custGeom>
              <a:avLst/>
              <a:gdLst>
                <a:gd name="T0" fmla="*/ 8 w 34"/>
                <a:gd name="T1" fmla="*/ 7 h 36"/>
                <a:gd name="T2" fmla="*/ 5 w 34"/>
                <a:gd name="T3" fmla="*/ 11 h 36"/>
                <a:gd name="T4" fmla="*/ 1 w 34"/>
                <a:gd name="T5" fmla="*/ 18 h 36"/>
                <a:gd name="T6" fmla="*/ 8 w 34"/>
                <a:gd name="T7" fmla="*/ 26 h 36"/>
                <a:gd name="T8" fmla="*/ 13 w 34"/>
                <a:gd name="T9" fmla="*/ 35 h 36"/>
                <a:gd name="T10" fmla="*/ 17 w 34"/>
                <a:gd name="T11" fmla="*/ 36 h 36"/>
                <a:gd name="T12" fmla="*/ 20 w 34"/>
                <a:gd name="T13" fmla="*/ 31 h 36"/>
                <a:gd name="T14" fmla="*/ 29 w 34"/>
                <a:gd name="T15" fmla="*/ 31 h 36"/>
                <a:gd name="T16" fmla="*/ 30 w 34"/>
                <a:gd name="T17" fmla="*/ 32 h 36"/>
                <a:gd name="T18" fmla="*/ 32 w 34"/>
                <a:gd name="T19" fmla="*/ 28 h 36"/>
                <a:gd name="T20" fmla="*/ 31 w 34"/>
                <a:gd name="T21" fmla="*/ 17 h 36"/>
                <a:gd name="T22" fmla="*/ 33 w 34"/>
                <a:gd name="T23" fmla="*/ 8 h 36"/>
                <a:gd name="T24" fmla="*/ 34 w 34"/>
                <a:gd name="T25" fmla="*/ 4 h 36"/>
                <a:gd name="T26" fmla="*/ 26 w 34"/>
                <a:gd name="T27" fmla="*/ 2 h 36"/>
                <a:gd name="T28" fmla="*/ 16 w 34"/>
                <a:gd name="T29" fmla="*/ 2 h 36"/>
                <a:gd name="T30" fmla="*/ 10 w 34"/>
                <a:gd name="T31" fmla="*/ 2 h 36"/>
                <a:gd name="T32" fmla="*/ 9 w 34"/>
                <a:gd name="T33" fmla="*/ 2 h 36"/>
                <a:gd name="T34" fmla="*/ 8 w 34"/>
                <a:gd name="T35" fmla="*/ 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 h="36">
                  <a:moveTo>
                    <a:pt x="8" y="7"/>
                  </a:moveTo>
                  <a:cubicBezTo>
                    <a:pt x="9" y="10"/>
                    <a:pt x="7" y="11"/>
                    <a:pt x="5" y="11"/>
                  </a:cubicBezTo>
                  <a:cubicBezTo>
                    <a:pt x="2" y="11"/>
                    <a:pt x="3" y="17"/>
                    <a:pt x="1" y="18"/>
                  </a:cubicBezTo>
                  <a:cubicBezTo>
                    <a:pt x="0" y="19"/>
                    <a:pt x="7" y="23"/>
                    <a:pt x="8" y="26"/>
                  </a:cubicBezTo>
                  <a:cubicBezTo>
                    <a:pt x="9" y="28"/>
                    <a:pt x="11" y="32"/>
                    <a:pt x="13" y="35"/>
                  </a:cubicBezTo>
                  <a:cubicBezTo>
                    <a:pt x="14" y="36"/>
                    <a:pt x="16" y="36"/>
                    <a:pt x="17" y="36"/>
                  </a:cubicBezTo>
                  <a:cubicBezTo>
                    <a:pt x="19" y="34"/>
                    <a:pt x="17" y="30"/>
                    <a:pt x="20" y="31"/>
                  </a:cubicBezTo>
                  <a:cubicBezTo>
                    <a:pt x="23" y="31"/>
                    <a:pt x="28" y="29"/>
                    <a:pt x="29" y="31"/>
                  </a:cubicBezTo>
                  <a:cubicBezTo>
                    <a:pt x="29" y="31"/>
                    <a:pt x="30" y="32"/>
                    <a:pt x="30" y="32"/>
                  </a:cubicBezTo>
                  <a:cubicBezTo>
                    <a:pt x="31" y="30"/>
                    <a:pt x="32" y="29"/>
                    <a:pt x="32" y="28"/>
                  </a:cubicBezTo>
                  <a:cubicBezTo>
                    <a:pt x="33" y="27"/>
                    <a:pt x="33" y="21"/>
                    <a:pt x="31" y="17"/>
                  </a:cubicBezTo>
                  <a:cubicBezTo>
                    <a:pt x="30" y="14"/>
                    <a:pt x="31" y="9"/>
                    <a:pt x="33" y="8"/>
                  </a:cubicBezTo>
                  <a:cubicBezTo>
                    <a:pt x="33" y="8"/>
                    <a:pt x="34" y="6"/>
                    <a:pt x="34" y="4"/>
                  </a:cubicBezTo>
                  <a:cubicBezTo>
                    <a:pt x="32" y="3"/>
                    <a:pt x="29" y="2"/>
                    <a:pt x="26" y="2"/>
                  </a:cubicBezTo>
                  <a:cubicBezTo>
                    <a:pt x="22" y="2"/>
                    <a:pt x="18" y="4"/>
                    <a:pt x="16" y="2"/>
                  </a:cubicBezTo>
                  <a:cubicBezTo>
                    <a:pt x="14" y="0"/>
                    <a:pt x="12" y="0"/>
                    <a:pt x="10" y="2"/>
                  </a:cubicBezTo>
                  <a:cubicBezTo>
                    <a:pt x="10" y="2"/>
                    <a:pt x="9" y="2"/>
                    <a:pt x="9" y="2"/>
                  </a:cubicBezTo>
                  <a:cubicBezTo>
                    <a:pt x="8" y="4"/>
                    <a:pt x="8" y="6"/>
                    <a:pt x="8" y="7"/>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78" name="Freeform 121">
              <a:extLst>
                <a:ext uri="{FF2B5EF4-FFF2-40B4-BE49-F238E27FC236}">
                  <a16:creationId xmlns:a16="http://schemas.microsoft.com/office/drawing/2014/main" xmlns="" id="{BD0070B0-FAEF-460C-88EF-CF144E1C2DA7}"/>
                </a:ext>
              </a:extLst>
            </p:cNvPr>
            <p:cNvSpPr>
              <a:spLocks/>
            </p:cNvSpPr>
            <p:nvPr/>
          </p:nvSpPr>
          <p:spPr bwMode="auto">
            <a:xfrm>
              <a:off x="15035434" y="3809079"/>
              <a:ext cx="103188" cy="153987"/>
            </a:xfrm>
            <a:custGeom>
              <a:avLst/>
              <a:gdLst>
                <a:gd name="T0" fmla="*/ 11 w 40"/>
                <a:gd name="T1" fmla="*/ 4 h 59"/>
                <a:gd name="T2" fmla="*/ 8 w 40"/>
                <a:gd name="T3" fmla="*/ 9 h 59"/>
                <a:gd name="T4" fmla="*/ 7 w 40"/>
                <a:gd name="T5" fmla="*/ 14 h 59"/>
                <a:gd name="T6" fmla="*/ 3 w 40"/>
                <a:gd name="T7" fmla="*/ 18 h 59"/>
                <a:gd name="T8" fmla="*/ 2 w 40"/>
                <a:gd name="T9" fmla="*/ 22 h 59"/>
                <a:gd name="T10" fmla="*/ 7 w 40"/>
                <a:gd name="T11" fmla="*/ 28 h 59"/>
                <a:gd name="T12" fmla="*/ 10 w 40"/>
                <a:gd name="T13" fmla="*/ 27 h 59"/>
                <a:gd name="T14" fmla="*/ 14 w 40"/>
                <a:gd name="T15" fmla="*/ 33 h 59"/>
                <a:gd name="T16" fmla="*/ 14 w 40"/>
                <a:gd name="T17" fmla="*/ 40 h 59"/>
                <a:gd name="T18" fmla="*/ 16 w 40"/>
                <a:gd name="T19" fmla="*/ 54 h 59"/>
                <a:gd name="T20" fmla="*/ 25 w 40"/>
                <a:gd name="T21" fmla="*/ 57 h 59"/>
                <a:gd name="T22" fmla="*/ 30 w 40"/>
                <a:gd name="T23" fmla="*/ 55 h 59"/>
                <a:gd name="T24" fmla="*/ 34 w 40"/>
                <a:gd name="T25" fmla="*/ 53 h 59"/>
                <a:gd name="T26" fmla="*/ 40 w 40"/>
                <a:gd name="T27" fmla="*/ 53 h 59"/>
                <a:gd name="T28" fmla="*/ 35 w 40"/>
                <a:gd name="T29" fmla="*/ 44 h 59"/>
                <a:gd name="T30" fmla="*/ 28 w 40"/>
                <a:gd name="T31" fmla="*/ 36 h 59"/>
                <a:gd name="T32" fmla="*/ 32 w 40"/>
                <a:gd name="T33" fmla="*/ 29 h 59"/>
                <a:gd name="T34" fmla="*/ 35 w 40"/>
                <a:gd name="T35" fmla="*/ 25 h 59"/>
                <a:gd name="T36" fmla="*/ 36 w 40"/>
                <a:gd name="T37" fmla="*/ 20 h 59"/>
                <a:gd name="T38" fmla="*/ 29 w 40"/>
                <a:gd name="T39" fmla="*/ 14 h 59"/>
                <a:gd name="T40" fmla="*/ 25 w 40"/>
                <a:gd name="T41" fmla="*/ 9 h 59"/>
                <a:gd name="T42" fmla="*/ 17 w 40"/>
                <a:gd name="T43" fmla="*/ 2 h 59"/>
                <a:gd name="T44" fmla="*/ 14 w 40"/>
                <a:gd name="T45" fmla="*/ 0 h 59"/>
                <a:gd name="T46" fmla="*/ 11 w 40"/>
                <a:gd name="T47" fmla="*/ 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 h="59">
                  <a:moveTo>
                    <a:pt x="11" y="4"/>
                  </a:moveTo>
                  <a:cubicBezTo>
                    <a:pt x="9" y="5"/>
                    <a:pt x="6" y="8"/>
                    <a:pt x="8" y="9"/>
                  </a:cubicBezTo>
                  <a:cubicBezTo>
                    <a:pt x="10" y="11"/>
                    <a:pt x="10" y="13"/>
                    <a:pt x="7" y="14"/>
                  </a:cubicBezTo>
                  <a:cubicBezTo>
                    <a:pt x="3" y="14"/>
                    <a:pt x="3" y="15"/>
                    <a:pt x="3" y="18"/>
                  </a:cubicBezTo>
                  <a:cubicBezTo>
                    <a:pt x="3" y="20"/>
                    <a:pt x="0" y="20"/>
                    <a:pt x="2" y="22"/>
                  </a:cubicBezTo>
                  <a:cubicBezTo>
                    <a:pt x="3" y="23"/>
                    <a:pt x="6" y="26"/>
                    <a:pt x="7" y="28"/>
                  </a:cubicBezTo>
                  <a:cubicBezTo>
                    <a:pt x="8" y="27"/>
                    <a:pt x="9" y="26"/>
                    <a:pt x="10" y="27"/>
                  </a:cubicBezTo>
                  <a:cubicBezTo>
                    <a:pt x="14" y="27"/>
                    <a:pt x="11" y="32"/>
                    <a:pt x="14" y="33"/>
                  </a:cubicBezTo>
                  <a:cubicBezTo>
                    <a:pt x="16" y="35"/>
                    <a:pt x="16" y="39"/>
                    <a:pt x="14" y="40"/>
                  </a:cubicBezTo>
                  <a:cubicBezTo>
                    <a:pt x="12" y="42"/>
                    <a:pt x="12" y="50"/>
                    <a:pt x="16" y="54"/>
                  </a:cubicBezTo>
                  <a:cubicBezTo>
                    <a:pt x="20" y="59"/>
                    <a:pt x="24" y="58"/>
                    <a:pt x="25" y="57"/>
                  </a:cubicBezTo>
                  <a:cubicBezTo>
                    <a:pt x="26" y="56"/>
                    <a:pt x="29" y="57"/>
                    <a:pt x="30" y="55"/>
                  </a:cubicBezTo>
                  <a:cubicBezTo>
                    <a:pt x="31" y="53"/>
                    <a:pt x="32" y="56"/>
                    <a:pt x="34" y="53"/>
                  </a:cubicBezTo>
                  <a:cubicBezTo>
                    <a:pt x="35" y="52"/>
                    <a:pt x="38" y="53"/>
                    <a:pt x="40" y="53"/>
                  </a:cubicBezTo>
                  <a:cubicBezTo>
                    <a:pt x="38" y="50"/>
                    <a:pt x="36" y="46"/>
                    <a:pt x="35" y="44"/>
                  </a:cubicBezTo>
                  <a:cubicBezTo>
                    <a:pt x="34" y="41"/>
                    <a:pt x="27" y="37"/>
                    <a:pt x="28" y="36"/>
                  </a:cubicBezTo>
                  <a:cubicBezTo>
                    <a:pt x="30" y="35"/>
                    <a:pt x="29" y="29"/>
                    <a:pt x="32" y="29"/>
                  </a:cubicBezTo>
                  <a:cubicBezTo>
                    <a:pt x="34" y="29"/>
                    <a:pt x="36" y="28"/>
                    <a:pt x="35" y="25"/>
                  </a:cubicBezTo>
                  <a:cubicBezTo>
                    <a:pt x="35" y="24"/>
                    <a:pt x="35" y="22"/>
                    <a:pt x="36" y="20"/>
                  </a:cubicBezTo>
                  <a:cubicBezTo>
                    <a:pt x="34" y="20"/>
                    <a:pt x="31" y="14"/>
                    <a:pt x="29" y="14"/>
                  </a:cubicBezTo>
                  <a:cubicBezTo>
                    <a:pt x="27" y="14"/>
                    <a:pt x="24" y="12"/>
                    <a:pt x="25" y="9"/>
                  </a:cubicBezTo>
                  <a:cubicBezTo>
                    <a:pt x="25" y="6"/>
                    <a:pt x="20" y="5"/>
                    <a:pt x="17" y="2"/>
                  </a:cubicBezTo>
                  <a:cubicBezTo>
                    <a:pt x="16" y="1"/>
                    <a:pt x="15" y="1"/>
                    <a:pt x="14" y="0"/>
                  </a:cubicBezTo>
                  <a:cubicBezTo>
                    <a:pt x="13" y="2"/>
                    <a:pt x="12" y="3"/>
                    <a:pt x="11" y="4"/>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79" name="Freeform 122">
              <a:extLst>
                <a:ext uri="{FF2B5EF4-FFF2-40B4-BE49-F238E27FC236}">
                  <a16:creationId xmlns:a16="http://schemas.microsoft.com/office/drawing/2014/main" xmlns="" id="{99969B49-340D-4C5C-8250-41BE7FBF9511}"/>
                </a:ext>
              </a:extLst>
            </p:cNvPr>
            <p:cNvSpPr>
              <a:spLocks/>
            </p:cNvSpPr>
            <p:nvPr/>
          </p:nvSpPr>
          <p:spPr bwMode="auto">
            <a:xfrm>
              <a:off x="15183072" y="3866229"/>
              <a:ext cx="65088" cy="80962"/>
            </a:xfrm>
            <a:custGeom>
              <a:avLst/>
              <a:gdLst>
                <a:gd name="T0" fmla="*/ 1 w 25"/>
                <a:gd name="T1" fmla="*/ 13 h 31"/>
                <a:gd name="T2" fmla="*/ 2 w 25"/>
                <a:gd name="T3" fmla="*/ 24 h 31"/>
                <a:gd name="T4" fmla="*/ 0 w 25"/>
                <a:gd name="T5" fmla="*/ 28 h 31"/>
                <a:gd name="T6" fmla="*/ 7 w 25"/>
                <a:gd name="T7" fmla="*/ 29 h 31"/>
                <a:gd name="T8" fmla="*/ 16 w 25"/>
                <a:gd name="T9" fmla="*/ 26 h 31"/>
                <a:gd name="T10" fmla="*/ 25 w 25"/>
                <a:gd name="T11" fmla="*/ 13 h 31"/>
                <a:gd name="T12" fmla="*/ 25 w 25"/>
                <a:gd name="T13" fmla="*/ 13 h 31"/>
                <a:gd name="T14" fmla="*/ 11 w 25"/>
                <a:gd name="T15" fmla="*/ 2 h 31"/>
                <a:gd name="T16" fmla="*/ 4 w 25"/>
                <a:gd name="T17" fmla="*/ 0 h 31"/>
                <a:gd name="T18" fmla="*/ 3 w 25"/>
                <a:gd name="T19" fmla="*/ 4 h 31"/>
                <a:gd name="T20" fmla="*/ 1 w 25"/>
                <a:gd name="T21" fmla="*/ 1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31">
                  <a:moveTo>
                    <a:pt x="1" y="13"/>
                  </a:moveTo>
                  <a:cubicBezTo>
                    <a:pt x="3" y="17"/>
                    <a:pt x="3" y="23"/>
                    <a:pt x="2" y="24"/>
                  </a:cubicBezTo>
                  <a:cubicBezTo>
                    <a:pt x="2" y="25"/>
                    <a:pt x="1" y="26"/>
                    <a:pt x="0" y="28"/>
                  </a:cubicBezTo>
                  <a:cubicBezTo>
                    <a:pt x="1" y="29"/>
                    <a:pt x="3" y="30"/>
                    <a:pt x="7" y="29"/>
                  </a:cubicBezTo>
                  <a:cubicBezTo>
                    <a:pt x="12" y="28"/>
                    <a:pt x="14" y="31"/>
                    <a:pt x="16" y="26"/>
                  </a:cubicBezTo>
                  <a:cubicBezTo>
                    <a:pt x="17" y="22"/>
                    <a:pt x="22" y="16"/>
                    <a:pt x="25" y="13"/>
                  </a:cubicBezTo>
                  <a:cubicBezTo>
                    <a:pt x="25" y="13"/>
                    <a:pt x="25" y="13"/>
                    <a:pt x="25" y="13"/>
                  </a:cubicBezTo>
                  <a:cubicBezTo>
                    <a:pt x="22" y="11"/>
                    <a:pt x="16" y="3"/>
                    <a:pt x="11" y="2"/>
                  </a:cubicBezTo>
                  <a:cubicBezTo>
                    <a:pt x="9" y="2"/>
                    <a:pt x="7" y="1"/>
                    <a:pt x="4" y="0"/>
                  </a:cubicBezTo>
                  <a:cubicBezTo>
                    <a:pt x="4" y="2"/>
                    <a:pt x="3" y="4"/>
                    <a:pt x="3" y="4"/>
                  </a:cubicBezTo>
                  <a:cubicBezTo>
                    <a:pt x="1" y="5"/>
                    <a:pt x="0" y="10"/>
                    <a:pt x="1" y="13"/>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80" name="Freeform 123">
              <a:extLst>
                <a:ext uri="{FF2B5EF4-FFF2-40B4-BE49-F238E27FC236}">
                  <a16:creationId xmlns:a16="http://schemas.microsoft.com/office/drawing/2014/main" xmlns="" id="{FF191F1E-7069-43FE-A1D9-E7A7801326F7}"/>
                </a:ext>
              </a:extLst>
            </p:cNvPr>
            <p:cNvSpPr>
              <a:spLocks/>
            </p:cNvSpPr>
            <p:nvPr/>
          </p:nvSpPr>
          <p:spPr bwMode="auto">
            <a:xfrm>
              <a:off x="14543309" y="3482054"/>
              <a:ext cx="223838" cy="79375"/>
            </a:xfrm>
            <a:custGeom>
              <a:avLst/>
              <a:gdLst>
                <a:gd name="T0" fmla="*/ 69 w 86"/>
                <a:gd name="T1" fmla="*/ 19 h 30"/>
                <a:gd name="T2" fmla="*/ 31 w 86"/>
                <a:gd name="T3" fmla="*/ 3 h 30"/>
                <a:gd name="T4" fmla="*/ 2 w 86"/>
                <a:gd name="T5" fmla="*/ 13 h 30"/>
                <a:gd name="T6" fmla="*/ 16 w 86"/>
                <a:gd name="T7" fmla="*/ 7 h 30"/>
                <a:gd name="T8" fmla="*/ 24 w 86"/>
                <a:gd name="T9" fmla="*/ 10 h 30"/>
                <a:gd name="T10" fmla="*/ 37 w 86"/>
                <a:gd name="T11" fmla="*/ 13 h 30"/>
                <a:gd name="T12" fmla="*/ 54 w 86"/>
                <a:gd name="T13" fmla="*/ 22 h 30"/>
                <a:gd name="T14" fmla="*/ 58 w 86"/>
                <a:gd name="T15" fmla="*/ 28 h 30"/>
                <a:gd name="T16" fmla="*/ 84 w 86"/>
                <a:gd name="T17" fmla="*/ 28 h 30"/>
                <a:gd name="T18" fmla="*/ 69 w 86"/>
                <a:gd name="T19" fmla="*/ 1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30">
                  <a:moveTo>
                    <a:pt x="69" y="19"/>
                  </a:moveTo>
                  <a:cubicBezTo>
                    <a:pt x="64" y="19"/>
                    <a:pt x="47" y="7"/>
                    <a:pt x="31" y="3"/>
                  </a:cubicBezTo>
                  <a:cubicBezTo>
                    <a:pt x="14" y="0"/>
                    <a:pt x="0" y="11"/>
                    <a:pt x="2" y="13"/>
                  </a:cubicBezTo>
                  <a:cubicBezTo>
                    <a:pt x="4" y="16"/>
                    <a:pt x="12" y="10"/>
                    <a:pt x="16" y="7"/>
                  </a:cubicBezTo>
                  <a:cubicBezTo>
                    <a:pt x="20" y="4"/>
                    <a:pt x="23" y="8"/>
                    <a:pt x="24" y="10"/>
                  </a:cubicBezTo>
                  <a:cubicBezTo>
                    <a:pt x="24" y="12"/>
                    <a:pt x="29" y="13"/>
                    <a:pt x="37" y="13"/>
                  </a:cubicBezTo>
                  <a:cubicBezTo>
                    <a:pt x="46" y="13"/>
                    <a:pt x="47" y="20"/>
                    <a:pt x="54" y="22"/>
                  </a:cubicBezTo>
                  <a:cubicBezTo>
                    <a:pt x="62" y="24"/>
                    <a:pt x="54" y="27"/>
                    <a:pt x="58" y="28"/>
                  </a:cubicBezTo>
                  <a:cubicBezTo>
                    <a:pt x="62" y="30"/>
                    <a:pt x="83" y="30"/>
                    <a:pt x="84" y="28"/>
                  </a:cubicBezTo>
                  <a:cubicBezTo>
                    <a:pt x="86" y="26"/>
                    <a:pt x="75" y="19"/>
                    <a:pt x="69" y="19"/>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81" name="Freeform 124">
              <a:extLst>
                <a:ext uri="{FF2B5EF4-FFF2-40B4-BE49-F238E27FC236}">
                  <a16:creationId xmlns:a16="http://schemas.microsoft.com/office/drawing/2014/main" xmlns="" id="{62BA6944-B382-4802-89B0-6F38A9DC5C19}"/>
                </a:ext>
              </a:extLst>
            </p:cNvPr>
            <p:cNvSpPr>
              <a:spLocks/>
            </p:cNvSpPr>
            <p:nvPr/>
          </p:nvSpPr>
          <p:spPr bwMode="auto">
            <a:xfrm>
              <a:off x="14670309" y="3586829"/>
              <a:ext cx="52388" cy="25400"/>
            </a:xfrm>
            <a:custGeom>
              <a:avLst/>
              <a:gdLst>
                <a:gd name="T0" fmla="*/ 2 w 20"/>
                <a:gd name="T1" fmla="*/ 3 h 10"/>
                <a:gd name="T2" fmla="*/ 19 w 20"/>
                <a:gd name="T3" fmla="*/ 6 h 10"/>
                <a:gd name="T4" fmla="*/ 2 w 20"/>
                <a:gd name="T5" fmla="*/ 3 h 10"/>
              </a:gdLst>
              <a:ahLst/>
              <a:cxnLst>
                <a:cxn ang="0">
                  <a:pos x="T0" y="T1"/>
                </a:cxn>
                <a:cxn ang="0">
                  <a:pos x="T2" y="T3"/>
                </a:cxn>
                <a:cxn ang="0">
                  <a:pos x="T4" y="T5"/>
                </a:cxn>
              </a:cxnLst>
              <a:rect l="0" t="0" r="r" b="b"/>
              <a:pathLst>
                <a:path w="20" h="10">
                  <a:moveTo>
                    <a:pt x="2" y="3"/>
                  </a:moveTo>
                  <a:cubicBezTo>
                    <a:pt x="4" y="6"/>
                    <a:pt x="17" y="10"/>
                    <a:pt x="19" y="6"/>
                  </a:cubicBezTo>
                  <a:cubicBezTo>
                    <a:pt x="20" y="3"/>
                    <a:pt x="0" y="0"/>
                    <a:pt x="2" y="3"/>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82" name="Freeform 125">
              <a:extLst>
                <a:ext uri="{FF2B5EF4-FFF2-40B4-BE49-F238E27FC236}">
                  <a16:creationId xmlns:a16="http://schemas.microsoft.com/office/drawing/2014/main" xmlns="" id="{BA635E7F-8142-4B6D-9E97-F88A9E67F213}"/>
                </a:ext>
              </a:extLst>
            </p:cNvPr>
            <p:cNvSpPr>
              <a:spLocks/>
            </p:cNvSpPr>
            <p:nvPr/>
          </p:nvSpPr>
          <p:spPr bwMode="auto">
            <a:xfrm>
              <a:off x="14906847" y="3583654"/>
              <a:ext cx="47625" cy="26987"/>
            </a:xfrm>
            <a:custGeom>
              <a:avLst/>
              <a:gdLst>
                <a:gd name="T0" fmla="*/ 3 w 18"/>
                <a:gd name="T1" fmla="*/ 5 h 10"/>
                <a:gd name="T2" fmla="*/ 16 w 18"/>
                <a:gd name="T3" fmla="*/ 5 h 10"/>
                <a:gd name="T4" fmla="*/ 3 w 18"/>
                <a:gd name="T5" fmla="*/ 5 h 10"/>
              </a:gdLst>
              <a:ahLst/>
              <a:cxnLst>
                <a:cxn ang="0">
                  <a:pos x="T0" y="T1"/>
                </a:cxn>
                <a:cxn ang="0">
                  <a:pos x="T2" y="T3"/>
                </a:cxn>
                <a:cxn ang="0">
                  <a:pos x="T4" y="T5"/>
                </a:cxn>
              </a:cxnLst>
              <a:rect l="0" t="0" r="r" b="b"/>
              <a:pathLst>
                <a:path w="18" h="10">
                  <a:moveTo>
                    <a:pt x="3" y="5"/>
                  </a:moveTo>
                  <a:cubicBezTo>
                    <a:pt x="6" y="10"/>
                    <a:pt x="15" y="7"/>
                    <a:pt x="16" y="5"/>
                  </a:cubicBezTo>
                  <a:cubicBezTo>
                    <a:pt x="18" y="2"/>
                    <a:pt x="0" y="0"/>
                    <a:pt x="3" y="5"/>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83" name="Freeform 126">
              <a:extLst>
                <a:ext uri="{FF2B5EF4-FFF2-40B4-BE49-F238E27FC236}">
                  <a16:creationId xmlns:a16="http://schemas.microsoft.com/office/drawing/2014/main" xmlns="" id="{0C390C68-D431-4F29-A885-89BFD5816FA2}"/>
                </a:ext>
              </a:extLst>
            </p:cNvPr>
            <p:cNvSpPr>
              <a:spLocks noEditPoints="1"/>
            </p:cNvSpPr>
            <p:nvPr/>
          </p:nvSpPr>
          <p:spPr bwMode="auto">
            <a:xfrm>
              <a:off x="15037022" y="5179091"/>
              <a:ext cx="76200" cy="33337"/>
            </a:xfrm>
            <a:custGeom>
              <a:avLst/>
              <a:gdLst>
                <a:gd name="T0" fmla="*/ 28 w 29"/>
                <a:gd name="T1" fmla="*/ 5 h 13"/>
                <a:gd name="T2" fmla="*/ 15 w 29"/>
                <a:gd name="T3" fmla="*/ 11 h 13"/>
                <a:gd name="T4" fmla="*/ 28 w 29"/>
                <a:gd name="T5" fmla="*/ 5 h 13"/>
                <a:gd name="T6" fmla="*/ 13 w 29"/>
                <a:gd name="T7" fmla="*/ 1 h 13"/>
                <a:gd name="T8" fmla="*/ 4 w 29"/>
                <a:gd name="T9" fmla="*/ 10 h 13"/>
                <a:gd name="T10" fmla="*/ 13 w 29"/>
                <a:gd name="T11" fmla="*/ 1 h 13"/>
              </a:gdLst>
              <a:ahLst/>
              <a:cxnLst>
                <a:cxn ang="0">
                  <a:pos x="T0" y="T1"/>
                </a:cxn>
                <a:cxn ang="0">
                  <a:pos x="T2" y="T3"/>
                </a:cxn>
                <a:cxn ang="0">
                  <a:pos x="T4" y="T5"/>
                </a:cxn>
                <a:cxn ang="0">
                  <a:pos x="T6" y="T7"/>
                </a:cxn>
                <a:cxn ang="0">
                  <a:pos x="T8" y="T9"/>
                </a:cxn>
                <a:cxn ang="0">
                  <a:pos x="T10" y="T11"/>
                </a:cxn>
              </a:cxnLst>
              <a:rect l="0" t="0" r="r" b="b"/>
              <a:pathLst>
                <a:path w="29" h="13">
                  <a:moveTo>
                    <a:pt x="28" y="5"/>
                  </a:moveTo>
                  <a:cubicBezTo>
                    <a:pt x="25" y="0"/>
                    <a:pt x="12" y="10"/>
                    <a:pt x="15" y="11"/>
                  </a:cubicBezTo>
                  <a:cubicBezTo>
                    <a:pt x="17" y="13"/>
                    <a:pt x="29" y="8"/>
                    <a:pt x="28" y="5"/>
                  </a:cubicBezTo>
                  <a:close/>
                  <a:moveTo>
                    <a:pt x="13" y="1"/>
                  </a:moveTo>
                  <a:cubicBezTo>
                    <a:pt x="9" y="0"/>
                    <a:pt x="0" y="8"/>
                    <a:pt x="4" y="10"/>
                  </a:cubicBezTo>
                  <a:cubicBezTo>
                    <a:pt x="8" y="13"/>
                    <a:pt x="17" y="2"/>
                    <a:pt x="13" y="1"/>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84" name="Freeform 127">
              <a:extLst>
                <a:ext uri="{FF2B5EF4-FFF2-40B4-BE49-F238E27FC236}">
                  <a16:creationId xmlns:a16="http://schemas.microsoft.com/office/drawing/2014/main" xmlns="" id="{84387398-539A-40B9-9063-A80B5D22B067}"/>
                </a:ext>
              </a:extLst>
            </p:cNvPr>
            <p:cNvSpPr>
              <a:spLocks noEditPoints="1"/>
            </p:cNvSpPr>
            <p:nvPr/>
          </p:nvSpPr>
          <p:spPr bwMode="auto">
            <a:xfrm>
              <a:off x="14394084" y="3955129"/>
              <a:ext cx="349250" cy="144462"/>
            </a:xfrm>
            <a:custGeom>
              <a:avLst/>
              <a:gdLst>
                <a:gd name="T0" fmla="*/ 130 w 134"/>
                <a:gd name="T1" fmla="*/ 14 h 55"/>
                <a:gd name="T2" fmla="*/ 124 w 134"/>
                <a:gd name="T3" fmla="*/ 10 h 55"/>
                <a:gd name="T4" fmla="*/ 118 w 134"/>
                <a:gd name="T5" fmla="*/ 10 h 55"/>
                <a:gd name="T6" fmla="*/ 113 w 134"/>
                <a:gd name="T7" fmla="*/ 6 h 55"/>
                <a:gd name="T8" fmla="*/ 103 w 134"/>
                <a:gd name="T9" fmla="*/ 0 h 55"/>
                <a:gd name="T10" fmla="*/ 103 w 134"/>
                <a:gd name="T11" fmla="*/ 2 h 55"/>
                <a:gd name="T12" fmla="*/ 98 w 134"/>
                <a:gd name="T13" fmla="*/ 4 h 55"/>
                <a:gd name="T14" fmla="*/ 95 w 134"/>
                <a:gd name="T15" fmla="*/ 10 h 55"/>
                <a:gd name="T16" fmla="*/ 92 w 134"/>
                <a:gd name="T17" fmla="*/ 15 h 55"/>
                <a:gd name="T18" fmla="*/ 89 w 134"/>
                <a:gd name="T19" fmla="*/ 19 h 55"/>
                <a:gd name="T20" fmla="*/ 88 w 134"/>
                <a:gd name="T21" fmla="*/ 25 h 55"/>
                <a:gd name="T22" fmla="*/ 87 w 134"/>
                <a:gd name="T23" fmla="*/ 30 h 55"/>
                <a:gd name="T24" fmla="*/ 92 w 134"/>
                <a:gd name="T25" fmla="*/ 34 h 55"/>
                <a:gd name="T26" fmla="*/ 96 w 134"/>
                <a:gd name="T27" fmla="*/ 35 h 55"/>
                <a:gd name="T28" fmla="*/ 92 w 134"/>
                <a:gd name="T29" fmla="*/ 40 h 55"/>
                <a:gd name="T30" fmla="*/ 92 w 134"/>
                <a:gd name="T31" fmla="*/ 40 h 55"/>
                <a:gd name="T32" fmla="*/ 93 w 134"/>
                <a:gd name="T33" fmla="*/ 45 h 55"/>
                <a:gd name="T34" fmla="*/ 93 w 134"/>
                <a:gd name="T35" fmla="*/ 49 h 55"/>
                <a:gd name="T36" fmla="*/ 99 w 134"/>
                <a:gd name="T37" fmla="*/ 50 h 55"/>
                <a:gd name="T38" fmla="*/ 105 w 134"/>
                <a:gd name="T39" fmla="*/ 50 h 55"/>
                <a:gd name="T40" fmla="*/ 112 w 134"/>
                <a:gd name="T41" fmla="*/ 37 h 55"/>
                <a:gd name="T42" fmla="*/ 128 w 134"/>
                <a:gd name="T43" fmla="*/ 29 h 55"/>
                <a:gd name="T44" fmla="*/ 132 w 134"/>
                <a:gd name="T45" fmla="*/ 20 h 55"/>
                <a:gd name="T46" fmla="*/ 130 w 134"/>
                <a:gd name="T47" fmla="*/ 14 h 55"/>
                <a:gd name="T48" fmla="*/ 3 w 134"/>
                <a:gd name="T49" fmla="*/ 12 h 55"/>
                <a:gd name="T50" fmla="*/ 8 w 134"/>
                <a:gd name="T51" fmla="*/ 20 h 55"/>
                <a:gd name="T52" fmla="*/ 3 w 134"/>
                <a:gd name="T53" fmla="*/ 1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4" h="55">
                  <a:moveTo>
                    <a:pt x="130" y="14"/>
                  </a:moveTo>
                  <a:cubicBezTo>
                    <a:pt x="127" y="11"/>
                    <a:pt x="125" y="9"/>
                    <a:pt x="124" y="10"/>
                  </a:cubicBezTo>
                  <a:cubicBezTo>
                    <a:pt x="124" y="11"/>
                    <a:pt x="121" y="11"/>
                    <a:pt x="118" y="10"/>
                  </a:cubicBezTo>
                  <a:cubicBezTo>
                    <a:pt x="116" y="8"/>
                    <a:pt x="115" y="6"/>
                    <a:pt x="113" y="6"/>
                  </a:cubicBezTo>
                  <a:cubicBezTo>
                    <a:pt x="112" y="6"/>
                    <a:pt x="106" y="3"/>
                    <a:pt x="103" y="0"/>
                  </a:cubicBezTo>
                  <a:cubicBezTo>
                    <a:pt x="103" y="1"/>
                    <a:pt x="103" y="1"/>
                    <a:pt x="103" y="2"/>
                  </a:cubicBezTo>
                  <a:cubicBezTo>
                    <a:pt x="104" y="3"/>
                    <a:pt x="101" y="4"/>
                    <a:pt x="98" y="4"/>
                  </a:cubicBezTo>
                  <a:cubicBezTo>
                    <a:pt x="95" y="5"/>
                    <a:pt x="95" y="8"/>
                    <a:pt x="95" y="10"/>
                  </a:cubicBezTo>
                  <a:cubicBezTo>
                    <a:pt x="95" y="13"/>
                    <a:pt x="93" y="13"/>
                    <a:pt x="92" y="15"/>
                  </a:cubicBezTo>
                  <a:cubicBezTo>
                    <a:pt x="91" y="18"/>
                    <a:pt x="92" y="18"/>
                    <a:pt x="89" y="19"/>
                  </a:cubicBezTo>
                  <a:cubicBezTo>
                    <a:pt x="87" y="21"/>
                    <a:pt x="86" y="23"/>
                    <a:pt x="88" y="25"/>
                  </a:cubicBezTo>
                  <a:cubicBezTo>
                    <a:pt x="89" y="27"/>
                    <a:pt x="88" y="29"/>
                    <a:pt x="87" y="30"/>
                  </a:cubicBezTo>
                  <a:cubicBezTo>
                    <a:pt x="87" y="32"/>
                    <a:pt x="89" y="32"/>
                    <a:pt x="92" y="34"/>
                  </a:cubicBezTo>
                  <a:cubicBezTo>
                    <a:pt x="94" y="37"/>
                    <a:pt x="95" y="33"/>
                    <a:pt x="96" y="35"/>
                  </a:cubicBezTo>
                  <a:cubicBezTo>
                    <a:pt x="97" y="37"/>
                    <a:pt x="95" y="40"/>
                    <a:pt x="92" y="40"/>
                  </a:cubicBezTo>
                  <a:cubicBezTo>
                    <a:pt x="92" y="40"/>
                    <a:pt x="92" y="40"/>
                    <a:pt x="92" y="40"/>
                  </a:cubicBezTo>
                  <a:cubicBezTo>
                    <a:pt x="93" y="42"/>
                    <a:pt x="94" y="44"/>
                    <a:pt x="93" y="45"/>
                  </a:cubicBezTo>
                  <a:cubicBezTo>
                    <a:pt x="92" y="46"/>
                    <a:pt x="91" y="46"/>
                    <a:pt x="93" y="49"/>
                  </a:cubicBezTo>
                  <a:cubicBezTo>
                    <a:pt x="95" y="51"/>
                    <a:pt x="97" y="47"/>
                    <a:pt x="99" y="50"/>
                  </a:cubicBezTo>
                  <a:cubicBezTo>
                    <a:pt x="101" y="53"/>
                    <a:pt x="103" y="55"/>
                    <a:pt x="105" y="50"/>
                  </a:cubicBezTo>
                  <a:cubicBezTo>
                    <a:pt x="107" y="45"/>
                    <a:pt x="109" y="38"/>
                    <a:pt x="112" y="37"/>
                  </a:cubicBezTo>
                  <a:cubicBezTo>
                    <a:pt x="116" y="36"/>
                    <a:pt x="124" y="34"/>
                    <a:pt x="128" y="29"/>
                  </a:cubicBezTo>
                  <a:cubicBezTo>
                    <a:pt x="132" y="23"/>
                    <a:pt x="130" y="22"/>
                    <a:pt x="132" y="20"/>
                  </a:cubicBezTo>
                  <a:cubicBezTo>
                    <a:pt x="134" y="19"/>
                    <a:pt x="133" y="18"/>
                    <a:pt x="130" y="14"/>
                  </a:cubicBezTo>
                  <a:close/>
                  <a:moveTo>
                    <a:pt x="3" y="12"/>
                  </a:moveTo>
                  <a:cubicBezTo>
                    <a:pt x="0" y="17"/>
                    <a:pt x="7" y="22"/>
                    <a:pt x="8" y="20"/>
                  </a:cubicBezTo>
                  <a:cubicBezTo>
                    <a:pt x="10" y="17"/>
                    <a:pt x="7" y="7"/>
                    <a:pt x="3" y="12"/>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85" name="Freeform 128">
              <a:extLst>
                <a:ext uri="{FF2B5EF4-FFF2-40B4-BE49-F238E27FC236}">
                  <a16:creationId xmlns:a16="http://schemas.microsoft.com/office/drawing/2014/main" xmlns="" id="{C209F718-1620-4ACD-952D-509C97A5646F}"/>
                </a:ext>
              </a:extLst>
            </p:cNvPr>
            <p:cNvSpPr>
              <a:spLocks noEditPoints="1"/>
            </p:cNvSpPr>
            <p:nvPr/>
          </p:nvSpPr>
          <p:spPr bwMode="auto">
            <a:xfrm>
              <a:off x="14797309" y="1573879"/>
              <a:ext cx="1281113" cy="962025"/>
            </a:xfrm>
            <a:custGeom>
              <a:avLst/>
              <a:gdLst>
                <a:gd name="T0" fmla="*/ 432 w 492"/>
                <a:gd name="T1" fmla="*/ 43 h 368"/>
                <a:gd name="T2" fmla="*/ 396 w 492"/>
                <a:gd name="T3" fmla="*/ 59 h 368"/>
                <a:gd name="T4" fmla="*/ 394 w 492"/>
                <a:gd name="T5" fmla="*/ 37 h 368"/>
                <a:gd name="T6" fmla="*/ 352 w 492"/>
                <a:gd name="T7" fmla="*/ 34 h 368"/>
                <a:gd name="T8" fmla="*/ 393 w 492"/>
                <a:gd name="T9" fmla="*/ 28 h 368"/>
                <a:gd name="T10" fmla="*/ 389 w 492"/>
                <a:gd name="T11" fmla="*/ 12 h 368"/>
                <a:gd name="T12" fmla="*/ 333 w 492"/>
                <a:gd name="T13" fmla="*/ 1 h 368"/>
                <a:gd name="T14" fmla="*/ 280 w 492"/>
                <a:gd name="T15" fmla="*/ 8 h 368"/>
                <a:gd name="T16" fmla="*/ 240 w 492"/>
                <a:gd name="T17" fmla="*/ 8 h 368"/>
                <a:gd name="T18" fmla="*/ 207 w 492"/>
                <a:gd name="T19" fmla="*/ 23 h 368"/>
                <a:gd name="T20" fmla="*/ 199 w 492"/>
                <a:gd name="T21" fmla="*/ 27 h 368"/>
                <a:gd name="T22" fmla="*/ 176 w 492"/>
                <a:gd name="T23" fmla="*/ 34 h 368"/>
                <a:gd name="T24" fmla="*/ 154 w 492"/>
                <a:gd name="T25" fmla="*/ 42 h 368"/>
                <a:gd name="T26" fmla="*/ 116 w 492"/>
                <a:gd name="T27" fmla="*/ 34 h 368"/>
                <a:gd name="T28" fmla="*/ 95 w 492"/>
                <a:gd name="T29" fmla="*/ 50 h 368"/>
                <a:gd name="T30" fmla="*/ 62 w 492"/>
                <a:gd name="T31" fmla="*/ 71 h 368"/>
                <a:gd name="T32" fmla="*/ 0 w 492"/>
                <a:gd name="T33" fmla="*/ 102 h 368"/>
                <a:gd name="T34" fmla="*/ 40 w 492"/>
                <a:gd name="T35" fmla="*/ 113 h 368"/>
                <a:gd name="T36" fmla="*/ 11 w 492"/>
                <a:gd name="T37" fmla="*/ 123 h 368"/>
                <a:gd name="T38" fmla="*/ 35 w 492"/>
                <a:gd name="T39" fmla="*/ 139 h 368"/>
                <a:gd name="T40" fmla="*/ 67 w 492"/>
                <a:gd name="T41" fmla="*/ 137 h 368"/>
                <a:gd name="T42" fmla="*/ 116 w 492"/>
                <a:gd name="T43" fmla="*/ 151 h 368"/>
                <a:gd name="T44" fmla="*/ 140 w 492"/>
                <a:gd name="T45" fmla="*/ 183 h 368"/>
                <a:gd name="T46" fmla="*/ 144 w 492"/>
                <a:gd name="T47" fmla="*/ 212 h 368"/>
                <a:gd name="T48" fmla="*/ 174 w 492"/>
                <a:gd name="T49" fmla="*/ 223 h 368"/>
                <a:gd name="T50" fmla="*/ 171 w 492"/>
                <a:gd name="T51" fmla="*/ 234 h 368"/>
                <a:gd name="T52" fmla="*/ 166 w 492"/>
                <a:gd name="T53" fmla="*/ 254 h 368"/>
                <a:gd name="T54" fmla="*/ 161 w 492"/>
                <a:gd name="T55" fmla="*/ 279 h 368"/>
                <a:gd name="T56" fmla="*/ 168 w 492"/>
                <a:gd name="T57" fmla="*/ 311 h 368"/>
                <a:gd name="T58" fmla="*/ 183 w 492"/>
                <a:gd name="T59" fmla="*/ 331 h 368"/>
                <a:gd name="T60" fmla="*/ 204 w 492"/>
                <a:gd name="T61" fmla="*/ 356 h 368"/>
                <a:gd name="T62" fmla="*/ 236 w 492"/>
                <a:gd name="T63" fmla="*/ 368 h 368"/>
                <a:gd name="T64" fmla="*/ 245 w 492"/>
                <a:gd name="T65" fmla="*/ 336 h 368"/>
                <a:gd name="T66" fmla="*/ 259 w 492"/>
                <a:gd name="T67" fmla="*/ 321 h 368"/>
                <a:gd name="T68" fmla="*/ 260 w 492"/>
                <a:gd name="T69" fmla="*/ 305 h 368"/>
                <a:gd name="T70" fmla="*/ 274 w 492"/>
                <a:gd name="T71" fmla="*/ 295 h 368"/>
                <a:gd name="T72" fmla="*/ 286 w 492"/>
                <a:gd name="T73" fmla="*/ 292 h 368"/>
                <a:gd name="T74" fmla="*/ 329 w 492"/>
                <a:gd name="T75" fmla="*/ 264 h 368"/>
                <a:gd name="T76" fmla="*/ 356 w 492"/>
                <a:gd name="T77" fmla="*/ 256 h 368"/>
                <a:gd name="T78" fmla="*/ 411 w 492"/>
                <a:gd name="T79" fmla="*/ 232 h 368"/>
                <a:gd name="T80" fmla="*/ 381 w 492"/>
                <a:gd name="T81" fmla="*/ 226 h 368"/>
                <a:gd name="T82" fmla="*/ 412 w 492"/>
                <a:gd name="T83" fmla="*/ 228 h 368"/>
                <a:gd name="T84" fmla="*/ 405 w 492"/>
                <a:gd name="T85" fmla="*/ 200 h 368"/>
                <a:gd name="T86" fmla="*/ 390 w 492"/>
                <a:gd name="T87" fmla="*/ 186 h 368"/>
                <a:gd name="T88" fmla="*/ 425 w 492"/>
                <a:gd name="T89" fmla="*/ 182 h 368"/>
                <a:gd name="T90" fmla="*/ 434 w 492"/>
                <a:gd name="T91" fmla="*/ 164 h 368"/>
                <a:gd name="T92" fmla="*/ 430 w 492"/>
                <a:gd name="T93" fmla="*/ 138 h 368"/>
                <a:gd name="T94" fmla="*/ 420 w 492"/>
                <a:gd name="T95" fmla="*/ 127 h 368"/>
                <a:gd name="T96" fmla="*/ 424 w 492"/>
                <a:gd name="T97" fmla="*/ 116 h 368"/>
                <a:gd name="T98" fmla="*/ 412 w 492"/>
                <a:gd name="T99" fmla="*/ 110 h 368"/>
                <a:gd name="T100" fmla="*/ 445 w 492"/>
                <a:gd name="T101" fmla="*/ 76 h 368"/>
                <a:gd name="T102" fmla="*/ 437 w 492"/>
                <a:gd name="T103" fmla="*/ 67 h 368"/>
                <a:gd name="T104" fmla="*/ 446 w 492"/>
                <a:gd name="T105" fmla="*/ 58 h 368"/>
                <a:gd name="T106" fmla="*/ 492 w 492"/>
                <a:gd name="T107" fmla="*/ 42 h 368"/>
                <a:gd name="T108" fmla="*/ 162 w 492"/>
                <a:gd name="T109" fmla="*/ 235 h 368"/>
                <a:gd name="T110" fmla="*/ 154 w 492"/>
                <a:gd name="T111" fmla="*/ 245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92" h="368">
                  <a:moveTo>
                    <a:pt x="465" y="34"/>
                  </a:moveTo>
                  <a:cubicBezTo>
                    <a:pt x="456" y="34"/>
                    <a:pt x="449" y="36"/>
                    <a:pt x="448" y="42"/>
                  </a:cubicBezTo>
                  <a:cubicBezTo>
                    <a:pt x="448" y="48"/>
                    <a:pt x="437" y="41"/>
                    <a:pt x="432" y="43"/>
                  </a:cubicBezTo>
                  <a:cubicBezTo>
                    <a:pt x="427" y="45"/>
                    <a:pt x="430" y="38"/>
                    <a:pt x="425" y="40"/>
                  </a:cubicBezTo>
                  <a:cubicBezTo>
                    <a:pt x="420" y="42"/>
                    <a:pt x="415" y="48"/>
                    <a:pt x="409" y="51"/>
                  </a:cubicBezTo>
                  <a:cubicBezTo>
                    <a:pt x="403" y="53"/>
                    <a:pt x="399" y="59"/>
                    <a:pt x="396" y="59"/>
                  </a:cubicBezTo>
                  <a:cubicBezTo>
                    <a:pt x="392" y="60"/>
                    <a:pt x="403" y="48"/>
                    <a:pt x="409" y="43"/>
                  </a:cubicBezTo>
                  <a:cubicBezTo>
                    <a:pt x="415" y="37"/>
                    <a:pt x="412" y="30"/>
                    <a:pt x="404" y="31"/>
                  </a:cubicBezTo>
                  <a:cubicBezTo>
                    <a:pt x="396" y="32"/>
                    <a:pt x="398" y="37"/>
                    <a:pt x="394" y="37"/>
                  </a:cubicBezTo>
                  <a:cubicBezTo>
                    <a:pt x="389" y="38"/>
                    <a:pt x="369" y="49"/>
                    <a:pt x="368" y="46"/>
                  </a:cubicBezTo>
                  <a:cubicBezTo>
                    <a:pt x="367" y="42"/>
                    <a:pt x="385" y="37"/>
                    <a:pt x="385" y="35"/>
                  </a:cubicBezTo>
                  <a:cubicBezTo>
                    <a:pt x="384" y="33"/>
                    <a:pt x="362" y="33"/>
                    <a:pt x="352" y="34"/>
                  </a:cubicBezTo>
                  <a:cubicBezTo>
                    <a:pt x="342" y="36"/>
                    <a:pt x="325" y="41"/>
                    <a:pt x="324" y="38"/>
                  </a:cubicBezTo>
                  <a:cubicBezTo>
                    <a:pt x="324" y="36"/>
                    <a:pt x="345" y="32"/>
                    <a:pt x="355" y="30"/>
                  </a:cubicBezTo>
                  <a:cubicBezTo>
                    <a:pt x="366" y="29"/>
                    <a:pt x="385" y="31"/>
                    <a:pt x="393" y="28"/>
                  </a:cubicBezTo>
                  <a:cubicBezTo>
                    <a:pt x="401" y="24"/>
                    <a:pt x="413" y="24"/>
                    <a:pt x="415" y="22"/>
                  </a:cubicBezTo>
                  <a:cubicBezTo>
                    <a:pt x="418" y="19"/>
                    <a:pt x="406" y="15"/>
                    <a:pt x="400" y="16"/>
                  </a:cubicBezTo>
                  <a:cubicBezTo>
                    <a:pt x="395" y="16"/>
                    <a:pt x="389" y="15"/>
                    <a:pt x="389" y="12"/>
                  </a:cubicBezTo>
                  <a:cubicBezTo>
                    <a:pt x="390" y="9"/>
                    <a:pt x="381" y="9"/>
                    <a:pt x="380" y="7"/>
                  </a:cubicBezTo>
                  <a:cubicBezTo>
                    <a:pt x="379" y="4"/>
                    <a:pt x="361" y="6"/>
                    <a:pt x="357" y="4"/>
                  </a:cubicBezTo>
                  <a:cubicBezTo>
                    <a:pt x="353" y="1"/>
                    <a:pt x="342" y="0"/>
                    <a:pt x="333" y="1"/>
                  </a:cubicBezTo>
                  <a:cubicBezTo>
                    <a:pt x="323" y="2"/>
                    <a:pt x="304" y="1"/>
                    <a:pt x="299" y="2"/>
                  </a:cubicBezTo>
                  <a:cubicBezTo>
                    <a:pt x="295" y="2"/>
                    <a:pt x="292" y="4"/>
                    <a:pt x="288" y="4"/>
                  </a:cubicBezTo>
                  <a:cubicBezTo>
                    <a:pt x="284" y="3"/>
                    <a:pt x="277" y="5"/>
                    <a:pt x="280" y="8"/>
                  </a:cubicBezTo>
                  <a:cubicBezTo>
                    <a:pt x="284" y="12"/>
                    <a:pt x="273" y="14"/>
                    <a:pt x="274" y="11"/>
                  </a:cubicBezTo>
                  <a:cubicBezTo>
                    <a:pt x="275" y="7"/>
                    <a:pt x="265" y="5"/>
                    <a:pt x="262" y="8"/>
                  </a:cubicBezTo>
                  <a:cubicBezTo>
                    <a:pt x="258" y="11"/>
                    <a:pt x="242" y="5"/>
                    <a:pt x="240" y="8"/>
                  </a:cubicBezTo>
                  <a:cubicBezTo>
                    <a:pt x="237" y="11"/>
                    <a:pt x="219" y="10"/>
                    <a:pt x="213" y="11"/>
                  </a:cubicBezTo>
                  <a:cubicBezTo>
                    <a:pt x="208" y="12"/>
                    <a:pt x="222" y="16"/>
                    <a:pt x="221" y="18"/>
                  </a:cubicBezTo>
                  <a:cubicBezTo>
                    <a:pt x="221" y="21"/>
                    <a:pt x="203" y="18"/>
                    <a:pt x="207" y="23"/>
                  </a:cubicBezTo>
                  <a:cubicBezTo>
                    <a:pt x="211" y="27"/>
                    <a:pt x="222" y="30"/>
                    <a:pt x="228" y="36"/>
                  </a:cubicBezTo>
                  <a:cubicBezTo>
                    <a:pt x="233" y="41"/>
                    <a:pt x="223" y="38"/>
                    <a:pt x="217" y="34"/>
                  </a:cubicBezTo>
                  <a:cubicBezTo>
                    <a:pt x="211" y="30"/>
                    <a:pt x="203" y="31"/>
                    <a:pt x="199" y="27"/>
                  </a:cubicBezTo>
                  <a:cubicBezTo>
                    <a:pt x="195" y="23"/>
                    <a:pt x="181" y="20"/>
                    <a:pt x="178" y="22"/>
                  </a:cubicBezTo>
                  <a:cubicBezTo>
                    <a:pt x="173" y="25"/>
                    <a:pt x="187" y="30"/>
                    <a:pt x="187" y="33"/>
                  </a:cubicBezTo>
                  <a:cubicBezTo>
                    <a:pt x="187" y="37"/>
                    <a:pt x="178" y="33"/>
                    <a:pt x="176" y="34"/>
                  </a:cubicBezTo>
                  <a:cubicBezTo>
                    <a:pt x="174" y="35"/>
                    <a:pt x="166" y="26"/>
                    <a:pt x="161" y="26"/>
                  </a:cubicBezTo>
                  <a:cubicBezTo>
                    <a:pt x="157" y="26"/>
                    <a:pt x="161" y="30"/>
                    <a:pt x="161" y="36"/>
                  </a:cubicBezTo>
                  <a:cubicBezTo>
                    <a:pt x="161" y="42"/>
                    <a:pt x="151" y="46"/>
                    <a:pt x="154" y="42"/>
                  </a:cubicBezTo>
                  <a:cubicBezTo>
                    <a:pt x="157" y="37"/>
                    <a:pt x="155" y="27"/>
                    <a:pt x="150" y="25"/>
                  </a:cubicBezTo>
                  <a:cubicBezTo>
                    <a:pt x="145" y="23"/>
                    <a:pt x="132" y="29"/>
                    <a:pt x="125" y="29"/>
                  </a:cubicBezTo>
                  <a:cubicBezTo>
                    <a:pt x="119" y="29"/>
                    <a:pt x="110" y="31"/>
                    <a:pt x="116" y="34"/>
                  </a:cubicBezTo>
                  <a:cubicBezTo>
                    <a:pt x="121" y="37"/>
                    <a:pt x="115" y="39"/>
                    <a:pt x="110" y="36"/>
                  </a:cubicBezTo>
                  <a:cubicBezTo>
                    <a:pt x="105" y="32"/>
                    <a:pt x="89" y="36"/>
                    <a:pt x="92" y="38"/>
                  </a:cubicBezTo>
                  <a:cubicBezTo>
                    <a:pt x="96" y="41"/>
                    <a:pt x="97" y="47"/>
                    <a:pt x="95" y="50"/>
                  </a:cubicBezTo>
                  <a:cubicBezTo>
                    <a:pt x="92" y="53"/>
                    <a:pt x="86" y="47"/>
                    <a:pt x="79" y="48"/>
                  </a:cubicBezTo>
                  <a:cubicBezTo>
                    <a:pt x="73" y="48"/>
                    <a:pt x="41" y="64"/>
                    <a:pt x="43" y="68"/>
                  </a:cubicBezTo>
                  <a:cubicBezTo>
                    <a:pt x="45" y="72"/>
                    <a:pt x="58" y="68"/>
                    <a:pt x="62" y="71"/>
                  </a:cubicBezTo>
                  <a:cubicBezTo>
                    <a:pt x="67" y="73"/>
                    <a:pt x="61" y="82"/>
                    <a:pt x="56" y="86"/>
                  </a:cubicBezTo>
                  <a:cubicBezTo>
                    <a:pt x="51" y="89"/>
                    <a:pt x="31" y="86"/>
                    <a:pt x="31" y="90"/>
                  </a:cubicBezTo>
                  <a:cubicBezTo>
                    <a:pt x="30" y="94"/>
                    <a:pt x="0" y="95"/>
                    <a:pt x="0" y="102"/>
                  </a:cubicBezTo>
                  <a:cubicBezTo>
                    <a:pt x="0" y="105"/>
                    <a:pt x="1" y="107"/>
                    <a:pt x="5" y="108"/>
                  </a:cubicBezTo>
                  <a:cubicBezTo>
                    <a:pt x="9" y="109"/>
                    <a:pt x="14" y="107"/>
                    <a:pt x="18" y="112"/>
                  </a:cubicBezTo>
                  <a:cubicBezTo>
                    <a:pt x="22" y="116"/>
                    <a:pt x="33" y="116"/>
                    <a:pt x="40" y="113"/>
                  </a:cubicBezTo>
                  <a:cubicBezTo>
                    <a:pt x="47" y="110"/>
                    <a:pt x="53" y="114"/>
                    <a:pt x="52" y="118"/>
                  </a:cubicBezTo>
                  <a:cubicBezTo>
                    <a:pt x="52" y="122"/>
                    <a:pt x="36" y="116"/>
                    <a:pt x="31" y="120"/>
                  </a:cubicBezTo>
                  <a:cubicBezTo>
                    <a:pt x="26" y="123"/>
                    <a:pt x="10" y="120"/>
                    <a:pt x="11" y="123"/>
                  </a:cubicBezTo>
                  <a:cubicBezTo>
                    <a:pt x="12" y="127"/>
                    <a:pt x="19" y="126"/>
                    <a:pt x="26" y="127"/>
                  </a:cubicBezTo>
                  <a:cubicBezTo>
                    <a:pt x="32" y="128"/>
                    <a:pt x="26" y="131"/>
                    <a:pt x="26" y="134"/>
                  </a:cubicBezTo>
                  <a:cubicBezTo>
                    <a:pt x="26" y="136"/>
                    <a:pt x="29" y="136"/>
                    <a:pt x="35" y="139"/>
                  </a:cubicBezTo>
                  <a:cubicBezTo>
                    <a:pt x="42" y="142"/>
                    <a:pt x="52" y="144"/>
                    <a:pt x="48" y="140"/>
                  </a:cubicBezTo>
                  <a:cubicBezTo>
                    <a:pt x="45" y="137"/>
                    <a:pt x="55" y="137"/>
                    <a:pt x="57" y="139"/>
                  </a:cubicBezTo>
                  <a:cubicBezTo>
                    <a:pt x="58" y="141"/>
                    <a:pt x="63" y="136"/>
                    <a:pt x="67" y="137"/>
                  </a:cubicBezTo>
                  <a:cubicBezTo>
                    <a:pt x="72" y="139"/>
                    <a:pt x="73" y="133"/>
                    <a:pt x="77" y="135"/>
                  </a:cubicBezTo>
                  <a:cubicBezTo>
                    <a:pt x="81" y="138"/>
                    <a:pt x="97" y="139"/>
                    <a:pt x="103" y="142"/>
                  </a:cubicBezTo>
                  <a:cubicBezTo>
                    <a:pt x="109" y="145"/>
                    <a:pt x="116" y="146"/>
                    <a:pt x="116" y="151"/>
                  </a:cubicBezTo>
                  <a:cubicBezTo>
                    <a:pt x="115" y="155"/>
                    <a:pt x="121" y="159"/>
                    <a:pt x="127" y="161"/>
                  </a:cubicBezTo>
                  <a:cubicBezTo>
                    <a:pt x="133" y="164"/>
                    <a:pt x="135" y="170"/>
                    <a:pt x="134" y="174"/>
                  </a:cubicBezTo>
                  <a:cubicBezTo>
                    <a:pt x="134" y="178"/>
                    <a:pt x="141" y="181"/>
                    <a:pt x="140" y="183"/>
                  </a:cubicBezTo>
                  <a:cubicBezTo>
                    <a:pt x="139" y="185"/>
                    <a:pt x="140" y="188"/>
                    <a:pt x="144" y="192"/>
                  </a:cubicBezTo>
                  <a:cubicBezTo>
                    <a:pt x="148" y="195"/>
                    <a:pt x="137" y="198"/>
                    <a:pt x="140" y="202"/>
                  </a:cubicBezTo>
                  <a:cubicBezTo>
                    <a:pt x="143" y="205"/>
                    <a:pt x="136" y="211"/>
                    <a:pt x="144" y="212"/>
                  </a:cubicBezTo>
                  <a:cubicBezTo>
                    <a:pt x="151" y="214"/>
                    <a:pt x="150" y="207"/>
                    <a:pt x="156" y="207"/>
                  </a:cubicBezTo>
                  <a:cubicBezTo>
                    <a:pt x="162" y="207"/>
                    <a:pt x="156" y="212"/>
                    <a:pt x="159" y="215"/>
                  </a:cubicBezTo>
                  <a:cubicBezTo>
                    <a:pt x="162" y="218"/>
                    <a:pt x="168" y="218"/>
                    <a:pt x="174" y="223"/>
                  </a:cubicBezTo>
                  <a:cubicBezTo>
                    <a:pt x="180" y="228"/>
                    <a:pt x="176" y="230"/>
                    <a:pt x="171" y="226"/>
                  </a:cubicBezTo>
                  <a:cubicBezTo>
                    <a:pt x="165" y="222"/>
                    <a:pt x="150" y="223"/>
                    <a:pt x="150" y="224"/>
                  </a:cubicBezTo>
                  <a:cubicBezTo>
                    <a:pt x="150" y="226"/>
                    <a:pt x="167" y="236"/>
                    <a:pt x="171" y="234"/>
                  </a:cubicBezTo>
                  <a:cubicBezTo>
                    <a:pt x="175" y="233"/>
                    <a:pt x="181" y="240"/>
                    <a:pt x="178" y="243"/>
                  </a:cubicBezTo>
                  <a:cubicBezTo>
                    <a:pt x="176" y="245"/>
                    <a:pt x="177" y="251"/>
                    <a:pt x="177" y="254"/>
                  </a:cubicBezTo>
                  <a:cubicBezTo>
                    <a:pt x="176" y="257"/>
                    <a:pt x="170" y="254"/>
                    <a:pt x="166" y="254"/>
                  </a:cubicBezTo>
                  <a:cubicBezTo>
                    <a:pt x="163" y="255"/>
                    <a:pt x="160" y="256"/>
                    <a:pt x="160" y="260"/>
                  </a:cubicBezTo>
                  <a:cubicBezTo>
                    <a:pt x="160" y="264"/>
                    <a:pt x="154" y="267"/>
                    <a:pt x="153" y="272"/>
                  </a:cubicBezTo>
                  <a:cubicBezTo>
                    <a:pt x="153" y="277"/>
                    <a:pt x="158" y="277"/>
                    <a:pt x="161" y="279"/>
                  </a:cubicBezTo>
                  <a:cubicBezTo>
                    <a:pt x="164" y="281"/>
                    <a:pt x="155" y="282"/>
                    <a:pt x="155" y="286"/>
                  </a:cubicBezTo>
                  <a:cubicBezTo>
                    <a:pt x="155" y="290"/>
                    <a:pt x="163" y="296"/>
                    <a:pt x="166" y="298"/>
                  </a:cubicBezTo>
                  <a:cubicBezTo>
                    <a:pt x="169" y="299"/>
                    <a:pt x="166" y="307"/>
                    <a:pt x="168" y="311"/>
                  </a:cubicBezTo>
                  <a:cubicBezTo>
                    <a:pt x="169" y="315"/>
                    <a:pt x="173" y="310"/>
                    <a:pt x="172" y="316"/>
                  </a:cubicBezTo>
                  <a:cubicBezTo>
                    <a:pt x="172" y="321"/>
                    <a:pt x="176" y="321"/>
                    <a:pt x="176" y="324"/>
                  </a:cubicBezTo>
                  <a:cubicBezTo>
                    <a:pt x="177" y="327"/>
                    <a:pt x="184" y="326"/>
                    <a:pt x="183" y="331"/>
                  </a:cubicBezTo>
                  <a:cubicBezTo>
                    <a:pt x="181" y="335"/>
                    <a:pt x="185" y="338"/>
                    <a:pt x="186" y="340"/>
                  </a:cubicBezTo>
                  <a:cubicBezTo>
                    <a:pt x="188" y="343"/>
                    <a:pt x="194" y="347"/>
                    <a:pt x="195" y="350"/>
                  </a:cubicBezTo>
                  <a:cubicBezTo>
                    <a:pt x="197" y="353"/>
                    <a:pt x="200" y="357"/>
                    <a:pt x="204" y="356"/>
                  </a:cubicBezTo>
                  <a:cubicBezTo>
                    <a:pt x="209" y="355"/>
                    <a:pt x="209" y="359"/>
                    <a:pt x="212" y="358"/>
                  </a:cubicBezTo>
                  <a:cubicBezTo>
                    <a:pt x="216" y="358"/>
                    <a:pt x="221" y="360"/>
                    <a:pt x="222" y="362"/>
                  </a:cubicBezTo>
                  <a:cubicBezTo>
                    <a:pt x="223" y="365"/>
                    <a:pt x="233" y="367"/>
                    <a:pt x="236" y="368"/>
                  </a:cubicBezTo>
                  <a:cubicBezTo>
                    <a:pt x="239" y="368"/>
                    <a:pt x="239" y="363"/>
                    <a:pt x="242" y="362"/>
                  </a:cubicBezTo>
                  <a:cubicBezTo>
                    <a:pt x="244" y="360"/>
                    <a:pt x="243" y="350"/>
                    <a:pt x="246" y="349"/>
                  </a:cubicBezTo>
                  <a:cubicBezTo>
                    <a:pt x="248" y="348"/>
                    <a:pt x="247" y="337"/>
                    <a:pt x="245" y="336"/>
                  </a:cubicBezTo>
                  <a:cubicBezTo>
                    <a:pt x="243" y="335"/>
                    <a:pt x="244" y="332"/>
                    <a:pt x="249" y="332"/>
                  </a:cubicBezTo>
                  <a:cubicBezTo>
                    <a:pt x="255" y="333"/>
                    <a:pt x="253" y="328"/>
                    <a:pt x="255" y="327"/>
                  </a:cubicBezTo>
                  <a:cubicBezTo>
                    <a:pt x="258" y="326"/>
                    <a:pt x="257" y="321"/>
                    <a:pt x="259" y="321"/>
                  </a:cubicBezTo>
                  <a:cubicBezTo>
                    <a:pt x="261" y="320"/>
                    <a:pt x="260" y="317"/>
                    <a:pt x="259" y="315"/>
                  </a:cubicBezTo>
                  <a:cubicBezTo>
                    <a:pt x="257" y="313"/>
                    <a:pt x="259" y="312"/>
                    <a:pt x="262" y="311"/>
                  </a:cubicBezTo>
                  <a:cubicBezTo>
                    <a:pt x="265" y="311"/>
                    <a:pt x="264" y="307"/>
                    <a:pt x="260" y="305"/>
                  </a:cubicBezTo>
                  <a:cubicBezTo>
                    <a:pt x="257" y="304"/>
                    <a:pt x="258" y="300"/>
                    <a:pt x="262" y="302"/>
                  </a:cubicBezTo>
                  <a:cubicBezTo>
                    <a:pt x="265" y="305"/>
                    <a:pt x="268" y="303"/>
                    <a:pt x="266" y="300"/>
                  </a:cubicBezTo>
                  <a:cubicBezTo>
                    <a:pt x="264" y="297"/>
                    <a:pt x="269" y="296"/>
                    <a:pt x="274" y="295"/>
                  </a:cubicBezTo>
                  <a:cubicBezTo>
                    <a:pt x="279" y="295"/>
                    <a:pt x="281" y="292"/>
                    <a:pt x="280" y="288"/>
                  </a:cubicBezTo>
                  <a:cubicBezTo>
                    <a:pt x="279" y="285"/>
                    <a:pt x="286" y="285"/>
                    <a:pt x="284" y="288"/>
                  </a:cubicBezTo>
                  <a:cubicBezTo>
                    <a:pt x="283" y="291"/>
                    <a:pt x="284" y="295"/>
                    <a:pt x="286" y="292"/>
                  </a:cubicBezTo>
                  <a:cubicBezTo>
                    <a:pt x="288" y="290"/>
                    <a:pt x="293" y="292"/>
                    <a:pt x="301" y="289"/>
                  </a:cubicBezTo>
                  <a:cubicBezTo>
                    <a:pt x="309" y="287"/>
                    <a:pt x="317" y="280"/>
                    <a:pt x="319" y="274"/>
                  </a:cubicBezTo>
                  <a:cubicBezTo>
                    <a:pt x="321" y="267"/>
                    <a:pt x="330" y="268"/>
                    <a:pt x="329" y="264"/>
                  </a:cubicBezTo>
                  <a:cubicBezTo>
                    <a:pt x="328" y="260"/>
                    <a:pt x="330" y="258"/>
                    <a:pt x="336" y="261"/>
                  </a:cubicBezTo>
                  <a:cubicBezTo>
                    <a:pt x="342" y="264"/>
                    <a:pt x="338" y="259"/>
                    <a:pt x="344" y="259"/>
                  </a:cubicBezTo>
                  <a:cubicBezTo>
                    <a:pt x="351" y="259"/>
                    <a:pt x="350" y="256"/>
                    <a:pt x="356" y="256"/>
                  </a:cubicBezTo>
                  <a:cubicBezTo>
                    <a:pt x="363" y="256"/>
                    <a:pt x="379" y="253"/>
                    <a:pt x="385" y="248"/>
                  </a:cubicBezTo>
                  <a:cubicBezTo>
                    <a:pt x="391" y="244"/>
                    <a:pt x="403" y="240"/>
                    <a:pt x="408" y="237"/>
                  </a:cubicBezTo>
                  <a:cubicBezTo>
                    <a:pt x="413" y="233"/>
                    <a:pt x="414" y="231"/>
                    <a:pt x="411" y="232"/>
                  </a:cubicBezTo>
                  <a:cubicBezTo>
                    <a:pt x="408" y="234"/>
                    <a:pt x="401" y="234"/>
                    <a:pt x="397" y="233"/>
                  </a:cubicBezTo>
                  <a:cubicBezTo>
                    <a:pt x="392" y="232"/>
                    <a:pt x="384" y="228"/>
                    <a:pt x="379" y="231"/>
                  </a:cubicBezTo>
                  <a:cubicBezTo>
                    <a:pt x="373" y="234"/>
                    <a:pt x="377" y="227"/>
                    <a:pt x="381" y="226"/>
                  </a:cubicBezTo>
                  <a:cubicBezTo>
                    <a:pt x="386" y="225"/>
                    <a:pt x="384" y="223"/>
                    <a:pt x="383" y="218"/>
                  </a:cubicBezTo>
                  <a:cubicBezTo>
                    <a:pt x="381" y="213"/>
                    <a:pt x="390" y="217"/>
                    <a:pt x="394" y="222"/>
                  </a:cubicBezTo>
                  <a:cubicBezTo>
                    <a:pt x="398" y="227"/>
                    <a:pt x="405" y="230"/>
                    <a:pt x="412" y="228"/>
                  </a:cubicBezTo>
                  <a:cubicBezTo>
                    <a:pt x="418" y="226"/>
                    <a:pt x="412" y="221"/>
                    <a:pt x="414" y="217"/>
                  </a:cubicBezTo>
                  <a:cubicBezTo>
                    <a:pt x="417" y="214"/>
                    <a:pt x="395" y="203"/>
                    <a:pt x="393" y="199"/>
                  </a:cubicBezTo>
                  <a:cubicBezTo>
                    <a:pt x="392" y="195"/>
                    <a:pt x="399" y="198"/>
                    <a:pt x="405" y="200"/>
                  </a:cubicBezTo>
                  <a:cubicBezTo>
                    <a:pt x="412" y="203"/>
                    <a:pt x="413" y="195"/>
                    <a:pt x="413" y="192"/>
                  </a:cubicBezTo>
                  <a:cubicBezTo>
                    <a:pt x="413" y="188"/>
                    <a:pt x="400" y="188"/>
                    <a:pt x="394" y="192"/>
                  </a:cubicBezTo>
                  <a:cubicBezTo>
                    <a:pt x="388" y="195"/>
                    <a:pt x="382" y="187"/>
                    <a:pt x="390" y="186"/>
                  </a:cubicBezTo>
                  <a:cubicBezTo>
                    <a:pt x="398" y="185"/>
                    <a:pt x="391" y="182"/>
                    <a:pt x="393" y="180"/>
                  </a:cubicBezTo>
                  <a:cubicBezTo>
                    <a:pt x="396" y="177"/>
                    <a:pt x="406" y="187"/>
                    <a:pt x="411" y="185"/>
                  </a:cubicBezTo>
                  <a:cubicBezTo>
                    <a:pt x="416" y="183"/>
                    <a:pt x="420" y="185"/>
                    <a:pt x="425" y="182"/>
                  </a:cubicBezTo>
                  <a:cubicBezTo>
                    <a:pt x="429" y="178"/>
                    <a:pt x="417" y="175"/>
                    <a:pt x="414" y="172"/>
                  </a:cubicBezTo>
                  <a:cubicBezTo>
                    <a:pt x="411" y="168"/>
                    <a:pt x="427" y="170"/>
                    <a:pt x="432" y="170"/>
                  </a:cubicBezTo>
                  <a:cubicBezTo>
                    <a:pt x="437" y="170"/>
                    <a:pt x="438" y="163"/>
                    <a:pt x="434" y="164"/>
                  </a:cubicBezTo>
                  <a:cubicBezTo>
                    <a:pt x="430" y="166"/>
                    <a:pt x="417" y="160"/>
                    <a:pt x="419" y="155"/>
                  </a:cubicBezTo>
                  <a:cubicBezTo>
                    <a:pt x="422" y="151"/>
                    <a:pt x="427" y="156"/>
                    <a:pt x="433" y="153"/>
                  </a:cubicBezTo>
                  <a:cubicBezTo>
                    <a:pt x="439" y="150"/>
                    <a:pt x="434" y="138"/>
                    <a:pt x="430" y="138"/>
                  </a:cubicBezTo>
                  <a:cubicBezTo>
                    <a:pt x="425" y="138"/>
                    <a:pt x="415" y="137"/>
                    <a:pt x="415" y="135"/>
                  </a:cubicBezTo>
                  <a:cubicBezTo>
                    <a:pt x="415" y="133"/>
                    <a:pt x="407" y="131"/>
                    <a:pt x="409" y="129"/>
                  </a:cubicBezTo>
                  <a:cubicBezTo>
                    <a:pt x="412" y="126"/>
                    <a:pt x="415" y="131"/>
                    <a:pt x="420" y="127"/>
                  </a:cubicBezTo>
                  <a:cubicBezTo>
                    <a:pt x="426" y="123"/>
                    <a:pt x="437" y="128"/>
                    <a:pt x="442" y="127"/>
                  </a:cubicBezTo>
                  <a:cubicBezTo>
                    <a:pt x="447" y="126"/>
                    <a:pt x="440" y="117"/>
                    <a:pt x="437" y="119"/>
                  </a:cubicBezTo>
                  <a:cubicBezTo>
                    <a:pt x="434" y="120"/>
                    <a:pt x="425" y="121"/>
                    <a:pt x="424" y="116"/>
                  </a:cubicBezTo>
                  <a:cubicBezTo>
                    <a:pt x="423" y="111"/>
                    <a:pt x="433" y="116"/>
                    <a:pt x="435" y="113"/>
                  </a:cubicBezTo>
                  <a:cubicBezTo>
                    <a:pt x="437" y="111"/>
                    <a:pt x="421" y="105"/>
                    <a:pt x="419" y="110"/>
                  </a:cubicBezTo>
                  <a:cubicBezTo>
                    <a:pt x="416" y="115"/>
                    <a:pt x="408" y="113"/>
                    <a:pt x="412" y="110"/>
                  </a:cubicBezTo>
                  <a:cubicBezTo>
                    <a:pt x="417" y="107"/>
                    <a:pt x="418" y="99"/>
                    <a:pt x="417" y="95"/>
                  </a:cubicBezTo>
                  <a:cubicBezTo>
                    <a:pt x="417" y="91"/>
                    <a:pt x="433" y="91"/>
                    <a:pt x="432" y="84"/>
                  </a:cubicBezTo>
                  <a:cubicBezTo>
                    <a:pt x="430" y="78"/>
                    <a:pt x="439" y="76"/>
                    <a:pt x="445" y="76"/>
                  </a:cubicBezTo>
                  <a:cubicBezTo>
                    <a:pt x="450" y="76"/>
                    <a:pt x="445" y="69"/>
                    <a:pt x="439" y="70"/>
                  </a:cubicBezTo>
                  <a:cubicBezTo>
                    <a:pt x="434" y="71"/>
                    <a:pt x="429" y="76"/>
                    <a:pt x="426" y="74"/>
                  </a:cubicBezTo>
                  <a:cubicBezTo>
                    <a:pt x="423" y="72"/>
                    <a:pt x="432" y="67"/>
                    <a:pt x="437" y="67"/>
                  </a:cubicBezTo>
                  <a:cubicBezTo>
                    <a:pt x="442" y="67"/>
                    <a:pt x="453" y="67"/>
                    <a:pt x="457" y="65"/>
                  </a:cubicBezTo>
                  <a:cubicBezTo>
                    <a:pt x="461" y="62"/>
                    <a:pt x="450" y="60"/>
                    <a:pt x="442" y="61"/>
                  </a:cubicBezTo>
                  <a:cubicBezTo>
                    <a:pt x="435" y="62"/>
                    <a:pt x="435" y="59"/>
                    <a:pt x="446" y="58"/>
                  </a:cubicBezTo>
                  <a:cubicBezTo>
                    <a:pt x="458" y="58"/>
                    <a:pt x="456" y="56"/>
                    <a:pt x="464" y="55"/>
                  </a:cubicBezTo>
                  <a:cubicBezTo>
                    <a:pt x="472" y="54"/>
                    <a:pt x="469" y="51"/>
                    <a:pt x="474" y="50"/>
                  </a:cubicBezTo>
                  <a:cubicBezTo>
                    <a:pt x="479" y="50"/>
                    <a:pt x="492" y="45"/>
                    <a:pt x="492" y="42"/>
                  </a:cubicBezTo>
                  <a:cubicBezTo>
                    <a:pt x="492" y="39"/>
                    <a:pt x="474" y="34"/>
                    <a:pt x="465" y="34"/>
                  </a:cubicBezTo>
                  <a:close/>
                  <a:moveTo>
                    <a:pt x="169" y="241"/>
                  </a:moveTo>
                  <a:cubicBezTo>
                    <a:pt x="169" y="237"/>
                    <a:pt x="164" y="240"/>
                    <a:pt x="162" y="235"/>
                  </a:cubicBezTo>
                  <a:cubicBezTo>
                    <a:pt x="160" y="231"/>
                    <a:pt x="148" y="229"/>
                    <a:pt x="146" y="232"/>
                  </a:cubicBezTo>
                  <a:cubicBezTo>
                    <a:pt x="146" y="234"/>
                    <a:pt x="142" y="236"/>
                    <a:pt x="145" y="239"/>
                  </a:cubicBezTo>
                  <a:cubicBezTo>
                    <a:pt x="148" y="243"/>
                    <a:pt x="150" y="241"/>
                    <a:pt x="154" y="245"/>
                  </a:cubicBezTo>
                  <a:cubicBezTo>
                    <a:pt x="158" y="248"/>
                    <a:pt x="168" y="245"/>
                    <a:pt x="169" y="241"/>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86" name="Freeform 129">
              <a:extLst>
                <a:ext uri="{FF2B5EF4-FFF2-40B4-BE49-F238E27FC236}">
                  <a16:creationId xmlns:a16="http://schemas.microsoft.com/office/drawing/2014/main" xmlns="" id="{FBF7F0B5-C45B-49E0-8984-D64C4B49CEE6}"/>
                </a:ext>
              </a:extLst>
            </p:cNvPr>
            <p:cNvSpPr>
              <a:spLocks/>
            </p:cNvSpPr>
            <p:nvPr/>
          </p:nvSpPr>
          <p:spPr bwMode="auto">
            <a:xfrm>
              <a:off x="15529147" y="5260054"/>
              <a:ext cx="52388" cy="38100"/>
            </a:xfrm>
            <a:custGeom>
              <a:avLst/>
              <a:gdLst>
                <a:gd name="T0" fmla="*/ 1 w 20"/>
                <a:gd name="T1" fmla="*/ 2 h 15"/>
                <a:gd name="T2" fmla="*/ 8 w 20"/>
                <a:gd name="T3" fmla="*/ 7 h 15"/>
                <a:gd name="T4" fmla="*/ 17 w 20"/>
                <a:gd name="T5" fmla="*/ 10 h 15"/>
                <a:gd name="T6" fmla="*/ 1 w 20"/>
                <a:gd name="T7" fmla="*/ 2 h 15"/>
              </a:gdLst>
              <a:ahLst/>
              <a:cxnLst>
                <a:cxn ang="0">
                  <a:pos x="T0" y="T1"/>
                </a:cxn>
                <a:cxn ang="0">
                  <a:pos x="T2" y="T3"/>
                </a:cxn>
                <a:cxn ang="0">
                  <a:pos x="T4" y="T5"/>
                </a:cxn>
                <a:cxn ang="0">
                  <a:pos x="T6" y="T7"/>
                </a:cxn>
              </a:cxnLst>
              <a:rect l="0" t="0" r="r" b="b"/>
              <a:pathLst>
                <a:path w="20" h="15">
                  <a:moveTo>
                    <a:pt x="1" y="2"/>
                  </a:moveTo>
                  <a:cubicBezTo>
                    <a:pt x="1" y="5"/>
                    <a:pt x="5" y="4"/>
                    <a:pt x="8" y="7"/>
                  </a:cubicBezTo>
                  <a:cubicBezTo>
                    <a:pt x="11" y="9"/>
                    <a:pt x="14" y="15"/>
                    <a:pt x="17" y="10"/>
                  </a:cubicBezTo>
                  <a:cubicBezTo>
                    <a:pt x="20" y="5"/>
                    <a:pt x="0" y="0"/>
                    <a:pt x="1" y="2"/>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87" name="Freeform 130">
              <a:extLst>
                <a:ext uri="{FF2B5EF4-FFF2-40B4-BE49-F238E27FC236}">
                  <a16:creationId xmlns:a16="http://schemas.microsoft.com/office/drawing/2014/main" xmlns="" id="{C9783E9C-D05F-44C7-A959-2AEC0703FD13}"/>
                </a:ext>
              </a:extLst>
            </p:cNvPr>
            <p:cNvSpPr>
              <a:spLocks noEditPoints="1"/>
            </p:cNvSpPr>
            <p:nvPr/>
          </p:nvSpPr>
          <p:spPr bwMode="auto">
            <a:xfrm>
              <a:off x="13357447" y="1592929"/>
              <a:ext cx="1866900" cy="1443037"/>
            </a:xfrm>
            <a:custGeom>
              <a:avLst/>
              <a:gdLst>
                <a:gd name="T0" fmla="*/ 146 w 717"/>
                <a:gd name="T1" fmla="*/ 487 h 552"/>
                <a:gd name="T2" fmla="*/ 135 w 717"/>
                <a:gd name="T3" fmla="*/ 162 h 552"/>
                <a:gd name="T4" fmla="*/ 276 w 717"/>
                <a:gd name="T5" fmla="*/ 179 h 552"/>
                <a:gd name="T6" fmla="*/ 183 w 717"/>
                <a:gd name="T7" fmla="*/ 191 h 552"/>
                <a:gd name="T8" fmla="*/ 275 w 717"/>
                <a:gd name="T9" fmla="*/ 238 h 552"/>
                <a:gd name="T10" fmla="*/ 169 w 717"/>
                <a:gd name="T11" fmla="*/ 138 h 552"/>
                <a:gd name="T12" fmla="*/ 148 w 717"/>
                <a:gd name="T13" fmla="*/ 132 h 552"/>
                <a:gd name="T14" fmla="*/ 263 w 717"/>
                <a:gd name="T15" fmla="*/ 152 h 552"/>
                <a:gd name="T16" fmla="*/ 212 w 717"/>
                <a:gd name="T17" fmla="*/ 102 h 552"/>
                <a:gd name="T18" fmla="*/ 294 w 717"/>
                <a:gd name="T19" fmla="*/ 85 h 552"/>
                <a:gd name="T20" fmla="*/ 297 w 717"/>
                <a:gd name="T21" fmla="*/ 115 h 552"/>
                <a:gd name="T22" fmla="*/ 299 w 717"/>
                <a:gd name="T23" fmla="*/ 132 h 552"/>
                <a:gd name="T24" fmla="*/ 387 w 717"/>
                <a:gd name="T25" fmla="*/ 105 h 552"/>
                <a:gd name="T26" fmla="*/ 351 w 717"/>
                <a:gd name="T27" fmla="*/ 165 h 552"/>
                <a:gd name="T28" fmla="*/ 490 w 717"/>
                <a:gd name="T29" fmla="*/ 156 h 552"/>
                <a:gd name="T30" fmla="*/ 414 w 717"/>
                <a:gd name="T31" fmla="*/ 108 h 552"/>
                <a:gd name="T32" fmla="*/ 426 w 717"/>
                <a:gd name="T33" fmla="*/ 59 h 552"/>
                <a:gd name="T34" fmla="*/ 418 w 717"/>
                <a:gd name="T35" fmla="*/ 47 h 552"/>
                <a:gd name="T36" fmla="*/ 452 w 717"/>
                <a:gd name="T37" fmla="*/ 86 h 552"/>
                <a:gd name="T38" fmla="*/ 498 w 717"/>
                <a:gd name="T39" fmla="*/ 128 h 552"/>
                <a:gd name="T40" fmla="*/ 567 w 717"/>
                <a:gd name="T41" fmla="*/ 62 h 552"/>
                <a:gd name="T42" fmla="*/ 542 w 717"/>
                <a:gd name="T43" fmla="*/ 6 h 552"/>
                <a:gd name="T44" fmla="*/ 406 w 717"/>
                <a:gd name="T45" fmla="*/ 32 h 552"/>
                <a:gd name="T46" fmla="*/ 445 w 717"/>
                <a:gd name="T47" fmla="*/ 314 h 552"/>
                <a:gd name="T48" fmla="*/ 590 w 717"/>
                <a:gd name="T49" fmla="*/ 242 h 552"/>
                <a:gd name="T50" fmla="*/ 532 w 717"/>
                <a:gd name="T51" fmla="*/ 194 h 552"/>
                <a:gd name="T52" fmla="*/ 445 w 717"/>
                <a:gd name="T53" fmla="*/ 178 h 552"/>
                <a:gd name="T54" fmla="*/ 502 w 717"/>
                <a:gd name="T55" fmla="*/ 220 h 552"/>
                <a:gd name="T56" fmla="*/ 525 w 717"/>
                <a:gd name="T57" fmla="*/ 292 h 552"/>
                <a:gd name="T58" fmla="*/ 606 w 717"/>
                <a:gd name="T59" fmla="*/ 298 h 552"/>
                <a:gd name="T60" fmla="*/ 487 w 717"/>
                <a:gd name="T61" fmla="*/ 171 h 552"/>
                <a:gd name="T62" fmla="*/ 687 w 717"/>
                <a:gd name="T63" fmla="*/ 457 h 552"/>
                <a:gd name="T64" fmla="*/ 78 w 717"/>
                <a:gd name="T65" fmla="*/ 448 h 552"/>
                <a:gd name="T66" fmla="*/ 585 w 717"/>
                <a:gd name="T67" fmla="*/ 489 h 552"/>
                <a:gd name="T68" fmla="*/ 687 w 717"/>
                <a:gd name="T69" fmla="*/ 434 h 552"/>
                <a:gd name="T70" fmla="*/ 638 w 717"/>
                <a:gd name="T71" fmla="*/ 399 h 552"/>
                <a:gd name="T72" fmla="*/ 602 w 717"/>
                <a:gd name="T73" fmla="*/ 376 h 552"/>
                <a:gd name="T74" fmla="*/ 544 w 717"/>
                <a:gd name="T75" fmla="*/ 330 h 552"/>
                <a:gd name="T76" fmla="*/ 519 w 717"/>
                <a:gd name="T77" fmla="*/ 387 h 552"/>
                <a:gd name="T78" fmla="*/ 475 w 717"/>
                <a:gd name="T79" fmla="*/ 440 h 552"/>
                <a:gd name="T80" fmla="*/ 384 w 717"/>
                <a:gd name="T81" fmla="*/ 375 h 552"/>
                <a:gd name="T82" fmla="*/ 413 w 717"/>
                <a:gd name="T83" fmla="*/ 307 h 552"/>
                <a:gd name="T84" fmla="*/ 463 w 717"/>
                <a:gd name="T85" fmla="*/ 276 h 552"/>
                <a:gd name="T86" fmla="*/ 454 w 717"/>
                <a:gd name="T87" fmla="*/ 242 h 552"/>
                <a:gd name="T88" fmla="*/ 413 w 717"/>
                <a:gd name="T89" fmla="*/ 245 h 552"/>
                <a:gd name="T90" fmla="*/ 383 w 717"/>
                <a:gd name="T91" fmla="*/ 193 h 552"/>
                <a:gd name="T92" fmla="*/ 369 w 717"/>
                <a:gd name="T93" fmla="*/ 208 h 552"/>
                <a:gd name="T94" fmla="*/ 362 w 717"/>
                <a:gd name="T95" fmla="*/ 259 h 552"/>
                <a:gd name="T96" fmla="*/ 351 w 717"/>
                <a:gd name="T97" fmla="*/ 248 h 552"/>
                <a:gd name="T98" fmla="*/ 285 w 717"/>
                <a:gd name="T99" fmla="*/ 248 h 552"/>
                <a:gd name="T100" fmla="*/ 191 w 717"/>
                <a:gd name="T101" fmla="*/ 242 h 552"/>
                <a:gd name="T102" fmla="*/ 69 w 717"/>
                <a:gd name="T103" fmla="*/ 243 h 552"/>
                <a:gd name="T104" fmla="*/ 33 w 717"/>
                <a:gd name="T105" fmla="*/ 243 h 552"/>
                <a:gd name="T106" fmla="*/ 90 w 717"/>
                <a:gd name="T107" fmla="*/ 419 h 552"/>
                <a:gd name="T108" fmla="*/ 129 w 717"/>
                <a:gd name="T109" fmla="*/ 469 h 552"/>
                <a:gd name="T110" fmla="*/ 444 w 717"/>
                <a:gd name="T111" fmla="*/ 491 h 552"/>
                <a:gd name="T112" fmla="*/ 500 w 717"/>
                <a:gd name="T113" fmla="*/ 546 h 552"/>
                <a:gd name="T114" fmla="*/ 617 w 717"/>
                <a:gd name="T115" fmla="*/ 515 h 552"/>
                <a:gd name="T116" fmla="*/ 173 w 717"/>
                <a:gd name="T117" fmla="*/ 290 h 552"/>
                <a:gd name="T118" fmla="*/ 172 w 717"/>
                <a:gd name="T119" fmla="*/ 279 h 552"/>
                <a:gd name="T120" fmla="*/ 359 w 717"/>
                <a:gd name="T121" fmla="*/ 468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7" h="552">
                  <a:moveTo>
                    <a:pt x="141" y="484"/>
                  </a:moveTo>
                  <a:cubicBezTo>
                    <a:pt x="139" y="481"/>
                    <a:pt x="133" y="482"/>
                    <a:pt x="132" y="479"/>
                  </a:cubicBezTo>
                  <a:cubicBezTo>
                    <a:pt x="131" y="477"/>
                    <a:pt x="126" y="469"/>
                    <a:pt x="123" y="469"/>
                  </a:cubicBezTo>
                  <a:cubicBezTo>
                    <a:pt x="120" y="469"/>
                    <a:pt x="116" y="469"/>
                    <a:pt x="112" y="467"/>
                  </a:cubicBezTo>
                  <a:cubicBezTo>
                    <a:pt x="109" y="464"/>
                    <a:pt x="106" y="464"/>
                    <a:pt x="104" y="465"/>
                  </a:cubicBezTo>
                  <a:cubicBezTo>
                    <a:pt x="101" y="467"/>
                    <a:pt x="106" y="467"/>
                    <a:pt x="106" y="469"/>
                  </a:cubicBezTo>
                  <a:cubicBezTo>
                    <a:pt x="106" y="471"/>
                    <a:pt x="108" y="472"/>
                    <a:pt x="110" y="472"/>
                  </a:cubicBezTo>
                  <a:cubicBezTo>
                    <a:pt x="112" y="471"/>
                    <a:pt x="113" y="476"/>
                    <a:pt x="115" y="476"/>
                  </a:cubicBezTo>
                  <a:cubicBezTo>
                    <a:pt x="118" y="476"/>
                    <a:pt x="118" y="479"/>
                    <a:pt x="121" y="479"/>
                  </a:cubicBezTo>
                  <a:cubicBezTo>
                    <a:pt x="123" y="479"/>
                    <a:pt x="124" y="482"/>
                    <a:pt x="125" y="484"/>
                  </a:cubicBezTo>
                  <a:cubicBezTo>
                    <a:pt x="126" y="486"/>
                    <a:pt x="129" y="484"/>
                    <a:pt x="129" y="486"/>
                  </a:cubicBezTo>
                  <a:cubicBezTo>
                    <a:pt x="129" y="487"/>
                    <a:pt x="132" y="488"/>
                    <a:pt x="133" y="490"/>
                  </a:cubicBezTo>
                  <a:cubicBezTo>
                    <a:pt x="138" y="491"/>
                    <a:pt x="142" y="491"/>
                    <a:pt x="145" y="490"/>
                  </a:cubicBezTo>
                  <a:cubicBezTo>
                    <a:pt x="146" y="489"/>
                    <a:pt x="146" y="488"/>
                    <a:pt x="146" y="487"/>
                  </a:cubicBezTo>
                  <a:cubicBezTo>
                    <a:pt x="148" y="485"/>
                    <a:pt x="144" y="486"/>
                    <a:pt x="141" y="484"/>
                  </a:cubicBezTo>
                  <a:close/>
                  <a:moveTo>
                    <a:pt x="135" y="200"/>
                  </a:moveTo>
                  <a:cubicBezTo>
                    <a:pt x="142" y="202"/>
                    <a:pt x="142" y="213"/>
                    <a:pt x="147" y="213"/>
                  </a:cubicBezTo>
                  <a:cubicBezTo>
                    <a:pt x="150" y="213"/>
                    <a:pt x="147" y="210"/>
                    <a:pt x="152" y="210"/>
                  </a:cubicBezTo>
                  <a:cubicBezTo>
                    <a:pt x="157" y="210"/>
                    <a:pt x="156" y="207"/>
                    <a:pt x="160" y="208"/>
                  </a:cubicBezTo>
                  <a:cubicBezTo>
                    <a:pt x="164" y="208"/>
                    <a:pt x="168" y="206"/>
                    <a:pt x="168" y="201"/>
                  </a:cubicBezTo>
                  <a:cubicBezTo>
                    <a:pt x="168" y="196"/>
                    <a:pt x="171" y="195"/>
                    <a:pt x="175" y="194"/>
                  </a:cubicBezTo>
                  <a:cubicBezTo>
                    <a:pt x="179" y="193"/>
                    <a:pt x="176" y="187"/>
                    <a:pt x="182" y="186"/>
                  </a:cubicBezTo>
                  <a:cubicBezTo>
                    <a:pt x="188" y="184"/>
                    <a:pt x="204" y="177"/>
                    <a:pt x="207" y="175"/>
                  </a:cubicBezTo>
                  <a:cubicBezTo>
                    <a:pt x="210" y="173"/>
                    <a:pt x="204" y="170"/>
                    <a:pt x="197" y="166"/>
                  </a:cubicBezTo>
                  <a:cubicBezTo>
                    <a:pt x="191" y="162"/>
                    <a:pt x="186" y="161"/>
                    <a:pt x="181" y="164"/>
                  </a:cubicBezTo>
                  <a:cubicBezTo>
                    <a:pt x="176" y="168"/>
                    <a:pt x="180" y="161"/>
                    <a:pt x="176" y="163"/>
                  </a:cubicBezTo>
                  <a:cubicBezTo>
                    <a:pt x="172" y="164"/>
                    <a:pt x="161" y="160"/>
                    <a:pt x="160" y="158"/>
                  </a:cubicBezTo>
                  <a:cubicBezTo>
                    <a:pt x="158" y="156"/>
                    <a:pt x="139" y="162"/>
                    <a:pt x="135" y="162"/>
                  </a:cubicBezTo>
                  <a:cubicBezTo>
                    <a:pt x="130" y="162"/>
                    <a:pt x="135" y="167"/>
                    <a:pt x="138" y="169"/>
                  </a:cubicBezTo>
                  <a:cubicBezTo>
                    <a:pt x="141" y="172"/>
                    <a:pt x="130" y="180"/>
                    <a:pt x="132" y="181"/>
                  </a:cubicBezTo>
                  <a:cubicBezTo>
                    <a:pt x="135" y="183"/>
                    <a:pt x="130" y="188"/>
                    <a:pt x="125" y="194"/>
                  </a:cubicBezTo>
                  <a:cubicBezTo>
                    <a:pt x="120" y="199"/>
                    <a:pt x="129" y="199"/>
                    <a:pt x="135" y="200"/>
                  </a:cubicBezTo>
                  <a:close/>
                  <a:moveTo>
                    <a:pt x="314" y="230"/>
                  </a:moveTo>
                  <a:cubicBezTo>
                    <a:pt x="316" y="227"/>
                    <a:pt x="325" y="235"/>
                    <a:pt x="325" y="229"/>
                  </a:cubicBezTo>
                  <a:cubicBezTo>
                    <a:pt x="325" y="224"/>
                    <a:pt x="315" y="221"/>
                    <a:pt x="311" y="219"/>
                  </a:cubicBezTo>
                  <a:cubicBezTo>
                    <a:pt x="306" y="216"/>
                    <a:pt x="305" y="217"/>
                    <a:pt x="298" y="212"/>
                  </a:cubicBezTo>
                  <a:cubicBezTo>
                    <a:pt x="291" y="207"/>
                    <a:pt x="300" y="205"/>
                    <a:pt x="295" y="201"/>
                  </a:cubicBezTo>
                  <a:cubicBezTo>
                    <a:pt x="290" y="197"/>
                    <a:pt x="288" y="186"/>
                    <a:pt x="291" y="183"/>
                  </a:cubicBezTo>
                  <a:cubicBezTo>
                    <a:pt x="295" y="179"/>
                    <a:pt x="299" y="174"/>
                    <a:pt x="293" y="171"/>
                  </a:cubicBezTo>
                  <a:cubicBezTo>
                    <a:pt x="286" y="169"/>
                    <a:pt x="276" y="173"/>
                    <a:pt x="277" y="175"/>
                  </a:cubicBezTo>
                  <a:cubicBezTo>
                    <a:pt x="278" y="176"/>
                    <a:pt x="287" y="181"/>
                    <a:pt x="287" y="183"/>
                  </a:cubicBezTo>
                  <a:cubicBezTo>
                    <a:pt x="287" y="185"/>
                    <a:pt x="279" y="177"/>
                    <a:pt x="276" y="179"/>
                  </a:cubicBezTo>
                  <a:cubicBezTo>
                    <a:pt x="273" y="181"/>
                    <a:pt x="270" y="175"/>
                    <a:pt x="267" y="179"/>
                  </a:cubicBezTo>
                  <a:cubicBezTo>
                    <a:pt x="265" y="183"/>
                    <a:pt x="270" y="195"/>
                    <a:pt x="273" y="199"/>
                  </a:cubicBezTo>
                  <a:cubicBezTo>
                    <a:pt x="275" y="202"/>
                    <a:pt x="270" y="202"/>
                    <a:pt x="268" y="203"/>
                  </a:cubicBezTo>
                  <a:cubicBezTo>
                    <a:pt x="265" y="204"/>
                    <a:pt x="264" y="193"/>
                    <a:pt x="262" y="189"/>
                  </a:cubicBezTo>
                  <a:cubicBezTo>
                    <a:pt x="259" y="185"/>
                    <a:pt x="247" y="180"/>
                    <a:pt x="247" y="183"/>
                  </a:cubicBezTo>
                  <a:cubicBezTo>
                    <a:pt x="246" y="186"/>
                    <a:pt x="254" y="186"/>
                    <a:pt x="253" y="190"/>
                  </a:cubicBezTo>
                  <a:cubicBezTo>
                    <a:pt x="252" y="194"/>
                    <a:pt x="247" y="188"/>
                    <a:pt x="243" y="191"/>
                  </a:cubicBezTo>
                  <a:cubicBezTo>
                    <a:pt x="239" y="194"/>
                    <a:pt x="240" y="192"/>
                    <a:pt x="241" y="189"/>
                  </a:cubicBezTo>
                  <a:cubicBezTo>
                    <a:pt x="242" y="185"/>
                    <a:pt x="235" y="182"/>
                    <a:pt x="228" y="183"/>
                  </a:cubicBezTo>
                  <a:cubicBezTo>
                    <a:pt x="221" y="183"/>
                    <a:pt x="225" y="188"/>
                    <a:pt x="223" y="190"/>
                  </a:cubicBezTo>
                  <a:cubicBezTo>
                    <a:pt x="221" y="192"/>
                    <a:pt x="210" y="189"/>
                    <a:pt x="217" y="188"/>
                  </a:cubicBezTo>
                  <a:cubicBezTo>
                    <a:pt x="223" y="186"/>
                    <a:pt x="221" y="182"/>
                    <a:pt x="218" y="178"/>
                  </a:cubicBezTo>
                  <a:cubicBezTo>
                    <a:pt x="216" y="174"/>
                    <a:pt x="209" y="179"/>
                    <a:pt x="198" y="183"/>
                  </a:cubicBezTo>
                  <a:cubicBezTo>
                    <a:pt x="187" y="187"/>
                    <a:pt x="182" y="191"/>
                    <a:pt x="183" y="191"/>
                  </a:cubicBezTo>
                  <a:cubicBezTo>
                    <a:pt x="184" y="192"/>
                    <a:pt x="185" y="194"/>
                    <a:pt x="181" y="197"/>
                  </a:cubicBezTo>
                  <a:cubicBezTo>
                    <a:pt x="176" y="201"/>
                    <a:pt x="181" y="204"/>
                    <a:pt x="184" y="204"/>
                  </a:cubicBezTo>
                  <a:cubicBezTo>
                    <a:pt x="188" y="204"/>
                    <a:pt x="185" y="207"/>
                    <a:pt x="188" y="208"/>
                  </a:cubicBezTo>
                  <a:cubicBezTo>
                    <a:pt x="190" y="209"/>
                    <a:pt x="203" y="203"/>
                    <a:pt x="207" y="205"/>
                  </a:cubicBezTo>
                  <a:cubicBezTo>
                    <a:pt x="210" y="208"/>
                    <a:pt x="186" y="209"/>
                    <a:pt x="186" y="214"/>
                  </a:cubicBezTo>
                  <a:cubicBezTo>
                    <a:pt x="186" y="218"/>
                    <a:pt x="199" y="220"/>
                    <a:pt x="209" y="219"/>
                  </a:cubicBezTo>
                  <a:cubicBezTo>
                    <a:pt x="219" y="217"/>
                    <a:pt x="237" y="220"/>
                    <a:pt x="237" y="222"/>
                  </a:cubicBezTo>
                  <a:cubicBezTo>
                    <a:pt x="237" y="225"/>
                    <a:pt x="225" y="224"/>
                    <a:pt x="216" y="224"/>
                  </a:cubicBezTo>
                  <a:cubicBezTo>
                    <a:pt x="207" y="224"/>
                    <a:pt x="192" y="226"/>
                    <a:pt x="192" y="229"/>
                  </a:cubicBezTo>
                  <a:cubicBezTo>
                    <a:pt x="193" y="232"/>
                    <a:pt x="194" y="232"/>
                    <a:pt x="203" y="237"/>
                  </a:cubicBezTo>
                  <a:cubicBezTo>
                    <a:pt x="213" y="241"/>
                    <a:pt x="222" y="235"/>
                    <a:pt x="222" y="241"/>
                  </a:cubicBezTo>
                  <a:cubicBezTo>
                    <a:pt x="222" y="247"/>
                    <a:pt x="227" y="248"/>
                    <a:pt x="239" y="249"/>
                  </a:cubicBezTo>
                  <a:cubicBezTo>
                    <a:pt x="252" y="249"/>
                    <a:pt x="258" y="243"/>
                    <a:pt x="264" y="243"/>
                  </a:cubicBezTo>
                  <a:cubicBezTo>
                    <a:pt x="270" y="244"/>
                    <a:pt x="273" y="242"/>
                    <a:pt x="275" y="238"/>
                  </a:cubicBezTo>
                  <a:cubicBezTo>
                    <a:pt x="278" y="234"/>
                    <a:pt x="281" y="236"/>
                    <a:pt x="281" y="239"/>
                  </a:cubicBezTo>
                  <a:cubicBezTo>
                    <a:pt x="282" y="241"/>
                    <a:pt x="290" y="240"/>
                    <a:pt x="292" y="242"/>
                  </a:cubicBezTo>
                  <a:cubicBezTo>
                    <a:pt x="296" y="247"/>
                    <a:pt x="311" y="245"/>
                    <a:pt x="317" y="242"/>
                  </a:cubicBezTo>
                  <a:cubicBezTo>
                    <a:pt x="323" y="240"/>
                    <a:pt x="315" y="232"/>
                    <a:pt x="312" y="235"/>
                  </a:cubicBezTo>
                  <a:cubicBezTo>
                    <a:pt x="309" y="239"/>
                    <a:pt x="306" y="237"/>
                    <a:pt x="306" y="235"/>
                  </a:cubicBezTo>
                  <a:cubicBezTo>
                    <a:pt x="305" y="233"/>
                    <a:pt x="311" y="232"/>
                    <a:pt x="314" y="230"/>
                  </a:cubicBezTo>
                  <a:close/>
                  <a:moveTo>
                    <a:pt x="178" y="142"/>
                  </a:moveTo>
                  <a:cubicBezTo>
                    <a:pt x="184" y="143"/>
                    <a:pt x="191" y="137"/>
                    <a:pt x="191" y="134"/>
                  </a:cubicBezTo>
                  <a:cubicBezTo>
                    <a:pt x="190" y="130"/>
                    <a:pt x="175" y="142"/>
                    <a:pt x="178" y="142"/>
                  </a:cubicBezTo>
                  <a:close/>
                  <a:moveTo>
                    <a:pt x="148" y="132"/>
                  </a:moveTo>
                  <a:cubicBezTo>
                    <a:pt x="151" y="133"/>
                    <a:pt x="148" y="138"/>
                    <a:pt x="151" y="137"/>
                  </a:cubicBezTo>
                  <a:cubicBezTo>
                    <a:pt x="154" y="135"/>
                    <a:pt x="155" y="135"/>
                    <a:pt x="157" y="135"/>
                  </a:cubicBezTo>
                  <a:cubicBezTo>
                    <a:pt x="161" y="137"/>
                    <a:pt x="162" y="133"/>
                    <a:pt x="163" y="132"/>
                  </a:cubicBezTo>
                  <a:cubicBezTo>
                    <a:pt x="165" y="130"/>
                    <a:pt x="165" y="138"/>
                    <a:pt x="169" y="138"/>
                  </a:cubicBezTo>
                  <a:cubicBezTo>
                    <a:pt x="173" y="138"/>
                    <a:pt x="172" y="129"/>
                    <a:pt x="176" y="132"/>
                  </a:cubicBezTo>
                  <a:cubicBezTo>
                    <a:pt x="179" y="134"/>
                    <a:pt x="181" y="131"/>
                    <a:pt x="181" y="128"/>
                  </a:cubicBezTo>
                  <a:cubicBezTo>
                    <a:pt x="182" y="126"/>
                    <a:pt x="182" y="122"/>
                    <a:pt x="186" y="121"/>
                  </a:cubicBezTo>
                  <a:cubicBezTo>
                    <a:pt x="190" y="120"/>
                    <a:pt x="187" y="125"/>
                    <a:pt x="188" y="128"/>
                  </a:cubicBezTo>
                  <a:cubicBezTo>
                    <a:pt x="191" y="133"/>
                    <a:pt x="196" y="128"/>
                    <a:pt x="196" y="126"/>
                  </a:cubicBezTo>
                  <a:cubicBezTo>
                    <a:pt x="196" y="124"/>
                    <a:pt x="203" y="125"/>
                    <a:pt x="202" y="123"/>
                  </a:cubicBezTo>
                  <a:cubicBezTo>
                    <a:pt x="202" y="120"/>
                    <a:pt x="204" y="120"/>
                    <a:pt x="202" y="117"/>
                  </a:cubicBezTo>
                  <a:cubicBezTo>
                    <a:pt x="201" y="114"/>
                    <a:pt x="205" y="115"/>
                    <a:pt x="207" y="113"/>
                  </a:cubicBezTo>
                  <a:cubicBezTo>
                    <a:pt x="209" y="110"/>
                    <a:pt x="204" y="112"/>
                    <a:pt x="201" y="109"/>
                  </a:cubicBezTo>
                  <a:cubicBezTo>
                    <a:pt x="197" y="106"/>
                    <a:pt x="196" y="110"/>
                    <a:pt x="196" y="112"/>
                  </a:cubicBezTo>
                  <a:cubicBezTo>
                    <a:pt x="196" y="114"/>
                    <a:pt x="189" y="113"/>
                    <a:pt x="185" y="111"/>
                  </a:cubicBezTo>
                  <a:cubicBezTo>
                    <a:pt x="181" y="110"/>
                    <a:pt x="176" y="116"/>
                    <a:pt x="171" y="119"/>
                  </a:cubicBezTo>
                  <a:cubicBezTo>
                    <a:pt x="165" y="122"/>
                    <a:pt x="165" y="127"/>
                    <a:pt x="159" y="126"/>
                  </a:cubicBezTo>
                  <a:cubicBezTo>
                    <a:pt x="154" y="126"/>
                    <a:pt x="146" y="131"/>
                    <a:pt x="148" y="132"/>
                  </a:cubicBezTo>
                  <a:close/>
                  <a:moveTo>
                    <a:pt x="204" y="130"/>
                  </a:moveTo>
                  <a:cubicBezTo>
                    <a:pt x="199" y="130"/>
                    <a:pt x="199" y="135"/>
                    <a:pt x="205" y="135"/>
                  </a:cubicBezTo>
                  <a:cubicBezTo>
                    <a:pt x="211" y="135"/>
                    <a:pt x="213" y="137"/>
                    <a:pt x="204" y="137"/>
                  </a:cubicBezTo>
                  <a:cubicBezTo>
                    <a:pt x="196" y="137"/>
                    <a:pt x="193" y="144"/>
                    <a:pt x="198" y="142"/>
                  </a:cubicBezTo>
                  <a:cubicBezTo>
                    <a:pt x="204" y="141"/>
                    <a:pt x="211" y="141"/>
                    <a:pt x="207" y="142"/>
                  </a:cubicBezTo>
                  <a:cubicBezTo>
                    <a:pt x="202" y="144"/>
                    <a:pt x="191" y="145"/>
                    <a:pt x="192" y="147"/>
                  </a:cubicBezTo>
                  <a:cubicBezTo>
                    <a:pt x="193" y="148"/>
                    <a:pt x="198" y="148"/>
                    <a:pt x="203" y="150"/>
                  </a:cubicBezTo>
                  <a:cubicBezTo>
                    <a:pt x="207" y="152"/>
                    <a:pt x="210" y="153"/>
                    <a:pt x="214" y="149"/>
                  </a:cubicBezTo>
                  <a:cubicBezTo>
                    <a:pt x="217" y="145"/>
                    <a:pt x="222" y="141"/>
                    <a:pt x="220" y="146"/>
                  </a:cubicBezTo>
                  <a:cubicBezTo>
                    <a:pt x="218" y="152"/>
                    <a:pt x="226" y="148"/>
                    <a:pt x="235" y="147"/>
                  </a:cubicBezTo>
                  <a:cubicBezTo>
                    <a:pt x="245" y="147"/>
                    <a:pt x="234" y="153"/>
                    <a:pt x="224" y="154"/>
                  </a:cubicBezTo>
                  <a:cubicBezTo>
                    <a:pt x="214" y="154"/>
                    <a:pt x="216" y="159"/>
                    <a:pt x="223" y="161"/>
                  </a:cubicBezTo>
                  <a:cubicBezTo>
                    <a:pt x="231" y="163"/>
                    <a:pt x="248" y="156"/>
                    <a:pt x="252" y="152"/>
                  </a:cubicBezTo>
                  <a:cubicBezTo>
                    <a:pt x="256" y="148"/>
                    <a:pt x="259" y="154"/>
                    <a:pt x="263" y="152"/>
                  </a:cubicBezTo>
                  <a:cubicBezTo>
                    <a:pt x="267" y="149"/>
                    <a:pt x="275" y="152"/>
                    <a:pt x="281" y="150"/>
                  </a:cubicBezTo>
                  <a:cubicBezTo>
                    <a:pt x="288" y="149"/>
                    <a:pt x="289" y="136"/>
                    <a:pt x="284" y="134"/>
                  </a:cubicBezTo>
                  <a:cubicBezTo>
                    <a:pt x="279" y="132"/>
                    <a:pt x="279" y="137"/>
                    <a:pt x="275" y="137"/>
                  </a:cubicBezTo>
                  <a:cubicBezTo>
                    <a:pt x="272" y="138"/>
                    <a:pt x="269" y="133"/>
                    <a:pt x="266" y="130"/>
                  </a:cubicBezTo>
                  <a:cubicBezTo>
                    <a:pt x="263" y="127"/>
                    <a:pt x="265" y="120"/>
                    <a:pt x="260" y="121"/>
                  </a:cubicBezTo>
                  <a:cubicBezTo>
                    <a:pt x="256" y="122"/>
                    <a:pt x="246" y="129"/>
                    <a:pt x="252" y="130"/>
                  </a:cubicBezTo>
                  <a:cubicBezTo>
                    <a:pt x="258" y="131"/>
                    <a:pt x="256" y="134"/>
                    <a:pt x="253" y="135"/>
                  </a:cubicBezTo>
                  <a:cubicBezTo>
                    <a:pt x="249" y="137"/>
                    <a:pt x="260" y="139"/>
                    <a:pt x="259" y="142"/>
                  </a:cubicBezTo>
                  <a:cubicBezTo>
                    <a:pt x="257" y="144"/>
                    <a:pt x="241" y="142"/>
                    <a:pt x="240" y="138"/>
                  </a:cubicBezTo>
                  <a:cubicBezTo>
                    <a:pt x="239" y="135"/>
                    <a:pt x="227" y="128"/>
                    <a:pt x="221" y="130"/>
                  </a:cubicBezTo>
                  <a:cubicBezTo>
                    <a:pt x="216" y="131"/>
                    <a:pt x="218" y="125"/>
                    <a:pt x="213" y="125"/>
                  </a:cubicBezTo>
                  <a:cubicBezTo>
                    <a:pt x="207" y="125"/>
                    <a:pt x="209" y="130"/>
                    <a:pt x="204" y="130"/>
                  </a:cubicBezTo>
                  <a:close/>
                  <a:moveTo>
                    <a:pt x="223" y="104"/>
                  </a:moveTo>
                  <a:cubicBezTo>
                    <a:pt x="224" y="100"/>
                    <a:pt x="211" y="101"/>
                    <a:pt x="212" y="102"/>
                  </a:cubicBezTo>
                  <a:cubicBezTo>
                    <a:pt x="214" y="105"/>
                    <a:pt x="221" y="109"/>
                    <a:pt x="223" y="104"/>
                  </a:cubicBezTo>
                  <a:close/>
                  <a:moveTo>
                    <a:pt x="252" y="103"/>
                  </a:moveTo>
                  <a:cubicBezTo>
                    <a:pt x="257" y="102"/>
                    <a:pt x="255" y="98"/>
                    <a:pt x="247" y="99"/>
                  </a:cubicBezTo>
                  <a:cubicBezTo>
                    <a:pt x="240" y="100"/>
                    <a:pt x="227" y="100"/>
                    <a:pt x="227" y="106"/>
                  </a:cubicBezTo>
                  <a:cubicBezTo>
                    <a:pt x="227" y="110"/>
                    <a:pt x="229" y="112"/>
                    <a:pt x="238" y="113"/>
                  </a:cubicBezTo>
                  <a:cubicBezTo>
                    <a:pt x="246" y="114"/>
                    <a:pt x="253" y="106"/>
                    <a:pt x="249" y="106"/>
                  </a:cubicBezTo>
                  <a:cubicBezTo>
                    <a:pt x="245" y="106"/>
                    <a:pt x="248" y="103"/>
                    <a:pt x="252" y="103"/>
                  </a:cubicBezTo>
                  <a:close/>
                  <a:moveTo>
                    <a:pt x="235" y="96"/>
                  </a:moveTo>
                  <a:cubicBezTo>
                    <a:pt x="238" y="97"/>
                    <a:pt x="242" y="93"/>
                    <a:pt x="244" y="95"/>
                  </a:cubicBezTo>
                  <a:cubicBezTo>
                    <a:pt x="247" y="97"/>
                    <a:pt x="258" y="99"/>
                    <a:pt x="258" y="93"/>
                  </a:cubicBezTo>
                  <a:cubicBezTo>
                    <a:pt x="258" y="87"/>
                    <a:pt x="244" y="87"/>
                    <a:pt x="240" y="89"/>
                  </a:cubicBezTo>
                  <a:cubicBezTo>
                    <a:pt x="237" y="91"/>
                    <a:pt x="221" y="92"/>
                    <a:pt x="225" y="95"/>
                  </a:cubicBezTo>
                  <a:cubicBezTo>
                    <a:pt x="228" y="97"/>
                    <a:pt x="231" y="94"/>
                    <a:pt x="235" y="96"/>
                  </a:cubicBezTo>
                  <a:close/>
                  <a:moveTo>
                    <a:pt x="294" y="85"/>
                  </a:moveTo>
                  <a:cubicBezTo>
                    <a:pt x="299" y="82"/>
                    <a:pt x="306" y="87"/>
                    <a:pt x="305" y="90"/>
                  </a:cubicBezTo>
                  <a:cubicBezTo>
                    <a:pt x="304" y="93"/>
                    <a:pt x="291" y="89"/>
                    <a:pt x="292" y="92"/>
                  </a:cubicBezTo>
                  <a:cubicBezTo>
                    <a:pt x="293" y="93"/>
                    <a:pt x="294" y="97"/>
                    <a:pt x="303" y="95"/>
                  </a:cubicBezTo>
                  <a:cubicBezTo>
                    <a:pt x="311" y="92"/>
                    <a:pt x="318" y="94"/>
                    <a:pt x="324" y="99"/>
                  </a:cubicBezTo>
                  <a:cubicBezTo>
                    <a:pt x="330" y="103"/>
                    <a:pt x="335" y="105"/>
                    <a:pt x="339" y="100"/>
                  </a:cubicBezTo>
                  <a:cubicBezTo>
                    <a:pt x="343" y="96"/>
                    <a:pt x="334" y="95"/>
                    <a:pt x="336" y="92"/>
                  </a:cubicBezTo>
                  <a:cubicBezTo>
                    <a:pt x="337" y="88"/>
                    <a:pt x="330" y="86"/>
                    <a:pt x="326" y="86"/>
                  </a:cubicBezTo>
                  <a:cubicBezTo>
                    <a:pt x="322" y="86"/>
                    <a:pt x="321" y="79"/>
                    <a:pt x="318" y="80"/>
                  </a:cubicBezTo>
                  <a:cubicBezTo>
                    <a:pt x="314" y="82"/>
                    <a:pt x="312" y="84"/>
                    <a:pt x="312" y="79"/>
                  </a:cubicBezTo>
                  <a:cubicBezTo>
                    <a:pt x="312" y="75"/>
                    <a:pt x="294" y="74"/>
                    <a:pt x="289" y="76"/>
                  </a:cubicBezTo>
                  <a:cubicBezTo>
                    <a:pt x="284" y="78"/>
                    <a:pt x="290" y="88"/>
                    <a:pt x="294" y="85"/>
                  </a:cubicBezTo>
                  <a:close/>
                  <a:moveTo>
                    <a:pt x="297" y="115"/>
                  </a:moveTo>
                  <a:cubicBezTo>
                    <a:pt x="300" y="111"/>
                    <a:pt x="285" y="100"/>
                    <a:pt x="285" y="105"/>
                  </a:cubicBezTo>
                  <a:cubicBezTo>
                    <a:pt x="284" y="110"/>
                    <a:pt x="294" y="119"/>
                    <a:pt x="297" y="115"/>
                  </a:cubicBezTo>
                  <a:close/>
                  <a:moveTo>
                    <a:pt x="343" y="68"/>
                  </a:moveTo>
                  <a:cubicBezTo>
                    <a:pt x="346" y="64"/>
                    <a:pt x="328" y="60"/>
                    <a:pt x="333" y="64"/>
                  </a:cubicBezTo>
                  <a:cubicBezTo>
                    <a:pt x="335" y="66"/>
                    <a:pt x="341" y="72"/>
                    <a:pt x="343" y="68"/>
                  </a:cubicBezTo>
                  <a:close/>
                  <a:moveTo>
                    <a:pt x="303" y="149"/>
                  </a:moveTo>
                  <a:cubicBezTo>
                    <a:pt x="305" y="146"/>
                    <a:pt x="298" y="140"/>
                    <a:pt x="295" y="145"/>
                  </a:cubicBezTo>
                  <a:cubicBezTo>
                    <a:pt x="293" y="150"/>
                    <a:pt x="300" y="152"/>
                    <a:pt x="303" y="149"/>
                  </a:cubicBezTo>
                  <a:close/>
                  <a:moveTo>
                    <a:pt x="343" y="124"/>
                  </a:moveTo>
                  <a:cubicBezTo>
                    <a:pt x="343" y="128"/>
                    <a:pt x="335" y="123"/>
                    <a:pt x="328" y="121"/>
                  </a:cubicBezTo>
                  <a:cubicBezTo>
                    <a:pt x="322" y="118"/>
                    <a:pt x="326" y="126"/>
                    <a:pt x="331" y="130"/>
                  </a:cubicBezTo>
                  <a:cubicBezTo>
                    <a:pt x="336" y="134"/>
                    <a:pt x="328" y="132"/>
                    <a:pt x="321" y="128"/>
                  </a:cubicBezTo>
                  <a:cubicBezTo>
                    <a:pt x="315" y="123"/>
                    <a:pt x="315" y="131"/>
                    <a:pt x="319" y="133"/>
                  </a:cubicBezTo>
                  <a:cubicBezTo>
                    <a:pt x="322" y="136"/>
                    <a:pt x="318" y="139"/>
                    <a:pt x="314" y="134"/>
                  </a:cubicBezTo>
                  <a:cubicBezTo>
                    <a:pt x="309" y="128"/>
                    <a:pt x="307" y="122"/>
                    <a:pt x="300" y="122"/>
                  </a:cubicBezTo>
                  <a:cubicBezTo>
                    <a:pt x="294" y="121"/>
                    <a:pt x="297" y="128"/>
                    <a:pt x="299" y="132"/>
                  </a:cubicBezTo>
                  <a:cubicBezTo>
                    <a:pt x="303" y="136"/>
                    <a:pt x="306" y="137"/>
                    <a:pt x="312" y="140"/>
                  </a:cubicBezTo>
                  <a:cubicBezTo>
                    <a:pt x="318" y="144"/>
                    <a:pt x="327" y="139"/>
                    <a:pt x="331" y="140"/>
                  </a:cubicBezTo>
                  <a:cubicBezTo>
                    <a:pt x="336" y="141"/>
                    <a:pt x="327" y="147"/>
                    <a:pt x="330" y="150"/>
                  </a:cubicBezTo>
                  <a:cubicBezTo>
                    <a:pt x="333" y="154"/>
                    <a:pt x="340" y="151"/>
                    <a:pt x="346" y="151"/>
                  </a:cubicBezTo>
                  <a:cubicBezTo>
                    <a:pt x="352" y="150"/>
                    <a:pt x="350" y="147"/>
                    <a:pt x="353" y="144"/>
                  </a:cubicBezTo>
                  <a:cubicBezTo>
                    <a:pt x="357" y="142"/>
                    <a:pt x="350" y="142"/>
                    <a:pt x="352" y="136"/>
                  </a:cubicBezTo>
                  <a:cubicBezTo>
                    <a:pt x="355" y="130"/>
                    <a:pt x="344" y="120"/>
                    <a:pt x="343" y="124"/>
                  </a:cubicBezTo>
                  <a:close/>
                  <a:moveTo>
                    <a:pt x="358" y="103"/>
                  </a:moveTo>
                  <a:cubicBezTo>
                    <a:pt x="364" y="103"/>
                    <a:pt x="368" y="102"/>
                    <a:pt x="372" y="100"/>
                  </a:cubicBezTo>
                  <a:cubicBezTo>
                    <a:pt x="377" y="99"/>
                    <a:pt x="370" y="99"/>
                    <a:pt x="373" y="94"/>
                  </a:cubicBezTo>
                  <a:cubicBezTo>
                    <a:pt x="376" y="90"/>
                    <a:pt x="365" y="90"/>
                    <a:pt x="365" y="91"/>
                  </a:cubicBezTo>
                  <a:cubicBezTo>
                    <a:pt x="364" y="93"/>
                    <a:pt x="350" y="83"/>
                    <a:pt x="348" y="86"/>
                  </a:cubicBezTo>
                  <a:cubicBezTo>
                    <a:pt x="346" y="89"/>
                    <a:pt x="353" y="103"/>
                    <a:pt x="358" y="103"/>
                  </a:cubicBezTo>
                  <a:close/>
                  <a:moveTo>
                    <a:pt x="387" y="105"/>
                  </a:moveTo>
                  <a:cubicBezTo>
                    <a:pt x="386" y="103"/>
                    <a:pt x="359" y="106"/>
                    <a:pt x="364" y="109"/>
                  </a:cubicBezTo>
                  <a:cubicBezTo>
                    <a:pt x="371" y="114"/>
                    <a:pt x="388" y="107"/>
                    <a:pt x="387" y="105"/>
                  </a:cubicBezTo>
                  <a:close/>
                  <a:moveTo>
                    <a:pt x="383" y="157"/>
                  </a:moveTo>
                  <a:cubicBezTo>
                    <a:pt x="390" y="156"/>
                    <a:pt x="386" y="149"/>
                    <a:pt x="379" y="143"/>
                  </a:cubicBezTo>
                  <a:cubicBezTo>
                    <a:pt x="372" y="138"/>
                    <a:pt x="356" y="149"/>
                    <a:pt x="359" y="151"/>
                  </a:cubicBezTo>
                  <a:cubicBezTo>
                    <a:pt x="362" y="154"/>
                    <a:pt x="377" y="157"/>
                    <a:pt x="383" y="157"/>
                  </a:cubicBezTo>
                  <a:close/>
                  <a:moveTo>
                    <a:pt x="337" y="207"/>
                  </a:moveTo>
                  <a:cubicBezTo>
                    <a:pt x="345" y="212"/>
                    <a:pt x="343" y="203"/>
                    <a:pt x="352" y="203"/>
                  </a:cubicBezTo>
                  <a:cubicBezTo>
                    <a:pt x="361" y="203"/>
                    <a:pt x="361" y="189"/>
                    <a:pt x="362" y="183"/>
                  </a:cubicBezTo>
                  <a:cubicBezTo>
                    <a:pt x="364" y="178"/>
                    <a:pt x="355" y="178"/>
                    <a:pt x="357" y="182"/>
                  </a:cubicBezTo>
                  <a:cubicBezTo>
                    <a:pt x="360" y="186"/>
                    <a:pt x="357" y="190"/>
                    <a:pt x="356" y="185"/>
                  </a:cubicBezTo>
                  <a:cubicBezTo>
                    <a:pt x="356" y="181"/>
                    <a:pt x="349" y="185"/>
                    <a:pt x="346" y="181"/>
                  </a:cubicBezTo>
                  <a:cubicBezTo>
                    <a:pt x="344" y="178"/>
                    <a:pt x="354" y="178"/>
                    <a:pt x="357" y="173"/>
                  </a:cubicBezTo>
                  <a:cubicBezTo>
                    <a:pt x="359" y="168"/>
                    <a:pt x="349" y="169"/>
                    <a:pt x="351" y="165"/>
                  </a:cubicBezTo>
                  <a:cubicBezTo>
                    <a:pt x="354" y="162"/>
                    <a:pt x="335" y="166"/>
                    <a:pt x="341" y="168"/>
                  </a:cubicBezTo>
                  <a:cubicBezTo>
                    <a:pt x="346" y="170"/>
                    <a:pt x="341" y="173"/>
                    <a:pt x="336" y="169"/>
                  </a:cubicBezTo>
                  <a:cubicBezTo>
                    <a:pt x="331" y="166"/>
                    <a:pt x="317" y="172"/>
                    <a:pt x="322" y="176"/>
                  </a:cubicBezTo>
                  <a:cubicBezTo>
                    <a:pt x="326" y="179"/>
                    <a:pt x="338" y="174"/>
                    <a:pt x="331" y="183"/>
                  </a:cubicBezTo>
                  <a:cubicBezTo>
                    <a:pt x="324" y="192"/>
                    <a:pt x="321" y="180"/>
                    <a:pt x="315" y="181"/>
                  </a:cubicBezTo>
                  <a:cubicBezTo>
                    <a:pt x="309" y="183"/>
                    <a:pt x="311" y="190"/>
                    <a:pt x="321" y="193"/>
                  </a:cubicBezTo>
                  <a:cubicBezTo>
                    <a:pt x="331" y="196"/>
                    <a:pt x="330" y="201"/>
                    <a:pt x="337" y="207"/>
                  </a:cubicBezTo>
                  <a:close/>
                  <a:moveTo>
                    <a:pt x="396" y="150"/>
                  </a:moveTo>
                  <a:cubicBezTo>
                    <a:pt x="398" y="157"/>
                    <a:pt x="401" y="152"/>
                    <a:pt x="405" y="155"/>
                  </a:cubicBezTo>
                  <a:cubicBezTo>
                    <a:pt x="409" y="158"/>
                    <a:pt x="415" y="159"/>
                    <a:pt x="418" y="156"/>
                  </a:cubicBezTo>
                  <a:cubicBezTo>
                    <a:pt x="421" y="154"/>
                    <a:pt x="423" y="152"/>
                    <a:pt x="424" y="154"/>
                  </a:cubicBezTo>
                  <a:cubicBezTo>
                    <a:pt x="426" y="158"/>
                    <a:pt x="433" y="159"/>
                    <a:pt x="451" y="159"/>
                  </a:cubicBezTo>
                  <a:cubicBezTo>
                    <a:pt x="468" y="159"/>
                    <a:pt x="463" y="152"/>
                    <a:pt x="468" y="155"/>
                  </a:cubicBezTo>
                  <a:cubicBezTo>
                    <a:pt x="473" y="158"/>
                    <a:pt x="485" y="158"/>
                    <a:pt x="490" y="156"/>
                  </a:cubicBezTo>
                  <a:cubicBezTo>
                    <a:pt x="495" y="155"/>
                    <a:pt x="497" y="148"/>
                    <a:pt x="497" y="144"/>
                  </a:cubicBezTo>
                  <a:cubicBezTo>
                    <a:pt x="497" y="140"/>
                    <a:pt x="458" y="137"/>
                    <a:pt x="452" y="140"/>
                  </a:cubicBezTo>
                  <a:cubicBezTo>
                    <a:pt x="445" y="144"/>
                    <a:pt x="434" y="139"/>
                    <a:pt x="429" y="142"/>
                  </a:cubicBezTo>
                  <a:cubicBezTo>
                    <a:pt x="423" y="144"/>
                    <a:pt x="425" y="138"/>
                    <a:pt x="416" y="138"/>
                  </a:cubicBezTo>
                  <a:cubicBezTo>
                    <a:pt x="406" y="137"/>
                    <a:pt x="416" y="132"/>
                    <a:pt x="418" y="130"/>
                  </a:cubicBezTo>
                  <a:cubicBezTo>
                    <a:pt x="420" y="128"/>
                    <a:pt x="403" y="122"/>
                    <a:pt x="397" y="124"/>
                  </a:cubicBezTo>
                  <a:cubicBezTo>
                    <a:pt x="390" y="125"/>
                    <a:pt x="386" y="122"/>
                    <a:pt x="380" y="119"/>
                  </a:cubicBezTo>
                  <a:cubicBezTo>
                    <a:pt x="373" y="116"/>
                    <a:pt x="356" y="117"/>
                    <a:pt x="359" y="122"/>
                  </a:cubicBezTo>
                  <a:cubicBezTo>
                    <a:pt x="362" y="125"/>
                    <a:pt x="382" y="133"/>
                    <a:pt x="385" y="129"/>
                  </a:cubicBezTo>
                  <a:cubicBezTo>
                    <a:pt x="387" y="125"/>
                    <a:pt x="392" y="133"/>
                    <a:pt x="395" y="137"/>
                  </a:cubicBezTo>
                  <a:cubicBezTo>
                    <a:pt x="398" y="141"/>
                    <a:pt x="393" y="143"/>
                    <a:pt x="396" y="150"/>
                  </a:cubicBezTo>
                  <a:close/>
                  <a:moveTo>
                    <a:pt x="414" y="108"/>
                  </a:moveTo>
                  <a:cubicBezTo>
                    <a:pt x="407" y="104"/>
                    <a:pt x="399" y="111"/>
                    <a:pt x="406" y="114"/>
                  </a:cubicBezTo>
                  <a:cubicBezTo>
                    <a:pt x="412" y="116"/>
                    <a:pt x="420" y="111"/>
                    <a:pt x="414" y="108"/>
                  </a:cubicBezTo>
                  <a:close/>
                  <a:moveTo>
                    <a:pt x="362" y="68"/>
                  </a:moveTo>
                  <a:cubicBezTo>
                    <a:pt x="368" y="70"/>
                    <a:pt x="365" y="74"/>
                    <a:pt x="370" y="76"/>
                  </a:cubicBezTo>
                  <a:cubicBezTo>
                    <a:pt x="376" y="79"/>
                    <a:pt x="392" y="73"/>
                    <a:pt x="394" y="77"/>
                  </a:cubicBezTo>
                  <a:cubicBezTo>
                    <a:pt x="395" y="81"/>
                    <a:pt x="377" y="81"/>
                    <a:pt x="380" y="84"/>
                  </a:cubicBezTo>
                  <a:cubicBezTo>
                    <a:pt x="382" y="86"/>
                    <a:pt x="392" y="90"/>
                    <a:pt x="391" y="92"/>
                  </a:cubicBezTo>
                  <a:cubicBezTo>
                    <a:pt x="390" y="94"/>
                    <a:pt x="408" y="100"/>
                    <a:pt x="410" y="98"/>
                  </a:cubicBezTo>
                  <a:cubicBezTo>
                    <a:pt x="412" y="95"/>
                    <a:pt x="417" y="96"/>
                    <a:pt x="421" y="97"/>
                  </a:cubicBezTo>
                  <a:cubicBezTo>
                    <a:pt x="426" y="99"/>
                    <a:pt x="426" y="86"/>
                    <a:pt x="430" y="88"/>
                  </a:cubicBezTo>
                  <a:cubicBezTo>
                    <a:pt x="433" y="91"/>
                    <a:pt x="432" y="84"/>
                    <a:pt x="438" y="82"/>
                  </a:cubicBezTo>
                  <a:cubicBezTo>
                    <a:pt x="443" y="79"/>
                    <a:pt x="451" y="79"/>
                    <a:pt x="451" y="77"/>
                  </a:cubicBezTo>
                  <a:cubicBezTo>
                    <a:pt x="452" y="75"/>
                    <a:pt x="450" y="73"/>
                    <a:pt x="443" y="73"/>
                  </a:cubicBezTo>
                  <a:cubicBezTo>
                    <a:pt x="437" y="74"/>
                    <a:pt x="433" y="72"/>
                    <a:pt x="436" y="68"/>
                  </a:cubicBezTo>
                  <a:cubicBezTo>
                    <a:pt x="438" y="64"/>
                    <a:pt x="428" y="63"/>
                    <a:pt x="432" y="61"/>
                  </a:cubicBezTo>
                  <a:cubicBezTo>
                    <a:pt x="436" y="58"/>
                    <a:pt x="425" y="55"/>
                    <a:pt x="426" y="59"/>
                  </a:cubicBezTo>
                  <a:cubicBezTo>
                    <a:pt x="427" y="63"/>
                    <a:pt x="420" y="59"/>
                    <a:pt x="419" y="56"/>
                  </a:cubicBezTo>
                  <a:cubicBezTo>
                    <a:pt x="418" y="52"/>
                    <a:pt x="403" y="50"/>
                    <a:pt x="394" y="42"/>
                  </a:cubicBezTo>
                  <a:cubicBezTo>
                    <a:pt x="384" y="33"/>
                    <a:pt x="374" y="39"/>
                    <a:pt x="380" y="40"/>
                  </a:cubicBezTo>
                  <a:cubicBezTo>
                    <a:pt x="385" y="41"/>
                    <a:pt x="385" y="44"/>
                    <a:pt x="380" y="43"/>
                  </a:cubicBezTo>
                  <a:cubicBezTo>
                    <a:pt x="376" y="43"/>
                    <a:pt x="367" y="44"/>
                    <a:pt x="375" y="47"/>
                  </a:cubicBezTo>
                  <a:cubicBezTo>
                    <a:pt x="382" y="49"/>
                    <a:pt x="374" y="51"/>
                    <a:pt x="368" y="51"/>
                  </a:cubicBezTo>
                  <a:cubicBezTo>
                    <a:pt x="362" y="51"/>
                    <a:pt x="362" y="58"/>
                    <a:pt x="370" y="59"/>
                  </a:cubicBezTo>
                  <a:cubicBezTo>
                    <a:pt x="377" y="61"/>
                    <a:pt x="372" y="65"/>
                    <a:pt x="365" y="63"/>
                  </a:cubicBezTo>
                  <a:cubicBezTo>
                    <a:pt x="359" y="62"/>
                    <a:pt x="357" y="65"/>
                    <a:pt x="362" y="68"/>
                  </a:cubicBezTo>
                  <a:close/>
                  <a:moveTo>
                    <a:pt x="406" y="32"/>
                  </a:moveTo>
                  <a:cubicBezTo>
                    <a:pt x="411" y="29"/>
                    <a:pt x="415" y="31"/>
                    <a:pt x="410" y="33"/>
                  </a:cubicBezTo>
                  <a:cubicBezTo>
                    <a:pt x="406" y="36"/>
                    <a:pt x="407" y="37"/>
                    <a:pt x="413" y="37"/>
                  </a:cubicBezTo>
                  <a:cubicBezTo>
                    <a:pt x="420" y="36"/>
                    <a:pt x="411" y="38"/>
                    <a:pt x="411" y="42"/>
                  </a:cubicBezTo>
                  <a:cubicBezTo>
                    <a:pt x="411" y="46"/>
                    <a:pt x="418" y="43"/>
                    <a:pt x="418" y="47"/>
                  </a:cubicBezTo>
                  <a:cubicBezTo>
                    <a:pt x="419" y="51"/>
                    <a:pt x="434" y="52"/>
                    <a:pt x="439" y="48"/>
                  </a:cubicBezTo>
                  <a:cubicBezTo>
                    <a:pt x="443" y="43"/>
                    <a:pt x="442" y="49"/>
                    <a:pt x="441" y="52"/>
                  </a:cubicBezTo>
                  <a:cubicBezTo>
                    <a:pt x="441" y="54"/>
                    <a:pt x="463" y="57"/>
                    <a:pt x="464" y="53"/>
                  </a:cubicBezTo>
                  <a:cubicBezTo>
                    <a:pt x="465" y="50"/>
                    <a:pt x="468" y="51"/>
                    <a:pt x="473" y="52"/>
                  </a:cubicBezTo>
                  <a:cubicBezTo>
                    <a:pt x="477" y="53"/>
                    <a:pt x="498" y="48"/>
                    <a:pt x="498" y="44"/>
                  </a:cubicBezTo>
                  <a:cubicBezTo>
                    <a:pt x="499" y="40"/>
                    <a:pt x="505" y="46"/>
                    <a:pt x="498" y="51"/>
                  </a:cubicBezTo>
                  <a:cubicBezTo>
                    <a:pt x="492" y="56"/>
                    <a:pt x="478" y="55"/>
                    <a:pt x="472" y="57"/>
                  </a:cubicBezTo>
                  <a:cubicBezTo>
                    <a:pt x="466" y="58"/>
                    <a:pt x="476" y="63"/>
                    <a:pt x="482" y="67"/>
                  </a:cubicBezTo>
                  <a:cubicBezTo>
                    <a:pt x="488" y="72"/>
                    <a:pt x="474" y="69"/>
                    <a:pt x="468" y="63"/>
                  </a:cubicBezTo>
                  <a:cubicBezTo>
                    <a:pt x="463" y="57"/>
                    <a:pt x="450" y="57"/>
                    <a:pt x="443" y="58"/>
                  </a:cubicBezTo>
                  <a:cubicBezTo>
                    <a:pt x="436" y="58"/>
                    <a:pt x="438" y="71"/>
                    <a:pt x="443" y="71"/>
                  </a:cubicBezTo>
                  <a:cubicBezTo>
                    <a:pt x="448" y="71"/>
                    <a:pt x="453" y="72"/>
                    <a:pt x="458" y="80"/>
                  </a:cubicBezTo>
                  <a:cubicBezTo>
                    <a:pt x="463" y="88"/>
                    <a:pt x="474" y="86"/>
                    <a:pt x="474" y="90"/>
                  </a:cubicBezTo>
                  <a:cubicBezTo>
                    <a:pt x="474" y="93"/>
                    <a:pt x="460" y="87"/>
                    <a:pt x="452" y="86"/>
                  </a:cubicBezTo>
                  <a:cubicBezTo>
                    <a:pt x="445" y="84"/>
                    <a:pt x="432" y="89"/>
                    <a:pt x="432" y="95"/>
                  </a:cubicBezTo>
                  <a:cubicBezTo>
                    <a:pt x="431" y="100"/>
                    <a:pt x="443" y="100"/>
                    <a:pt x="451" y="95"/>
                  </a:cubicBezTo>
                  <a:cubicBezTo>
                    <a:pt x="459" y="91"/>
                    <a:pt x="453" y="97"/>
                    <a:pt x="449" y="100"/>
                  </a:cubicBezTo>
                  <a:cubicBezTo>
                    <a:pt x="445" y="104"/>
                    <a:pt x="458" y="107"/>
                    <a:pt x="458" y="111"/>
                  </a:cubicBezTo>
                  <a:cubicBezTo>
                    <a:pt x="458" y="115"/>
                    <a:pt x="449" y="114"/>
                    <a:pt x="448" y="110"/>
                  </a:cubicBezTo>
                  <a:cubicBezTo>
                    <a:pt x="447" y="106"/>
                    <a:pt x="443" y="102"/>
                    <a:pt x="434" y="103"/>
                  </a:cubicBezTo>
                  <a:cubicBezTo>
                    <a:pt x="425" y="103"/>
                    <a:pt x="427" y="110"/>
                    <a:pt x="433" y="110"/>
                  </a:cubicBezTo>
                  <a:cubicBezTo>
                    <a:pt x="438" y="111"/>
                    <a:pt x="439" y="115"/>
                    <a:pt x="432" y="115"/>
                  </a:cubicBezTo>
                  <a:cubicBezTo>
                    <a:pt x="426" y="115"/>
                    <a:pt x="411" y="120"/>
                    <a:pt x="416" y="124"/>
                  </a:cubicBezTo>
                  <a:cubicBezTo>
                    <a:pt x="421" y="128"/>
                    <a:pt x="439" y="124"/>
                    <a:pt x="442" y="127"/>
                  </a:cubicBezTo>
                  <a:cubicBezTo>
                    <a:pt x="446" y="129"/>
                    <a:pt x="454" y="130"/>
                    <a:pt x="457" y="127"/>
                  </a:cubicBezTo>
                  <a:cubicBezTo>
                    <a:pt x="459" y="124"/>
                    <a:pt x="466" y="125"/>
                    <a:pt x="473" y="125"/>
                  </a:cubicBezTo>
                  <a:cubicBezTo>
                    <a:pt x="480" y="125"/>
                    <a:pt x="482" y="127"/>
                    <a:pt x="485" y="129"/>
                  </a:cubicBezTo>
                  <a:cubicBezTo>
                    <a:pt x="488" y="132"/>
                    <a:pt x="494" y="131"/>
                    <a:pt x="498" y="128"/>
                  </a:cubicBezTo>
                  <a:cubicBezTo>
                    <a:pt x="502" y="125"/>
                    <a:pt x="502" y="125"/>
                    <a:pt x="507" y="125"/>
                  </a:cubicBezTo>
                  <a:cubicBezTo>
                    <a:pt x="512" y="125"/>
                    <a:pt x="513" y="122"/>
                    <a:pt x="510" y="118"/>
                  </a:cubicBezTo>
                  <a:cubicBezTo>
                    <a:pt x="508" y="114"/>
                    <a:pt x="502" y="121"/>
                    <a:pt x="501" y="118"/>
                  </a:cubicBezTo>
                  <a:cubicBezTo>
                    <a:pt x="500" y="115"/>
                    <a:pt x="494" y="114"/>
                    <a:pt x="484" y="115"/>
                  </a:cubicBezTo>
                  <a:cubicBezTo>
                    <a:pt x="474" y="117"/>
                    <a:pt x="478" y="109"/>
                    <a:pt x="484" y="110"/>
                  </a:cubicBezTo>
                  <a:cubicBezTo>
                    <a:pt x="491" y="112"/>
                    <a:pt x="499" y="112"/>
                    <a:pt x="506" y="110"/>
                  </a:cubicBezTo>
                  <a:cubicBezTo>
                    <a:pt x="512" y="108"/>
                    <a:pt x="507" y="105"/>
                    <a:pt x="507" y="102"/>
                  </a:cubicBezTo>
                  <a:cubicBezTo>
                    <a:pt x="507" y="99"/>
                    <a:pt x="515" y="101"/>
                    <a:pt x="522" y="101"/>
                  </a:cubicBezTo>
                  <a:cubicBezTo>
                    <a:pt x="528" y="101"/>
                    <a:pt x="538" y="91"/>
                    <a:pt x="538" y="84"/>
                  </a:cubicBezTo>
                  <a:cubicBezTo>
                    <a:pt x="538" y="78"/>
                    <a:pt x="524" y="80"/>
                    <a:pt x="517" y="80"/>
                  </a:cubicBezTo>
                  <a:cubicBezTo>
                    <a:pt x="509" y="80"/>
                    <a:pt x="521" y="74"/>
                    <a:pt x="535" y="75"/>
                  </a:cubicBezTo>
                  <a:cubicBezTo>
                    <a:pt x="548" y="76"/>
                    <a:pt x="542" y="70"/>
                    <a:pt x="545" y="68"/>
                  </a:cubicBezTo>
                  <a:cubicBezTo>
                    <a:pt x="547" y="66"/>
                    <a:pt x="554" y="70"/>
                    <a:pt x="560" y="69"/>
                  </a:cubicBezTo>
                  <a:cubicBezTo>
                    <a:pt x="567" y="67"/>
                    <a:pt x="563" y="62"/>
                    <a:pt x="567" y="62"/>
                  </a:cubicBezTo>
                  <a:cubicBezTo>
                    <a:pt x="570" y="62"/>
                    <a:pt x="578" y="57"/>
                    <a:pt x="593" y="48"/>
                  </a:cubicBezTo>
                  <a:cubicBezTo>
                    <a:pt x="607" y="40"/>
                    <a:pt x="619" y="42"/>
                    <a:pt x="619" y="37"/>
                  </a:cubicBezTo>
                  <a:cubicBezTo>
                    <a:pt x="620" y="32"/>
                    <a:pt x="599" y="37"/>
                    <a:pt x="595" y="36"/>
                  </a:cubicBezTo>
                  <a:cubicBezTo>
                    <a:pt x="592" y="34"/>
                    <a:pt x="610" y="30"/>
                    <a:pt x="614" y="31"/>
                  </a:cubicBezTo>
                  <a:cubicBezTo>
                    <a:pt x="619" y="32"/>
                    <a:pt x="624" y="31"/>
                    <a:pt x="639" y="24"/>
                  </a:cubicBezTo>
                  <a:cubicBezTo>
                    <a:pt x="654" y="17"/>
                    <a:pt x="647" y="15"/>
                    <a:pt x="641" y="16"/>
                  </a:cubicBezTo>
                  <a:cubicBezTo>
                    <a:pt x="635" y="17"/>
                    <a:pt x="628" y="15"/>
                    <a:pt x="629" y="11"/>
                  </a:cubicBezTo>
                  <a:cubicBezTo>
                    <a:pt x="629" y="7"/>
                    <a:pt x="620" y="11"/>
                    <a:pt x="619" y="9"/>
                  </a:cubicBezTo>
                  <a:cubicBezTo>
                    <a:pt x="619" y="7"/>
                    <a:pt x="610" y="8"/>
                    <a:pt x="601" y="11"/>
                  </a:cubicBezTo>
                  <a:cubicBezTo>
                    <a:pt x="592" y="15"/>
                    <a:pt x="600" y="8"/>
                    <a:pt x="604" y="6"/>
                  </a:cubicBezTo>
                  <a:cubicBezTo>
                    <a:pt x="608" y="5"/>
                    <a:pt x="581" y="6"/>
                    <a:pt x="576" y="3"/>
                  </a:cubicBezTo>
                  <a:cubicBezTo>
                    <a:pt x="571" y="0"/>
                    <a:pt x="566" y="8"/>
                    <a:pt x="562" y="4"/>
                  </a:cubicBezTo>
                  <a:cubicBezTo>
                    <a:pt x="558" y="0"/>
                    <a:pt x="547" y="3"/>
                    <a:pt x="548" y="7"/>
                  </a:cubicBezTo>
                  <a:cubicBezTo>
                    <a:pt x="549" y="10"/>
                    <a:pt x="546" y="10"/>
                    <a:pt x="542" y="6"/>
                  </a:cubicBezTo>
                  <a:cubicBezTo>
                    <a:pt x="538" y="3"/>
                    <a:pt x="529" y="7"/>
                    <a:pt x="522" y="6"/>
                  </a:cubicBezTo>
                  <a:cubicBezTo>
                    <a:pt x="514" y="5"/>
                    <a:pt x="518" y="12"/>
                    <a:pt x="509" y="8"/>
                  </a:cubicBezTo>
                  <a:cubicBezTo>
                    <a:pt x="501" y="5"/>
                    <a:pt x="492" y="6"/>
                    <a:pt x="495" y="7"/>
                  </a:cubicBezTo>
                  <a:cubicBezTo>
                    <a:pt x="497" y="8"/>
                    <a:pt x="494" y="11"/>
                    <a:pt x="491" y="10"/>
                  </a:cubicBezTo>
                  <a:cubicBezTo>
                    <a:pt x="487" y="8"/>
                    <a:pt x="484" y="10"/>
                    <a:pt x="486" y="13"/>
                  </a:cubicBezTo>
                  <a:cubicBezTo>
                    <a:pt x="487" y="17"/>
                    <a:pt x="472" y="12"/>
                    <a:pt x="472" y="16"/>
                  </a:cubicBezTo>
                  <a:cubicBezTo>
                    <a:pt x="472" y="20"/>
                    <a:pt x="467" y="22"/>
                    <a:pt x="463" y="19"/>
                  </a:cubicBezTo>
                  <a:cubicBezTo>
                    <a:pt x="458" y="15"/>
                    <a:pt x="445" y="14"/>
                    <a:pt x="449" y="17"/>
                  </a:cubicBezTo>
                  <a:cubicBezTo>
                    <a:pt x="453" y="21"/>
                    <a:pt x="437" y="19"/>
                    <a:pt x="441" y="22"/>
                  </a:cubicBezTo>
                  <a:cubicBezTo>
                    <a:pt x="445" y="25"/>
                    <a:pt x="436" y="28"/>
                    <a:pt x="436" y="26"/>
                  </a:cubicBezTo>
                  <a:cubicBezTo>
                    <a:pt x="436" y="24"/>
                    <a:pt x="427" y="21"/>
                    <a:pt x="423" y="24"/>
                  </a:cubicBezTo>
                  <a:cubicBezTo>
                    <a:pt x="420" y="27"/>
                    <a:pt x="418" y="31"/>
                    <a:pt x="417" y="29"/>
                  </a:cubicBezTo>
                  <a:cubicBezTo>
                    <a:pt x="415" y="27"/>
                    <a:pt x="407" y="28"/>
                    <a:pt x="400" y="31"/>
                  </a:cubicBezTo>
                  <a:cubicBezTo>
                    <a:pt x="392" y="33"/>
                    <a:pt x="401" y="36"/>
                    <a:pt x="406" y="32"/>
                  </a:cubicBezTo>
                  <a:close/>
                  <a:moveTo>
                    <a:pt x="496" y="340"/>
                  </a:moveTo>
                  <a:cubicBezTo>
                    <a:pt x="498" y="340"/>
                    <a:pt x="503" y="331"/>
                    <a:pt x="497" y="331"/>
                  </a:cubicBezTo>
                  <a:cubicBezTo>
                    <a:pt x="490" y="332"/>
                    <a:pt x="492" y="341"/>
                    <a:pt x="496" y="340"/>
                  </a:cubicBezTo>
                  <a:close/>
                  <a:moveTo>
                    <a:pt x="464" y="332"/>
                  </a:moveTo>
                  <a:cubicBezTo>
                    <a:pt x="470" y="336"/>
                    <a:pt x="478" y="326"/>
                    <a:pt x="478" y="323"/>
                  </a:cubicBezTo>
                  <a:cubicBezTo>
                    <a:pt x="477" y="321"/>
                    <a:pt x="457" y="328"/>
                    <a:pt x="464" y="332"/>
                  </a:cubicBezTo>
                  <a:close/>
                  <a:moveTo>
                    <a:pt x="490" y="313"/>
                  </a:moveTo>
                  <a:cubicBezTo>
                    <a:pt x="491" y="309"/>
                    <a:pt x="478" y="308"/>
                    <a:pt x="479" y="304"/>
                  </a:cubicBezTo>
                  <a:cubicBezTo>
                    <a:pt x="479" y="300"/>
                    <a:pt x="467" y="297"/>
                    <a:pt x="463" y="295"/>
                  </a:cubicBezTo>
                  <a:cubicBezTo>
                    <a:pt x="459" y="292"/>
                    <a:pt x="453" y="291"/>
                    <a:pt x="453" y="287"/>
                  </a:cubicBezTo>
                  <a:cubicBezTo>
                    <a:pt x="453" y="283"/>
                    <a:pt x="445" y="286"/>
                    <a:pt x="444" y="292"/>
                  </a:cubicBezTo>
                  <a:cubicBezTo>
                    <a:pt x="444" y="299"/>
                    <a:pt x="440" y="297"/>
                    <a:pt x="442" y="303"/>
                  </a:cubicBezTo>
                  <a:cubicBezTo>
                    <a:pt x="444" y="310"/>
                    <a:pt x="434" y="311"/>
                    <a:pt x="435" y="314"/>
                  </a:cubicBezTo>
                  <a:cubicBezTo>
                    <a:pt x="436" y="317"/>
                    <a:pt x="441" y="314"/>
                    <a:pt x="445" y="314"/>
                  </a:cubicBezTo>
                  <a:cubicBezTo>
                    <a:pt x="450" y="314"/>
                    <a:pt x="444" y="320"/>
                    <a:pt x="450" y="320"/>
                  </a:cubicBezTo>
                  <a:cubicBezTo>
                    <a:pt x="454" y="321"/>
                    <a:pt x="461" y="316"/>
                    <a:pt x="463" y="313"/>
                  </a:cubicBezTo>
                  <a:cubicBezTo>
                    <a:pt x="465" y="310"/>
                    <a:pt x="468" y="309"/>
                    <a:pt x="473" y="312"/>
                  </a:cubicBezTo>
                  <a:cubicBezTo>
                    <a:pt x="478" y="316"/>
                    <a:pt x="489" y="316"/>
                    <a:pt x="490" y="313"/>
                  </a:cubicBezTo>
                  <a:close/>
                  <a:moveTo>
                    <a:pt x="606" y="281"/>
                  </a:moveTo>
                  <a:cubicBezTo>
                    <a:pt x="611" y="282"/>
                    <a:pt x="611" y="287"/>
                    <a:pt x="618" y="293"/>
                  </a:cubicBezTo>
                  <a:cubicBezTo>
                    <a:pt x="625" y="298"/>
                    <a:pt x="626" y="295"/>
                    <a:pt x="627" y="291"/>
                  </a:cubicBezTo>
                  <a:cubicBezTo>
                    <a:pt x="628" y="287"/>
                    <a:pt x="635" y="290"/>
                    <a:pt x="635" y="286"/>
                  </a:cubicBezTo>
                  <a:cubicBezTo>
                    <a:pt x="635" y="282"/>
                    <a:pt x="641" y="277"/>
                    <a:pt x="645" y="276"/>
                  </a:cubicBezTo>
                  <a:cubicBezTo>
                    <a:pt x="650" y="274"/>
                    <a:pt x="642" y="270"/>
                    <a:pt x="636" y="270"/>
                  </a:cubicBezTo>
                  <a:cubicBezTo>
                    <a:pt x="630" y="270"/>
                    <a:pt x="629" y="266"/>
                    <a:pt x="629" y="264"/>
                  </a:cubicBezTo>
                  <a:cubicBezTo>
                    <a:pt x="629" y="261"/>
                    <a:pt x="619" y="255"/>
                    <a:pt x="615" y="256"/>
                  </a:cubicBezTo>
                  <a:cubicBezTo>
                    <a:pt x="611" y="257"/>
                    <a:pt x="605" y="252"/>
                    <a:pt x="601" y="251"/>
                  </a:cubicBezTo>
                  <a:cubicBezTo>
                    <a:pt x="596" y="251"/>
                    <a:pt x="589" y="247"/>
                    <a:pt x="590" y="242"/>
                  </a:cubicBezTo>
                  <a:cubicBezTo>
                    <a:pt x="591" y="237"/>
                    <a:pt x="599" y="244"/>
                    <a:pt x="601" y="240"/>
                  </a:cubicBezTo>
                  <a:cubicBezTo>
                    <a:pt x="603" y="236"/>
                    <a:pt x="592" y="238"/>
                    <a:pt x="592" y="235"/>
                  </a:cubicBezTo>
                  <a:cubicBezTo>
                    <a:pt x="591" y="232"/>
                    <a:pt x="594" y="234"/>
                    <a:pt x="596" y="232"/>
                  </a:cubicBezTo>
                  <a:cubicBezTo>
                    <a:pt x="599" y="230"/>
                    <a:pt x="595" y="226"/>
                    <a:pt x="592" y="225"/>
                  </a:cubicBezTo>
                  <a:cubicBezTo>
                    <a:pt x="590" y="224"/>
                    <a:pt x="589" y="228"/>
                    <a:pt x="586" y="228"/>
                  </a:cubicBezTo>
                  <a:cubicBezTo>
                    <a:pt x="584" y="228"/>
                    <a:pt x="586" y="224"/>
                    <a:pt x="588" y="221"/>
                  </a:cubicBezTo>
                  <a:cubicBezTo>
                    <a:pt x="590" y="219"/>
                    <a:pt x="580" y="216"/>
                    <a:pt x="575" y="217"/>
                  </a:cubicBezTo>
                  <a:cubicBezTo>
                    <a:pt x="571" y="219"/>
                    <a:pt x="570" y="216"/>
                    <a:pt x="570" y="214"/>
                  </a:cubicBezTo>
                  <a:cubicBezTo>
                    <a:pt x="570" y="211"/>
                    <a:pt x="562" y="214"/>
                    <a:pt x="559" y="216"/>
                  </a:cubicBezTo>
                  <a:cubicBezTo>
                    <a:pt x="557" y="218"/>
                    <a:pt x="553" y="214"/>
                    <a:pt x="557" y="213"/>
                  </a:cubicBezTo>
                  <a:cubicBezTo>
                    <a:pt x="560" y="213"/>
                    <a:pt x="564" y="210"/>
                    <a:pt x="563" y="207"/>
                  </a:cubicBezTo>
                  <a:cubicBezTo>
                    <a:pt x="562" y="204"/>
                    <a:pt x="553" y="203"/>
                    <a:pt x="551" y="207"/>
                  </a:cubicBezTo>
                  <a:cubicBezTo>
                    <a:pt x="549" y="211"/>
                    <a:pt x="542" y="203"/>
                    <a:pt x="542" y="200"/>
                  </a:cubicBezTo>
                  <a:cubicBezTo>
                    <a:pt x="542" y="196"/>
                    <a:pt x="530" y="199"/>
                    <a:pt x="532" y="194"/>
                  </a:cubicBezTo>
                  <a:cubicBezTo>
                    <a:pt x="533" y="189"/>
                    <a:pt x="519" y="187"/>
                    <a:pt x="515" y="187"/>
                  </a:cubicBezTo>
                  <a:cubicBezTo>
                    <a:pt x="511" y="187"/>
                    <a:pt x="505" y="190"/>
                    <a:pt x="506" y="194"/>
                  </a:cubicBezTo>
                  <a:cubicBezTo>
                    <a:pt x="507" y="198"/>
                    <a:pt x="502" y="196"/>
                    <a:pt x="501" y="192"/>
                  </a:cubicBezTo>
                  <a:cubicBezTo>
                    <a:pt x="500" y="188"/>
                    <a:pt x="491" y="196"/>
                    <a:pt x="488" y="196"/>
                  </a:cubicBezTo>
                  <a:cubicBezTo>
                    <a:pt x="485" y="196"/>
                    <a:pt x="489" y="186"/>
                    <a:pt x="488" y="183"/>
                  </a:cubicBezTo>
                  <a:cubicBezTo>
                    <a:pt x="487" y="180"/>
                    <a:pt x="484" y="179"/>
                    <a:pt x="482" y="173"/>
                  </a:cubicBezTo>
                  <a:cubicBezTo>
                    <a:pt x="480" y="168"/>
                    <a:pt x="469" y="170"/>
                    <a:pt x="467" y="173"/>
                  </a:cubicBezTo>
                  <a:cubicBezTo>
                    <a:pt x="464" y="176"/>
                    <a:pt x="454" y="175"/>
                    <a:pt x="450" y="180"/>
                  </a:cubicBezTo>
                  <a:cubicBezTo>
                    <a:pt x="445" y="185"/>
                    <a:pt x="450" y="190"/>
                    <a:pt x="452" y="192"/>
                  </a:cubicBezTo>
                  <a:cubicBezTo>
                    <a:pt x="454" y="194"/>
                    <a:pt x="445" y="196"/>
                    <a:pt x="448" y="199"/>
                  </a:cubicBezTo>
                  <a:cubicBezTo>
                    <a:pt x="451" y="202"/>
                    <a:pt x="456" y="201"/>
                    <a:pt x="456" y="205"/>
                  </a:cubicBezTo>
                  <a:cubicBezTo>
                    <a:pt x="457" y="210"/>
                    <a:pt x="445" y="204"/>
                    <a:pt x="443" y="200"/>
                  </a:cubicBezTo>
                  <a:cubicBezTo>
                    <a:pt x="441" y="196"/>
                    <a:pt x="443" y="193"/>
                    <a:pt x="441" y="190"/>
                  </a:cubicBezTo>
                  <a:cubicBezTo>
                    <a:pt x="438" y="187"/>
                    <a:pt x="441" y="183"/>
                    <a:pt x="445" y="178"/>
                  </a:cubicBezTo>
                  <a:cubicBezTo>
                    <a:pt x="450" y="173"/>
                    <a:pt x="453" y="174"/>
                    <a:pt x="453" y="171"/>
                  </a:cubicBezTo>
                  <a:cubicBezTo>
                    <a:pt x="453" y="168"/>
                    <a:pt x="433" y="168"/>
                    <a:pt x="422" y="179"/>
                  </a:cubicBezTo>
                  <a:cubicBezTo>
                    <a:pt x="410" y="190"/>
                    <a:pt x="413" y="204"/>
                    <a:pt x="414" y="207"/>
                  </a:cubicBezTo>
                  <a:cubicBezTo>
                    <a:pt x="415" y="210"/>
                    <a:pt x="425" y="208"/>
                    <a:pt x="431" y="210"/>
                  </a:cubicBezTo>
                  <a:cubicBezTo>
                    <a:pt x="437" y="212"/>
                    <a:pt x="434" y="214"/>
                    <a:pt x="430" y="214"/>
                  </a:cubicBezTo>
                  <a:cubicBezTo>
                    <a:pt x="425" y="213"/>
                    <a:pt x="417" y="211"/>
                    <a:pt x="417" y="215"/>
                  </a:cubicBezTo>
                  <a:cubicBezTo>
                    <a:pt x="418" y="218"/>
                    <a:pt x="427" y="224"/>
                    <a:pt x="433" y="222"/>
                  </a:cubicBezTo>
                  <a:cubicBezTo>
                    <a:pt x="439" y="221"/>
                    <a:pt x="439" y="221"/>
                    <a:pt x="441" y="224"/>
                  </a:cubicBezTo>
                  <a:cubicBezTo>
                    <a:pt x="444" y="227"/>
                    <a:pt x="451" y="226"/>
                    <a:pt x="457" y="227"/>
                  </a:cubicBezTo>
                  <a:cubicBezTo>
                    <a:pt x="464" y="227"/>
                    <a:pt x="472" y="230"/>
                    <a:pt x="475" y="230"/>
                  </a:cubicBezTo>
                  <a:cubicBezTo>
                    <a:pt x="478" y="230"/>
                    <a:pt x="482" y="228"/>
                    <a:pt x="483" y="226"/>
                  </a:cubicBezTo>
                  <a:cubicBezTo>
                    <a:pt x="484" y="225"/>
                    <a:pt x="498" y="229"/>
                    <a:pt x="502" y="229"/>
                  </a:cubicBezTo>
                  <a:cubicBezTo>
                    <a:pt x="506" y="229"/>
                    <a:pt x="503" y="225"/>
                    <a:pt x="501" y="224"/>
                  </a:cubicBezTo>
                  <a:cubicBezTo>
                    <a:pt x="498" y="223"/>
                    <a:pt x="499" y="218"/>
                    <a:pt x="502" y="220"/>
                  </a:cubicBezTo>
                  <a:cubicBezTo>
                    <a:pt x="506" y="222"/>
                    <a:pt x="511" y="223"/>
                    <a:pt x="512" y="226"/>
                  </a:cubicBezTo>
                  <a:cubicBezTo>
                    <a:pt x="513" y="229"/>
                    <a:pt x="516" y="227"/>
                    <a:pt x="516" y="230"/>
                  </a:cubicBezTo>
                  <a:cubicBezTo>
                    <a:pt x="517" y="232"/>
                    <a:pt x="528" y="235"/>
                    <a:pt x="528" y="238"/>
                  </a:cubicBezTo>
                  <a:cubicBezTo>
                    <a:pt x="529" y="241"/>
                    <a:pt x="517" y="242"/>
                    <a:pt x="520" y="245"/>
                  </a:cubicBezTo>
                  <a:cubicBezTo>
                    <a:pt x="524" y="247"/>
                    <a:pt x="529" y="242"/>
                    <a:pt x="533" y="241"/>
                  </a:cubicBezTo>
                  <a:cubicBezTo>
                    <a:pt x="537" y="241"/>
                    <a:pt x="537" y="251"/>
                    <a:pt x="540" y="249"/>
                  </a:cubicBezTo>
                  <a:cubicBezTo>
                    <a:pt x="545" y="247"/>
                    <a:pt x="548" y="251"/>
                    <a:pt x="553" y="257"/>
                  </a:cubicBezTo>
                  <a:cubicBezTo>
                    <a:pt x="557" y="263"/>
                    <a:pt x="552" y="269"/>
                    <a:pt x="553" y="271"/>
                  </a:cubicBezTo>
                  <a:cubicBezTo>
                    <a:pt x="553" y="273"/>
                    <a:pt x="561" y="272"/>
                    <a:pt x="566" y="270"/>
                  </a:cubicBezTo>
                  <a:cubicBezTo>
                    <a:pt x="570" y="267"/>
                    <a:pt x="575" y="273"/>
                    <a:pt x="578" y="276"/>
                  </a:cubicBezTo>
                  <a:cubicBezTo>
                    <a:pt x="582" y="279"/>
                    <a:pt x="565" y="285"/>
                    <a:pt x="566" y="282"/>
                  </a:cubicBezTo>
                  <a:cubicBezTo>
                    <a:pt x="568" y="279"/>
                    <a:pt x="557" y="270"/>
                    <a:pt x="546" y="274"/>
                  </a:cubicBezTo>
                  <a:cubicBezTo>
                    <a:pt x="536" y="278"/>
                    <a:pt x="543" y="284"/>
                    <a:pt x="544" y="288"/>
                  </a:cubicBezTo>
                  <a:cubicBezTo>
                    <a:pt x="545" y="291"/>
                    <a:pt x="535" y="295"/>
                    <a:pt x="525" y="292"/>
                  </a:cubicBezTo>
                  <a:cubicBezTo>
                    <a:pt x="515" y="288"/>
                    <a:pt x="518" y="294"/>
                    <a:pt x="514" y="294"/>
                  </a:cubicBezTo>
                  <a:cubicBezTo>
                    <a:pt x="510" y="294"/>
                    <a:pt x="506" y="300"/>
                    <a:pt x="510" y="304"/>
                  </a:cubicBezTo>
                  <a:cubicBezTo>
                    <a:pt x="513" y="308"/>
                    <a:pt x="521" y="304"/>
                    <a:pt x="528" y="305"/>
                  </a:cubicBezTo>
                  <a:cubicBezTo>
                    <a:pt x="534" y="305"/>
                    <a:pt x="535" y="307"/>
                    <a:pt x="535" y="303"/>
                  </a:cubicBezTo>
                  <a:cubicBezTo>
                    <a:pt x="536" y="300"/>
                    <a:pt x="543" y="301"/>
                    <a:pt x="548" y="302"/>
                  </a:cubicBezTo>
                  <a:cubicBezTo>
                    <a:pt x="552" y="303"/>
                    <a:pt x="551" y="310"/>
                    <a:pt x="557" y="311"/>
                  </a:cubicBezTo>
                  <a:cubicBezTo>
                    <a:pt x="563" y="311"/>
                    <a:pt x="558" y="317"/>
                    <a:pt x="562" y="321"/>
                  </a:cubicBezTo>
                  <a:cubicBezTo>
                    <a:pt x="565" y="325"/>
                    <a:pt x="576" y="323"/>
                    <a:pt x="581" y="327"/>
                  </a:cubicBezTo>
                  <a:cubicBezTo>
                    <a:pt x="585" y="331"/>
                    <a:pt x="603" y="340"/>
                    <a:pt x="606" y="337"/>
                  </a:cubicBezTo>
                  <a:cubicBezTo>
                    <a:pt x="609" y="333"/>
                    <a:pt x="590" y="317"/>
                    <a:pt x="585" y="315"/>
                  </a:cubicBezTo>
                  <a:cubicBezTo>
                    <a:pt x="579" y="314"/>
                    <a:pt x="590" y="312"/>
                    <a:pt x="597" y="317"/>
                  </a:cubicBezTo>
                  <a:cubicBezTo>
                    <a:pt x="604" y="323"/>
                    <a:pt x="614" y="325"/>
                    <a:pt x="619" y="319"/>
                  </a:cubicBezTo>
                  <a:cubicBezTo>
                    <a:pt x="624" y="312"/>
                    <a:pt x="614" y="314"/>
                    <a:pt x="614" y="310"/>
                  </a:cubicBezTo>
                  <a:cubicBezTo>
                    <a:pt x="614" y="305"/>
                    <a:pt x="611" y="298"/>
                    <a:pt x="606" y="298"/>
                  </a:cubicBezTo>
                  <a:cubicBezTo>
                    <a:pt x="601" y="298"/>
                    <a:pt x="588" y="288"/>
                    <a:pt x="593" y="286"/>
                  </a:cubicBezTo>
                  <a:cubicBezTo>
                    <a:pt x="598" y="284"/>
                    <a:pt x="591" y="281"/>
                    <a:pt x="595" y="277"/>
                  </a:cubicBezTo>
                  <a:cubicBezTo>
                    <a:pt x="599" y="273"/>
                    <a:pt x="602" y="281"/>
                    <a:pt x="606" y="281"/>
                  </a:cubicBezTo>
                  <a:close/>
                  <a:moveTo>
                    <a:pt x="531" y="264"/>
                  </a:moveTo>
                  <a:cubicBezTo>
                    <a:pt x="535" y="264"/>
                    <a:pt x="535" y="257"/>
                    <a:pt x="532" y="254"/>
                  </a:cubicBezTo>
                  <a:cubicBezTo>
                    <a:pt x="530" y="251"/>
                    <a:pt x="526" y="251"/>
                    <a:pt x="522" y="251"/>
                  </a:cubicBezTo>
                  <a:cubicBezTo>
                    <a:pt x="518" y="251"/>
                    <a:pt x="511" y="257"/>
                    <a:pt x="515" y="264"/>
                  </a:cubicBezTo>
                  <a:cubicBezTo>
                    <a:pt x="518" y="270"/>
                    <a:pt x="527" y="265"/>
                    <a:pt x="531" y="264"/>
                  </a:cubicBezTo>
                  <a:close/>
                  <a:moveTo>
                    <a:pt x="487" y="171"/>
                  </a:moveTo>
                  <a:cubicBezTo>
                    <a:pt x="484" y="176"/>
                    <a:pt x="491" y="176"/>
                    <a:pt x="492" y="181"/>
                  </a:cubicBezTo>
                  <a:cubicBezTo>
                    <a:pt x="492" y="187"/>
                    <a:pt x="499" y="189"/>
                    <a:pt x="504" y="185"/>
                  </a:cubicBezTo>
                  <a:cubicBezTo>
                    <a:pt x="509" y="182"/>
                    <a:pt x="523" y="186"/>
                    <a:pt x="523" y="182"/>
                  </a:cubicBezTo>
                  <a:cubicBezTo>
                    <a:pt x="523" y="178"/>
                    <a:pt x="508" y="171"/>
                    <a:pt x="503" y="172"/>
                  </a:cubicBezTo>
                  <a:cubicBezTo>
                    <a:pt x="497" y="173"/>
                    <a:pt x="489" y="167"/>
                    <a:pt x="487" y="171"/>
                  </a:cubicBezTo>
                  <a:close/>
                  <a:moveTo>
                    <a:pt x="620" y="475"/>
                  </a:moveTo>
                  <a:cubicBezTo>
                    <a:pt x="621" y="478"/>
                    <a:pt x="642" y="486"/>
                    <a:pt x="642" y="483"/>
                  </a:cubicBezTo>
                  <a:cubicBezTo>
                    <a:pt x="643" y="479"/>
                    <a:pt x="620" y="473"/>
                    <a:pt x="620" y="475"/>
                  </a:cubicBezTo>
                  <a:close/>
                  <a:moveTo>
                    <a:pt x="711" y="496"/>
                  </a:moveTo>
                  <a:cubicBezTo>
                    <a:pt x="709" y="499"/>
                    <a:pt x="707" y="494"/>
                    <a:pt x="710" y="492"/>
                  </a:cubicBezTo>
                  <a:cubicBezTo>
                    <a:pt x="713" y="490"/>
                    <a:pt x="710" y="489"/>
                    <a:pt x="707" y="490"/>
                  </a:cubicBezTo>
                  <a:cubicBezTo>
                    <a:pt x="704" y="492"/>
                    <a:pt x="705" y="484"/>
                    <a:pt x="708" y="482"/>
                  </a:cubicBezTo>
                  <a:cubicBezTo>
                    <a:pt x="710" y="481"/>
                    <a:pt x="701" y="478"/>
                    <a:pt x="701" y="481"/>
                  </a:cubicBezTo>
                  <a:cubicBezTo>
                    <a:pt x="701" y="483"/>
                    <a:pt x="695" y="482"/>
                    <a:pt x="694" y="479"/>
                  </a:cubicBezTo>
                  <a:cubicBezTo>
                    <a:pt x="693" y="477"/>
                    <a:pt x="689" y="476"/>
                    <a:pt x="690" y="474"/>
                  </a:cubicBezTo>
                  <a:cubicBezTo>
                    <a:pt x="692" y="473"/>
                    <a:pt x="685" y="472"/>
                    <a:pt x="684" y="475"/>
                  </a:cubicBezTo>
                  <a:cubicBezTo>
                    <a:pt x="683" y="478"/>
                    <a:pt x="681" y="473"/>
                    <a:pt x="685" y="469"/>
                  </a:cubicBezTo>
                  <a:cubicBezTo>
                    <a:pt x="688" y="465"/>
                    <a:pt x="687" y="462"/>
                    <a:pt x="691" y="460"/>
                  </a:cubicBezTo>
                  <a:cubicBezTo>
                    <a:pt x="694" y="458"/>
                    <a:pt x="690" y="456"/>
                    <a:pt x="687" y="457"/>
                  </a:cubicBezTo>
                  <a:cubicBezTo>
                    <a:pt x="683" y="459"/>
                    <a:pt x="674" y="472"/>
                    <a:pt x="674" y="475"/>
                  </a:cubicBezTo>
                  <a:cubicBezTo>
                    <a:pt x="674" y="479"/>
                    <a:pt x="674" y="483"/>
                    <a:pt x="670" y="483"/>
                  </a:cubicBezTo>
                  <a:cubicBezTo>
                    <a:pt x="667" y="483"/>
                    <a:pt x="663" y="486"/>
                    <a:pt x="666" y="488"/>
                  </a:cubicBezTo>
                  <a:cubicBezTo>
                    <a:pt x="668" y="490"/>
                    <a:pt x="659" y="495"/>
                    <a:pt x="663" y="498"/>
                  </a:cubicBezTo>
                  <a:cubicBezTo>
                    <a:pt x="666" y="499"/>
                    <a:pt x="671" y="497"/>
                    <a:pt x="676" y="497"/>
                  </a:cubicBezTo>
                  <a:cubicBezTo>
                    <a:pt x="680" y="498"/>
                    <a:pt x="683" y="498"/>
                    <a:pt x="687" y="495"/>
                  </a:cubicBezTo>
                  <a:cubicBezTo>
                    <a:pt x="691" y="493"/>
                    <a:pt x="691" y="498"/>
                    <a:pt x="694" y="497"/>
                  </a:cubicBezTo>
                  <a:cubicBezTo>
                    <a:pt x="698" y="497"/>
                    <a:pt x="692" y="500"/>
                    <a:pt x="693" y="503"/>
                  </a:cubicBezTo>
                  <a:cubicBezTo>
                    <a:pt x="693" y="506"/>
                    <a:pt x="697" y="502"/>
                    <a:pt x="699" y="500"/>
                  </a:cubicBezTo>
                  <a:cubicBezTo>
                    <a:pt x="702" y="499"/>
                    <a:pt x="706" y="500"/>
                    <a:pt x="704" y="502"/>
                  </a:cubicBezTo>
                  <a:cubicBezTo>
                    <a:pt x="703" y="505"/>
                    <a:pt x="712" y="507"/>
                    <a:pt x="714" y="503"/>
                  </a:cubicBezTo>
                  <a:cubicBezTo>
                    <a:pt x="717" y="500"/>
                    <a:pt x="712" y="494"/>
                    <a:pt x="711" y="496"/>
                  </a:cubicBezTo>
                  <a:close/>
                  <a:moveTo>
                    <a:pt x="66" y="431"/>
                  </a:moveTo>
                  <a:cubicBezTo>
                    <a:pt x="60" y="434"/>
                    <a:pt x="75" y="450"/>
                    <a:pt x="78" y="448"/>
                  </a:cubicBezTo>
                  <a:cubicBezTo>
                    <a:pt x="81" y="447"/>
                    <a:pt x="75" y="440"/>
                    <a:pt x="75" y="436"/>
                  </a:cubicBezTo>
                  <a:cubicBezTo>
                    <a:pt x="75" y="432"/>
                    <a:pt x="73" y="427"/>
                    <a:pt x="66" y="431"/>
                  </a:cubicBezTo>
                  <a:close/>
                  <a:moveTo>
                    <a:pt x="654" y="512"/>
                  </a:moveTo>
                  <a:cubicBezTo>
                    <a:pt x="651" y="512"/>
                    <a:pt x="653" y="509"/>
                    <a:pt x="654" y="507"/>
                  </a:cubicBezTo>
                  <a:cubicBezTo>
                    <a:pt x="654" y="505"/>
                    <a:pt x="648" y="507"/>
                    <a:pt x="648" y="510"/>
                  </a:cubicBezTo>
                  <a:cubicBezTo>
                    <a:pt x="648" y="512"/>
                    <a:pt x="644" y="513"/>
                    <a:pt x="644" y="514"/>
                  </a:cubicBezTo>
                  <a:cubicBezTo>
                    <a:pt x="644" y="519"/>
                    <a:pt x="644" y="516"/>
                    <a:pt x="641" y="518"/>
                  </a:cubicBezTo>
                  <a:cubicBezTo>
                    <a:pt x="638" y="519"/>
                    <a:pt x="627" y="518"/>
                    <a:pt x="626" y="515"/>
                  </a:cubicBezTo>
                  <a:cubicBezTo>
                    <a:pt x="626" y="513"/>
                    <a:pt x="618" y="512"/>
                    <a:pt x="618" y="508"/>
                  </a:cubicBezTo>
                  <a:cubicBezTo>
                    <a:pt x="617" y="505"/>
                    <a:pt x="613" y="504"/>
                    <a:pt x="617" y="500"/>
                  </a:cubicBezTo>
                  <a:cubicBezTo>
                    <a:pt x="620" y="496"/>
                    <a:pt x="616" y="494"/>
                    <a:pt x="613" y="497"/>
                  </a:cubicBezTo>
                  <a:cubicBezTo>
                    <a:pt x="610" y="500"/>
                    <a:pt x="608" y="496"/>
                    <a:pt x="612" y="494"/>
                  </a:cubicBezTo>
                  <a:cubicBezTo>
                    <a:pt x="616" y="493"/>
                    <a:pt x="624" y="491"/>
                    <a:pt x="620" y="484"/>
                  </a:cubicBezTo>
                  <a:cubicBezTo>
                    <a:pt x="616" y="477"/>
                    <a:pt x="592" y="486"/>
                    <a:pt x="585" y="489"/>
                  </a:cubicBezTo>
                  <a:cubicBezTo>
                    <a:pt x="579" y="493"/>
                    <a:pt x="571" y="504"/>
                    <a:pt x="568" y="504"/>
                  </a:cubicBezTo>
                  <a:cubicBezTo>
                    <a:pt x="565" y="504"/>
                    <a:pt x="574" y="498"/>
                    <a:pt x="575" y="496"/>
                  </a:cubicBezTo>
                  <a:cubicBezTo>
                    <a:pt x="577" y="494"/>
                    <a:pt x="575" y="491"/>
                    <a:pt x="577" y="492"/>
                  </a:cubicBezTo>
                  <a:cubicBezTo>
                    <a:pt x="579" y="493"/>
                    <a:pt x="584" y="485"/>
                    <a:pt x="588" y="482"/>
                  </a:cubicBezTo>
                  <a:cubicBezTo>
                    <a:pt x="592" y="479"/>
                    <a:pt x="596" y="482"/>
                    <a:pt x="596" y="479"/>
                  </a:cubicBezTo>
                  <a:cubicBezTo>
                    <a:pt x="597" y="477"/>
                    <a:pt x="599" y="475"/>
                    <a:pt x="602" y="472"/>
                  </a:cubicBezTo>
                  <a:cubicBezTo>
                    <a:pt x="606" y="469"/>
                    <a:pt x="649" y="470"/>
                    <a:pt x="653" y="470"/>
                  </a:cubicBezTo>
                  <a:cubicBezTo>
                    <a:pt x="657" y="470"/>
                    <a:pt x="665" y="464"/>
                    <a:pt x="667" y="461"/>
                  </a:cubicBezTo>
                  <a:cubicBezTo>
                    <a:pt x="669" y="457"/>
                    <a:pt x="672" y="457"/>
                    <a:pt x="678" y="458"/>
                  </a:cubicBezTo>
                  <a:cubicBezTo>
                    <a:pt x="684" y="458"/>
                    <a:pt x="687" y="453"/>
                    <a:pt x="689" y="451"/>
                  </a:cubicBezTo>
                  <a:cubicBezTo>
                    <a:pt x="692" y="449"/>
                    <a:pt x="691" y="448"/>
                    <a:pt x="689" y="447"/>
                  </a:cubicBezTo>
                  <a:cubicBezTo>
                    <a:pt x="686" y="447"/>
                    <a:pt x="684" y="445"/>
                    <a:pt x="686" y="445"/>
                  </a:cubicBezTo>
                  <a:cubicBezTo>
                    <a:pt x="689" y="445"/>
                    <a:pt x="690" y="443"/>
                    <a:pt x="691" y="440"/>
                  </a:cubicBezTo>
                  <a:cubicBezTo>
                    <a:pt x="692" y="437"/>
                    <a:pt x="690" y="438"/>
                    <a:pt x="687" y="434"/>
                  </a:cubicBezTo>
                  <a:cubicBezTo>
                    <a:pt x="683" y="430"/>
                    <a:pt x="682" y="435"/>
                    <a:pt x="678" y="435"/>
                  </a:cubicBezTo>
                  <a:cubicBezTo>
                    <a:pt x="675" y="435"/>
                    <a:pt x="681" y="430"/>
                    <a:pt x="678" y="429"/>
                  </a:cubicBezTo>
                  <a:cubicBezTo>
                    <a:pt x="675" y="427"/>
                    <a:pt x="670" y="428"/>
                    <a:pt x="665" y="432"/>
                  </a:cubicBezTo>
                  <a:cubicBezTo>
                    <a:pt x="661" y="435"/>
                    <a:pt x="661" y="432"/>
                    <a:pt x="658" y="435"/>
                  </a:cubicBezTo>
                  <a:cubicBezTo>
                    <a:pt x="654" y="439"/>
                    <a:pt x="654" y="433"/>
                    <a:pt x="656" y="432"/>
                  </a:cubicBezTo>
                  <a:cubicBezTo>
                    <a:pt x="657" y="430"/>
                    <a:pt x="659" y="432"/>
                    <a:pt x="660" y="430"/>
                  </a:cubicBezTo>
                  <a:cubicBezTo>
                    <a:pt x="662" y="428"/>
                    <a:pt x="664" y="430"/>
                    <a:pt x="668" y="427"/>
                  </a:cubicBezTo>
                  <a:cubicBezTo>
                    <a:pt x="672" y="425"/>
                    <a:pt x="675" y="426"/>
                    <a:pt x="677" y="424"/>
                  </a:cubicBezTo>
                  <a:cubicBezTo>
                    <a:pt x="678" y="422"/>
                    <a:pt x="675" y="419"/>
                    <a:pt x="671" y="420"/>
                  </a:cubicBezTo>
                  <a:cubicBezTo>
                    <a:pt x="667" y="421"/>
                    <a:pt x="664" y="415"/>
                    <a:pt x="662" y="417"/>
                  </a:cubicBezTo>
                  <a:cubicBezTo>
                    <a:pt x="659" y="418"/>
                    <a:pt x="660" y="414"/>
                    <a:pt x="657" y="416"/>
                  </a:cubicBezTo>
                  <a:cubicBezTo>
                    <a:pt x="654" y="417"/>
                    <a:pt x="652" y="415"/>
                    <a:pt x="651" y="412"/>
                  </a:cubicBezTo>
                  <a:cubicBezTo>
                    <a:pt x="650" y="408"/>
                    <a:pt x="642" y="403"/>
                    <a:pt x="637" y="401"/>
                  </a:cubicBezTo>
                  <a:cubicBezTo>
                    <a:pt x="633" y="400"/>
                    <a:pt x="636" y="397"/>
                    <a:pt x="638" y="399"/>
                  </a:cubicBezTo>
                  <a:cubicBezTo>
                    <a:pt x="641" y="401"/>
                    <a:pt x="644" y="397"/>
                    <a:pt x="645" y="396"/>
                  </a:cubicBezTo>
                  <a:cubicBezTo>
                    <a:pt x="646" y="394"/>
                    <a:pt x="643" y="392"/>
                    <a:pt x="642" y="392"/>
                  </a:cubicBezTo>
                  <a:cubicBezTo>
                    <a:pt x="640" y="392"/>
                    <a:pt x="640" y="390"/>
                    <a:pt x="641" y="388"/>
                  </a:cubicBezTo>
                  <a:cubicBezTo>
                    <a:pt x="641" y="386"/>
                    <a:pt x="636" y="384"/>
                    <a:pt x="635" y="382"/>
                  </a:cubicBezTo>
                  <a:cubicBezTo>
                    <a:pt x="635" y="380"/>
                    <a:pt x="632" y="379"/>
                    <a:pt x="632" y="377"/>
                  </a:cubicBezTo>
                  <a:cubicBezTo>
                    <a:pt x="632" y="376"/>
                    <a:pt x="629" y="373"/>
                    <a:pt x="629" y="371"/>
                  </a:cubicBezTo>
                  <a:cubicBezTo>
                    <a:pt x="629" y="369"/>
                    <a:pt x="624" y="365"/>
                    <a:pt x="624" y="362"/>
                  </a:cubicBezTo>
                  <a:cubicBezTo>
                    <a:pt x="624" y="360"/>
                    <a:pt x="621" y="358"/>
                    <a:pt x="620" y="355"/>
                  </a:cubicBezTo>
                  <a:cubicBezTo>
                    <a:pt x="619" y="352"/>
                    <a:pt x="617" y="353"/>
                    <a:pt x="616" y="358"/>
                  </a:cubicBezTo>
                  <a:cubicBezTo>
                    <a:pt x="615" y="362"/>
                    <a:pt x="611" y="362"/>
                    <a:pt x="612" y="363"/>
                  </a:cubicBezTo>
                  <a:cubicBezTo>
                    <a:pt x="615" y="366"/>
                    <a:pt x="613" y="366"/>
                    <a:pt x="611" y="368"/>
                  </a:cubicBezTo>
                  <a:cubicBezTo>
                    <a:pt x="610" y="370"/>
                    <a:pt x="612" y="372"/>
                    <a:pt x="610" y="372"/>
                  </a:cubicBezTo>
                  <a:cubicBezTo>
                    <a:pt x="607" y="372"/>
                    <a:pt x="608" y="378"/>
                    <a:pt x="607" y="376"/>
                  </a:cubicBezTo>
                  <a:cubicBezTo>
                    <a:pt x="605" y="373"/>
                    <a:pt x="602" y="374"/>
                    <a:pt x="602" y="376"/>
                  </a:cubicBezTo>
                  <a:cubicBezTo>
                    <a:pt x="602" y="379"/>
                    <a:pt x="596" y="381"/>
                    <a:pt x="594" y="381"/>
                  </a:cubicBezTo>
                  <a:cubicBezTo>
                    <a:pt x="592" y="381"/>
                    <a:pt x="592" y="376"/>
                    <a:pt x="590" y="377"/>
                  </a:cubicBezTo>
                  <a:cubicBezTo>
                    <a:pt x="588" y="379"/>
                    <a:pt x="588" y="373"/>
                    <a:pt x="585" y="373"/>
                  </a:cubicBezTo>
                  <a:cubicBezTo>
                    <a:pt x="582" y="374"/>
                    <a:pt x="580" y="373"/>
                    <a:pt x="581" y="371"/>
                  </a:cubicBezTo>
                  <a:cubicBezTo>
                    <a:pt x="582" y="368"/>
                    <a:pt x="576" y="367"/>
                    <a:pt x="578" y="365"/>
                  </a:cubicBezTo>
                  <a:cubicBezTo>
                    <a:pt x="580" y="363"/>
                    <a:pt x="577" y="361"/>
                    <a:pt x="577" y="356"/>
                  </a:cubicBezTo>
                  <a:cubicBezTo>
                    <a:pt x="576" y="351"/>
                    <a:pt x="579" y="351"/>
                    <a:pt x="579" y="349"/>
                  </a:cubicBezTo>
                  <a:cubicBezTo>
                    <a:pt x="579" y="347"/>
                    <a:pt x="577" y="347"/>
                    <a:pt x="575" y="349"/>
                  </a:cubicBezTo>
                  <a:cubicBezTo>
                    <a:pt x="573" y="350"/>
                    <a:pt x="573" y="347"/>
                    <a:pt x="571" y="347"/>
                  </a:cubicBezTo>
                  <a:cubicBezTo>
                    <a:pt x="568" y="347"/>
                    <a:pt x="561" y="347"/>
                    <a:pt x="561" y="344"/>
                  </a:cubicBezTo>
                  <a:cubicBezTo>
                    <a:pt x="561" y="340"/>
                    <a:pt x="558" y="342"/>
                    <a:pt x="557" y="339"/>
                  </a:cubicBezTo>
                  <a:cubicBezTo>
                    <a:pt x="556" y="336"/>
                    <a:pt x="553" y="338"/>
                    <a:pt x="553" y="336"/>
                  </a:cubicBezTo>
                  <a:cubicBezTo>
                    <a:pt x="553" y="334"/>
                    <a:pt x="552" y="333"/>
                    <a:pt x="550" y="333"/>
                  </a:cubicBezTo>
                  <a:cubicBezTo>
                    <a:pt x="548" y="333"/>
                    <a:pt x="547" y="330"/>
                    <a:pt x="544" y="330"/>
                  </a:cubicBezTo>
                  <a:cubicBezTo>
                    <a:pt x="541" y="330"/>
                    <a:pt x="538" y="332"/>
                    <a:pt x="536" y="333"/>
                  </a:cubicBezTo>
                  <a:cubicBezTo>
                    <a:pt x="535" y="333"/>
                    <a:pt x="530" y="330"/>
                    <a:pt x="529" y="331"/>
                  </a:cubicBezTo>
                  <a:cubicBezTo>
                    <a:pt x="527" y="333"/>
                    <a:pt x="527" y="331"/>
                    <a:pt x="522" y="329"/>
                  </a:cubicBezTo>
                  <a:cubicBezTo>
                    <a:pt x="518" y="328"/>
                    <a:pt x="512" y="328"/>
                    <a:pt x="512" y="329"/>
                  </a:cubicBezTo>
                  <a:cubicBezTo>
                    <a:pt x="511" y="331"/>
                    <a:pt x="508" y="331"/>
                    <a:pt x="508" y="335"/>
                  </a:cubicBezTo>
                  <a:cubicBezTo>
                    <a:pt x="509" y="339"/>
                    <a:pt x="513" y="338"/>
                    <a:pt x="514" y="341"/>
                  </a:cubicBezTo>
                  <a:cubicBezTo>
                    <a:pt x="514" y="343"/>
                    <a:pt x="512" y="342"/>
                    <a:pt x="512" y="345"/>
                  </a:cubicBezTo>
                  <a:cubicBezTo>
                    <a:pt x="511" y="347"/>
                    <a:pt x="509" y="347"/>
                    <a:pt x="509" y="348"/>
                  </a:cubicBezTo>
                  <a:cubicBezTo>
                    <a:pt x="509" y="350"/>
                    <a:pt x="511" y="350"/>
                    <a:pt x="512" y="353"/>
                  </a:cubicBezTo>
                  <a:cubicBezTo>
                    <a:pt x="512" y="356"/>
                    <a:pt x="514" y="356"/>
                    <a:pt x="515" y="360"/>
                  </a:cubicBezTo>
                  <a:cubicBezTo>
                    <a:pt x="515" y="364"/>
                    <a:pt x="513" y="364"/>
                    <a:pt x="512" y="364"/>
                  </a:cubicBezTo>
                  <a:cubicBezTo>
                    <a:pt x="510" y="365"/>
                    <a:pt x="512" y="367"/>
                    <a:pt x="509" y="370"/>
                  </a:cubicBezTo>
                  <a:cubicBezTo>
                    <a:pt x="507" y="372"/>
                    <a:pt x="505" y="376"/>
                    <a:pt x="507" y="377"/>
                  </a:cubicBezTo>
                  <a:cubicBezTo>
                    <a:pt x="509" y="379"/>
                    <a:pt x="516" y="382"/>
                    <a:pt x="519" y="387"/>
                  </a:cubicBezTo>
                  <a:cubicBezTo>
                    <a:pt x="522" y="392"/>
                    <a:pt x="521" y="399"/>
                    <a:pt x="520" y="405"/>
                  </a:cubicBezTo>
                  <a:cubicBezTo>
                    <a:pt x="520" y="410"/>
                    <a:pt x="514" y="411"/>
                    <a:pt x="509" y="416"/>
                  </a:cubicBezTo>
                  <a:cubicBezTo>
                    <a:pt x="505" y="420"/>
                    <a:pt x="500" y="420"/>
                    <a:pt x="498" y="420"/>
                  </a:cubicBezTo>
                  <a:cubicBezTo>
                    <a:pt x="496" y="420"/>
                    <a:pt x="497" y="424"/>
                    <a:pt x="500" y="428"/>
                  </a:cubicBezTo>
                  <a:cubicBezTo>
                    <a:pt x="503" y="431"/>
                    <a:pt x="501" y="432"/>
                    <a:pt x="502" y="436"/>
                  </a:cubicBezTo>
                  <a:cubicBezTo>
                    <a:pt x="504" y="439"/>
                    <a:pt x="502" y="442"/>
                    <a:pt x="504" y="445"/>
                  </a:cubicBezTo>
                  <a:cubicBezTo>
                    <a:pt x="507" y="449"/>
                    <a:pt x="505" y="450"/>
                    <a:pt x="503" y="452"/>
                  </a:cubicBezTo>
                  <a:cubicBezTo>
                    <a:pt x="500" y="455"/>
                    <a:pt x="504" y="453"/>
                    <a:pt x="504" y="456"/>
                  </a:cubicBezTo>
                  <a:cubicBezTo>
                    <a:pt x="504" y="459"/>
                    <a:pt x="503" y="458"/>
                    <a:pt x="500" y="456"/>
                  </a:cubicBezTo>
                  <a:cubicBezTo>
                    <a:pt x="498" y="454"/>
                    <a:pt x="496" y="459"/>
                    <a:pt x="496" y="461"/>
                  </a:cubicBezTo>
                  <a:cubicBezTo>
                    <a:pt x="496" y="463"/>
                    <a:pt x="490" y="458"/>
                    <a:pt x="489" y="458"/>
                  </a:cubicBezTo>
                  <a:cubicBezTo>
                    <a:pt x="488" y="459"/>
                    <a:pt x="489" y="455"/>
                    <a:pt x="486" y="453"/>
                  </a:cubicBezTo>
                  <a:cubicBezTo>
                    <a:pt x="483" y="450"/>
                    <a:pt x="481" y="450"/>
                    <a:pt x="481" y="447"/>
                  </a:cubicBezTo>
                  <a:cubicBezTo>
                    <a:pt x="481" y="445"/>
                    <a:pt x="475" y="443"/>
                    <a:pt x="475" y="440"/>
                  </a:cubicBezTo>
                  <a:cubicBezTo>
                    <a:pt x="475" y="437"/>
                    <a:pt x="476" y="430"/>
                    <a:pt x="474" y="428"/>
                  </a:cubicBezTo>
                  <a:cubicBezTo>
                    <a:pt x="473" y="426"/>
                    <a:pt x="474" y="423"/>
                    <a:pt x="475" y="422"/>
                  </a:cubicBezTo>
                  <a:cubicBezTo>
                    <a:pt x="476" y="420"/>
                    <a:pt x="474" y="417"/>
                    <a:pt x="471" y="417"/>
                  </a:cubicBezTo>
                  <a:cubicBezTo>
                    <a:pt x="468" y="417"/>
                    <a:pt x="463" y="415"/>
                    <a:pt x="459" y="416"/>
                  </a:cubicBezTo>
                  <a:cubicBezTo>
                    <a:pt x="454" y="416"/>
                    <a:pt x="452" y="415"/>
                    <a:pt x="450" y="414"/>
                  </a:cubicBezTo>
                  <a:cubicBezTo>
                    <a:pt x="449" y="413"/>
                    <a:pt x="445" y="410"/>
                    <a:pt x="439" y="409"/>
                  </a:cubicBezTo>
                  <a:cubicBezTo>
                    <a:pt x="434" y="407"/>
                    <a:pt x="431" y="405"/>
                    <a:pt x="431" y="403"/>
                  </a:cubicBezTo>
                  <a:cubicBezTo>
                    <a:pt x="430" y="401"/>
                    <a:pt x="425" y="400"/>
                    <a:pt x="423" y="399"/>
                  </a:cubicBezTo>
                  <a:cubicBezTo>
                    <a:pt x="422" y="397"/>
                    <a:pt x="417" y="396"/>
                    <a:pt x="415" y="396"/>
                  </a:cubicBezTo>
                  <a:cubicBezTo>
                    <a:pt x="413" y="397"/>
                    <a:pt x="407" y="392"/>
                    <a:pt x="404" y="392"/>
                  </a:cubicBezTo>
                  <a:cubicBezTo>
                    <a:pt x="401" y="392"/>
                    <a:pt x="393" y="395"/>
                    <a:pt x="392" y="396"/>
                  </a:cubicBezTo>
                  <a:cubicBezTo>
                    <a:pt x="391" y="396"/>
                    <a:pt x="392" y="393"/>
                    <a:pt x="393" y="392"/>
                  </a:cubicBezTo>
                  <a:cubicBezTo>
                    <a:pt x="394" y="390"/>
                    <a:pt x="390" y="385"/>
                    <a:pt x="390" y="382"/>
                  </a:cubicBezTo>
                  <a:cubicBezTo>
                    <a:pt x="389" y="378"/>
                    <a:pt x="387" y="374"/>
                    <a:pt x="384" y="375"/>
                  </a:cubicBezTo>
                  <a:cubicBezTo>
                    <a:pt x="380" y="375"/>
                    <a:pt x="376" y="373"/>
                    <a:pt x="375" y="372"/>
                  </a:cubicBezTo>
                  <a:cubicBezTo>
                    <a:pt x="374" y="372"/>
                    <a:pt x="374" y="362"/>
                    <a:pt x="374" y="357"/>
                  </a:cubicBezTo>
                  <a:cubicBezTo>
                    <a:pt x="375" y="353"/>
                    <a:pt x="380" y="347"/>
                    <a:pt x="380" y="344"/>
                  </a:cubicBezTo>
                  <a:cubicBezTo>
                    <a:pt x="380" y="341"/>
                    <a:pt x="383" y="340"/>
                    <a:pt x="386" y="339"/>
                  </a:cubicBezTo>
                  <a:cubicBezTo>
                    <a:pt x="388" y="339"/>
                    <a:pt x="386" y="333"/>
                    <a:pt x="389" y="333"/>
                  </a:cubicBezTo>
                  <a:cubicBezTo>
                    <a:pt x="392" y="333"/>
                    <a:pt x="392" y="332"/>
                    <a:pt x="392" y="329"/>
                  </a:cubicBezTo>
                  <a:cubicBezTo>
                    <a:pt x="393" y="327"/>
                    <a:pt x="396" y="329"/>
                    <a:pt x="394" y="327"/>
                  </a:cubicBezTo>
                  <a:cubicBezTo>
                    <a:pt x="392" y="325"/>
                    <a:pt x="394" y="325"/>
                    <a:pt x="398" y="325"/>
                  </a:cubicBezTo>
                  <a:cubicBezTo>
                    <a:pt x="402" y="325"/>
                    <a:pt x="408" y="323"/>
                    <a:pt x="407" y="319"/>
                  </a:cubicBezTo>
                  <a:cubicBezTo>
                    <a:pt x="406" y="315"/>
                    <a:pt x="396" y="318"/>
                    <a:pt x="396" y="315"/>
                  </a:cubicBezTo>
                  <a:cubicBezTo>
                    <a:pt x="396" y="311"/>
                    <a:pt x="382" y="311"/>
                    <a:pt x="383" y="309"/>
                  </a:cubicBezTo>
                  <a:cubicBezTo>
                    <a:pt x="384" y="307"/>
                    <a:pt x="397" y="311"/>
                    <a:pt x="401" y="312"/>
                  </a:cubicBezTo>
                  <a:cubicBezTo>
                    <a:pt x="406" y="314"/>
                    <a:pt x="407" y="314"/>
                    <a:pt x="411" y="314"/>
                  </a:cubicBezTo>
                  <a:cubicBezTo>
                    <a:pt x="415" y="314"/>
                    <a:pt x="412" y="309"/>
                    <a:pt x="413" y="307"/>
                  </a:cubicBezTo>
                  <a:cubicBezTo>
                    <a:pt x="413" y="305"/>
                    <a:pt x="421" y="310"/>
                    <a:pt x="425" y="309"/>
                  </a:cubicBezTo>
                  <a:cubicBezTo>
                    <a:pt x="429" y="308"/>
                    <a:pt x="433" y="299"/>
                    <a:pt x="436" y="297"/>
                  </a:cubicBezTo>
                  <a:cubicBezTo>
                    <a:pt x="440" y="295"/>
                    <a:pt x="436" y="293"/>
                    <a:pt x="430" y="293"/>
                  </a:cubicBezTo>
                  <a:cubicBezTo>
                    <a:pt x="423" y="294"/>
                    <a:pt x="420" y="291"/>
                    <a:pt x="416" y="288"/>
                  </a:cubicBezTo>
                  <a:cubicBezTo>
                    <a:pt x="412" y="286"/>
                    <a:pt x="413" y="284"/>
                    <a:pt x="417" y="284"/>
                  </a:cubicBezTo>
                  <a:cubicBezTo>
                    <a:pt x="420" y="284"/>
                    <a:pt x="429" y="292"/>
                    <a:pt x="433" y="292"/>
                  </a:cubicBezTo>
                  <a:cubicBezTo>
                    <a:pt x="436" y="292"/>
                    <a:pt x="442" y="285"/>
                    <a:pt x="445" y="283"/>
                  </a:cubicBezTo>
                  <a:cubicBezTo>
                    <a:pt x="448" y="281"/>
                    <a:pt x="442" y="280"/>
                    <a:pt x="440" y="278"/>
                  </a:cubicBezTo>
                  <a:cubicBezTo>
                    <a:pt x="438" y="277"/>
                    <a:pt x="443" y="276"/>
                    <a:pt x="446" y="276"/>
                  </a:cubicBezTo>
                  <a:cubicBezTo>
                    <a:pt x="449" y="276"/>
                    <a:pt x="450" y="278"/>
                    <a:pt x="451" y="280"/>
                  </a:cubicBezTo>
                  <a:cubicBezTo>
                    <a:pt x="453" y="281"/>
                    <a:pt x="458" y="279"/>
                    <a:pt x="460" y="279"/>
                  </a:cubicBezTo>
                  <a:cubicBezTo>
                    <a:pt x="463" y="279"/>
                    <a:pt x="460" y="275"/>
                    <a:pt x="456" y="273"/>
                  </a:cubicBezTo>
                  <a:cubicBezTo>
                    <a:pt x="451" y="271"/>
                    <a:pt x="456" y="268"/>
                    <a:pt x="457" y="271"/>
                  </a:cubicBezTo>
                  <a:cubicBezTo>
                    <a:pt x="458" y="273"/>
                    <a:pt x="461" y="273"/>
                    <a:pt x="463" y="276"/>
                  </a:cubicBezTo>
                  <a:cubicBezTo>
                    <a:pt x="465" y="280"/>
                    <a:pt x="466" y="277"/>
                    <a:pt x="469" y="276"/>
                  </a:cubicBezTo>
                  <a:cubicBezTo>
                    <a:pt x="473" y="275"/>
                    <a:pt x="475" y="272"/>
                    <a:pt x="477" y="270"/>
                  </a:cubicBezTo>
                  <a:cubicBezTo>
                    <a:pt x="479" y="268"/>
                    <a:pt x="479" y="271"/>
                    <a:pt x="481" y="267"/>
                  </a:cubicBezTo>
                  <a:cubicBezTo>
                    <a:pt x="484" y="264"/>
                    <a:pt x="480" y="261"/>
                    <a:pt x="478" y="259"/>
                  </a:cubicBezTo>
                  <a:cubicBezTo>
                    <a:pt x="475" y="256"/>
                    <a:pt x="478" y="254"/>
                    <a:pt x="475" y="253"/>
                  </a:cubicBezTo>
                  <a:cubicBezTo>
                    <a:pt x="472" y="251"/>
                    <a:pt x="471" y="249"/>
                    <a:pt x="475" y="249"/>
                  </a:cubicBezTo>
                  <a:cubicBezTo>
                    <a:pt x="479" y="250"/>
                    <a:pt x="481" y="249"/>
                    <a:pt x="483" y="247"/>
                  </a:cubicBezTo>
                  <a:cubicBezTo>
                    <a:pt x="485" y="244"/>
                    <a:pt x="478" y="244"/>
                    <a:pt x="481" y="242"/>
                  </a:cubicBezTo>
                  <a:cubicBezTo>
                    <a:pt x="484" y="240"/>
                    <a:pt x="481" y="238"/>
                    <a:pt x="478" y="238"/>
                  </a:cubicBezTo>
                  <a:cubicBezTo>
                    <a:pt x="475" y="238"/>
                    <a:pt x="472" y="237"/>
                    <a:pt x="472" y="234"/>
                  </a:cubicBezTo>
                  <a:cubicBezTo>
                    <a:pt x="472" y="231"/>
                    <a:pt x="466" y="233"/>
                    <a:pt x="463" y="231"/>
                  </a:cubicBezTo>
                  <a:cubicBezTo>
                    <a:pt x="460" y="230"/>
                    <a:pt x="452" y="230"/>
                    <a:pt x="450" y="230"/>
                  </a:cubicBezTo>
                  <a:cubicBezTo>
                    <a:pt x="449" y="231"/>
                    <a:pt x="448" y="238"/>
                    <a:pt x="451" y="238"/>
                  </a:cubicBezTo>
                  <a:cubicBezTo>
                    <a:pt x="454" y="238"/>
                    <a:pt x="456" y="241"/>
                    <a:pt x="454" y="242"/>
                  </a:cubicBezTo>
                  <a:cubicBezTo>
                    <a:pt x="451" y="243"/>
                    <a:pt x="454" y="246"/>
                    <a:pt x="452" y="245"/>
                  </a:cubicBezTo>
                  <a:cubicBezTo>
                    <a:pt x="450" y="245"/>
                    <a:pt x="448" y="244"/>
                    <a:pt x="447" y="249"/>
                  </a:cubicBezTo>
                  <a:cubicBezTo>
                    <a:pt x="446" y="254"/>
                    <a:pt x="446" y="255"/>
                    <a:pt x="443" y="257"/>
                  </a:cubicBezTo>
                  <a:cubicBezTo>
                    <a:pt x="440" y="259"/>
                    <a:pt x="442" y="252"/>
                    <a:pt x="440" y="252"/>
                  </a:cubicBezTo>
                  <a:cubicBezTo>
                    <a:pt x="437" y="252"/>
                    <a:pt x="436" y="258"/>
                    <a:pt x="438" y="258"/>
                  </a:cubicBezTo>
                  <a:cubicBezTo>
                    <a:pt x="441" y="259"/>
                    <a:pt x="441" y="261"/>
                    <a:pt x="441" y="263"/>
                  </a:cubicBezTo>
                  <a:cubicBezTo>
                    <a:pt x="442" y="266"/>
                    <a:pt x="438" y="264"/>
                    <a:pt x="436" y="267"/>
                  </a:cubicBezTo>
                  <a:cubicBezTo>
                    <a:pt x="434" y="270"/>
                    <a:pt x="434" y="266"/>
                    <a:pt x="431" y="264"/>
                  </a:cubicBezTo>
                  <a:cubicBezTo>
                    <a:pt x="429" y="262"/>
                    <a:pt x="426" y="258"/>
                    <a:pt x="426" y="255"/>
                  </a:cubicBezTo>
                  <a:cubicBezTo>
                    <a:pt x="426" y="253"/>
                    <a:pt x="427" y="252"/>
                    <a:pt x="429" y="252"/>
                  </a:cubicBezTo>
                  <a:cubicBezTo>
                    <a:pt x="431" y="251"/>
                    <a:pt x="429" y="250"/>
                    <a:pt x="429" y="246"/>
                  </a:cubicBezTo>
                  <a:cubicBezTo>
                    <a:pt x="429" y="243"/>
                    <a:pt x="427" y="244"/>
                    <a:pt x="424" y="241"/>
                  </a:cubicBezTo>
                  <a:cubicBezTo>
                    <a:pt x="421" y="237"/>
                    <a:pt x="418" y="237"/>
                    <a:pt x="416" y="239"/>
                  </a:cubicBezTo>
                  <a:cubicBezTo>
                    <a:pt x="415" y="241"/>
                    <a:pt x="416" y="244"/>
                    <a:pt x="413" y="245"/>
                  </a:cubicBezTo>
                  <a:cubicBezTo>
                    <a:pt x="411" y="246"/>
                    <a:pt x="412" y="251"/>
                    <a:pt x="410" y="251"/>
                  </a:cubicBezTo>
                  <a:cubicBezTo>
                    <a:pt x="408" y="252"/>
                    <a:pt x="409" y="242"/>
                    <a:pt x="407" y="242"/>
                  </a:cubicBezTo>
                  <a:cubicBezTo>
                    <a:pt x="405" y="241"/>
                    <a:pt x="405" y="239"/>
                    <a:pt x="408" y="238"/>
                  </a:cubicBezTo>
                  <a:cubicBezTo>
                    <a:pt x="411" y="238"/>
                    <a:pt x="412" y="235"/>
                    <a:pt x="410" y="235"/>
                  </a:cubicBezTo>
                  <a:cubicBezTo>
                    <a:pt x="408" y="235"/>
                    <a:pt x="404" y="232"/>
                    <a:pt x="402" y="232"/>
                  </a:cubicBezTo>
                  <a:cubicBezTo>
                    <a:pt x="400" y="231"/>
                    <a:pt x="398" y="235"/>
                    <a:pt x="396" y="233"/>
                  </a:cubicBezTo>
                  <a:cubicBezTo>
                    <a:pt x="394" y="232"/>
                    <a:pt x="396" y="228"/>
                    <a:pt x="396" y="226"/>
                  </a:cubicBezTo>
                  <a:cubicBezTo>
                    <a:pt x="397" y="224"/>
                    <a:pt x="399" y="227"/>
                    <a:pt x="401" y="225"/>
                  </a:cubicBezTo>
                  <a:cubicBezTo>
                    <a:pt x="403" y="222"/>
                    <a:pt x="396" y="222"/>
                    <a:pt x="396" y="220"/>
                  </a:cubicBezTo>
                  <a:cubicBezTo>
                    <a:pt x="396" y="217"/>
                    <a:pt x="391" y="216"/>
                    <a:pt x="389" y="215"/>
                  </a:cubicBezTo>
                  <a:cubicBezTo>
                    <a:pt x="387" y="214"/>
                    <a:pt x="390" y="210"/>
                    <a:pt x="389" y="208"/>
                  </a:cubicBezTo>
                  <a:cubicBezTo>
                    <a:pt x="388" y="206"/>
                    <a:pt x="382" y="201"/>
                    <a:pt x="379" y="201"/>
                  </a:cubicBezTo>
                  <a:cubicBezTo>
                    <a:pt x="376" y="202"/>
                    <a:pt x="375" y="197"/>
                    <a:pt x="377" y="198"/>
                  </a:cubicBezTo>
                  <a:cubicBezTo>
                    <a:pt x="379" y="198"/>
                    <a:pt x="380" y="197"/>
                    <a:pt x="383" y="193"/>
                  </a:cubicBezTo>
                  <a:cubicBezTo>
                    <a:pt x="386" y="190"/>
                    <a:pt x="386" y="189"/>
                    <a:pt x="384" y="188"/>
                  </a:cubicBezTo>
                  <a:cubicBezTo>
                    <a:pt x="382" y="187"/>
                    <a:pt x="381" y="185"/>
                    <a:pt x="385" y="185"/>
                  </a:cubicBezTo>
                  <a:cubicBezTo>
                    <a:pt x="388" y="186"/>
                    <a:pt x="395" y="188"/>
                    <a:pt x="397" y="186"/>
                  </a:cubicBezTo>
                  <a:cubicBezTo>
                    <a:pt x="399" y="185"/>
                    <a:pt x="406" y="174"/>
                    <a:pt x="409" y="171"/>
                  </a:cubicBezTo>
                  <a:cubicBezTo>
                    <a:pt x="411" y="167"/>
                    <a:pt x="407" y="166"/>
                    <a:pt x="400" y="167"/>
                  </a:cubicBezTo>
                  <a:cubicBezTo>
                    <a:pt x="394" y="168"/>
                    <a:pt x="392" y="165"/>
                    <a:pt x="387" y="164"/>
                  </a:cubicBezTo>
                  <a:cubicBezTo>
                    <a:pt x="382" y="164"/>
                    <a:pt x="372" y="165"/>
                    <a:pt x="370" y="167"/>
                  </a:cubicBezTo>
                  <a:cubicBezTo>
                    <a:pt x="369" y="168"/>
                    <a:pt x="373" y="170"/>
                    <a:pt x="372" y="172"/>
                  </a:cubicBezTo>
                  <a:cubicBezTo>
                    <a:pt x="372" y="173"/>
                    <a:pt x="369" y="170"/>
                    <a:pt x="367" y="171"/>
                  </a:cubicBezTo>
                  <a:cubicBezTo>
                    <a:pt x="366" y="172"/>
                    <a:pt x="368" y="174"/>
                    <a:pt x="367" y="180"/>
                  </a:cubicBezTo>
                  <a:cubicBezTo>
                    <a:pt x="367" y="187"/>
                    <a:pt x="369" y="187"/>
                    <a:pt x="370" y="189"/>
                  </a:cubicBezTo>
                  <a:cubicBezTo>
                    <a:pt x="372" y="192"/>
                    <a:pt x="372" y="195"/>
                    <a:pt x="372" y="199"/>
                  </a:cubicBezTo>
                  <a:cubicBezTo>
                    <a:pt x="372" y="203"/>
                    <a:pt x="368" y="202"/>
                    <a:pt x="367" y="203"/>
                  </a:cubicBezTo>
                  <a:cubicBezTo>
                    <a:pt x="366" y="204"/>
                    <a:pt x="370" y="206"/>
                    <a:pt x="369" y="208"/>
                  </a:cubicBezTo>
                  <a:cubicBezTo>
                    <a:pt x="369" y="211"/>
                    <a:pt x="365" y="207"/>
                    <a:pt x="363" y="207"/>
                  </a:cubicBezTo>
                  <a:cubicBezTo>
                    <a:pt x="361" y="208"/>
                    <a:pt x="359" y="214"/>
                    <a:pt x="361" y="216"/>
                  </a:cubicBezTo>
                  <a:cubicBezTo>
                    <a:pt x="363" y="218"/>
                    <a:pt x="364" y="218"/>
                    <a:pt x="362" y="220"/>
                  </a:cubicBezTo>
                  <a:cubicBezTo>
                    <a:pt x="361" y="222"/>
                    <a:pt x="359" y="226"/>
                    <a:pt x="363" y="229"/>
                  </a:cubicBezTo>
                  <a:cubicBezTo>
                    <a:pt x="367" y="232"/>
                    <a:pt x="375" y="232"/>
                    <a:pt x="379" y="235"/>
                  </a:cubicBezTo>
                  <a:cubicBezTo>
                    <a:pt x="383" y="237"/>
                    <a:pt x="377" y="236"/>
                    <a:pt x="379" y="239"/>
                  </a:cubicBezTo>
                  <a:cubicBezTo>
                    <a:pt x="381" y="242"/>
                    <a:pt x="376" y="243"/>
                    <a:pt x="377" y="245"/>
                  </a:cubicBezTo>
                  <a:cubicBezTo>
                    <a:pt x="377" y="248"/>
                    <a:pt x="378" y="246"/>
                    <a:pt x="380" y="242"/>
                  </a:cubicBezTo>
                  <a:cubicBezTo>
                    <a:pt x="383" y="239"/>
                    <a:pt x="384" y="244"/>
                    <a:pt x="384" y="247"/>
                  </a:cubicBezTo>
                  <a:cubicBezTo>
                    <a:pt x="384" y="250"/>
                    <a:pt x="381" y="248"/>
                    <a:pt x="379" y="252"/>
                  </a:cubicBezTo>
                  <a:cubicBezTo>
                    <a:pt x="376" y="255"/>
                    <a:pt x="374" y="256"/>
                    <a:pt x="371" y="255"/>
                  </a:cubicBezTo>
                  <a:cubicBezTo>
                    <a:pt x="367" y="254"/>
                    <a:pt x="369" y="260"/>
                    <a:pt x="371" y="263"/>
                  </a:cubicBezTo>
                  <a:cubicBezTo>
                    <a:pt x="372" y="266"/>
                    <a:pt x="370" y="267"/>
                    <a:pt x="366" y="266"/>
                  </a:cubicBezTo>
                  <a:cubicBezTo>
                    <a:pt x="362" y="265"/>
                    <a:pt x="360" y="262"/>
                    <a:pt x="362" y="259"/>
                  </a:cubicBezTo>
                  <a:cubicBezTo>
                    <a:pt x="364" y="256"/>
                    <a:pt x="366" y="253"/>
                    <a:pt x="363" y="253"/>
                  </a:cubicBezTo>
                  <a:cubicBezTo>
                    <a:pt x="361" y="253"/>
                    <a:pt x="356" y="253"/>
                    <a:pt x="354" y="250"/>
                  </a:cubicBezTo>
                  <a:cubicBezTo>
                    <a:pt x="352" y="248"/>
                    <a:pt x="355" y="249"/>
                    <a:pt x="360" y="249"/>
                  </a:cubicBezTo>
                  <a:cubicBezTo>
                    <a:pt x="365" y="250"/>
                    <a:pt x="361" y="246"/>
                    <a:pt x="364" y="246"/>
                  </a:cubicBezTo>
                  <a:cubicBezTo>
                    <a:pt x="368" y="246"/>
                    <a:pt x="370" y="248"/>
                    <a:pt x="373" y="245"/>
                  </a:cubicBezTo>
                  <a:cubicBezTo>
                    <a:pt x="376" y="243"/>
                    <a:pt x="371" y="238"/>
                    <a:pt x="369" y="239"/>
                  </a:cubicBezTo>
                  <a:cubicBezTo>
                    <a:pt x="366" y="239"/>
                    <a:pt x="362" y="241"/>
                    <a:pt x="362" y="238"/>
                  </a:cubicBezTo>
                  <a:cubicBezTo>
                    <a:pt x="362" y="236"/>
                    <a:pt x="367" y="237"/>
                    <a:pt x="369" y="237"/>
                  </a:cubicBezTo>
                  <a:cubicBezTo>
                    <a:pt x="371" y="236"/>
                    <a:pt x="368" y="233"/>
                    <a:pt x="364" y="234"/>
                  </a:cubicBezTo>
                  <a:cubicBezTo>
                    <a:pt x="361" y="235"/>
                    <a:pt x="358" y="235"/>
                    <a:pt x="355" y="232"/>
                  </a:cubicBezTo>
                  <a:cubicBezTo>
                    <a:pt x="352" y="229"/>
                    <a:pt x="347" y="227"/>
                    <a:pt x="346" y="234"/>
                  </a:cubicBezTo>
                  <a:cubicBezTo>
                    <a:pt x="345" y="241"/>
                    <a:pt x="340" y="237"/>
                    <a:pt x="338" y="240"/>
                  </a:cubicBezTo>
                  <a:cubicBezTo>
                    <a:pt x="336" y="242"/>
                    <a:pt x="340" y="244"/>
                    <a:pt x="345" y="244"/>
                  </a:cubicBezTo>
                  <a:cubicBezTo>
                    <a:pt x="350" y="244"/>
                    <a:pt x="353" y="248"/>
                    <a:pt x="351" y="248"/>
                  </a:cubicBezTo>
                  <a:cubicBezTo>
                    <a:pt x="349" y="248"/>
                    <a:pt x="350" y="252"/>
                    <a:pt x="347" y="250"/>
                  </a:cubicBezTo>
                  <a:cubicBezTo>
                    <a:pt x="345" y="249"/>
                    <a:pt x="342" y="250"/>
                    <a:pt x="344" y="253"/>
                  </a:cubicBezTo>
                  <a:cubicBezTo>
                    <a:pt x="346" y="255"/>
                    <a:pt x="343" y="256"/>
                    <a:pt x="344" y="258"/>
                  </a:cubicBezTo>
                  <a:cubicBezTo>
                    <a:pt x="344" y="260"/>
                    <a:pt x="340" y="258"/>
                    <a:pt x="336" y="258"/>
                  </a:cubicBezTo>
                  <a:cubicBezTo>
                    <a:pt x="332" y="257"/>
                    <a:pt x="325" y="259"/>
                    <a:pt x="320" y="260"/>
                  </a:cubicBezTo>
                  <a:cubicBezTo>
                    <a:pt x="315" y="261"/>
                    <a:pt x="310" y="259"/>
                    <a:pt x="308" y="257"/>
                  </a:cubicBezTo>
                  <a:cubicBezTo>
                    <a:pt x="306" y="254"/>
                    <a:pt x="303" y="255"/>
                    <a:pt x="299" y="255"/>
                  </a:cubicBezTo>
                  <a:cubicBezTo>
                    <a:pt x="296" y="255"/>
                    <a:pt x="297" y="251"/>
                    <a:pt x="292" y="251"/>
                  </a:cubicBezTo>
                  <a:cubicBezTo>
                    <a:pt x="287" y="251"/>
                    <a:pt x="288" y="247"/>
                    <a:pt x="288" y="245"/>
                  </a:cubicBezTo>
                  <a:cubicBezTo>
                    <a:pt x="287" y="242"/>
                    <a:pt x="278" y="243"/>
                    <a:pt x="275" y="245"/>
                  </a:cubicBezTo>
                  <a:cubicBezTo>
                    <a:pt x="271" y="247"/>
                    <a:pt x="265" y="246"/>
                    <a:pt x="263" y="250"/>
                  </a:cubicBezTo>
                  <a:cubicBezTo>
                    <a:pt x="261" y="254"/>
                    <a:pt x="265" y="254"/>
                    <a:pt x="267" y="254"/>
                  </a:cubicBezTo>
                  <a:cubicBezTo>
                    <a:pt x="269" y="254"/>
                    <a:pt x="269" y="250"/>
                    <a:pt x="274" y="251"/>
                  </a:cubicBezTo>
                  <a:cubicBezTo>
                    <a:pt x="279" y="252"/>
                    <a:pt x="283" y="246"/>
                    <a:pt x="285" y="248"/>
                  </a:cubicBezTo>
                  <a:cubicBezTo>
                    <a:pt x="287" y="250"/>
                    <a:pt x="276" y="254"/>
                    <a:pt x="272" y="255"/>
                  </a:cubicBezTo>
                  <a:cubicBezTo>
                    <a:pt x="267" y="256"/>
                    <a:pt x="268" y="260"/>
                    <a:pt x="272" y="266"/>
                  </a:cubicBezTo>
                  <a:cubicBezTo>
                    <a:pt x="277" y="273"/>
                    <a:pt x="270" y="269"/>
                    <a:pt x="270" y="272"/>
                  </a:cubicBezTo>
                  <a:cubicBezTo>
                    <a:pt x="270" y="275"/>
                    <a:pt x="262" y="271"/>
                    <a:pt x="265" y="270"/>
                  </a:cubicBezTo>
                  <a:cubicBezTo>
                    <a:pt x="269" y="269"/>
                    <a:pt x="267" y="266"/>
                    <a:pt x="265" y="264"/>
                  </a:cubicBezTo>
                  <a:cubicBezTo>
                    <a:pt x="262" y="261"/>
                    <a:pt x="260" y="264"/>
                    <a:pt x="260" y="261"/>
                  </a:cubicBezTo>
                  <a:cubicBezTo>
                    <a:pt x="261" y="259"/>
                    <a:pt x="258" y="261"/>
                    <a:pt x="255" y="259"/>
                  </a:cubicBezTo>
                  <a:cubicBezTo>
                    <a:pt x="253" y="257"/>
                    <a:pt x="251" y="256"/>
                    <a:pt x="248" y="258"/>
                  </a:cubicBezTo>
                  <a:cubicBezTo>
                    <a:pt x="245" y="259"/>
                    <a:pt x="241" y="259"/>
                    <a:pt x="233" y="260"/>
                  </a:cubicBezTo>
                  <a:cubicBezTo>
                    <a:pt x="226" y="261"/>
                    <a:pt x="212" y="261"/>
                    <a:pt x="209" y="259"/>
                  </a:cubicBezTo>
                  <a:cubicBezTo>
                    <a:pt x="207" y="256"/>
                    <a:pt x="216" y="252"/>
                    <a:pt x="219" y="252"/>
                  </a:cubicBezTo>
                  <a:cubicBezTo>
                    <a:pt x="221" y="253"/>
                    <a:pt x="220" y="249"/>
                    <a:pt x="216" y="246"/>
                  </a:cubicBezTo>
                  <a:cubicBezTo>
                    <a:pt x="211" y="243"/>
                    <a:pt x="202" y="241"/>
                    <a:pt x="202" y="243"/>
                  </a:cubicBezTo>
                  <a:cubicBezTo>
                    <a:pt x="203" y="245"/>
                    <a:pt x="197" y="243"/>
                    <a:pt x="191" y="242"/>
                  </a:cubicBezTo>
                  <a:cubicBezTo>
                    <a:pt x="184" y="241"/>
                    <a:pt x="183" y="238"/>
                    <a:pt x="179" y="238"/>
                  </a:cubicBezTo>
                  <a:cubicBezTo>
                    <a:pt x="175" y="238"/>
                    <a:pt x="168" y="237"/>
                    <a:pt x="163" y="233"/>
                  </a:cubicBezTo>
                  <a:cubicBezTo>
                    <a:pt x="158" y="229"/>
                    <a:pt x="146" y="230"/>
                    <a:pt x="145" y="234"/>
                  </a:cubicBezTo>
                  <a:cubicBezTo>
                    <a:pt x="144" y="237"/>
                    <a:pt x="140" y="237"/>
                    <a:pt x="136" y="237"/>
                  </a:cubicBezTo>
                  <a:cubicBezTo>
                    <a:pt x="132" y="237"/>
                    <a:pt x="138" y="233"/>
                    <a:pt x="136" y="232"/>
                  </a:cubicBezTo>
                  <a:cubicBezTo>
                    <a:pt x="134" y="231"/>
                    <a:pt x="136" y="226"/>
                    <a:pt x="133" y="226"/>
                  </a:cubicBezTo>
                  <a:cubicBezTo>
                    <a:pt x="131" y="225"/>
                    <a:pt x="128" y="237"/>
                    <a:pt x="123" y="237"/>
                  </a:cubicBezTo>
                  <a:cubicBezTo>
                    <a:pt x="117" y="237"/>
                    <a:pt x="115" y="224"/>
                    <a:pt x="110" y="221"/>
                  </a:cubicBezTo>
                  <a:cubicBezTo>
                    <a:pt x="106" y="218"/>
                    <a:pt x="102" y="217"/>
                    <a:pt x="106" y="222"/>
                  </a:cubicBezTo>
                  <a:cubicBezTo>
                    <a:pt x="109" y="227"/>
                    <a:pt x="102" y="224"/>
                    <a:pt x="103" y="227"/>
                  </a:cubicBezTo>
                  <a:cubicBezTo>
                    <a:pt x="103" y="230"/>
                    <a:pt x="97" y="234"/>
                    <a:pt x="97" y="232"/>
                  </a:cubicBezTo>
                  <a:cubicBezTo>
                    <a:pt x="97" y="230"/>
                    <a:pt x="93" y="228"/>
                    <a:pt x="89" y="233"/>
                  </a:cubicBezTo>
                  <a:cubicBezTo>
                    <a:pt x="85" y="238"/>
                    <a:pt x="82" y="238"/>
                    <a:pt x="81" y="236"/>
                  </a:cubicBezTo>
                  <a:cubicBezTo>
                    <a:pt x="81" y="234"/>
                    <a:pt x="68" y="241"/>
                    <a:pt x="69" y="243"/>
                  </a:cubicBezTo>
                  <a:cubicBezTo>
                    <a:pt x="69" y="245"/>
                    <a:pt x="67" y="246"/>
                    <a:pt x="64" y="246"/>
                  </a:cubicBezTo>
                  <a:cubicBezTo>
                    <a:pt x="60" y="246"/>
                    <a:pt x="63" y="243"/>
                    <a:pt x="66" y="242"/>
                  </a:cubicBezTo>
                  <a:cubicBezTo>
                    <a:pt x="69" y="240"/>
                    <a:pt x="77" y="234"/>
                    <a:pt x="81" y="233"/>
                  </a:cubicBezTo>
                  <a:cubicBezTo>
                    <a:pt x="85" y="232"/>
                    <a:pt x="94" y="229"/>
                    <a:pt x="94" y="227"/>
                  </a:cubicBezTo>
                  <a:cubicBezTo>
                    <a:pt x="94" y="225"/>
                    <a:pt x="90" y="226"/>
                    <a:pt x="87" y="226"/>
                  </a:cubicBezTo>
                  <a:cubicBezTo>
                    <a:pt x="84" y="225"/>
                    <a:pt x="79" y="229"/>
                    <a:pt x="74" y="231"/>
                  </a:cubicBezTo>
                  <a:cubicBezTo>
                    <a:pt x="69" y="233"/>
                    <a:pt x="64" y="232"/>
                    <a:pt x="65" y="235"/>
                  </a:cubicBezTo>
                  <a:cubicBezTo>
                    <a:pt x="67" y="238"/>
                    <a:pt x="61" y="235"/>
                    <a:pt x="59" y="237"/>
                  </a:cubicBezTo>
                  <a:cubicBezTo>
                    <a:pt x="58" y="239"/>
                    <a:pt x="56" y="236"/>
                    <a:pt x="58" y="235"/>
                  </a:cubicBezTo>
                  <a:cubicBezTo>
                    <a:pt x="59" y="234"/>
                    <a:pt x="53" y="232"/>
                    <a:pt x="53" y="234"/>
                  </a:cubicBezTo>
                  <a:cubicBezTo>
                    <a:pt x="53" y="235"/>
                    <a:pt x="52" y="236"/>
                    <a:pt x="48" y="236"/>
                  </a:cubicBezTo>
                  <a:cubicBezTo>
                    <a:pt x="44" y="236"/>
                    <a:pt x="39" y="239"/>
                    <a:pt x="42" y="242"/>
                  </a:cubicBezTo>
                  <a:cubicBezTo>
                    <a:pt x="45" y="244"/>
                    <a:pt x="47" y="245"/>
                    <a:pt x="46" y="246"/>
                  </a:cubicBezTo>
                  <a:cubicBezTo>
                    <a:pt x="44" y="248"/>
                    <a:pt x="40" y="242"/>
                    <a:pt x="33" y="243"/>
                  </a:cubicBezTo>
                  <a:cubicBezTo>
                    <a:pt x="27" y="244"/>
                    <a:pt x="15" y="236"/>
                    <a:pt x="15" y="234"/>
                  </a:cubicBezTo>
                  <a:cubicBezTo>
                    <a:pt x="15" y="233"/>
                    <a:pt x="6" y="234"/>
                    <a:pt x="0" y="233"/>
                  </a:cubicBezTo>
                  <a:cubicBezTo>
                    <a:pt x="0" y="356"/>
                    <a:pt x="0" y="356"/>
                    <a:pt x="0" y="356"/>
                  </a:cubicBezTo>
                  <a:cubicBezTo>
                    <a:pt x="0" y="356"/>
                    <a:pt x="3" y="359"/>
                    <a:pt x="4" y="357"/>
                  </a:cubicBezTo>
                  <a:cubicBezTo>
                    <a:pt x="5" y="356"/>
                    <a:pt x="7" y="358"/>
                    <a:pt x="11" y="356"/>
                  </a:cubicBezTo>
                  <a:cubicBezTo>
                    <a:pt x="16" y="354"/>
                    <a:pt x="17" y="358"/>
                    <a:pt x="17" y="360"/>
                  </a:cubicBezTo>
                  <a:cubicBezTo>
                    <a:pt x="17" y="362"/>
                    <a:pt x="23" y="365"/>
                    <a:pt x="25" y="368"/>
                  </a:cubicBezTo>
                  <a:cubicBezTo>
                    <a:pt x="27" y="371"/>
                    <a:pt x="29" y="374"/>
                    <a:pt x="31" y="372"/>
                  </a:cubicBezTo>
                  <a:cubicBezTo>
                    <a:pt x="34" y="370"/>
                    <a:pt x="39" y="369"/>
                    <a:pt x="39" y="366"/>
                  </a:cubicBezTo>
                  <a:cubicBezTo>
                    <a:pt x="39" y="363"/>
                    <a:pt x="50" y="363"/>
                    <a:pt x="50" y="367"/>
                  </a:cubicBezTo>
                  <a:cubicBezTo>
                    <a:pt x="50" y="371"/>
                    <a:pt x="61" y="376"/>
                    <a:pt x="67" y="386"/>
                  </a:cubicBezTo>
                  <a:cubicBezTo>
                    <a:pt x="73" y="397"/>
                    <a:pt x="72" y="400"/>
                    <a:pt x="81" y="403"/>
                  </a:cubicBezTo>
                  <a:cubicBezTo>
                    <a:pt x="90" y="407"/>
                    <a:pt x="90" y="409"/>
                    <a:pt x="89" y="412"/>
                  </a:cubicBezTo>
                  <a:cubicBezTo>
                    <a:pt x="88" y="415"/>
                    <a:pt x="94" y="417"/>
                    <a:pt x="90" y="419"/>
                  </a:cubicBezTo>
                  <a:cubicBezTo>
                    <a:pt x="89" y="420"/>
                    <a:pt x="87" y="422"/>
                    <a:pt x="85" y="423"/>
                  </a:cubicBezTo>
                  <a:cubicBezTo>
                    <a:pt x="85" y="425"/>
                    <a:pt x="87" y="426"/>
                    <a:pt x="88" y="427"/>
                  </a:cubicBezTo>
                  <a:cubicBezTo>
                    <a:pt x="90" y="429"/>
                    <a:pt x="84" y="429"/>
                    <a:pt x="86" y="431"/>
                  </a:cubicBezTo>
                  <a:cubicBezTo>
                    <a:pt x="88" y="432"/>
                    <a:pt x="86" y="435"/>
                    <a:pt x="88" y="437"/>
                  </a:cubicBezTo>
                  <a:cubicBezTo>
                    <a:pt x="89" y="439"/>
                    <a:pt x="93" y="438"/>
                    <a:pt x="95" y="436"/>
                  </a:cubicBezTo>
                  <a:cubicBezTo>
                    <a:pt x="97" y="435"/>
                    <a:pt x="98" y="438"/>
                    <a:pt x="96" y="441"/>
                  </a:cubicBezTo>
                  <a:cubicBezTo>
                    <a:pt x="95" y="444"/>
                    <a:pt x="98" y="446"/>
                    <a:pt x="100" y="444"/>
                  </a:cubicBezTo>
                  <a:cubicBezTo>
                    <a:pt x="101" y="442"/>
                    <a:pt x="105" y="447"/>
                    <a:pt x="106" y="448"/>
                  </a:cubicBezTo>
                  <a:cubicBezTo>
                    <a:pt x="108" y="449"/>
                    <a:pt x="110" y="451"/>
                    <a:pt x="107" y="451"/>
                  </a:cubicBezTo>
                  <a:cubicBezTo>
                    <a:pt x="104" y="451"/>
                    <a:pt x="105" y="456"/>
                    <a:pt x="107" y="456"/>
                  </a:cubicBezTo>
                  <a:cubicBezTo>
                    <a:pt x="109" y="456"/>
                    <a:pt x="108" y="459"/>
                    <a:pt x="108" y="460"/>
                  </a:cubicBezTo>
                  <a:cubicBezTo>
                    <a:pt x="108" y="462"/>
                    <a:pt x="115" y="464"/>
                    <a:pt x="117" y="464"/>
                  </a:cubicBezTo>
                  <a:cubicBezTo>
                    <a:pt x="119" y="463"/>
                    <a:pt x="121" y="465"/>
                    <a:pt x="122" y="467"/>
                  </a:cubicBezTo>
                  <a:cubicBezTo>
                    <a:pt x="123" y="469"/>
                    <a:pt x="128" y="470"/>
                    <a:pt x="129" y="469"/>
                  </a:cubicBezTo>
                  <a:cubicBezTo>
                    <a:pt x="131" y="468"/>
                    <a:pt x="132" y="471"/>
                    <a:pt x="132" y="474"/>
                  </a:cubicBezTo>
                  <a:cubicBezTo>
                    <a:pt x="133" y="476"/>
                    <a:pt x="136" y="475"/>
                    <a:pt x="138" y="475"/>
                  </a:cubicBezTo>
                  <a:cubicBezTo>
                    <a:pt x="141" y="475"/>
                    <a:pt x="142" y="478"/>
                    <a:pt x="143" y="477"/>
                  </a:cubicBezTo>
                  <a:cubicBezTo>
                    <a:pt x="146" y="476"/>
                    <a:pt x="147" y="481"/>
                    <a:pt x="149" y="485"/>
                  </a:cubicBezTo>
                  <a:cubicBezTo>
                    <a:pt x="371" y="484"/>
                    <a:pt x="371" y="484"/>
                    <a:pt x="371" y="484"/>
                  </a:cubicBezTo>
                  <a:cubicBezTo>
                    <a:pt x="371" y="484"/>
                    <a:pt x="371" y="478"/>
                    <a:pt x="374" y="480"/>
                  </a:cubicBezTo>
                  <a:cubicBezTo>
                    <a:pt x="376" y="482"/>
                    <a:pt x="374" y="485"/>
                    <a:pt x="377" y="486"/>
                  </a:cubicBezTo>
                  <a:cubicBezTo>
                    <a:pt x="380" y="487"/>
                    <a:pt x="382" y="489"/>
                    <a:pt x="384" y="488"/>
                  </a:cubicBezTo>
                  <a:cubicBezTo>
                    <a:pt x="386" y="488"/>
                    <a:pt x="389" y="485"/>
                    <a:pt x="391" y="489"/>
                  </a:cubicBezTo>
                  <a:cubicBezTo>
                    <a:pt x="394" y="492"/>
                    <a:pt x="396" y="489"/>
                    <a:pt x="398" y="491"/>
                  </a:cubicBezTo>
                  <a:cubicBezTo>
                    <a:pt x="400" y="493"/>
                    <a:pt x="403" y="495"/>
                    <a:pt x="405" y="493"/>
                  </a:cubicBezTo>
                  <a:cubicBezTo>
                    <a:pt x="407" y="490"/>
                    <a:pt x="413" y="493"/>
                    <a:pt x="417" y="494"/>
                  </a:cubicBezTo>
                  <a:cubicBezTo>
                    <a:pt x="420" y="491"/>
                    <a:pt x="424" y="484"/>
                    <a:pt x="427" y="484"/>
                  </a:cubicBezTo>
                  <a:cubicBezTo>
                    <a:pt x="432" y="484"/>
                    <a:pt x="443" y="485"/>
                    <a:pt x="444" y="491"/>
                  </a:cubicBezTo>
                  <a:cubicBezTo>
                    <a:pt x="445" y="498"/>
                    <a:pt x="452" y="492"/>
                    <a:pt x="453" y="498"/>
                  </a:cubicBezTo>
                  <a:cubicBezTo>
                    <a:pt x="453" y="502"/>
                    <a:pt x="458" y="506"/>
                    <a:pt x="457" y="509"/>
                  </a:cubicBezTo>
                  <a:cubicBezTo>
                    <a:pt x="459" y="510"/>
                    <a:pt x="460" y="511"/>
                    <a:pt x="462" y="512"/>
                  </a:cubicBezTo>
                  <a:cubicBezTo>
                    <a:pt x="464" y="511"/>
                    <a:pt x="470" y="512"/>
                    <a:pt x="474" y="514"/>
                  </a:cubicBezTo>
                  <a:cubicBezTo>
                    <a:pt x="479" y="515"/>
                    <a:pt x="487" y="511"/>
                    <a:pt x="489" y="517"/>
                  </a:cubicBezTo>
                  <a:cubicBezTo>
                    <a:pt x="492" y="524"/>
                    <a:pt x="497" y="528"/>
                    <a:pt x="492" y="529"/>
                  </a:cubicBezTo>
                  <a:cubicBezTo>
                    <a:pt x="487" y="529"/>
                    <a:pt x="481" y="522"/>
                    <a:pt x="482" y="526"/>
                  </a:cubicBezTo>
                  <a:cubicBezTo>
                    <a:pt x="482" y="530"/>
                    <a:pt x="479" y="528"/>
                    <a:pt x="479" y="533"/>
                  </a:cubicBezTo>
                  <a:cubicBezTo>
                    <a:pt x="479" y="539"/>
                    <a:pt x="476" y="546"/>
                    <a:pt x="473" y="546"/>
                  </a:cubicBezTo>
                  <a:cubicBezTo>
                    <a:pt x="473" y="546"/>
                    <a:pt x="473" y="546"/>
                    <a:pt x="473" y="546"/>
                  </a:cubicBezTo>
                  <a:cubicBezTo>
                    <a:pt x="473" y="548"/>
                    <a:pt x="473" y="550"/>
                    <a:pt x="474" y="552"/>
                  </a:cubicBezTo>
                  <a:cubicBezTo>
                    <a:pt x="477" y="550"/>
                    <a:pt x="481" y="547"/>
                    <a:pt x="484" y="547"/>
                  </a:cubicBezTo>
                  <a:cubicBezTo>
                    <a:pt x="490" y="547"/>
                    <a:pt x="491" y="550"/>
                    <a:pt x="495" y="548"/>
                  </a:cubicBezTo>
                  <a:cubicBezTo>
                    <a:pt x="498" y="545"/>
                    <a:pt x="499" y="544"/>
                    <a:pt x="500" y="546"/>
                  </a:cubicBezTo>
                  <a:cubicBezTo>
                    <a:pt x="500" y="546"/>
                    <a:pt x="500" y="547"/>
                    <a:pt x="500" y="547"/>
                  </a:cubicBezTo>
                  <a:cubicBezTo>
                    <a:pt x="501" y="546"/>
                    <a:pt x="502" y="545"/>
                    <a:pt x="502" y="545"/>
                  </a:cubicBezTo>
                  <a:cubicBezTo>
                    <a:pt x="502" y="544"/>
                    <a:pt x="502" y="543"/>
                    <a:pt x="502" y="542"/>
                  </a:cubicBezTo>
                  <a:cubicBezTo>
                    <a:pt x="498" y="542"/>
                    <a:pt x="497" y="542"/>
                    <a:pt x="496" y="540"/>
                  </a:cubicBezTo>
                  <a:cubicBezTo>
                    <a:pt x="494" y="536"/>
                    <a:pt x="507" y="533"/>
                    <a:pt x="512" y="534"/>
                  </a:cubicBezTo>
                  <a:cubicBezTo>
                    <a:pt x="518" y="534"/>
                    <a:pt x="521" y="530"/>
                    <a:pt x="523" y="533"/>
                  </a:cubicBezTo>
                  <a:cubicBezTo>
                    <a:pt x="527" y="530"/>
                    <a:pt x="533" y="525"/>
                    <a:pt x="534" y="525"/>
                  </a:cubicBezTo>
                  <a:cubicBezTo>
                    <a:pt x="536" y="525"/>
                    <a:pt x="562" y="524"/>
                    <a:pt x="562" y="524"/>
                  </a:cubicBezTo>
                  <a:cubicBezTo>
                    <a:pt x="562" y="524"/>
                    <a:pt x="571" y="519"/>
                    <a:pt x="572" y="514"/>
                  </a:cubicBezTo>
                  <a:cubicBezTo>
                    <a:pt x="573" y="509"/>
                    <a:pt x="579" y="497"/>
                    <a:pt x="582" y="500"/>
                  </a:cubicBezTo>
                  <a:cubicBezTo>
                    <a:pt x="585" y="502"/>
                    <a:pt x="592" y="500"/>
                    <a:pt x="593" y="503"/>
                  </a:cubicBezTo>
                  <a:cubicBezTo>
                    <a:pt x="593" y="505"/>
                    <a:pt x="590" y="513"/>
                    <a:pt x="599" y="525"/>
                  </a:cubicBezTo>
                  <a:cubicBezTo>
                    <a:pt x="603" y="523"/>
                    <a:pt x="606" y="521"/>
                    <a:pt x="608" y="522"/>
                  </a:cubicBezTo>
                  <a:cubicBezTo>
                    <a:pt x="611" y="522"/>
                    <a:pt x="616" y="517"/>
                    <a:pt x="617" y="515"/>
                  </a:cubicBezTo>
                  <a:cubicBezTo>
                    <a:pt x="619" y="512"/>
                    <a:pt x="621" y="517"/>
                    <a:pt x="618" y="518"/>
                  </a:cubicBezTo>
                  <a:cubicBezTo>
                    <a:pt x="615" y="519"/>
                    <a:pt x="620" y="521"/>
                    <a:pt x="625" y="521"/>
                  </a:cubicBezTo>
                  <a:cubicBezTo>
                    <a:pt x="630" y="521"/>
                    <a:pt x="623" y="523"/>
                    <a:pt x="619" y="523"/>
                  </a:cubicBezTo>
                  <a:cubicBezTo>
                    <a:pt x="615" y="522"/>
                    <a:pt x="614" y="523"/>
                    <a:pt x="609" y="528"/>
                  </a:cubicBezTo>
                  <a:cubicBezTo>
                    <a:pt x="604" y="533"/>
                    <a:pt x="605" y="534"/>
                    <a:pt x="608" y="537"/>
                  </a:cubicBezTo>
                  <a:cubicBezTo>
                    <a:pt x="611" y="539"/>
                    <a:pt x="614" y="538"/>
                    <a:pt x="618" y="535"/>
                  </a:cubicBezTo>
                  <a:cubicBezTo>
                    <a:pt x="622" y="532"/>
                    <a:pt x="622" y="528"/>
                    <a:pt x="626" y="528"/>
                  </a:cubicBezTo>
                  <a:cubicBezTo>
                    <a:pt x="630" y="529"/>
                    <a:pt x="640" y="525"/>
                    <a:pt x="645" y="523"/>
                  </a:cubicBezTo>
                  <a:cubicBezTo>
                    <a:pt x="649" y="522"/>
                    <a:pt x="646" y="521"/>
                    <a:pt x="646" y="519"/>
                  </a:cubicBezTo>
                  <a:cubicBezTo>
                    <a:pt x="646" y="517"/>
                    <a:pt x="654" y="517"/>
                    <a:pt x="657" y="515"/>
                  </a:cubicBezTo>
                  <a:cubicBezTo>
                    <a:pt x="660" y="513"/>
                    <a:pt x="656" y="512"/>
                    <a:pt x="654" y="512"/>
                  </a:cubicBezTo>
                  <a:close/>
                  <a:moveTo>
                    <a:pt x="190" y="281"/>
                  </a:moveTo>
                  <a:cubicBezTo>
                    <a:pt x="185" y="287"/>
                    <a:pt x="183" y="288"/>
                    <a:pt x="179" y="287"/>
                  </a:cubicBezTo>
                  <a:cubicBezTo>
                    <a:pt x="174" y="286"/>
                    <a:pt x="171" y="288"/>
                    <a:pt x="173" y="290"/>
                  </a:cubicBezTo>
                  <a:cubicBezTo>
                    <a:pt x="176" y="292"/>
                    <a:pt x="176" y="293"/>
                    <a:pt x="171" y="294"/>
                  </a:cubicBezTo>
                  <a:cubicBezTo>
                    <a:pt x="166" y="295"/>
                    <a:pt x="163" y="299"/>
                    <a:pt x="161" y="299"/>
                  </a:cubicBezTo>
                  <a:cubicBezTo>
                    <a:pt x="159" y="298"/>
                    <a:pt x="169" y="291"/>
                    <a:pt x="166" y="289"/>
                  </a:cubicBezTo>
                  <a:cubicBezTo>
                    <a:pt x="164" y="287"/>
                    <a:pt x="157" y="292"/>
                    <a:pt x="157" y="295"/>
                  </a:cubicBezTo>
                  <a:cubicBezTo>
                    <a:pt x="157" y="297"/>
                    <a:pt x="152" y="297"/>
                    <a:pt x="150" y="297"/>
                  </a:cubicBezTo>
                  <a:cubicBezTo>
                    <a:pt x="147" y="297"/>
                    <a:pt x="143" y="294"/>
                    <a:pt x="146" y="294"/>
                  </a:cubicBezTo>
                  <a:cubicBezTo>
                    <a:pt x="149" y="294"/>
                    <a:pt x="147" y="291"/>
                    <a:pt x="151" y="289"/>
                  </a:cubicBezTo>
                  <a:cubicBezTo>
                    <a:pt x="154" y="288"/>
                    <a:pt x="150" y="286"/>
                    <a:pt x="151" y="284"/>
                  </a:cubicBezTo>
                  <a:cubicBezTo>
                    <a:pt x="152" y="283"/>
                    <a:pt x="160" y="286"/>
                    <a:pt x="160" y="283"/>
                  </a:cubicBezTo>
                  <a:cubicBezTo>
                    <a:pt x="160" y="280"/>
                    <a:pt x="152" y="278"/>
                    <a:pt x="150" y="280"/>
                  </a:cubicBezTo>
                  <a:cubicBezTo>
                    <a:pt x="147" y="281"/>
                    <a:pt x="141" y="285"/>
                    <a:pt x="134" y="282"/>
                  </a:cubicBezTo>
                  <a:cubicBezTo>
                    <a:pt x="132" y="281"/>
                    <a:pt x="152" y="279"/>
                    <a:pt x="156" y="276"/>
                  </a:cubicBezTo>
                  <a:cubicBezTo>
                    <a:pt x="159" y="273"/>
                    <a:pt x="174" y="269"/>
                    <a:pt x="175" y="272"/>
                  </a:cubicBezTo>
                  <a:cubicBezTo>
                    <a:pt x="177" y="275"/>
                    <a:pt x="167" y="277"/>
                    <a:pt x="172" y="279"/>
                  </a:cubicBezTo>
                  <a:cubicBezTo>
                    <a:pt x="176" y="282"/>
                    <a:pt x="184" y="280"/>
                    <a:pt x="185" y="277"/>
                  </a:cubicBezTo>
                  <a:cubicBezTo>
                    <a:pt x="187" y="275"/>
                    <a:pt x="194" y="275"/>
                    <a:pt x="190" y="281"/>
                  </a:cubicBezTo>
                  <a:close/>
                  <a:moveTo>
                    <a:pt x="235" y="338"/>
                  </a:moveTo>
                  <a:cubicBezTo>
                    <a:pt x="229" y="343"/>
                    <a:pt x="230" y="342"/>
                    <a:pt x="225" y="343"/>
                  </a:cubicBezTo>
                  <a:cubicBezTo>
                    <a:pt x="220" y="343"/>
                    <a:pt x="224" y="348"/>
                    <a:pt x="218" y="349"/>
                  </a:cubicBezTo>
                  <a:cubicBezTo>
                    <a:pt x="212" y="349"/>
                    <a:pt x="198" y="350"/>
                    <a:pt x="196" y="346"/>
                  </a:cubicBezTo>
                  <a:cubicBezTo>
                    <a:pt x="196" y="345"/>
                    <a:pt x="204" y="346"/>
                    <a:pt x="204" y="344"/>
                  </a:cubicBezTo>
                  <a:cubicBezTo>
                    <a:pt x="205" y="341"/>
                    <a:pt x="207" y="338"/>
                    <a:pt x="211" y="338"/>
                  </a:cubicBezTo>
                  <a:cubicBezTo>
                    <a:pt x="214" y="338"/>
                    <a:pt x="214" y="333"/>
                    <a:pt x="208" y="330"/>
                  </a:cubicBezTo>
                  <a:cubicBezTo>
                    <a:pt x="202" y="327"/>
                    <a:pt x="217" y="325"/>
                    <a:pt x="220" y="330"/>
                  </a:cubicBezTo>
                  <a:cubicBezTo>
                    <a:pt x="223" y="334"/>
                    <a:pt x="229" y="338"/>
                    <a:pt x="232" y="334"/>
                  </a:cubicBezTo>
                  <a:cubicBezTo>
                    <a:pt x="235" y="331"/>
                    <a:pt x="254" y="322"/>
                    <a:pt x="254" y="326"/>
                  </a:cubicBezTo>
                  <a:cubicBezTo>
                    <a:pt x="254" y="331"/>
                    <a:pt x="240" y="333"/>
                    <a:pt x="235" y="338"/>
                  </a:cubicBezTo>
                  <a:close/>
                  <a:moveTo>
                    <a:pt x="359" y="468"/>
                  </a:moveTo>
                  <a:cubicBezTo>
                    <a:pt x="355" y="468"/>
                    <a:pt x="359" y="458"/>
                    <a:pt x="352" y="454"/>
                  </a:cubicBezTo>
                  <a:cubicBezTo>
                    <a:pt x="344" y="449"/>
                    <a:pt x="340" y="440"/>
                    <a:pt x="340" y="436"/>
                  </a:cubicBezTo>
                  <a:cubicBezTo>
                    <a:pt x="340" y="431"/>
                    <a:pt x="347" y="429"/>
                    <a:pt x="350" y="433"/>
                  </a:cubicBezTo>
                  <a:cubicBezTo>
                    <a:pt x="353" y="436"/>
                    <a:pt x="357" y="451"/>
                    <a:pt x="360" y="455"/>
                  </a:cubicBezTo>
                  <a:cubicBezTo>
                    <a:pt x="362" y="460"/>
                    <a:pt x="362" y="468"/>
                    <a:pt x="359" y="468"/>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88" name="Freeform 131">
              <a:extLst>
                <a:ext uri="{FF2B5EF4-FFF2-40B4-BE49-F238E27FC236}">
                  <a16:creationId xmlns:a16="http://schemas.microsoft.com/office/drawing/2014/main" xmlns="" id="{D4768DDE-9343-45DA-B4B7-0AD5D945CE18}"/>
                </a:ext>
              </a:extLst>
            </p:cNvPr>
            <p:cNvSpPr>
              <a:spLocks noEditPoints="1"/>
            </p:cNvSpPr>
            <p:nvPr/>
          </p:nvSpPr>
          <p:spPr bwMode="auto">
            <a:xfrm>
              <a:off x="12790709" y="2135854"/>
              <a:ext cx="2127250" cy="1454150"/>
            </a:xfrm>
            <a:custGeom>
              <a:avLst/>
              <a:gdLst>
                <a:gd name="T0" fmla="*/ 249 w 817"/>
                <a:gd name="T1" fmla="*/ 164 h 556"/>
                <a:gd name="T2" fmla="*/ 218 w 817"/>
                <a:gd name="T3" fmla="*/ 25 h 556"/>
                <a:gd name="T4" fmla="*/ 132 w 817"/>
                <a:gd name="T5" fmla="*/ 15 h 556"/>
                <a:gd name="T6" fmla="*/ 96 w 817"/>
                <a:gd name="T7" fmla="*/ 8 h 556"/>
                <a:gd name="T8" fmla="*/ 66 w 817"/>
                <a:gd name="T9" fmla="*/ 15 h 556"/>
                <a:gd name="T10" fmla="*/ 13 w 817"/>
                <a:gd name="T11" fmla="*/ 42 h 556"/>
                <a:gd name="T12" fmla="*/ 50 w 817"/>
                <a:gd name="T13" fmla="*/ 74 h 556"/>
                <a:gd name="T14" fmla="*/ 12 w 817"/>
                <a:gd name="T15" fmla="*/ 76 h 556"/>
                <a:gd name="T16" fmla="*/ 42 w 817"/>
                <a:gd name="T17" fmla="*/ 97 h 556"/>
                <a:gd name="T18" fmla="*/ 30 w 817"/>
                <a:gd name="T19" fmla="*/ 113 h 556"/>
                <a:gd name="T20" fmla="*/ 32 w 817"/>
                <a:gd name="T21" fmla="*/ 156 h 556"/>
                <a:gd name="T22" fmla="*/ 68 w 817"/>
                <a:gd name="T23" fmla="*/ 168 h 556"/>
                <a:gd name="T24" fmla="*/ 72 w 817"/>
                <a:gd name="T25" fmla="*/ 192 h 556"/>
                <a:gd name="T26" fmla="*/ 60 w 817"/>
                <a:gd name="T27" fmla="*/ 205 h 556"/>
                <a:gd name="T28" fmla="*/ 104 w 817"/>
                <a:gd name="T29" fmla="*/ 178 h 556"/>
                <a:gd name="T30" fmla="*/ 123 w 817"/>
                <a:gd name="T31" fmla="*/ 152 h 556"/>
                <a:gd name="T32" fmla="*/ 136 w 817"/>
                <a:gd name="T33" fmla="*/ 143 h 556"/>
                <a:gd name="T34" fmla="*/ 161 w 817"/>
                <a:gd name="T35" fmla="*/ 154 h 556"/>
                <a:gd name="T36" fmla="*/ 177 w 817"/>
                <a:gd name="T37" fmla="*/ 144 h 556"/>
                <a:gd name="T38" fmla="*/ 196 w 817"/>
                <a:gd name="T39" fmla="*/ 152 h 556"/>
                <a:gd name="T40" fmla="*/ 242 w 817"/>
                <a:gd name="T41" fmla="*/ 166 h 556"/>
                <a:gd name="T42" fmla="*/ 267 w 817"/>
                <a:gd name="T43" fmla="*/ 177 h 556"/>
                <a:gd name="T44" fmla="*/ 268 w 817"/>
                <a:gd name="T45" fmla="*/ 187 h 556"/>
                <a:gd name="T46" fmla="*/ 277 w 817"/>
                <a:gd name="T47" fmla="*/ 188 h 556"/>
                <a:gd name="T48" fmla="*/ 285 w 817"/>
                <a:gd name="T49" fmla="*/ 196 h 556"/>
                <a:gd name="T50" fmla="*/ 282 w 817"/>
                <a:gd name="T51" fmla="*/ 214 h 556"/>
                <a:gd name="T52" fmla="*/ 300 w 817"/>
                <a:gd name="T53" fmla="*/ 214 h 556"/>
                <a:gd name="T54" fmla="*/ 10 w 817"/>
                <a:gd name="T55" fmla="*/ 223 h 556"/>
                <a:gd name="T56" fmla="*/ 127 w 817"/>
                <a:gd name="T57" fmla="*/ 171 h 556"/>
                <a:gd name="T58" fmla="*/ 126 w 817"/>
                <a:gd name="T59" fmla="*/ 183 h 556"/>
                <a:gd name="T60" fmla="*/ 17 w 817"/>
                <a:gd name="T61" fmla="*/ 156 h 556"/>
                <a:gd name="T62" fmla="*/ 100 w 817"/>
                <a:gd name="T63" fmla="*/ 544 h 556"/>
                <a:gd name="T64" fmla="*/ 66 w 817"/>
                <a:gd name="T65" fmla="*/ 528 h 556"/>
                <a:gd name="T66" fmla="*/ 790 w 817"/>
                <a:gd name="T67" fmla="*/ 306 h 556"/>
                <a:gd name="T68" fmla="*/ 720 w 817"/>
                <a:gd name="T69" fmla="*/ 334 h 556"/>
                <a:gd name="T70" fmla="*/ 692 w 817"/>
                <a:gd name="T71" fmla="*/ 344 h 556"/>
                <a:gd name="T72" fmla="*/ 662 w 817"/>
                <a:gd name="T73" fmla="*/ 319 h 556"/>
                <a:gd name="T74" fmla="*/ 679 w 817"/>
                <a:gd name="T75" fmla="*/ 305 h 556"/>
                <a:gd name="T76" fmla="*/ 646 w 817"/>
                <a:gd name="T77" fmla="*/ 297 h 556"/>
                <a:gd name="T78" fmla="*/ 623 w 817"/>
                <a:gd name="T79" fmla="*/ 285 h 556"/>
                <a:gd name="T80" fmla="*/ 589 w 817"/>
                <a:gd name="T81" fmla="*/ 276 h 556"/>
                <a:gd name="T82" fmla="*/ 365 w 817"/>
                <a:gd name="T83" fmla="*/ 285 h 556"/>
                <a:gd name="T84" fmla="*/ 359 w 817"/>
                <a:gd name="T85" fmla="*/ 304 h 556"/>
                <a:gd name="T86" fmla="*/ 360 w 817"/>
                <a:gd name="T87" fmla="*/ 377 h 556"/>
                <a:gd name="T88" fmla="*/ 387 w 817"/>
                <a:gd name="T89" fmla="*/ 417 h 556"/>
                <a:gd name="T90" fmla="*/ 440 w 817"/>
                <a:gd name="T91" fmla="*/ 439 h 556"/>
                <a:gd name="T92" fmla="*/ 513 w 817"/>
                <a:gd name="T93" fmla="*/ 457 h 556"/>
                <a:gd name="T94" fmla="*/ 556 w 817"/>
                <a:gd name="T95" fmla="*/ 484 h 556"/>
                <a:gd name="T96" fmla="*/ 578 w 817"/>
                <a:gd name="T97" fmla="*/ 471 h 556"/>
                <a:gd name="T98" fmla="*/ 608 w 817"/>
                <a:gd name="T99" fmla="*/ 459 h 556"/>
                <a:gd name="T100" fmla="*/ 635 w 817"/>
                <a:gd name="T101" fmla="*/ 462 h 556"/>
                <a:gd name="T102" fmla="*/ 668 w 817"/>
                <a:gd name="T103" fmla="*/ 459 h 556"/>
                <a:gd name="T104" fmla="*/ 696 w 817"/>
                <a:gd name="T105" fmla="*/ 492 h 556"/>
                <a:gd name="T106" fmla="*/ 699 w 817"/>
                <a:gd name="T107" fmla="*/ 451 h 556"/>
                <a:gd name="T108" fmla="*/ 737 w 817"/>
                <a:gd name="T109" fmla="*/ 411 h 556"/>
                <a:gd name="T110" fmla="*/ 741 w 817"/>
                <a:gd name="T111" fmla="*/ 391 h 556"/>
                <a:gd name="T112" fmla="*/ 744 w 817"/>
                <a:gd name="T113" fmla="*/ 388 h 556"/>
                <a:gd name="T114" fmla="*/ 764 w 817"/>
                <a:gd name="T115" fmla="*/ 360 h 556"/>
                <a:gd name="T116" fmla="*/ 785 w 817"/>
                <a:gd name="T117" fmla="*/ 343 h 556"/>
                <a:gd name="T118" fmla="*/ 817 w 817"/>
                <a:gd name="T119" fmla="*/ 317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17" h="556">
                  <a:moveTo>
                    <a:pt x="307" y="204"/>
                  </a:moveTo>
                  <a:cubicBezTo>
                    <a:pt x="308" y="201"/>
                    <a:pt x="308" y="199"/>
                    <a:pt x="299" y="195"/>
                  </a:cubicBezTo>
                  <a:cubicBezTo>
                    <a:pt x="290" y="192"/>
                    <a:pt x="291" y="189"/>
                    <a:pt x="285" y="178"/>
                  </a:cubicBezTo>
                  <a:cubicBezTo>
                    <a:pt x="279" y="168"/>
                    <a:pt x="268" y="163"/>
                    <a:pt x="268" y="159"/>
                  </a:cubicBezTo>
                  <a:cubicBezTo>
                    <a:pt x="268" y="155"/>
                    <a:pt x="257" y="155"/>
                    <a:pt x="257" y="158"/>
                  </a:cubicBezTo>
                  <a:cubicBezTo>
                    <a:pt x="257" y="161"/>
                    <a:pt x="252" y="162"/>
                    <a:pt x="249" y="164"/>
                  </a:cubicBezTo>
                  <a:cubicBezTo>
                    <a:pt x="247" y="166"/>
                    <a:pt x="245" y="163"/>
                    <a:pt x="243" y="160"/>
                  </a:cubicBezTo>
                  <a:cubicBezTo>
                    <a:pt x="241" y="157"/>
                    <a:pt x="235" y="154"/>
                    <a:pt x="235" y="152"/>
                  </a:cubicBezTo>
                  <a:cubicBezTo>
                    <a:pt x="235" y="150"/>
                    <a:pt x="234" y="146"/>
                    <a:pt x="229" y="148"/>
                  </a:cubicBezTo>
                  <a:cubicBezTo>
                    <a:pt x="225" y="150"/>
                    <a:pt x="223" y="148"/>
                    <a:pt x="222" y="149"/>
                  </a:cubicBezTo>
                  <a:cubicBezTo>
                    <a:pt x="221" y="151"/>
                    <a:pt x="218" y="148"/>
                    <a:pt x="218" y="148"/>
                  </a:cubicBezTo>
                  <a:cubicBezTo>
                    <a:pt x="218" y="25"/>
                    <a:pt x="218" y="25"/>
                    <a:pt x="218" y="25"/>
                  </a:cubicBezTo>
                  <a:cubicBezTo>
                    <a:pt x="216" y="25"/>
                    <a:pt x="215" y="25"/>
                    <a:pt x="214" y="24"/>
                  </a:cubicBezTo>
                  <a:cubicBezTo>
                    <a:pt x="209" y="22"/>
                    <a:pt x="201" y="19"/>
                    <a:pt x="197" y="20"/>
                  </a:cubicBezTo>
                  <a:cubicBezTo>
                    <a:pt x="193" y="21"/>
                    <a:pt x="185" y="22"/>
                    <a:pt x="182" y="20"/>
                  </a:cubicBezTo>
                  <a:cubicBezTo>
                    <a:pt x="179" y="19"/>
                    <a:pt x="175" y="18"/>
                    <a:pt x="169" y="18"/>
                  </a:cubicBezTo>
                  <a:cubicBezTo>
                    <a:pt x="163" y="19"/>
                    <a:pt x="160" y="15"/>
                    <a:pt x="152" y="13"/>
                  </a:cubicBezTo>
                  <a:cubicBezTo>
                    <a:pt x="145" y="12"/>
                    <a:pt x="134" y="14"/>
                    <a:pt x="132" y="15"/>
                  </a:cubicBezTo>
                  <a:cubicBezTo>
                    <a:pt x="129" y="16"/>
                    <a:pt x="130" y="12"/>
                    <a:pt x="127" y="13"/>
                  </a:cubicBezTo>
                  <a:cubicBezTo>
                    <a:pt x="123" y="13"/>
                    <a:pt x="126" y="11"/>
                    <a:pt x="124" y="8"/>
                  </a:cubicBezTo>
                  <a:cubicBezTo>
                    <a:pt x="122" y="6"/>
                    <a:pt x="113" y="8"/>
                    <a:pt x="110" y="9"/>
                  </a:cubicBezTo>
                  <a:cubicBezTo>
                    <a:pt x="107" y="9"/>
                    <a:pt x="106" y="7"/>
                    <a:pt x="106" y="5"/>
                  </a:cubicBezTo>
                  <a:cubicBezTo>
                    <a:pt x="106" y="4"/>
                    <a:pt x="103" y="4"/>
                    <a:pt x="102" y="6"/>
                  </a:cubicBezTo>
                  <a:cubicBezTo>
                    <a:pt x="101" y="9"/>
                    <a:pt x="97" y="9"/>
                    <a:pt x="96" y="8"/>
                  </a:cubicBezTo>
                  <a:cubicBezTo>
                    <a:pt x="94" y="6"/>
                    <a:pt x="99" y="6"/>
                    <a:pt x="99" y="4"/>
                  </a:cubicBezTo>
                  <a:cubicBezTo>
                    <a:pt x="99" y="2"/>
                    <a:pt x="94" y="1"/>
                    <a:pt x="93" y="1"/>
                  </a:cubicBezTo>
                  <a:cubicBezTo>
                    <a:pt x="91" y="0"/>
                    <a:pt x="88" y="3"/>
                    <a:pt x="84" y="6"/>
                  </a:cubicBezTo>
                  <a:cubicBezTo>
                    <a:pt x="81" y="9"/>
                    <a:pt x="75" y="9"/>
                    <a:pt x="72" y="9"/>
                  </a:cubicBezTo>
                  <a:cubicBezTo>
                    <a:pt x="68" y="8"/>
                    <a:pt x="64" y="9"/>
                    <a:pt x="64" y="11"/>
                  </a:cubicBezTo>
                  <a:cubicBezTo>
                    <a:pt x="64" y="13"/>
                    <a:pt x="68" y="13"/>
                    <a:pt x="66" y="15"/>
                  </a:cubicBezTo>
                  <a:cubicBezTo>
                    <a:pt x="63" y="18"/>
                    <a:pt x="63" y="12"/>
                    <a:pt x="60" y="15"/>
                  </a:cubicBezTo>
                  <a:cubicBezTo>
                    <a:pt x="58" y="17"/>
                    <a:pt x="50" y="17"/>
                    <a:pt x="48" y="17"/>
                  </a:cubicBezTo>
                  <a:cubicBezTo>
                    <a:pt x="47" y="16"/>
                    <a:pt x="41" y="23"/>
                    <a:pt x="39" y="25"/>
                  </a:cubicBezTo>
                  <a:cubicBezTo>
                    <a:pt x="37" y="26"/>
                    <a:pt x="40" y="28"/>
                    <a:pt x="35" y="33"/>
                  </a:cubicBezTo>
                  <a:cubicBezTo>
                    <a:pt x="31" y="38"/>
                    <a:pt x="18" y="37"/>
                    <a:pt x="15" y="37"/>
                  </a:cubicBezTo>
                  <a:cubicBezTo>
                    <a:pt x="12" y="37"/>
                    <a:pt x="14" y="40"/>
                    <a:pt x="13" y="42"/>
                  </a:cubicBezTo>
                  <a:cubicBezTo>
                    <a:pt x="12" y="44"/>
                    <a:pt x="15" y="46"/>
                    <a:pt x="22" y="48"/>
                  </a:cubicBezTo>
                  <a:cubicBezTo>
                    <a:pt x="29" y="50"/>
                    <a:pt x="34" y="60"/>
                    <a:pt x="35" y="62"/>
                  </a:cubicBezTo>
                  <a:cubicBezTo>
                    <a:pt x="36" y="64"/>
                    <a:pt x="45" y="62"/>
                    <a:pt x="49" y="62"/>
                  </a:cubicBezTo>
                  <a:cubicBezTo>
                    <a:pt x="52" y="63"/>
                    <a:pt x="48" y="68"/>
                    <a:pt x="51" y="69"/>
                  </a:cubicBezTo>
                  <a:cubicBezTo>
                    <a:pt x="54" y="71"/>
                    <a:pt x="59" y="69"/>
                    <a:pt x="60" y="71"/>
                  </a:cubicBezTo>
                  <a:cubicBezTo>
                    <a:pt x="61" y="74"/>
                    <a:pt x="54" y="71"/>
                    <a:pt x="50" y="74"/>
                  </a:cubicBezTo>
                  <a:cubicBezTo>
                    <a:pt x="47" y="76"/>
                    <a:pt x="45" y="78"/>
                    <a:pt x="43" y="76"/>
                  </a:cubicBezTo>
                  <a:cubicBezTo>
                    <a:pt x="42" y="74"/>
                    <a:pt x="36" y="75"/>
                    <a:pt x="33" y="75"/>
                  </a:cubicBezTo>
                  <a:cubicBezTo>
                    <a:pt x="30" y="76"/>
                    <a:pt x="33" y="72"/>
                    <a:pt x="33" y="70"/>
                  </a:cubicBezTo>
                  <a:cubicBezTo>
                    <a:pt x="33" y="68"/>
                    <a:pt x="29" y="67"/>
                    <a:pt x="23" y="70"/>
                  </a:cubicBezTo>
                  <a:cubicBezTo>
                    <a:pt x="17" y="74"/>
                    <a:pt x="19" y="72"/>
                    <a:pt x="19" y="75"/>
                  </a:cubicBezTo>
                  <a:cubicBezTo>
                    <a:pt x="18" y="78"/>
                    <a:pt x="15" y="73"/>
                    <a:pt x="12" y="76"/>
                  </a:cubicBezTo>
                  <a:cubicBezTo>
                    <a:pt x="8" y="78"/>
                    <a:pt x="2" y="80"/>
                    <a:pt x="1" y="82"/>
                  </a:cubicBezTo>
                  <a:cubicBezTo>
                    <a:pt x="0" y="84"/>
                    <a:pt x="9" y="86"/>
                    <a:pt x="12" y="87"/>
                  </a:cubicBezTo>
                  <a:cubicBezTo>
                    <a:pt x="16" y="87"/>
                    <a:pt x="8" y="90"/>
                    <a:pt x="11" y="90"/>
                  </a:cubicBezTo>
                  <a:cubicBezTo>
                    <a:pt x="14" y="91"/>
                    <a:pt x="13" y="94"/>
                    <a:pt x="17" y="96"/>
                  </a:cubicBezTo>
                  <a:cubicBezTo>
                    <a:pt x="22" y="99"/>
                    <a:pt x="32" y="96"/>
                    <a:pt x="34" y="96"/>
                  </a:cubicBezTo>
                  <a:cubicBezTo>
                    <a:pt x="37" y="96"/>
                    <a:pt x="39" y="100"/>
                    <a:pt x="42" y="97"/>
                  </a:cubicBezTo>
                  <a:cubicBezTo>
                    <a:pt x="44" y="95"/>
                    <a:pt x="52" y="89"/>
                    <a:pt x="56" y="92"/>
                  </a:cubicBezTo>
                  <a:cubicBezTo>
                    <a:pt x="60" y="96"/>
                    <a:pt x="51" y="95"/>
                    <a:pt x="53" y="98"/>
                  </a:cubicBezTo>
                  <a:cubicBezTo>
                    <a:pt x="56" y="100"/>
                    <a:pt x="58" y="106"/>
                    <a:pt x="54" y="108"/>
                  </a:cubicBezTo>
                  <a:cubicBezTo>
                    <a:pt x="50" y="111"/>
                    <a:pt x="47" y="109"/>
                    <a:pt x="45" y="109"/>
                  </a:cubicBezTo>
                  <a:cubicBezTo>
                    <a:pt x="42" y="109"/>
                    <a:pt x="44" y="113"/>
                    <a:pt x="40" y="116"/>
                  </a:cubicBezTo>
                  <a:cubicBezTo>
                    <a:pt x="37" y="118"/>
                    <a:pt x="34" y="113"/>
                    <a:pt x="30" y="113"/>
                  </a:cubicBezTo>
                  <a:cubicBezTo>
                    <a:pt x="26" y="113"/>
                    <a:pt x="27" y="118"/>
                    <a:pt x="27" y="121"/>
                  </a:cubicBezTo>
                  <a:cubicBezTo>
                    <a:pt x="27" y="124"/>
                    <a:pt x="20" y="121"/>
                    <a:pt x="19" y="127"/>
                  </a:cubicBezTo>
                  <a:cubicBezTo>
                    <a:pt x="17" y="133"/>
                    <a:pt x="10" y="128"/>
                    <a:pt x="15" y="134"/>
                  </a:cubicBezTo>
                  <a:cubicBezTo>
                    <a:pt x="19" y="140"/>
                    <a:pt x="19" y="136"/>
                    <a:pt x="22" y="139"/>
                  </a:cubicBezTo>
                  <a:cubicBezTo>
                    <a:pt x="26" y="141"/>
                    <a:pt x="18" y="146"/>
                    <a:pt x="22" y="147"/>
                  </a:cubicBezTo>
                  <a:cubicBezTo>
                    <a:pt x="25" y="147"/>
                    <a:pt x="29" y="154"/>
                    <a:pt x="32" y="156"/>
                  </a:cubicBezTo>
                  <a:cubicBezTo>
                    <a:pt x="34" y="158"/>
                    <a:pt x="38" y="155"/>
                    <a:pt x="41" y="155"/>
                  </a:cubicBezTo>
                  <a:cubicBezTo>
                    <a:pt x="45" y="154"/>
                    <a:pt x="43" y="149"/>
                    <a:pt x="45" y="151"/>
                  </a:cubicBezTo>
                  <a:cubicBezTo>
                    <a:pt x="48" y="153"/>
                    <a:pt x="51" y="159"/>
                    <a:pt x="49" y="160"/>
                  </a:cubicBezTo>
                  <a:cubicBezTo>
                    <a:pt x="47" y="162"/>
                    <a:pt x="48" y="166"/>
                    <a:pt x="48" y="168"/>
                  </a:cubicBezTo>
                  <a:cubicBezTo>
                    <a:pt x="48" y="171"/>
                    <a:pt x="56" y="170"/>
                    <a:pt x="57" y="167"/>
                  </a:cubicBezTo>
                  <a:cubicBezTo>
                    <a:pt x="57" y="165"/>
                    <a:pt x="64" y="164"/>
                    <a:pt x="68" y="168"/>
                  </a:cubicBezTo>
                  <a:cubicBezTo>
                    <a:pt x="71" y="172"/>
                    <a:pt x="73" y="173"/>
                    <a:pt x="73" y="170"/>
                  </a:cubicBezTo>
                  <a:cubicBezTo>
                    <a:pt x="73" y="167"/>
                    <a:pt x="76" y="163"/>
                    <a:pt x="76" y="166"/>
                  </a:cubicBezTo>
                  <a:cubicBezTo>
                    <a:pt x="76" y="168"/>
                    <a:pt x="79" y="169"/>
                    <a:pt x="85" y="167"/>
                  </a:cubicBezTo>
                  <a:cubicBezTo>
                    <a:pt x="90" y="164"/>
                    <a:pt x="88" y="167"/>
                    <a:pt x="85" y="170"/>
                  </a:cubicBezTo>
                  <a:cubicBezTo>
                    <a:pt x="81" y="175"/>
                    <a:pt x="85" y="182"/>
                    <a:pt x="82" y="183"/>
                  </a:cubicBezTo>
                  <a:cubicBezTo>
                    <a:pt x="79" y="184"/>
                    <a:pt x="77" y="191"/>
                    <a:pt x="72" y="192"/>
                  </a:cubicBezTo>
                  <a:cubicBezTo>
                    <a:pt x="68" y="192"/>
                    <a:pt x="60" y="201"/>
                    <a:pt x="59" y="202"/>
                  </a:cubicBezTo>
                  <a:cubicBezTo>
                    <a:pt x="58" y="204"/>
                    <a:pt x="48" y="200"/>
                    <a:pt x="46" y="204"/>
                  </a:cubicBezTo>
                  <a:cubicBezTo>
                    <a:pt x="45" y="208"/>
                    <a:pt x="39" y="211"/>
                    <a:pt x="40" y="212"/>
                  </a:cubicBezTo>
                  <a:cubicBezTo>
                    <a:pt x="42" y="214"/>
                    <a:pt x="50" y="209"/>
                    <a:pt x="50" y="207"/>
                  </a:cubicBezTo>
                  <a:cubicBezTo>
                    <a:pt x="50" y="205"/>
                    <a:pt x="51" y="206"/>
                    <a:pt x="53" y="207"/>
                  </a:cubicBezTo>
                  <a:cubicBezTo>
                    <a:pt x="54" y="209"/>
                    <a:pt x="58" y="206"/>
                    <a:pt x="60" y="205"/>
                  </a:cubicBezTo>
                  <a:cubicBezTo>
                    <a:pt x="61" y="204"/>
                    <a:pt x="64" y="204"/>
                    <a:pt x="65" y="204"/>
                  </a:cubicBezTo>
                  <a:cubicBezTo>
                    <a:pt x="67" y="204"/>
                    <a:pt x="68" y="202"/>
                    <a:pt x="73" y="201"/>
                  </a:cubicBezTo>
                  <a:cubicBezTo>
                    <a:pt x="77" y="201"/>
                    <a:pt x="76" y="199"/>
                    <a:pt x="77" y="197"/>
                  </a:cubicBezTo>
                  <a:cubicBezTo>
                    <a:pt x="78" y="194"/>
                    <a:pt x="90" y="189"/>
                    <a:pt x="92" y="188"/>
                  </a:cubicBezTo>
                  <a:cubicBezTo>
                    <a:pt x="94" y="188"/>
                    <a:pt x="93" y="184"/>
                    <a:pt x="95" y="184"/>
                  </a:cubicBezTo>
                  <a:cubicBezTo>
                    <a:pt x="98" y="184"/>
                    <a:pt x="101" y="181"/>
                    <a:pt x="104" y="178"/>
                  </a:cubicBezTo>
                  <a:cubicBezTo>
                    <a:pt x="107" y="176"/>
                    <a:pt x="108" y="177"/>
                    <a:pt x="110" y="176"/>
                  </a:cubicBezTo>
                  <a:cubicBezTo>
                    <a:pt x="112" y="175"/>
                    <a:pt x="111" y="171"/>
                    <a:pt x="113" y="170"/>
                  </a:cubicBezTo>
                  <a:cubicBezTo>
                    <a:pt x="115" y="170"/>
                    <a:pt x="117" y="168"/>
                    <a:pt x="117" y="166"/>
                  </a:cubicBezTo>
                  <a:cubicBezTo>
                    <a:pt x="117" y="164"/>
                    <a:pt x="111" y="164"/>
                    <a:pt x="111" y="163"/>
                  </a:cubicBezTo>
                  <a:cubicBezTo>
                    <a:pt x="110" y="162"/>
                    <a:pt x="115" y="157"/>
                    <a:pt x="117" y="157"/>
                  </a:cubicBezTo>
                  <a:cubicBezTo>
                    <a:pt x="119" y="157"/>
                    <a:pt x="122" y="155"/>
                    <a:pt x="123" y="152"/>
                  </a:cubicBezTo>
                  <a:cubicBezTo>
                    <a:pt x="123" y="149"/>
                    <a:pt x="126" y="149"/>
                    <a:pt x="128" y="146"/>
                  </a:cubicBezTo>
                  <a:cubicBezTo>
                    <a:pt x="130" y="144"/>
                    <a:pt x="130" y="142"/>
                    <a:pt x="132" y="142"/>
                  </a:cubicBezTo>
                  <a:cubicBezTo>
                    <a:pt x="134" y="141"/>
                    <a:pt x="137" y="138"/>
                    <a:pt x="139" y="137"/>
                  </a:cubicBezTo>
                  <a:cubicBezTo>
                    <a:pt x="142" y="135"/>
                    <a:pt x="139" y="139"/>
                    <a:pt x="144" y="139"/>
                  </a:cubicBezTo>
                  <a:cubicBezTo>
                    <a:pt x="149" y="139"/>
                    <a:pt x="148" y="143"/>
                    <a:pt x="144" y="142"/>
                  </a:cubicBezTo>
                  <a:cubicBezTo>
                    <a:pt x="140" y="140"/>
                    <a:pt x="139" y="140"/>
                    <a:pt x="136" y="143"/>
                  </a:cubicBezTo>
                  <a:cubicBezTo>
                    <a:pt x="132" y="146"/>
                    <a:pt x="135" y="147"/>
                    <a:pt x="132" y="151"/>
                  </a:cubicBezTo>
                  <a:cubicBezTo>
                    <a:pt x="130" y="154"/>
                    <a:pt x="130" y="156"/>
                    <a:pt x="133" y="157"/>
                  </a:cubicBezTo>
                  <a:cubicBezTo>
                    <a:pt x="136" y="157"/>
                    <a:pt x="133" y="159"/>
                    <a:pt x="130" y="160"/>
                  </a:cubicBezTo>
                  <a:cubicBezTo>
                    <a:pt x="127" y="161"/>
                    <a:pt x="129" y="163"/>
                    <a:pt x="133" y="163"/>
                  </a:cubicBezTo>
                  <a:cubicBezTo>
                    <a:pt x="137" y="163"/>
                    <a:pt x="144" y="157"/>
                    <a:pt x="149" y="154"/>
                  </a:cubicBezTo>
                  <a:cubicBezTo>
                    <a:pt x="155" y="151"/>
                    <a:pt x="159" y="154"/>
                    <a:pt x="161" y="154"/>
                  </a:cubicBezTo>
                  <a:cubicBezTo>
                    <a:pt x="162" y="153"/>
                    <a:pt x="159" y="150"/>
                    <a:pt x="161" y="149"/>
                  </a:cubicBezTo>
                  <a:cubicBezTo>
                    <a:pt x="163" y="149"/>
                    <a:pt x="159" y="148"/>
                    <a:pt x="157" y="145"/>
                  </a:cubicBezTo>
                  <a:cubicBezTo>
                    <a:pt x="156" y="141"/>
                    <a:pt x="159" y="143"/>
                    <a:pt x="160" y="141"/>
                  </a:cubicBezTo>
                  <a:cubicBezTo>
                    <a:pt x="161" y="138"/>
                    <a:pt x="163" y="139"/>
                    <a:pt x="165" y="140"/>
                  </a:cubicBezTo>
                  <a:cubicBezTo>
                    <a:pt x="166" y="142"/>
                    <a:pt x="169" y="139"/>
                    <a:pt x="170" y="143"/>
                  </a:cubicBezTo>
                  <a:cubicBezTo>
                    <a:pt x="172" y="146"/>
                    <a:pt x="174" y="142"/>
                    <a:pt x="177" y="144"/>
                  </a:cubicBezTo>
                  <a:cubicBezTo>
                    <a:pt x="180" y="146"/>
                    <a:pt x="176" y="146"/>
                    <a:pt x="173" y="147"/>
                  </a:cubicBezTo>
                  <a:cubicBezTo>
                    <a:pt x="170" y="147"/>
                    <a:pt x="172" y="151"/>
                    <a:pt x="174" y="149"/>
                  </a:cubicBezTo>
                  <a:cubicBezTo>
                    <a:pt x="176" y="148"/>
                    <a:pt x="178" y="146"/>
                    <a:pt x="180" y="148"/>
                  </a:cubicBezTo>
                  <a:cubicBezTo>
                    <a:pt x="183" y="150"/>
                    <a:pt x="183" y="149"/>
                    <a:pt x="185" y="148"/>
                  </a:cubicBezTo>
                  <a:cubicBezTo>
                    <a:pt x="187" y="146"/>
                    <a:pt x="187" y="148"/>
                    <a:pt x="187" y="149"/>
                  </a:cubicBezTo>
                  <a:cubicBezTo>
                    <a:pt x="187" y="151"/>
                    <a:pt x="191" y="151"/>
                    <a:pt x="196" y="152"/>
                  </a:cubicBezTo>
                  <a:cubicBezTo>
                    <a:pt x="201" y="153"/>
                    <a:pt x="211" y="152"/>
                    <a:pt x="214" y="151"/>
                  </a:cubicBezTo>
                  <a:cubicBezTo>
                    <a:pt x="216" y="151"/>
                    <a:pt x="215" y="155"/>
                    <a:pt x="221" y="156"/>
                  </a:cubicBezTo>
                  <a:cubicBezTo>
                    <a:pt x="226" y="157"/>
                    <a:pt x="228" y="151"/>
                    <a:pt x="231" y="153"/>
                  </a:cubicBezTo>
                  <a:cubicBezTo>
                    <a:pt x="233" y="155"/>
                    <a:pt x="231" y="156"/>
                    <a:pt x="229" y="158"/>
                  </a:cubicBezTo>
                  <a:cubicBezTo>
                    <a:pt x="227" y="160"/>
                    <a:pt x="231" y="160"/>
                    <a:pt x="233" y="161"/>
                  </a:cubicBezTo>
                  <a:cubicBezTo>
                    <a:pt x="235" y="162"/>
                    <a:pt x="240" y="163"/>
                    <a:pt x="242" y="166"/>
                  </a:cubicBezTo>
                  <a:cubicBezTo>
                    <a:pt x="245" y="168"/>
                    <a:pt x="246" y="170"/>
                    <a:pt x="252" y="173"/>
                  </a:cubicBezTo>
                  <a:cubicBezTo>
                    <a:pt x="257" y="176"/>
                    <a:pt x="252" y="166"/>
                    <a:pt x="256" y="169"/>
                  </a:cubicBezTo>
                  <a:cubicBezTo>
                    <a:pt x="261" y="173"/>
                    <a:pt x="259" y="169"/>
                    <a:pt x="263" y="173"/>
                  </a:cubicBezTo>
                  <a:cubicBezTo>
                    <a:pt x="266" y="176"/>
                    <a:pt x="265" y="171"/>
                    <a:pt x="264" y="166"/>
                  </a:cubicBezTo>
                  <a:cubicBezTo>
                    <a:pt x="262" y="161"/>
                    <a:pt x="265" y="164"/>
                    <a:pt x="267" y="167"/>
                  </a:cubicBezTo>
                  <a:cubicBezTo>
                    <a:pt x="268" y="169"/>
                    <a:pt x="268" y="174"/>
                    <a:pt x="267" y="177"/>
                  </a:cubicBezTo>
                  <a:cubicBezTo>
                    <a:pt x="266" y="180"/>
                    <a:pt x="261" y="178"/>
                    <a:pt x="261" y="176"/>
                  </a:cubicBezTo>
                  <a:cubicBezTo>
                    <a:pt x="262" y="174"/>
                    <a:pt x="256" y="175"/>
                    <a:pt x="256" y="177"/>
                  </a:cubicBezTo>
                  <a:cubicBezTo>
                    <a:pt x="256" y="180"/>
                    <a:pt x="260" y="185"/>
                    <a:pt x="262" y="185"/>
                  </a:cubicBezTo>
                  <a:cubicBezTo>
                    <a:pt x="265" y="186"/>
                    <a:pt x="263" y="190"/>
                    <a:pt x="265" y="191"/>
                  </a:cubicBezTo>
                  <a:cubicBezTo>
                    <a:pt x="267" y="191"/>
                    <a:pt x="267" y="196"/>
                    <a:pt x="269" y="195"/>
                  </a:cubicBezTo>
                  <a:cubicBezTo>
                    <a:pt x="270" y="195"/>
                    <a:pt x="270" y="189"/>
                    <a:pt x="268" y="187"/>
                  </a:cubicBezTo>
                  <a:cubicBezTo>
                    <a:pt x="266" y="184"/>
                    <a:pt x="267" y="181"/>
                    <a:pt x="269" y="181"/>
                  </a:cubicBezTo>
                  <a:cubicBezTo>
                    <a:pt x="271" y="182"/>
                    <a:pt x="269" y="186"/>
                    <a:pt x="270" y="187"/>
                  </a:cubicBezTo>
                  <a:cubicBezTo>
                    <a:pt x="271" y="188"/>
                    <a:pt x="273" y="186"/>
                    <a:pt x="275" y="184"/>
                  </a:cubicBezTo>
                  <a:cubicBezTo>
                    <a:pt x="278" y="183"/>
                    <a:pt x="274" y="179"/>
                    <a:pt x="275" y="177"/>
                  </a:cubicBezTo>
                  <a:cubicBezTo>
                    <a:pt x="276" y="174"/>
                    <a:pt x="279" y="178"/>
                    <a:pt x="280" y="182"/>
                  </a:cubicBezTo>
                  <a:cubicBezTo>
                    <a:pt x="281" y="186"/>
                    <a:pt x="277" y="186"/>
                    <a:pt x="277" y="188"/>
                  </a:cubicBezTo>
                  <a:cubicBezTo>
                    <a:pt x="277" y="190"/>
                    <a:pt x="274" y="189"/>
                    <a:pt x="273" y="190"/>
                  </a:cubicBezTo>
                  <a:cubicBezTo>
                    <a:pt x="272" y="191"/>
                    <a:pt x="272" y="198"/>
                    <a:pt x="274" y="198"/>
                  </a:cubicBezTo>
                  <a:cubicBezTo>
                    <a:pt x="275" y="198"/>
                    <a:pt x="276" y="192"/>
                    <a:pt x="277" y="195"/>
                  </a:cubicBezTo>
                  <a:cubicBezTo>
                    <a:pt x="278" y="198"/>
                    <a:pt x="281" y="191"/>
                    <a:pt x="282" y="194"/>
                  </a:cubicBezTo>
                  <a:cubicBezTo>
                    <a:pt x="283" y="197"/>
                    <a:pt x="287" y="200"/>
                    <a:pt x="289" y="200"/>
                  </a:cubicBezTo>
                  <a:cubicBezTo>
                    <a:pt x="290" y="199"/>
                    <a:pt x="288" y="196"/>
                    <a:pt x="285" y="196"/>
                  </a:cubicBezTo>
                  <a:cubicBezTo>
                    <a:pt x="283" y="196"/>
                    <a:pt x="283" y="191"/>
                    <a:pt x="286" y="191"/>
                  </a:cubicBezTo>
                  <a:cubicBezTo>
                    <a:pt x="288" y="191"/>
                    <a:pt x="292" y="197"/>
                    <a:pt x="292" y="199"/>
                  </a:cubicBezTo>
                  <a:cubicBezTo>
                    <a:pt x="292" y="201"/>
                    <a:pt x="290" y="201"/>
                    <a:pt x="288" y="203"/>
                  </a:cubicBezTo>
                  <a:cubicBezTo>
                    <a:pt x="286" y="206"/>
                    <a:pt x="283" y="200"/>
                    <a:pt x="281" y="200"/>
                  </a:cubicBezTo>
                  <a:cubicBezTo>
                    <a:pt x="279" y="200"/>
                    <a:pt x="281" y="204"/>
                    <a:pt x="282" y="206"/>
                  </a:cubicBezTo>
                  <a:cubicBezTo>
                    <a:pt x="283" y="209"/>
                    <a:pt x="279" y="212"/>
                    <a:pt x="282" y="214"/>
                  </a:cubicBezTo>
                  <a:cubicBezTo>
                    <a:pt x="285" y="216"/>
                    <a:pt x="284" y="213"/>
                    <a:pt x="285" y="211"/>
                  </a:cubicBezTo>
                  <a:cubicBezTo>
                    <a:pt x="285" y="210"/>
                    <a:pt x="288" y="212"/>
                    <a:pt x="289" y="213"/>
                  </a:cubicBezTo>
                  <a:cubicBezTo>
                    <a:pt x="291" y="214"/>
                    <a:pt x="291" y="210"/>
                    <a:pt x="291" y="209"/>
                  </a:cubicBezTo>
                  <a:cubicBezTo>
                    <a:pt x="291" y="207"/>
                    <a:pt x="294" y="208"/>
                    <a:pt x="295" y="210"/>
                  </a:cubicBezTo>
                  <a:cubicBezTo>
                    <a:pt x="297" y="212"/>
                    <a:pt x="297" y="208"/>
                    <a:pt x="299" y="208"/>
                  </a:cubicBezTo>
                  <a:cubicBezTo>
                    <a:pt x="301" y="208"/>
                    <a:pt x="300" y="212"/>
                    <a:pt x="300" y="214"/>
                  </a:cubicBezTo>
                  <a:cubicBezTo>
                    <a:pt x="300" y="216"/>
                    <a:pt x="303" y="212"/>
                    <a:pt x="303" y="214"/>
                  </a:cubicBezTo>
                  <a:cubicBezTo>
                    <a:pt x="303" y="215"/>
                    <a:pt x="303" y="215"/>
                    <a:pt x="303" y="215"/>
                  </a:cubicBezTo>
                  <a:cubicBezTo>
                    <a:pt x="305" y="214"/>
                    <a:pt x="307" y="212"/>
                    <a:pt x="308" y="211"/>
                  </a:cubicBezTo>
                  <a:cubicBezTo>
                    <a:pt x="312" y="209"/>
                    <a:pt x="306" y="207"/>
                    <a:pt x="307" y="204"/>
                  </a:cubicBezTo>
                  <a:close/>
                  <a:moveTo>
                    <a:pt x="6" y="229"/>
                  </a:moveTo>
                  <a:cubicBezTo>
                    <a:pt x="10" y="227"/>
                    <a:pt x="12" y="225"/>
                    <a:pt x="10" y="223"/>
                  </a:cubicBezTo>
                  <a:cubicBezTo>
                    <a:pt x="8" y="221"/>
                    <a:pt x="3" y="231"/>
                    <a:pt x="6" y="229"/>
                  </a:cubicBezTo>
                  <a:close/>
                  <a:moveTo>
                    <a:pt x="36" y="213"/>
                  </a:moveTo>
                  <a:cubicBezTo>
                    <a:pt x="32" y="212"/>
                    <a:pt x="22" y="218"/>
                    <a:pt x="25" y="219"/>
                  </a:cubicBezTo>
                  <a:cubicBezTo>
                    <a:pt x="28" y="219"/>
                    <a:pt x="29" y="216"/>
                    <a:pt x="32" y="216"/>
                  </a:cubicBezTo>
                  <a:cubicBezTo>
                    <a:pt x="35" y="216"/>
                    <a:pt x="40" y="215"/>
                    <a:pt x="36" y="213"/>
                  </a:cubicBezTo>
                  <a:close/>
                  <a:moveTo>
                    <a:pt x="127" y="171"/>
                  </a:moveTo>
                  <a:cubicBezTo>
                    <a:pt x="127" y="169"/>
                    <a:pt x="124" y="169"/>
                    <a:pt x="120" y="174"/>
                  </a:cubicBezTo>
                  <a:cubicBezTo>
                    <a:pt x="117" y="178"/>
                    <a:pt x="114" y="180"/>
                    <a:pt x="113" y="182"/>
                  </a:cubicBezTo>
                  <a:cubicBezTo>
                    <a:pt x="113" y="184"/>
                    <a:pt x="109" y="181"/>
                    <a:pt x="107" y="184"/>
                  </a:cubicBezTo>
                  <a:cubicBezTo>
                    <a:pt x="106" y="186"/>
                    <a:pt x="108" y="192"/>
                    <a:pt x="111" y="190"/>
                  </a:cubicBezTo>
                  <a:cubicBezTo>
                    <a:pt x="113" y="188"/>
                    <a:pt x="113" y="190"/>
                    <a:pt x="115" y="190"/>
                  </a:cubicBezTo>
                  <a:cubicBezTo>
                    <a:pt x="117" y="190"/>
                    <a:pt x="124" y="185"/>
                    <a:pt x="126" y="183"/>
                  </a:cubicBezTo>
                  <a:cubicBezTo>
                    <a:pt x="127" y="180"/>
                    <a:pt x="123" y="179"/>
                    <a:pt x="122" y="178"/>
                  </a:cubicBezTo>
                  <a:cubicBezTo>
                    <a:pt x="122" y="176"/>
                    <a:pt x="126" y="176"/>
                    <a:pt x="128" y="175"/>
                  </a:cubicBezTo>
                  <a:cubicBezTo>
                    <a:pt x="130" y="174"/>
                    <a:pt x="126" y="173"/>
                    <a:pt x="127" y="171"/>
                  </a:cubicBezTo>
                  <a:close/>
                  <a:moveTo>
                    <a:pt x="13" y="150"/>
                  </a:moveTo>
                  <a:cubicBezTo>
                    <a:pt x="13" y="147"/>
                    <a:pt x="5" y="150"/>
                    <a:pt x="6" y="153"/>
                  </a:cubicBezTo>
                  <a:cubicBezTo>
                    <a:pt x="7" y="155"/>
                    <a:pt x="14" y="157"/>
                    <a:pt x="17" y="156"/>
                  </a:cubicBezTo>
                  <a:cubicBezTo>
                    <a:pt x="20" y="155"/>
                    <a:pt x="21" y="152"/>
                    <a:pt x="19" y="151"/>
                  </a:cubicBezTo>
                  <a:cubicBezTo>
                    <a:pt x="17" y="149"/>
                    <a:pt x="13" y="153"/>
                    <a:pt x="13" y="150"/>
                  </a:cubicBezTo>
                  <a:close/>
                  <a:moveTo>
                    <a:pt x="100" y="544"/>
                  </a:moveTo>
                  <a:cubicBezTo>
                    <a:pt x="95" y="545"/>
                    <a:pt x="98" y="556"/>
                    <a:pt x="100" y="554"/>
                  </a:cubicBezTo>
                  <a:cubicBezTo>
                    <a:pt x="102" y="553"/>
                    <a:pt x="105" y="552"/>
                    <a:pt x="106" y="551"/>
                  </a:cubicBezTo>
                  <a:cubicBezTo>
                    <a:pt x="107" y="548"/>
                    <a:pt x="104" y="543"/>
                    <a:pt x="100" y="544"/>
                  </a:cubicBezTo>
                  <a:close/>
                  <a:moveTo>
                    <a:pt x="94" y="537"/>
                  </a:moveTo>
                  <a:cubicBezTo>
                    <a:pt x="91" y="538"/>
                    <a:pt x="93" y="542"/>
                    <a:pt x="95" y="541"/>
                  </a:cubicBezTo>
                  <a:cubicBezTo>
                    <a:pt x="98" y="539"/>
                    <a:pt x="97" y="537"/>
                    <a:pt x="94" y="537"/>
                  </a:cubicBezTo>
                  <a:close/>
                  <a:moveTo>
                    <a:pt x="66" y="528"/>
                  </a:moveTo>
                  <a:cubicBezTo>
                    <a:pt x="69" y="531"/>
                    <a:pt x="70" y="530"/>
                    <a:pt x="71" y="528"/>
                  </a:cubicBezTo>
                  <a:cubicBezTo>
                    <a:pt x="72" y="526"/>
                    <a:pt x="64" y="525"/>
                    <a:pt x="66" y="528"/>
                  </a:cubicBezTo>
                  <a:close/>
                  <a:moveTo>
                    <a:pt x="79" y="534"/>
                  </a:moveTo>
                  <a:cubicBezTo>
                    <a:pt x="80" y="536"/>
                    <a:pt x="82" y="537"/>
                    <a:pt x="84" y="534"/>
                  </a:cubicBezTo>
                  <a:cubicBezTo>
                    <a:pt x="85" y="532"/>
                    <a:pt x="77" y="530"/>
                    <a:pt x="79" y="534"/>
                  </a:cubicBezTo>
                  <a:close/>
                  <a:moveTo>
                    <a:pt x="811" y="295"/>
                  </a:moveTo>
                  <a:cubicBezTo>
                    <a:pt x="810" y="292"/>
                    <a:pt x="803" y="294"/>
                    <a:pt x="800" y="292"/>
                  </a:cubicBezTo>
                  <a:cubicBezTo>
                    <a:pt x="797" y="289"/>
                    <a:pt x="791" y="301"/>
                    <a:pt x="790" y="306"/>
                  </a:cubicBezTo>
                  <a:cubicBezTo>
                    <a:pt x="789" y="311"/>
                    <a:pt x="780" y="316"/>
                    <a:pt x="780" y="316"/>
                  </a:cubicBezTo>
                  <a:cubicBezTo>
                    <a:pt x="780" y="316"/>
                    <a:pt x="754" y="317"/>
                    <a:pt x="752" y="317"/>
                  </a:cubicBezTo>
                  <a:cubicBezTo>
                    <a:pt x="751" y="317"/>
                    <a:pt x="745" y="322"/>
                    <a:pt x="741" y="325"/>
                  </a:cubicBezTo>
                  <a:cubicBezTo>
                    <a:pt x="741" y="325"/>
                    <a:pt x="742" y="325"/>
                    <a:pt x="742" y="325"/>
                  </a:cubicBezTo>
                  <a:cubicBezTo>
                    <a:pt x="744" y="330"/>
                    <a:pt x="735" y="333"/>
                    <a:pt x="726" y="333"/>
                  </a:cubicBezTo>
                  <a:cubicBezTo>
                    <a:pt x="723" y="333"/>
                    <a:pt x="721" y="333"/>
                    <a:pt x="720" y="334"/>
                  </a:cubicBezTo>
                  <a:cubicBezTo>
                    <a:pt x="720" y="335"/>
                    <a:pt x="720" y="336"/>
                    <a:pt x="720" y="337"/>
                  </a:cubicBezTo>
                  <a:cubicBezTo>
                    <a:pt x="720" y="337"/>
                    <a:pt x="719" y="338"/>
                    <a:pt x="718" y="339"/>
                  </a:cubicBezTo>
                  <a:cubicBezTo>
                    <a:pt x="716" y="342"/>
                    <a:pt x="705" y="347"/>
                    <a:pt x="699" y="350"/>
                  </a:cubicBezTo>
                  <a:cubicBezTo>
                    <a:pt x="692" y="354"/>
                    <a:pt x="683" y="352"/>
                    <a:pt x="683" y="347"/>
                  </a:cubicBezTo>
                  <a:cubicBezTo>
                    <a:pt x="683" y="341"/>
                    <a:pt x="688" y="342"/>
                    <a:pt x="689" y="345"/>
                  </a:cubicBezTo>
                  <a:cubicBezTo>
                    <a:pt x="690" y="346"/>
                    <a:pt x="691" y="345"/>
                    <a:pt x="692" y="344"/>
                  </a:cubicBezTo>
                  <a:cubicBezTo>
                    <a:pt x="691" y="342"/>
                    <a:pt x="691" y="340"/>
                    <a:pt x="691" y="338"/>
                  </a:cubicBezTo>
                  <a:cubicBezTo>
                    <a:pt x="689" y="337"/>
                    <a:pt x="692" y="329"/>
                    <a:pt x="688" y="327"/>
                  </a:cubicBezTo>
                  <a:cubicBezTo>
                    <a:pt x="684" y="326"/>
                    <a:pt x="679" y="333"/>
                    <a:pt x="680" y="329"/>
                  </a:cubicBezTo>
                  <a:cubicBezTo>
                    <a:pt x="680" y="324"/>
                    <a:pt x="687" y="320"/>
                    <a:pt x="683" y="314"/>
                  </a:cubicBezTo>
                  <a:cubicBezTo>
                    <a:pt x="679" y="308"/>
                    <a:pt x="672" y="308"/>
                    <a:pt x="670" y="313"/>
                  </a:cubicBezTo>
                  <a:cubicBezTo>
                    <a:pt x="669" y="317"/>
                    <a:pt x="664" y="315"/>
                    <a:pt x="662" y="319"/>
                  </a:cubicBezTo>
                  <a:cubicBezTo>
                    <a:pt x="660" y="322"/>
                    <a:pt x="659" y="330"/>
                    <a:pt x="660" y="336"/>
                  </a:cubicBezTo>
                  <a:cubicBezTo>
                    <a:pt x="661" y="342"/>
                    <a:pt x="660" y="344"/>
                    <a:pt x="654" y="348"/>
                  </a:cubicBezTo>
                  <a:cubicBezTo>
                    <a:pt x="649" y="351"/>
                    <a:pt x="646" y="343"/>
                    <a:pt x="648" y="332"/>
                  </a:cubicBezTo>
                  <a:cubicBezTo>
                    <a:pt x="650" y="325"/>
                    <a:pt x="654" y="318"/>
                    <a:pt x="650" y="318"/>
                  </a:cubicBezTo>
                  <a:cubicBezTo>
                    <a:pt x="646" y="318"/>
                    <a:pt x="655" y="310"/>
                    <a:pt x="662" y="308"/>
                  </a:cubicBezTo>
                  <a:cubicBezTo>
                    <a:pt x="670" y="306"/>
                    <a:pt x="679" y="307"/>
                    <a:pt x="679" y="305"/>
                  </a:cubicBezTo>
                  <a:cubicBezTo>
                    <a:pt x="679" y="304"/>
                    <a:pt x="679" y="304"/>
                    <a:pt x="680" y="304"/>
                  </a:cubicBezTo>
                  <a:cubicBezTo>
                    <a:pt x="678" y="303"/>
                    <a:pt x="677" y="302"/>
                    <a:pt x="675" y="301"/>
                  </a:cubicBezTo>
                  <a:cubicBezTo>
                    <a:pt x="675" y="301"/>
                    <a:pt x="675" y="302"/>
                    <a:pt x="674" y="302"/>
                  </a:cubicBezTo>
                  <a:cubicBezTo>
                    <a:pt x="671" y="304"/>
                    <a:pt x="672" y="299"/>
                    <a:pt x="667" y="299"/>
                  </a:cubicBezTo>
                  <a:cubicBezTo>
                    <a:pt x="661" y="299"/>
                    <a:pt x="656" y="304"/>
                    <a:pt x="652" y="302"/>
                  </a:cubicBezTo>
                  <a:cubicBezTo>
                    <a:pt x="648" y="299"/>
                    <a:pt x="650" y="297"/>
                    <a:pt x="646" y="297"/>
                  </a:cubicBezTo>
                  <a:cubicBezTo>
                    <a:pt x="642" y="297"/>
                    <a:pt x="649" y="289"/>
                    <a:pt x="643" y="292"/>
                  </a:cubicBezTo>
                  <a:cubicBezTo>
                    <a:pt x="637" y="296"/>
                    <a:pt x="629" y="303"/>
                    <a:pt x="625" y="300"/>
                  </a:cubicBezTo>
                  <a:cubicBezTo>
                    <a:pt x="621" y="296"/>
                    <a:pt x="617" y="301"/>
                    <a:pt x="614" y="298"/>
                  </a:cubicBezTo>
                  <a:cubicBezTo>
                    <a:pt x="612" y="295"/>
                    <a:pt x="624" y="287"/>
                    <a:pt x="630" y="288"/>
                  </a:cubicBezTo>
                  <a:cubicBezTo>
                    <a:pt x="632" y="288"/>
                    <a:pt x="633" y="287"/>
                    <a:pt x="635" y="286"/>
                  </a:cubicBezTo>
                  <a:cubicBezTo>
                    <a:pt x="631" y="285"/>
                    <a:pt x="625" y="282"/>
                    <a:pt x="623" y="285"/>
                  </a:cubicBezTo>
                  <a:cubicBezTo>
                    <a:pt x="621" y="287"/>
                    <a:pt x="618" y="285"/>
                    <a:pt x="616" y="283"/>
                  </a:cubicBezTo>
                  <a:cubicBezTo>
                    <a:pt x="614" y="281"/>
                    <a:pt x="612" y="284"/>
                    <a:pt x="609" y="281"/>
                  </a:cubicBezTo>
                  <a:cubicBezTo>
                    <a:pt x="607" y="277"/>
                    <a:pt x="604" y="280"/>
                    <a:pt x="602" y="280"/>
                  </a:cubicBezTo>
                  <a:cubicBezTo>
                    <a:pt x="600" y="281"/>
                    <a:pt x="598" y="279"/>
                    <a:pt x="595" y="278"/>
                  </a:cubicBezTo>
                  <a:cubicBezTo>
                    <a:pt x="592" y="277"/>
                    <a:pt x="594" y="274"/>
                    <a:pt x="592" y="272"/>
                  </a:cubicBezTo>
                  <a:cubicBezTo>
                    <a:pt x="589" y="270"/>
                    <a:pt x="589" y="276"/>
                    <a:pt x="589" y="276"/>
                  </a:cubicBezTo>
                  <a:cubicBezTo>
                    <a:pt x="367" y="277"/>
                    <a:pt x="367" y="277"/>
                    <a:pt x="367" y="277"/>
                  </a:cubicBezTo>
                  <a:cubicBezTo>
                    <a:pt x="368" y="277"/>
                    <a:pt x="368" y="277"/>
                    <a:pt x="368" y="278"/>
                  </a:cubicBezTo>
                  <a:cubicBezTo>
                    <a:pt x="371" y="281"/>
                    <a:pt x="369" y="283"/>
                    <a:pt x="370" y="286"/>
                  </a:cubicBezTo>
                  <a:cubicBezTo>
                    <a:pt x="371" y="290"/>
                    <a:pt x="370" y="294"/>
                    <a:pt x="367" y="294"/>
                  </a:cubicBezTo>
                  <a:cubicBezTo>
                    <a:pt x="364" y="294"/>
                    <a:pt x="364" y="291"/>
                    <a:pt x="366" y="290"/>
                  </a:cubicBezTo>
                  <a:cubicBezTo>
                    <a:pt x="368" y="289"/>
                    <a:pt x="367" y="285"/>
                    <a:pt x="365" y="285"/>
                  </a:cubicBezTo>
                  <a:cubicBezTo>
                    <a:pt x="364" y="285"/>
                    <a:pt x="363" y="284"/>
                    <a:pt x="363" y="282"/>
                  </a:cubicBezTo>
                  <a:cubicBezTo>
                    <a:pt x="360" y="283"/>
                    <a:pt x="356" y="283"/>
                    <a:pt x="351" y="282"/>
                  </a:cubicBezTo>
                  <a:cubicBezTo>
                    <a:pt x="351" y="282"/>
                    <a:pt x="351" y="283"/>
                    <a:pt x="351" y="283"/>
                  </a:cubicBezTo>
                  <a:cubicBezTo>
                    <a:pt x="351" y="285"/>
                    <a:pt x="352" y="290"/>
                    <a:pt x="355" y="294"/>
                  </a:cubicBezTo>
                  <a:cubicBezTo>
                    <a:pt x="358" y="297"/>
                    <a:pt x="356" y="300"/>
                    <a:pt x="359" y="301"/>
                  </a:cubicBezTo>
                  <a:cubicBezTo>
                    <a:pt x="361" y="303"/>
                    <a:pt x="361" y="304"/>
                    <a:pt x="359" y="304"/>
                  </a:cubicBezTo>
                  <a:cubicBezTo>
                    <a:pt x="356" y="303"/>
                    <a:pt x="358" y="306"/>
                    <a:pt x="357" y="311"/>
                  </a:cubicBezTo>
                  <a:cubicBezTo>
                    <a:pt x="356" y="316"/>
                    <a:pt x="356" y="327"/>
                    <a:pt x="356" y="331"/>
                  </a:cubicBezTo>
                  <a:cubicBezTo>
                    <a:pt x="355" y="334"/>
                    <a:pt x="351" y="340"/>
                    <a:pt x="354" y="343"/>
                  </a:cubicBezTo>
                  <a:cubicBezTo>
                    <a:pt x="356" y="347"/>
                    <a:pt x="358" y="352"/>
                    <a:pt x="356" y="356"/>
                  </a:cubicBezTo>
                  <a:cubicBezTo>
                    <a:pt x="355" y="361"/>
                    <a:pt x="355" y="364"/>
                    <a:pt x="357" y="367"/>
                  </a:cubicBezTo>
                  <a:cubicBezTo>
                    <a:pt x="359" y="370"/>
                    <a:pt x="358" y="376"/>
                    <a:pt x="360" y="377"/>
                  </a:cubicBezTo>
                  <a:cubicBezTo>
                    <a:pt x="362" y="379"/>
                    <a:pt x="364" y="381"/>
                    <a:pt x="366" y="384"/>
                  </a:cubicBezTo>
                  <a:cubicBezTo>
                    <a:pt x="368" y="388"/>
                    <a:pt x="369" y="386"/>
                    <a:pt x="370" y="389"/>
                  </a:cubicBezTo>
                  <a:cubicBezTo>
                    <a:pt x="370" y="392"/>
                    <a:pt x="370" y="393"/>
                    <a:pt x="373" y="394"/>
                  </a:cubicBezTo>
                  <a:cubicBezTo>
                    <a:pt x="376" y="395"/>
                    <a:pt x="374" y="398"/>
                    <a:pt x="374" y="400"/>
                  </a:cubicBezTo>
                  <a:cubicBezTo>
                    <a:pt x="374" y="402"/>
                    <a:pt x="378" y="405"/>
                    <a:pt x="383" y="409"/>
                  </a:cubicBezTo>
                  <a:cubicBezTo>
                    <a:pt x="387" y="413"/>
                    <a:pt x="383" y="417"/>
                    <a:pt x="387" y="417"/>
                  </a:cubicBezTo>
                  <a:cubicBezTo>
                    <a:pt x="390" y="417"/>
                    <a:pt x="393" y="419"/>
                    <a:pt x="397" y="421"/>
                  </a:cubicBezTo>
                  <a:cubicBezTo>
                    <a:pt x="400" y="423"/>
                    <a:pt x="401" y="422"/>
                    <a:pt x="403" y="422"/>
                  </a:cubicBezTo>
                  <a:cubicBezTo>
                    <a:pt x="406" y="423"/>
                    <a:pt x="410" y="428"/>
                    <a:pt x="411" y="431"/>
                  </a:cubicBezTo>
                  <a:cubicBezTo>
                    <a:pt x="411" y="433"/>
                    <a:pt x="412" y="434"/>
                    <a:pt x="413" y="436"/>
                  </a:cubicBezTo>
                  <a:cubicBezTo>
                    <a:pt x="431" y="434"/>
                    <a:pt x="431" y="434"/>
                    <a:pt x="431" y="434"/>
                  </a:cubicBezTo>
                  <a:cubicBezTo>
                    <a:pt x="431" y="434"/>
                    <a:pt x="437" y="438"/>
                    <a:pt x="440" y="439"/>
                  </a:cubicBezTo>
                  <a:cubicBezTo>
                    <a:pt x="443" y="439"/>
                    <a:pt x="461" y="446"/>
                    <a:pt x="461" y="446"/>
                  </a:cubicBezTo>
                  <a:cubicBezTo>
                    <a:pt x="484" y="446"/>
                    <a:pt x="484" y="446"/>
                    <a:pt x="484" y="446"/>
                  </a:cubicBezTo>
                  <a:cubicBezTo>
                    <a:pt x="486" y="442"/>
                    <a:pt x="486" y="442"/>
                    <a:pt x="486" y="442"/>
                  </a:cubicBezTo>
                  <a:cubicBezTo>
                    <a:pt x="499" y="442"/>
                    <a:pt x="499" y="442"/>
                    <a:pt x="499" y="442"/>
                  </a:cubicBezTo>
                  <a:cubicBezTo>
                    <a:pt x="499" y="442"/>
                    <a:pt x="507" y="450"/>
                    <a:pt x="508" y="450"/>
                  </a:cubicBezTo>
                  <a:cubicBezTo>
                    <a:pt x="509" y="451"/>
                    <a:pt x="513" y="454"/>
                    <a:pt x="513" y="457"/>
                  </a:cubicBezTo>
                  <a:cubicBezTo>
                    <a:pt x="513" y="459"/>
                    <a:pt x="514" y="461"/>
                    <a:pt x="516" y="462"/>
                  </a:cubicBezTo>
                  <a:cubicBezTo>
                    <a:pt x="518" y="463"/>
                    <a:pt x="525" y="467"/>
                    <a:pt x="525" y="467"/>
                  </a:cubicBezTo>
                  <a:cubicBezTo>
                    <a:pt x="526" y="466"/>
                    <a:pt x="528" y="459"/>
                    <a:pt x="532" y="459"/>
                  </a:cubicBezTo>
                  <a:cubicBezTo>
                    <a:pt x="535" y="459"/>
                    <a:pt x="545" y="462"/>
                    <a:pt x="546" y="467"/>
                  </a:cubicBezTo>
                  <a:cubicBezTo>
                    <a:pt x="548" y="473"/>
                    <a:pt x="552" y="477"/>
                    <a:pt x="554" y="478"/>
                  </a:cubicBezTo>
                  <a:cubicBezTo>
                    <a:pt x="555" y="479"/>
                    <a:pt x="554" y="483"/>
                    <a:pt x="556" y="484"/>
                  </a:cubicBezTo>
                  <a:cubicBezTo>
                    <a:pt x="557" y="486"/>
                    <a:pt x="557" y="489"/>
                    <a:pt x="558" y="489"/>
                  </a:cubicBezTo>
                  <a:cubicBezTo>
                    <a:pt x="559" y="489"/>
                    <a:pt x="566" y="493"/>
                    <a:pt x="569" y="493"/>
                  </a:cubicBezTo>
                  <a:cubicBezTo>
                    <a:pt x="570" y="493"/>
                    <a:pt x="571" y="494"/>
                    <a:pt x="572" y="494"/>
                  </a:cubicBezTo>
                  <a:cubicBezTo>
                    <a:pt x="573" y="488"/>
                    <a:pt x="566" y="487"/>
                    <a:pt x="570" y="484"/>
                  </a:cubicBezTo>
                  <a:cubicBezTo>
                    <a:pt x="575" y="481"/>
                    <a:pt x="570" y="478"/>
                    <a:pt x="572" y="476"/>
                  </a:cubicBezTo>
                  <a:cubicBezTo>
                    <a:pt x="574" y="475"/>
                    <a:pt x="578" y="474"/>
                    <a:pt x="578" y="471"/>
                  </a:cubicBezTo>
                  <a:cubicBezTo>
                    <a:pt x="578" y="469"/>
                    <a:pt x="580" y="469"/>
                    <a:pt x="583" y="470"/>
                  </a:cubicBezTo>
                  <a:cubicBezTo>
                    <a:pt x="586" y="470"/>
                    <a:pt x="591" y="465"/>
                    <a:pt x="591" y="463"/>
                  </a:cubicBezTo>
                  <a:cubicBezTo>
                    <a:pt x="590" y="461"/>
                    <a:pt x="591" y="461"/>
                    <a:pt x="595" y="461"/>
                  </a:cubicBezTo>
                  <a:cubicBezTo>
                    <a:pt x="598" y="462"/>
                    <a:pt x="597" y="458"/>
                    <a:pt x="600" y="458"/>
                  </a:cubicBezTo>
                  <a:cubicBezTo>
                    <a:pt x="602" y="459"/>
                    <a:pt x="603" y="460"/>
                    <a:pt x="604" y="459"/>
                  </a:cubicBezTo>
                  <a:cubicBezTo>
                    <a:pt x="604" y="457"/>
                    <a:pt x="606" y="457"/>
                    <a:pt x="608" y="459"/>
                  </a:cubicBezTo>
                  <a:cubicBezTo>
                    <a:pt x="609" y="462"/>
                    <a:pt x="614" y="462"/>
                    <a:pt x="614" y="460"/>
                  </a:cubicBezTo>
                  <a:cubicBezTo>
                    <a:pt x="615" y="457"/>
                    <a:pt x="617" y="460"/>
                    <a:pt x="620" y="462"/>
                  </a:cubicBezTo>
                  <a:cubicBezTo>
                    <a:pt x="622" y="465"/>
                    <a:pt x="623" y="464"/>
                    <a:pt x="626" y="464"/>
                  </a:cubicBezTo>
                  <a:cubicBezTo>
                    <a:pt x="630" y="464"/>
                    <a:pt x="630" y="463"/>
                    <a:pt x="630" y="461"/>
                  </a:cubicBezTo>
                  <a:cubicBezTo>
                    <a:pt x="630" y="459"/>
                    <a:pt x="634" y="466"/>
                    <a:pt x="637" y="466"/>
                  </a:cubicBezTo>
                  <a:cubicBezTo>
                    <a:pt x="640" y="467"/>
                    <a:pt x="638" y="464"/>
                    <a:pt x="635" y="462"/>
                  </a:cubicBezTo>
                  <a:cubicBezTo>
                    <a:pt x="633" y="460"/>
                    <a:pt x="636" y="459"/>
                    <a:pt x="634" y="458"/>
                  </a:cubicBezTo>
                  <a:cubicBezTo>
                    <a:pt x="631" y="456"/>
                    <a:pt x="636" y="454"/>
                    <a:pt x="641" y="454"/>
                  </a:cubicBezTo>
                  <a:cubicBezTo>
                    <a:pt x="645" y="454"/>
                    <a:pt x="645" y="455"/>
                    <a:pt x="646" y="453"/>
                  </a:cubicBezTo>
                  <a:cubicBezTo>
                    <a:pt x="648" y="450"/>
                    <a:pt x="649" y="453"/>
                    <a:pt x="649" y="455"/>
                  </a:cubicBezTo>
                  <a:cubicBezTo>
                    <a:pt x="649" y="457"/>
                    <a:pt x="656" y="454"/>
                    <a:pt x="660" y="454"/>
                  </a:cubicBezTo>
                  <a:cubicBezTo>
                    <a:pt x="664" y="454"/>
                    <a:pt x="667" y="457"/>
                    <a:pt x="668" y="459"/>
                  </a:cubicBezTo>
                  <a:cubicBezTo>
                    <a:pt x="668" y="461"/>
                    <a:pt x="671" y="462"/>
                    <a:pt x="673" y="460"/>
                  </a:cubicBezTo>
                  <a:cubicBezTo>
                    <a:pt x="676" y="458"/>
                    <a:pt x="678" y="455"/>
                    <a:pt x="681" y="458"/>
                  </a:cubicBezTo>
                  <a:cubicBezTo>
                    <a:pt x="683" y="460"/>
                    <a:pt x="686" y="463"/>
                    <a:pt x="689" y="466"/>
                  </a:cubicBezTo>
                  <a:cubicBezTo>
                    <a:pt x="692" y="469"/>
                    <a:pt x="687" y="473"/>
                    <a:pt x="689" y="476"/>
                  </a:cubicBezTo>
                  <a:cubicBezTo>
                    <a:pt x="691" y="478"/>
                    <a:pt x="689" y="481"/>
                    <a:pt x="692" y="484"/>
                  </a:cubicBezTo>
                  <a:cubicBezTo>
                    <a:pt x="696" y="486"/>
                    <a:pt x="693" y="491"/>
                    <a:pt x="696" y="492"/>
                  </a:cubicBezTo>
                  <a:cubicBezTo>
                    <a:pt x="698" y="493"/>
                    <a:pt x="701" y="497"/>
                    <a:pt x="701" y="499"/>
                  </a:cubicBezTo>
                  <a:cubicBezTo>
                    <a:pt x="701" y="501"/>
                    <a:pt x="707" y="503"/>
                    <a:pt x="707" y="500"/>
                  </a:cubicBezTo>
                  <a:cubicBezTo>
                    <a:pt x="707" y="497"/>
                    <a:pt x="710" y="493"/>
                    <a:pt x="711" y="490"/>
                  </a:cubicBezTo>
                  <a:cubicBezTo>
                    <a:pt x="711" y="488"/>
                    <a:pt x="709" y="477"/>
                    <a:pt x="706" y="474"/>
                  </a:cubicBezTo>
                  <a:cubicBezTo>
                    <a:pt x="704" y="471"/>
                    <a:pt x="707" y="470"/>
                    <a:pt x="704" y="467"/>
                  </a:cubicBezTo>
                  <a:cubicBezTo>
                    <a:pt x="701" y="463"/>
                    <a:pt x="699" y="456"/>
                    <a:pt x="699" y="451"/>
                  </a:cubicBezTo>
                  <a:cubicBezTo>
                    <a:pt x="700" y="446"/>
                    <a:pt x="706" y="437"/>
                    <a:pt x="709" y="434"/>
                  </a:cubicBezTo>
                  <a:cubicBezTo>
                    <a:pt x="712" y="431"/>
                    <a:pt x="715" y="433"/>
                    <a:pt x="716" y="430"/>
                  </a:cubicBezTo>
                  <a:cubicBezTo>
                    <a:pt x="717" y="427"/>
                    <a:pt x="720" y="424"/>
                    <a:pt x="723" y="424"/>
                  </a:cubicBezTo>
                  <a:cubicBezTo>
                    <a:pt x="725" y="424"/>
                    <a:pt x="727" y="424"/>
                    <a:pt x="727" y="422"/>
                  </a:cubicBezTo>
                  <a:cubicBezTo>
                    <a:pt x="728" y="420"/>
                    <a:pt x="731" y="417"/>
                    <a:pt x="736" y="416"/>
                  </a:cubicBezTo>
                  <a:cubicBezTo>
                    <a:pt x="741" y="415"/>
                    <a:pt x="738" y="413"/>
                    <a:pt x="737" y="411"/>
                  </a:cubicBezTo>
                  <a:cubicBezTo>
                    <a:pt x="735" y="408"/>
                    <a:pt x="738" y="406"/>
                    <a:pt x="739" y="408"/>
                  </a:cubicBezTo>
                  <a:cubicBezTo>
                    <a:pt x="740" y="409"/>
                    <a:pt x="742" y="409"/>
                    <a:pt x="744" y="408"/>
                  </a:cubicBezTo>
                  <a:cubicBezTo>
                    <a:pt x="746" y="407"/>
                    <a:pt x="750" y="403"/>
                    <a:pt x="746" y="403"/>
                  </a:cubicBezTo>
                  <a:cubicBezTo>
                    <a:pt x="742" y="403"/>
                    <a:pt x="741" y="402"/>
                    <a:pt x="744" y="401"/>
                  </a:cubicBezTo>
                  <a:cubicBezTo>
                    <a:pt x="746" y="400"/>
                    <a:pt x="744" y="395"/>
                    <a:pt x="741" y="395"/>
                  </a:cubicBezTo>
                  <a:cubicBezTo>
                    <a:pt x="738" y="395"/>
                    <a:pt x="739" y="393"/>
                    <a:pt x="741" y="391"/>
                  </a:cubicBezTo>
                  <a:cubicBezTo>
                    <a:pt x="743" y="389"/>
                    <a:pt x="738" y="386"/>
                    <a:pt x="735" y="384"/>
                  </a:cubicBezTo>
                  <a:cubicBezTo>
                    <a:pt x="733" y="383"/>
                    <a:pt x="737" y="382"/>
                    <a:pt x="739" y="382"/>
                  </a:cubicBezTo>
                  <a:cubicBezTo>
                    <a:pt x="740" y="381"/>
                    <a:pt x="739" y="373"/>
                    <a:pt x="740" y="371"/>
                  </a:cubicBezTo>
                  <a:cubicBezTo>
                    <a:pt x="741" y="369"/>
                    <a:pt x="744" y="369"/>
                    <a:pt x="743" y="371"/>
                  </a:cubicBezTo>
                  <a:cubicBezTo>
                    <a:pt x="741" y="373"/>
                    <a:pt x="740" y="376"/>
                    <a:pt x="742" y="379"/>
                  </a:cubicBezTo>
                  <a:cubicBezTo>
                    <a:pt x="744" y="382"/>
                    <a:pt x="745" y="384"/>
                    <a:pt x="744" y="388"/>
                  </a:cubicBezTo>
                  <a:cubicBezTo>
                    <a:pt x="743" y="393"/>
                    <a:pt x="745" y="392"/>
                    <a:pt x="748" y="386"/>
                  </a:cubicBezTo>
                  <a:cubicBezTo>
                    <a:pt x="750" y="381"/>
                    <a:pt x="751" y="376"/>
                    <a:pt x="749" y="376"/>
                  </a:cubicBezTo>
                  <a:cubicBezTo>
                    <a:pt x="747" y="375"/>
                    <a:pt x="747" y="370"/>
                    <a:pt x="749" y="372"/>
                  </a:cubicBezTo>
                  <a:cubicBezTo>
                    <a:pt x="751" y="375"/>
                    <a:pt x="752" y="375"/>
                    <a:pt x="755" y="372"/>
                  </a:cubicBezTo>
                  <a:cubicBezTo>
                    <a:pt x="758" y="369"/>
                    <a:pt x="761" y="363"/>
                    <a:pt x="759" y="362"/>
                  </a:cubicBezTo>
                  <a:cubicBezTo>
                    <a:pt x="757" y="361"/>
                    <a:pt x="760" y="359"/>
                    <a:pt x="764" y="360"/>
                  </a:cubicBezTo>
                  <a:cubicBezTo>
                    <a:pt x="767" y="360"/>
                    <a:pt x="775" y="357"/>
                    <a:pt x="775" y="356"/>
                  </a:cubicBezTo>
                  <a:cubicBezTo>
                    <a:pt x="777" y="353"/>
                    <a:pt x="763" y="358"/>
                    <a:pt x="763" y="356"/>
                  </a:cubicBezTo>
                  <a:cubicBezTo>
                    <a:pt x="763" y="354"/>
                    <a:pt x="772" y="352"/>
                    <a:pt x="776" y="352"/>
                  </a:cubicBezTo>
                  <a:cubicBezTo>
                    <a:pt x="780" y="352"/>
                    <a:pt x="778" y="346"/>
                    <a:pt x="780" y="349"/>
                  </a:cubicBezTo>
                  <a:cubicBezTo>
                    <a:pt x="782" y="351"/>
                    <a:pt x="784" y="350"/>
                    <a:pt x="787" y="349"/>
                  </a:cubicBezTo>
                  <a:cubicBezTo>
                    <a:pt x="789" y="348"/>
                    <a:pt x="787" y="344"/>
                    <a:pt x="785" y="343"/>
                  </a:cubicBezTo>
                  <a:cubicBezTo>
                    <a:pt x="782" y="342"/>
                    <a:pt x="787" y="340"/>
                    <a:pt x="786" y="339"/>
                  </a:cubicBezTo>
                  <a:cubicBezTo>
                    <a:pt x="785" y="337"/>
                    <a:pt x="788" y="331"/>
                    <a:pt x="791" y="330"/>
                  </a:cubicBezTo>
                  <a:cubicBezTo>
                    <a:pt x="794" y="329"/>
                    <a:pt x="793" y="327"/>
                    <a:pt x="796" y="327"/>
                  </a:cubicBezTo>
                  <a:cubicBezTo>
                    <a:pt x="798" y="327"/>
                    <a:pt x="799" y="324"/>
                    <a:pt x="801" y="321"/>
                  </a:cubicBezTo>
                  <a:cubicBezTo>
                    <a:pt x="804" y="319"/>
                    <a:pt x="808" y="325"/>
                    <a:pt x="811" y="322"/>
                  </a:cubicBezTo>
                  <a:cubicBezTo>
                    <a:pt x="813" y="320"/>
                    <a:pt x="815" y="319"/>
                    <a:pt x="817" y="317"/>
                  </a:cubicBezTo>
                  <a:cubicBezTo>
                    <a:pt x="808" y="305"/>
                    <a:pt x="811" y="297"/>
                    <a:pt x="811" y="295"/>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89" name="Freeform 132">
              <a:extLst>
                <a:ext uri="{FF2B5EF4-FFF2-40B4-BE49-F238E27FC236}">
                  <a16:creationId xmlns:a16="http://schemas.microsoft.com/office/drawing/2014/main" xmlns="" id="{1AC44D36-DB53-4F9B-9AE9-28FE0A6BED73}"/>
                </a:ext>
              </a:extLst>
            </p:cNvPr>
            <p:cNvSpPr>
              <a:spLocks noEditPoints="1"/>
            </p:cNvSpPr>
            <p:nvPr/>
          </p:nvSpPr>
          <p:spPr bwMode="auto">
            <a:xfrm>
              <a:off x="16137159" y="2996279"/>
              <a:ext cx="268288" cy="193675"/>
            </a:xfrm>
            <a:custGeom>
              <a:avLst/>
              <a:gdLst>
                <a:gd name="T0" fmla="*/ 102 w 103"/>
                <a:gd name="T1" fmla="*/ 13 h 74"/>
                <a:gd name="T2" fmla="*/ 94 w 103"/>
                <a:gd name="T3" fmla="*/ 13 h 74"/>
                <a:gd name="T4" fmla="*/ 84 w 103"/>
                <a:gd name="T5" fmla="*/ 10 h 74"/>
                <a:gd name="T6" fmla="*/ 81 w 103"/>
                <a:gd name="T7" fmla="*/ 10 h 74"/>
                <a:gd name="T8" fmla="*/ 74 w 103"/>
                <a:gd name="T9" fmla="*/ 10 h 74"/>
                <a:gd name="T10" fmla="*/ 66 w 103"/>
                <a:gd name="T11" fmla="*/ 6 h 74"/>
                <a:gd name="T12" fmla="*/ 62 w 103"/>
                <a:gd name="T13" fmla="*/ 4 h 74"/>
                <a:gd name="T14" fmla="*/ 48 w 103"/>
                <a:gd name="T15" fmla="*/ 3 h 74"/>
                <a:gd name="T16" fmla="*/ 21 w 103"/>
                <a:gd name="T17" fmla="*/ 2 h 74"/>
                <a:gd name="T18" fmla="*/ 12 w 103"/>
                <a:gd name="T19" fmla="*/ 0 h 74"/>
                <a:gd name="T20" fmla="*/ 5 w 103"/>
                <a:gd name="T21" fmla="*/ 4 h 74"/>
                <a:gd name="T22" fmla="*/ 3 w 103"/>
                <a:gd name="T23" fmla="*/ 10 h 74"/>
                <a:gd name="T24" fmla="*/ 5 w 103"/>
                <a:gd name="T25" fmla="*/ 18 h 74"/>
                <a:gd name="T26" fmla="*/ 7 w 103"/>
                <a:gd name="T27" fmla="*/ 17 h 74"/>
                <a:gd name="T28" fmla="*/ 10 w 103"/>
                <a:gd name="T29" fmla="*/ 17 h 74"/>
                <a:gd name="T30" fmla="*/ 15 w 103"/>
                <a:gd name="T31" fmla="*/ 18 h 74"/>
                <a:gd name="T32" fmla="*/ 18 w 103"/>
                <a:gd name="T33" fmla="*/ 18 h 74"/>
                <a:gd name="T34" fmla="*/ 23 w 103"/>
                <a:gd name="T35" fmla="*/ 19 h 74"/>
                <a:gd name="T36" fmla="*/ 25 w 103"/>
                <a:gd name="T37" fmla="*/ 22 h 74"/>
                <a:gd name="T38" fmla="*/ 20 w 103"/>
                <a:gd name="T39" fmla="*/ 27 h 74"/>
                <a:gd name="T40" fmla="*/ 20 w 103"/>
                <a:gd name="T41" fmla="*/ 34 h 74"/>
                <a:gd name="T42" fmla="*/ 19 w 103"/>
                <a:gd name="T43" fmla="*/ 40 h 74"/>
                <a:gd name="T44" fmla="*/ 17 w 103"/>
                <a:gd name="T45" fmla="*/ 43 h 74"/>
                <a:gd name="T46" fmla="*/ 19 w 103"/>
                <a:gd name="T47" fmla="*/ 47 h 74"/>
                <a:gd name="T48" fmla="*/ 17 w 103"/>
                <a:gd name="T49" fmla="*/ 52 h 74"/>
                <a:gd name="T50" fmla="*/ 19 w 103"/>
                <a:gd name="T51" fmla="*/ 56 h 74"/>
                <a:gd name="T52" fmla="*/ 16 w 103"/>
                <a:gd name="T53" fmla="*/ 61 h 74"/>
                <a:gd name="T54" fmla="*/ 17 w 103"/>
                <a:gd name="T55" fmla="*/ 63 h 74"/>
                <a:gd name="T56" fmla="*/ 21 w 103"/>
                <a:gd name="T57" fmla="*/ 64 h 74"/>
                <a:gd name="T58" fmla="*/ 31 w 103"/>
                <a:gd name="T59" fmla="*/ 73 h 74"/>
                <a:gd name="T60" fmla="*/ 33 w 103"/>
                <a:gd name="T61" fmla="*/ 70 h 74"/>
                <a:gd name="T62" fmla="*/ 37 w 103"/>
                <a:gd name="T63" fmla="*/ 70 h 74"/>
                <a:gd name="T64" fmla="*/ 45 w 103"/>
                <a:gd name="T65" fmla="*/ 67 h 74"/>
                <a:gd name="T66" fmla="*/ 55 w 103"/>
                <a:gd name="T67" fmla="*/ 67 h 74"/>
                <a:gd name="T68" fmla="*/ 61 w 103"/>
                <a:gd name="T69" fmla="*/ 64 h 74"/>
                <a:gd name="T70" fmla="*/ 67 w 103"/>
                <a:gd name="T71" fmla="*/ 60 h 74"/>
                <a:gd name="T72" fmla="*/ 70 w 103"/>
                <a:gd name="T73" fmla="*/ 54 h 74"/>
                <a:gd name="T74" fmla="*/ 76 w 103"/>
                <a:gd name="T75" fmla="*/ 48 h 74"/>
                <a:gd name="T76" fmla="*/ 76 w 103"/>
                <a:gd name="T77" fmla="*/ 36 h 74"/>
                <a:gd name="T78" fmla="*/ 83 w 103"/>
                <a:gd name="T79" fmla="*/ 28 h 74"/>
                <a:gd name="T80" fmla="*/ 90 w 103"/>
                <a:gd name="T81" fmla="*/ 24 h 74"/>
                <a:gd name="T82" fmla="*/ 99 w 103"/>
                <a:gd name="T83" fmla="*/ 20 h 74"/>
                <a:gd name="T84" fmla="*/ 102 w 103"/>
                <a:gd name="T85" fmla="*/ 13 h 74"/>
                <a:gd name="T86" fmla="*/ 103 w 103"/>
                <a:gd name="T87" fmla="*/ 39 h 74"/>
                <a:gd name="T88" fmla="*/ 96 w 103"/>
                <a:gd name="T89" fmla="*/ 41 h 74"/>
                <a:gd name="T90" fmla="*/ 103 w 103"/>
                <a:gd name="T91" fmla="*/ 3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3" h="74">
                  <a:moveTo>
                    <a:pt x="102" y="13"/>
                  </a:moveTo>
                  <a:cubicBezTo>
                    <a:pt x="99" y="13"/>
                    <a:pt x="96" y="13"/>
                    <a:pt x="94" y="13"/>
                  </a:cubicBezTo>
                  <a:cubicBezTo>
                    <a:pt x="91" y="12"/>
                    <a:pt x="86" y="12"/>
                    <a:pt x="84" y="10"/>
                  </a:cubicBezTo>
                  <a:cubicBezTo>
                    <a:pt x="83" y="9"/>
                    <a:pt x="81" y="8"/>
                    <a:pt x="81" y="10"/>
                  </a:cubicBezTo>
                  <a:cubicBezTo>
                    <a:pt x="81" y="11"/>
                    <a:pt x="77" y="12"/>
                    <a:pt x="74" y="10"/>
                  </a:cubicBezTo>
                  <a:cubicBezTo>
                    <a:pt x="72" y="9"/>
                    <a:pt x="68" y="8"/>
                    <a:pt x="66" y="6"/>
                  </a:cubicBezTo>
                  <a:cubicBezTo>
                    <a:pt x="66" y="6"/>
                    <a:pt x="64" y="5"/>
                    <a:pt x="62" y="4"/>
                  </a:cubicBezTo>
                  <a:cubicBezTo>
                    <a:pt x="59" y="5"/>
                    <a:pt x="53" y="2"/>
                    <a:pt x="48" y="3"/>
                  </a:cubicBezTo>
                  <a:cubicBezTo>
                    <a:pt x="43" y="3"/>
                    <a:pt x="28" y="2"/>
                    <a:pt x="21" y="2"/>
                  </a:cubicBezTo>
                  <a:cubicBezTo>
                    <a:pt x="15" y="3"/>
                    <a:pt x="15" y="0"/>
                    <a:pt x="12" y="0"/>
                  </a:cubicBezTo>
                  <a:cubicBezTo>
                    <a:pt x="8" y="0"/>
                    <a:pt x="10" y="4"/>
                    <a:pt x="5" y="4"/>
                  </a:cubicBezTo>
                  <a:cubicBezTo>
                    <a:pt x="0" y="4"/>
                    <a:pt x="0" y="7"/>
                    <a:pt x="3" y="10"/>
                  </a:cubicBezTo>
                  <a:cubicBezTo>
                    <a:pt x="5" y="11"/>
                    <a:pt x="5" y="15"/>
                    <a:pt x="5" y="18"/>
                  </a:cubicBezTo>
                  <a:cubicBezTo>
                    <a:pt x="6" y="18"/>
                    <a:pt x="6" y="17"/>
                    <a:pt x="7" y="17"/>
                  </a:cubicBezTo>
                  <a:cubicBezTo>
                    <a:pt x="8" y="15"/>
                    <a:pt x="10" y="15"/>
                    <a:pt x="10" y="17"/>
                  </a:cubicBezTo>
                  <a:cubicBezTo>
                    <a:pt x="10" y="19"/>
                    <a:pt x="13" y="18"/>
                    <a:pt x="15" y="18"/>
                  </a:cubicBezTo>
                  <a:cubicBezTo>
                    <a:pt x="16" y="18"/>
                    <a:pt x="16" y="20"/>
                    <a:pt x="18" y="18"/>
                  </a:cubicBezTo>
                  <a:cubicBezTo>
                    <a:pt x="20" y="17"/>
                    <a:pt x="23" y="17"/>
                    <a:pt x="23" y="19"/>
                  </a:cubicBezTo>
                  <a:cubicBezTo>
                    <a:pt x="23" y="21"/>
                    <a:pt x="27" y="20"/>
                    <a:pt x="25" y="22"/>
                  </a:cubicBezTo>
                  <a:cubicBezTo>
                    <a:pt x="22" y="25"/>
                    <a:pt x="20" y="25"/>
                    <a:pt x="20" y="27"/>
                  </a:cubicBezTo>
                  <a:cubicBezTo>
                    <a:pt x="20" y="29"/>
                    <a:pt x="22" y="32"/>
                    <a:pt x="20" y="34"/>
                  </a:cubicBezTo>
                  <a:cubicBezTo>
                    <a:pt x="18" y="36"/>
                    <a:pt x="21" y="40"/>
                    <a:pt x="19" y="40"/>
                  </a:cubicBezTo>
                  <a:cubicBezTo>
                    <a:pt x="17" y="40"/>
                    <a:pt x="14" y="41"/>
                    <a:pt x="17" y="43"/>
                  </a:cubicBezTo>
                  <a:cubicBezTo>
                    <a:pt x="19" y="45"/>
                    <a:pt x="21" y="47"/>
                    <a:pt x="19" y="47"/>
                  </a:cubicBezTo>
                  <a:cubicBezTo>
                    <a:pt x="17" y="47"/>
                    <a:pt x="16" y="51"/>
                    <a:pt x="17" y="52"/>
                  </a:cubicBezTo>
                  <a:cubicBezTo>
                    <a:pt x="18" y="53"/>
                    <a:pt x="22" y="55"/>
                    <a:pt x="19" y="56"/>
                  </a:cubicBezTo>
                  <a:cubicBezTo>
                    <a:pt x="16" y="56"/>
                    <a:pt x="16" y="59"/>
                    <a:pt x="16" y="61"/>
                  </a:cubicBezTo>
                  <a:cubicBezTo>
                    <a:pt x="16" y="61"/>
                    <a:pt x="16" y="62"/>
                    <a:pt x="17" y="63"/>
                  </a:cubicBezTo>
                  <a:cubicBezTo>
                    <a:pt x="18" y="63"/>
                    <a:pt x="20" y="63"/>
                    <a:pt x="21" y="64"/>
                  </a:cubicBezTo>
                  <a:cubicBezTo>
                    <a:pt x="24" y="65"/>
                    <a:pt x="26" y="74"/>
                    <a:pt x="31" y="73"/>
                  </a:cubicBezTo>
                  <a:cubicBezTo>
                    <a:pt x="33" y="73"/>
                    <a:pt x="32" y="71"/>
                    <a:pt x="33" y="70"/>
                  </a:cubicBezTo>
                  <a:cubicBezTo>
                    <a:pt x="34" y="69"/>
                    <a:pt x="35" y="70"/>
                    <a:pt x="37" y="70"/>
                  </a:cubicBezTo>
                  <a:cubicBezTo>
                    <a:pt x="39" y="70"/>
                    <a:pt x="40" y="67"/>
                    <a:pt x="45" y="67"/>
                  </a:cubicBezTo>
                  <a:cubicBezTo>
                    <a:pt x="49" y="67"/>
                    <a:pt x="52" y="67"/>
                    <a:pt x="55" y="67"/>
                  </a:cubicBezTo>
                  <a:cubicBezTo>
                    <a:pt x="58" y="67"/>
                    <a:pt x="60" y="66"/>
                    <a:pt x="61" y="64"/>
                  </a:cubicBezTo>
                  <a:cubicBezTo>
                    <a:pt x="61" y="62"/>
                    <a:pt x="64" y="60"/>
                    <a:pt x="67" y="60"/>
                  </a:cubicBezTo>
                  <a:cubicBezTo>
                    <a:pt x="70" y="59"/>
                    <a:pt x="70" y="56"/>
                    <a:pt x="70" y="54"/>
                  </a:cubicBezTo>
                  <a:cubicBezTo>
                    <a:pt x="70" y="52"/>
                    <a:pt x="76" y="49"/>
                    <a:pt x="76" y="48"/>
                  </a:cubicBezTo>
                  <a:cubicBezTo>
                    <a:pt x="76" y="46"/>
                    <a:pt x="73" y="41"/>
                    <a:pt x="76" y="36"/>
                  </a:cubicBezTo>
                  <a:cubicBezTo>
                    <a:pt x="79" y="31"/>
                    <a:pt x="83" y="31"/>
                    <a:pt x="83" y="28"/>
                  </a:cubicBezTo>
                  <a:cubicBezTo>
                    <a:pt x="83" y="26"/>
                    <a:pt x="86" y="25"/>
                    <a:pt x="90" y="24"/>
                  </a:cubicBezTo>
                  <a:cubicBezTo>
                    <a:pt x="94" y="24"/>
                    <a:pt x="95" y="21"/>
                    <a:pt x="99" y="20"/>
                  </a:cubicBezTo>
                  <a:cubicBezTo>
                    <a:pt x="102" y="19"/>
                    <a:pt x="103" y="16"/>
                    <a:pt x="102" y="13"/>
                  </a:cubicBezTo>
                  <a:close/>
                  <a:moveTo>
                    <a:pt x="103" y="39"/>
                  </a:moveTo>
                  <a:cubicBezTo>
                    <a:pt x="102" y="35"/>
                    <a:pt x="94" y="40"/>
                    <a:pt x="96" y="41"/>
                  </a:cubicBezTo>
                  <a:cubicBezTo>
                    <a:pt x="99" y="44"/>
                    <a:pt x="103" y="43"/>
                    <a:pt x="103" y="39"/>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90" name="Freeform 133">
              <a:extLst>
                <a:ext uri="{FF2B5EF4-FFF2-40B4-BE49-F238E27FC236}">
                  <a16:creationId xmlns:a16="http://schemas.microsoft.com/office/drawing/2014/main" xmlns="" id="{B5D9CA51-F2FD-469C-B1F2-0EE9991F4E58}"/>
                </a:ext>
              </a:extLst>
            </p:cNvPr>
            <p:cNvSpPr>
              <a:spLocks/>
            </p:cNvSpPr>
            <p:nvPr/>
          </p:nvSpPr>
          <p:spPr bwMode="auto">
            <a:xfrm>
              <a:off x="16605472" y="2912141"/>
              <a:ext cx="69850" cy="39687"/>
            </a:xfrm>
            <a:custGeom>
              <a:avLst/>
              <a:gdLst>
                <a:gd name="T0" fmla="*/ 0 w 27"/>
                <a:gd name="T1" fmla="*/ 13 h 15"/>
                <a:gd name="T2" fmla="*/ 5 w 27"/>
                <a:gd name="T3" fmla="*/ 13 h 15"/>
                <a:gd name="T4" fmla="*/ 6 w 27"/>
                <a:gd name="T5" fmla="*/ 15 h 15"/>
                <a:gd name="T6" fmla="*/ 12 w 27"/>
                <a:gd name="T7" fmla="*/ 14 h 15"/>
                <a:gd name="T8" fmla="*/ 17 w 27"/>
                <a:gd name="T9" fmla="*/ 14 h 15"/>
                <a:gd name="T10" fmla="*/ 20 w 27"/>
                <a:gd name="T11" fmla="*/ 11 h 15"/>
                <a:gd name="T12" fmla="*/ 22 w 27"/>
                <a:gd name="T13" fmla="*/ 7 h 15"/>
                <a:gd name="T14" fmla="*/ 27 w 27"/>
                <a:gd name="T15" fmla="*/ 3 h 15"/>
                <a:gd name="T16" fmla="*/ 25 w 27"/>
                <a:gd name="T17" fmla="*/ 0 h 15"/>
                <a:gd name="T18" fmla="*/ 19 w 27"/>
                <a:gd name="T19" fmla="*/ 2 h 15"/>
                <a:gd name="T20" fmla="*/ 12 w 27"/>
                <a:gd name="T21" fmla="*/ 4 h 15"/>
                <a:gd name="T22" fmla="*/ 3 w 27"/>
                <a:gd name="T23" fmla="*/ 3 h 15"/>
                <a:gd name="T24" fmla="*/ 0 w 27"/>
                <a:gd name="T25" fmla="*/ 3 h 15"/>
                <a:gd name="T26" fmla="*/ 0 w 27"/>
                <a:gd name="T27"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15">
                  <a:moveTo>
                    <a:pt x="0" y="13"/>
                  </a:moveTo>
                  <a:cubicBezTo>
                    <a:pt x="2" y="12"/>
                    <a:pt x="4" y="12"/>
                    <a:pt x="5" y="13"/>
                  </a:cubicBezTo>
                  <a:cubicBezTo>
                    <a:pt x="6" y="13"/>
                    <a:pt x="6" y="14"/>
                    <a:pt x="6" y="15"/>
                  </a:cubicBezTo>
                  <a:cubicBezTo>
                    <a:pt x="8" y="15"/>
                    <a:pt x="11" y="14"/>
                    <a:pt x="12" y="14"/>
                  </a:cubicBezTo>
                  <a:cubicBezTo>
                    <a:pt x="13" y="13"/>
                    <a:pt x="17" y="15"/>
                    <a:pt x="17" y="14"/>
                  </a:cubicBezTo>
                  <a:cubicBezTo>
                    <a:pt x="17" y="13"/>
                    <a:pt x="18" y="11"/>
                    <a:pt x="20" y="11"/>
                  </a:cubicBezTo>
                  <a:cubicBezTo>
                    <a:pt x="21" y="11"/>
                    <a:pt x="20" y="7"/>
                    <a:pt x="22" y="7"/>
                  </a:cubicBezTo>
                  <a:cubicBezTo>
                    <a:pt x="23" y="6"/>
                    <a:pt x="27" y="3"/>
                    <a:pt x="27" y="3"/>
                  </a:cubicBezTo>
                  <a:cubicBezTo>
                    <a:pt x="27" y="3"/>
                    <a:pt x="25" y="0"/>
                    <a:pt x="25" y="0"/>
                  </a:cubicBezTo>
                  <a:cubicBezTo>
                    <a:pt x="24" y="0"/>
                    <a:pt x="23" y="2"/>
                    <a:pt x="19" y="2"/>
                  </a:cubicBezTo>
                  <a:cubicBezTo>
                    <a:pt x="16" y="2"/>
                    <a:pt x="14" y="4"/>
                    <a:pt x="12" y="4"/>
                  </a:cubicBezTo>
                  <a:cubicBezTo>
                    <a:pt x="11" y="4"/>
                    <a:pt x="6" y="3"/>
                    <a:pt x="3" y="3"/>
                  </a:cubicBezTo>
                  <a:cubicBezTo>
                    <a:pt x="2" y="3"/>
                    <a:pt x="1" y="3"/>
                    <a:pt x="0" y="3"/>
                  </a:cubicBezTo>
                  <a:cubicBezTo>
                    <a:pt x="0" y="5"/>
                    <a:pt x="0" y="9"/>
                    <a:pt x="0" y="13"/>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91" name="Freeform 134">
              <a:extLst>
                <a:ext uri="{FF2B5EF4-FFF2-40B4-BE49-F238E27FC236}">
                  <a16:creationId xmlns:a16="http://schemas.microsoft.com/office/drawing/2014/main" xmlns="" id="{1035C39A-705F-471C-B419-E5D1909B83A3}"/>
                </a:ext>
              </a:extLst>
            </p:cNvPr>
            <p:cNvSpPr>
              <a:spLocks noEditPoints="1"/>
            </p:cNvSpPr>
            <p:nvPr/>
          </p:nvSpPr>
          <p:spPr bwMode="auto">
            <a:xfrm>
              <a:off x="16748347" y="3045491"/>
              <a:ext cx="133350" cy="168275"/>
            </a:xfrm>
            <a:custGeom>
              <a:avLst/>
              <a:gdLst>
                <a:gd name="T0" fmla="*/ 51 w 51"/>
                <a:gd name="T1" fmla="*/ 0 h 64"/>
                <a:gd name="T2" fmla="*/ 47 w 51"/>
                <a:gd name="T3" fmla="*/ 2 h 64"/>
                <a:gd name="T4" fmla="*/ 44 w 51"/>
                <a:gd name="T5" fmla="*/ 4 h 64"/>
                <a:gd name="T6" fmla="*/ 35 w 51"/>
                <a:gd name="T7" fmla="*/ 2 h 64"/>
                <a:gd name="T8" fmla="*/ 24 w 51"/>
                <a:gd name="T9" fmla="*/ 2 h 64"/>
                <a:gd name="T10" fmla="*/ 24 w 51"/>
                <a:gd name="T11" fmla="*/ 3 h 64"/>
                <a:gd name="T12" fmla="*/ 17 w 51"/>
                <a:gd name="T13" fmla="*/ 6 h 64"/>
                <a:gd name="T14" fmla="*/ 13 w 51"/>
                <a:gd name="T15" fmla="*/ 8 h 64"/>
                <a:gd name="T16" fmla="*/ 7 w 51"/>
                <a:gd name="T17" fmla="*/ 9 h 64"/>
                <a:gd name="T18" fmla="*/ 5 w 51"/>
                <a:gd name="T19" fmla="*/ 14 h 64"/>
                <a:gd name="T20" fmla="*/ 3 w 51"/>
                <a:gd name="T21" fmla="*/ 17 h 64"/>
                <a:gd name="T22" fmla="*/ 0 w 51"/>
                <a:gd name="T23" fmla="*/ 21 h 64"/>
                <a:gd name="T24" fmla="*/ 1 w 51"/>
                <a:gd name="T25" fmla="*/ 21 h 64"/>
                <a:gd name="T26" fmla="*/ 5 w 51"/>
                <a:gd name="T27" fmla="*/ 28 h 64"/>
                <a:gd name="T28" fmla="*/ 11 w 51"/>
                <a:gd name="T29" fmla="*/ 30 h 64"/>
                <a:gd name="T30" fmla="*/ 18 w 51"/>
                <a:gd name="T31" fmla="*/ 33 h 64"/>
                <a:gd name="T32" fmla="*/ 9 w 51"/>
                <a:gd name="T33" fmla="*/ 33 h 64"/>
                <a:gd name="T34" fmla="*/ 11 w 51"/>
                <a:gd name="T35" fmla="*/ 40 h 64"/>
                <a:gd name="T36" fmla="*/ 15 w 51"/>
                <a:gd name="T37" fmla="*/ 46 h 64"/>
                <a:gd name="T38" fmla="*/ 23 w 51"/>
                <a:gd name="T39" fmla="*/ 49 h 64"/>
                <a:gd name="T40" fmla="*/ 21 w 51"/>
                <a:gd name="T41" fmla="*/ 41 h 64"/>
                <a:gd name="T42" fmla="*/ 27 w 51"/>
                <a:gd name="T43" fmla="*/ 41 h 64"/>
                <a:gd name="T44" fmla="*/ 23 w 51"/>
                <a:gd name="T45" fmla="*/ 38 h 64"/>
                <a:gd name="T46" fmla="*/ 26 w 51"/>
                <a:gd name="T47" fmla="*/ 36 h 64"/>
                <a:gd name="T48" fmla="*/ 32 w 51"/>
                <a:gd name="T49" fmla="*/ 36 h 64"/>
                <a:gd name="T50" fmla="*/ 29 w 51"/>
                <a:gd name="T51" fmla="*/ 29 h 64"/>
                <a:gd name="T52" fmla="*/ 23 w 51"/>
                <a:gd name="T53" fmla="*/ 29 h 64"/>
                <a:gd name="T54" fmla="*/ 25 w 51"/>
                <a:gd name="T55" fmla="*/ 25 h 64"/>
                <a:gd name="T56" fmla="*/ 19 w 51"/>
                <a:gd name="T57" fmla="*/ 16 h 64"/>
                <a:gd name="T58" fmla="*/ 23 w 51"/>
                <a:gd name="T59" fmla="*/ 14 h 64"/>
                <a:gd name="T60" fmla="*/ 29 w 51"/>
                <a:gd name="T61" fmla="*/ 15 h 64"/>
                <a:gd name="T62" fmla="*/ 31 w 51"/>
                <a:gd name="T63" fmla="*/ 9 h 64"/>
                <a:gd name="T64" fmla="*/ 36 w 51"/>
                <a:gd name="T65" fmla="*/ 10 h 64"/>
                <a:gd name="T66" fmla="*/ 42 w 51"/>
                <a:gd name="T67" fmla="*/ 7 h 64"/>
                <a:gd name="T68" fmla="*/ 47 w 51"/>
                <a:gd name="T69" fmla="*/ 10 h 64"/>
                <a:gd name="T70" fmla="*/ 49 w 51"/>
                <a:gd name="T71" fmla="*/ 7 h 64"/>
                <a:gd name="T72" fmla="*/ 51 w 51"/>
                <a:gd name="T73" fmla="*/ 3 h 64"/>
                <a:gd name="T74" fmla="*/ 51 w 51"/>
                <a:gd name="T75" fmla="*/ 0 h 64"/>
                <a:gd name="T76" fmla="*/ 44 w 51"/>
                <a:gd name="T77" fmla="*/ 60 h 64"/>
                <a:gd name="T78" fmla="*/ 31 w 51"/>
                <a:gd name="T79" fmla="*/ 59 h 64"/>
                <a:gd name="T80" fmla="*/ 26 w 51"/>
                <a:gd name="T81" fmla="*/ 61 h 64"/>
                <a:gd name="T82" fmla="*/ 38 w 51"/>
                <a:gd name="T83" fmla="*/ 64 h 64"/>
                <a:gd name="T84" fmla="*/ 49 w 51"/>
                <a:gd name="T85" fmla="*/ 60 h 64"/>
                <a:gd name="T86" fmla="*/ 44 w 51"/>
                <a:gd name="T8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 h="64">
                  <a:moveTo>
                    <a:pt x="51" y="0"/>
                  </a:moveTo>
                  <a:cubicBezTo>
                    <a:pt x="49" y="0"/>
                    <a:pt x="46" y="1"/>
                    <a:pt x="47" y="2"/>
                  </a:cubicBezTo>
                  <a:cubicBezTo>
                    <a:pt x="47" y="3"/>
                    <a:pt x="46" y="4"/>
                    <a:pt x="44" y="4"/>
                  </a:cubicBezTo>
                  <a:cubicBezTo>
                    <a:pt x="44" y="4"/>
                    <a:pt x="37" y="3"/>
                    <a:pt x="35" y="2"/>
                  </a:cubicBezTo>
                  <a:cubicBezTo>
                    <a:pt x="34" y="2"/>
                    <a:pt x="27" y="2"/>
                    <a:pt x="24" y="2"/>
                  </a:cubicBezTo>
                  <a:cubicBezTo>
                    <a:pt x="24" y="2"/>
                    <a:pt x="24" y="2"/>
                    <a:pt x="24" y="3"/>
                  </a:cubicBezTo>
                  <a:cubicBezTo>
                    <a:pt x="24" y="4"/>
                    <a:pt x="18" y="7"/>
                    <a:pt x="17" y="6"/>
                  </a:cubicBezTo>
                  <a:cubicBezTo>
                    <a:pt x="16" y="6"/>
                    <a:pt x="15" y="8"/>
                    <a:pt x="13" y="8"/>
                  </a:cubicBezTo>
                  <a:cubicBezTo>
                    <a:pt x="11" y="9"/>
                    <a:pt x="8" y="8"/>
                    <a:pt x="7" y="9"/>
                  </a:cubicBezTo>
                  <a:cubicBezTo>
                    <a:pt x="7" y="10"/>
                    <a:pt x="6" y="12"/>
                    <a:pt x="5" y="14"/>
                  </a:cubicBezTo>
                  <a:cubicBezTo>
                    <a:pt x="3" y="15"/>
                    <a:pt x="4" y="16"/>
                    <a:pt x="3" y="17"/>
                  </a:cubicBezTo>
                  <a:cubicBezTo>
                    <a:pt x="1" y="17"/>
                    <a:pt x="1" y="19"/>
                    <a:pt x="0" y="21"/>
                  </a:cubicBezTo>
                  <a:cubicBezTo>
                    <a:pt x="0" y="21"/>
                    <a:pt x="1" y="21"/>
                    <a:pt x="1" y="21"/>
                  </a:cubicBezTo>
                  <a:cubicBezTo>
                    <a:pt x="3" y="22"/>
                    <a:pt x="5" y="25"/>
                    <a:pt x="5" y="28"/>
                  </a:cubicBezTo>
                  <a:cubicBezTo>
                    <a:pt x="5" y="31"/>
                    <a:pt x="9" y="32"/>
                    <a:pt x="11" y="30"/>
                  </a:cubicBezTo>
                  <a:cubicBezTo>
                    <a:pt x="13" y="28"/>
                    <a:pt x="18" y="31"/>
                    <a:pt x="18" y="33"/>
                  </a:cubicBezTo>
                  <a:cubicBezTo>
                    <a:pt x="18" y="34"/>
                    <a:pt x="12" y="31"/>
                    <a:pt x="9" y="33"/>
                  </a:cubicBezTo>
                  <a:cubicBezTo>
                    <a:pt x="6" y="36"/>
                    <a:pt x="12" y="38"/>
                    <a:pt x="11" y="40"/>
                  </a:cubicBezTo>
                  <a:cubicBezTo>
                    <a:pt x="10" y="43"/>
                    <a:pt x="12" y="46"/>
                    <a:pt x="15" y="46"/>
                  </a:cubicBezTo>
                  <a:cubicBezTo>
                    <a:pt x="18" y="46"/>
                    <a:pt x="21" y="50"/>
                    <a:pt x="23" y="49"/>
                  </a:cubicBezTo>
                  <a:cubicBezTo>
                    <a:pt x="24" y="49"/>
                    <a:pt x="21" y="42"/>
                    <a:pt x="21" y="41"/>
                  </a:cubicBezTo>
                  <a:cubicBezTo>
                    <a:pt x="22" y="40"/>
                    <a:pt x="25" y="43"/>
                    <a:pt x="27" y="41"/>
                  </a:cubicBezTo>
                  <a:cubicBezTo>
                    <a:pt x="29" y="39"/>
                    <a:pt x="26" y="38"/>
                    <a:pt x="23" y="38"/>
                  </a:cubicBezTo>
                  <a:cubicBezTo>
                    <a:pt x="21" y="38"/>
                    <a:pt x="23" y="34"/>
                    <a:pt x="26" y="36"/>
                  </a:cubicBezTo>
                  <a:cubicBezTo>
                    <a:pt x="29" y="38"/>
                    <a:pt x="30" y="36"/>
                    <a:pt x="32" y="36"/>
                  </a:cubicBezTo>
                  <a:cubicBezTo>
                    <a:pt x="33" y="35"/>
                    <a:pt x="34" y="30"/>
                    <a:pt x="29" y="29"/>
                  </a:cubicBezTo>
                  <a:cubicBezTo>
                    <a:pt x="25" y="28"/>
                    <a:pt x="25" y="32"/>
                    <a:pt x="23" y="29"/>
                  </a:cubicBezTo>
                  <a:cubicBezTo>
                    <a:pt x="20" y="26"/>
                    <a:pt x="25" y="27"/>
                    <a:pt x="25" y="25"/>
                  </a:cubicBezTo>
                  <a:cubicBezTo>
                    <a:pt x="25" y="22"/>
                    <a:pt x="21" y="19"/>
                    <a:pt x="19" y="16"/>
                  </a:cubicBezTo>
                  <a:cubicBezTo>
                    <a:pt x="17" y="13"/>
                    <a:pt x="22" y="12"/>
                    <a:pt x="23" y="14"/>
                  </a:cubicBezTo>
                  <a:cubicBezTo>
                    <a:pt x="24" y="16"/>
                    <a:pt x="27" y="15"/>
                    <a:pt x="29" y="15"/>
                  </a:cubicBezTo>
                  <a:cubicBezTo>
                    <a:pt x="31" y="14"/>
                    <a:pt x="27" y="10"/>
                    <a:pt x="31" y="9"/>
                  </a:cubicBezTo>
                  <a:cubicBezTo>
                    <a:pt x="34" y="7"/>
                    <a:pt x="34" y="10"/>
                    <a:pt x="36" y="10"/>
                  </a:cubicBezTo>
                  <a:cubicBezTo>
                    <a:pt x="37" y="11"/>
                    <a:pt x="38" y="7"/>
                    <a:pt x="42" y="7"/>
                  </a:cubicBezTo>
                  <a:cubicBezTo>
                    <a:pt x="44" y="7"/>
                    <a:pt x="45" y="8"/>
                    <a:pt x="47" y="10"/>
                  </a:cubicBezTo>
                  <a:cubicBezTo>
                    <a:pt x="48" y="9"/>
                    <a:pt x="49" y="8"/>
                    <a:pt x="49" y="7"/>
                  </a:cubicBezTo>
                  <a:cubicBezTo>
                    <a:pt x="49" y="6"/>
                    <a:pt x="51" y="5"/>
                    <a:pt x="51" y="3"/>
                  </a:cubicBezTo>
                  <a:cubicBezTo>
                    <a:pt x="51" y="2"/>
                    <a:pt x="51" y="1"/>
                    <a:pt x="51" y="0"/>
                  </a:cubicBezTo>
                  <a:close/>
                  <a:moveTo>
                    <a:pt x="44" y="60"/>
                  </a:moveTo>
                  <a:cubicBezTo>
                    <a:pt x="42" y="59"/>
                    <a:pt x="34" y="61"/>
                    <a:pt x="31" y="59"/>
                  </a:cubicBezTo>
                  <a:cubicBezTo>
                    <a:pt x="29" y="56"/>
                    <a:pt x="24" y="60"/>
                    <a:pt x="26" y="61"/>
                  </a:cubicBezTo>
                  <a:cubicBezTo>
                    <a:pt x="29" y="61"/>
                    <a:pt x="34" y="64"/>
                    <a:pt x="38" y="64"/>
                  </a:cubicBezTo>
                  <a:cubicBezTo>
                    <a:pt x="43" y="64"/>
                    <a:pt x="49" y="62"/>
                    <a:pt x="49" y="60"/>
                  </a:cubicBezTo>
                  <a:cubicBezTo>
                    <a:pt x="49" y="59"/>
                    <a:pt x="46" y="61"/>
                    <a:pt x="44" y="60"/>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92" name="Freeform 135">
              <a:extLst>
                <a:ext uri="{FF2B5EF4-FFF2-40B4-BE49-F238E27FC236}">
                  <a16:creationId xmlns:a16="http://schemas.microsoft.com/office/drawing/2014/main" xmlns="" id="{76240462-F07C-4F41-9F9F-920F8832AF99}"/>
                </a:ext>
              </a:extLst>
            </p:cNvPr>
            <p:cNvSpPr>
              <a:spLocks/>
            </p:cNvSpPr>
            <p:nvPr/>
          </p:nvSpPr>
          <p:spPr bwMode="auto">
            <a:xfrm>
              <a:off x="16995997" y="3189954"/>
              <a:ext cx="53975" cy="33337"/>
            </a:xfrm>
            <a:custGeom>
              <a:avLst/>
              <a:gdLst>
                <a:gd name="T0" fmla="*/ 14 w 21"/>
                <a:gd name="T1" fmla="*/ 8 h 13"/>
                <a:gd name="T2" fmla="*/ 19 w 21"/>
                <a:gd name="T3" fmla="*/ 3 h 13"/>
                <a:gd name="T4" fmla="*/ 18 w 21"/>
                <a:gd name="T5" fmla="*/ 2 h 13"/>
                <a:gd name="T6" fmla="*/ 7 w 21"/>
                <a:gd name="T7" fmla="*/ 5 h 13"/>
                <a:gd name="T8" fmla="*/ 3 w 21"/>
                <a:gd name="T9" fmla="*/ 11 h 13"/>
                <a:gd name="T10" fmla="*/ 14 w 21"/>
                <a:gd name="T11" fmla="*/ 8 h 13"/>
              </a:gdLst>
              <a:ahLst/>
              <a:cxnLst>
                <a:cxn ang="0">
                  <a:pos x="T0" y="T1"/>
                </a:cxn>
                <a:cxn ang="0">
                  <a:pos x="T2" y="T3"/>
                </a:cxn>
                <a:cxn ang="0">
                  <a:pos x="T4" y="T5"/>
                </a:cxn>
                <a:cxn ang="0">
                  <a:pos x="T6" y="T7"/>
                </a:cxn>
                <a:cxn ang="0">
                  <a:pos x="T8" y="T9"/>
                </a:cxn>
                <a:cxn ang="0">
                  <a:pos x="T10" y="T11"/>
                </a:cxn>
              </a:cxnLst>
              <a:rect l="0" t="0" r="r" b="b"/>
              <a:pathLst>
                <a:path w="21" h="13">
                  <a:moveTo>
                    <a:pt x="14" y="8"/>
                  </a:moveTo>
                  <a:cubicBezTo>
                    <a:pt x="14" y="7"/>
                    <a:pt x="16" y="4"/>
                    <a:pt x="19" y="3"/>
                  </a:cubicBezTo>
                  <a:cubicBezTo>
                    <a:pt x="21" y="2"/>
                    <a:pt x="20" y="0"/>
                    <a:pt x="18" y="2"/>
                  </a:cubicBezTo>
                  <a:cubicBezTo>
                    <a:pt x="17" y="3"/>
                    <a:pt x="12" y="5"/>
                    <a:pt x="7" y="5"/>
                  </a:cubicBezTo>
                  <a:cubicBezTo>
                    <a:pt x="2" y="5"/>
                    <a:pt x="0" y="9"/>
                    <a:pt x="3" y="11"/>
                  </a:cubicBezTo>
                  <a:cubicBezTo>
                    <a:pt x="8" y="13"/>
                    <a:pt x="14" y="10"/>
                    <a:pt x="14" y="8"/>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93" name="Freeform 136">
              <a:extLst>
                <a:ext uri="{FF2B5EF4-FFF2-40B4-BE49-F238E27FC236}">
                  <a16:creationId xmlns:a16="http://schemas.microsoft.com/office/drawing/2014/main" xmlns="" id="{CC2D7344-20D4-4064-A6A7-9C8E5A1BA640}"/>
                </a:ext>
              </a:extLst>
            </p:cNvPr>
            <p:cNvSpPr>
              <a:spLocks/>
            </p:cNvSpPr>
            <p:nvPr/>
          </p:nvSpPr>
          <p:spPr bwMode="auto">
            <a:xfrm>
              <a:off x="15824422" y="2312066"/>
              <a:ext cx="225425" cy="114300"/>
            </a:xfrm>
            <a:custGeom>
              <a:avLst/>
              <a:gdLst>
                <a:gd name="T0" fmla="*/ 73 w 87"/>
                <a:gd name="T1" fmla="*/ 31 h 44"/>
                <a:gd name="T2" fmla="*/ 79 w 87"/>
                <a:gd name="T3" fmla="*/ 26 h 44"/>
                <a:gd name="T4" fmla="*/ 86 w 87"/>
                <a:gd name="T5" fmla="*/ 20 h 44"/>
                <a:gd name="T6" fmla="*/ 81 w 87"/>
                <a:gd name="T7" fmla="*/ 14 h 44"/>
                <a:gd name="T8" fmla="*/ 77 w 87"/>
                <a:gd name="T9" fmla="*/ 10 h 44"/>
                <a:gd name="T10" fmla="*/ 76 w 87"/>
                <a:gd name="T11" fmla="*/ 5 h 44"/>
                <a:gd name="T12" fmla="*/ 70 w 87"/>
                <a:gd name="T13" fmla="*/ 5 h 44"/>
                <a:gd name="T14" fmla="*/ 62 w 87"/>
                <a:gd name="T15" fmla="*/ 1 h 44"/>
                <a:gd name="T16" fmla="*/ 61 w 87"/>
                <a:gd name="T17" fmla="*/ 6 h 44"/>
                <a:gd name="T18" fmla="*/ 57 w 87"/>
                <a:gd name="T19" fmla="*/ 7 h 44"/>
                <a:gd name="T20" fmla="*/ 53 w 87"/>
                <a:gd name="T21" fmla="*/ 7 h 44"/>
                <a:gd name="T22" fmla="*/ 49 w 87"/>
                <a:gd name="T23" fmla="*/ 7 h 44"/>
                <a:gd name="T24" fmla="*/ 45 w 87"/>
                <a:gd name="T25" fmla="*/ 6 h 44"/>
                <a:gd name="T26" fmla="*/ 39 w 87"/>
                <a:gd name="T27" fmla="*/ 10 h 44"/>
                <a:gd name="T28" fmla="*/ 36 w 87"/>
                <a:gd name="T29" fmla="*/ 8 h 44"/>
                <a:gd name="T30" fmla="*/ 32 w 87"/>
                <a:gd name="T31" fmla="*/ 11 h 44"/>
                <a:gd name="T32" fmla="*/ 31 w 87"/>
                <a:gd name="T33" fmla="*/ 14 h 44"/>
                <a:gd name="T34" fmla="*/ 26 w 87"/>
                <a:gd name="T35" fmla="*/ 17 h 44"/>
                <a:gd name="T36" fmla="*/ 24 w 87"/>
                <a:gd name="T37" fmla="*/ 10 h 44"/>
                <a:gd name="T38" fmla="*/ 12 w 87"/>
                <a:gd name="T39" fmla="*/ 2 h 44"/>
                <a:gd name="T40" fmla="*/ 13 w 87"/>
                <a:gd name="T41" fmla="*/ 7 h 44"/>
                <a:gd name="T42" fmla="*/ 10 w 87"/>
                <a:gd name="T43" fmla="*/ 6 h 44"/>
                <a:gd name="T44" fmla="*/ 5 w 87"/>
                <a:gd name="T45" fmla="*/ 8 h 44"/>
                <a:gd name="T46" fmla="*/ 1 w 87"/>
                <a:gd name="T47" fmla="*/ 14 h 44"/>
                <a:gd name="T48" fmla="*/ 8 w 87"/>
                <a:gd name="T49" fmla="*/ 16 h 44"/>
                <a:gd name="T50" fmla="*/ 18 w 87"/>
                <a:gd name="T51" fmla="*/ 16 h 44"/>
                <a:gd name="T52" fmla="*/ 17 w 87"/>
                <a:gd name="T53" fmla="*/ 20 h 44"/>
                <a:gd name="T54" fmla="*/ 12 w 87"/>
                <a:gd name="T55" fmla="*/ 22 h 44"/>
                <a:gd name="T56" fmla="*/ 3 w 87"/>
                <a:gd name="T57" fmla="*/ 24 h 44"/>
                <a:gd name="T58" fmla="*/ 15 w 87"/>
                <a:gd name="T59" fmla="*/ 25 h 44"/>
                <a:gd name="T60" fmla="*/ 18 w 87"/>
                <a:gd name="T61" fmla="*/ 28 h 44"/>
                <a:gd name="T62" fmla="*/ 20 w 87"/>
                <a:gd name="T63" fmla="*/ 30 h 44"/>
                <a:gd name="T64" fmla="*/ 17 w 87"/>
                <a:gd name="T65" fmla="*/ 34 h 44"/>
                <a:gd name="T66" fmla="*/ 13 w 87"/>
                <a:gd name="T67" fmla="*/ 37 h 44"/>
                <a:gd name="T68" fmla="*/ 24 w 87"/>
                <a:gd name="T69" fmla="*/ 36 h 44"/>
                <a:gd name="T70" fmla="*/ 38 w 87"/>
                <a:gd name="T71" fmla="*/ 42 h 44"/>
                <a:gd name="T72" fmla="*/ 52 w 87"/>
                <a:gd name="T73" fmla="*/ 39 h 44"/>
                <a:gd name="T74" fmla="*/ 62 w 87"/>
                <a:gd name="T75" fmla="*/ 35 h 44"/>
                <a:gd name="T76" fmla="*/ 73 w 87"/>
                <a:gd name="T77" fmla="*/ 3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7" h="44">
                  <a:moveTo>
                    <a:pt x="73" y="31"/>
                  </a:moveTo>
                  <a:cubicBezTo>
                    <a:pt x="78" y="31"/>
                    <a:pt x="77" y="26"/>
                    <a:pt x="79" y="26"/>
                  </a:cubicBezTo>
                  <a:cubicBezTo>
                    <a:pt x="81" y="26"/>
                    <a:pt x="84" y="23"/>
                    <a:pt x="86" y="20"/>
                  </a:cubicBezTo>
                  <a:cubicBezTo>
                    <a:pt x="87" y="18"/>
                    <a:pt x="84" y="14"/>
                    <a:pt x="81" y="14"/>
                  </a:cubicBezTo>
                  <a:cubicBezTo>
                    <a:pt x="79" y="14"/>
                    <a:pt x="76" y="11"/>
                    <a:pt x="77" y="10"/>
                  </a:cubicBezTo>
                  <a:cubicBezTo>
                    <a:pt x="78" y="8"/>
                    <a:pt x="75" y="6"/>
                    <a:pt x="76" y="5"/>
                  </a:cubicBezTo>
                  <a:cubicBezTo>
                    <a:pt x="76" y="3"/>
                    <a:pt x="72" y="5"/>
                    <a:pt x="70" y="5"/>
                  </a:cubicBezTo>
                  <a:cubicBezTo>
                    <a:pt x="68" y="6"/>
                    <a:pt x="64" y="0"/>
                    <a:pt x="62" y="1"/>
                  </a:cubicBezTo>
                  <a:cubicBezTo>
                    <a:pt x="61" y="2"/>
                    <a:pt x="62" y="5"/>
                    <a:pt x="61" y="6"/>
                  </a:cubicBezTo>
                  <a:cubicBezTo>
                    <a:pt x="61" y="8"/>
                    <a:pt x="57" y="5"/>
                    <a:pt x="57" y="7"/>
                  </a:cubicBezTo>
                  <a:cubicBezTo>
                    <a:pt x="57" y="8"/>
                    <a:pt x="55" y="8"/>
                    <a:pt x="53" y="7"/>
                  </a:cubicBezTo>
                  <a:cubicBezTo>
                    <a:pt x="52" y="5"/>
                    <a:pt x="49" y="6"/>
                    <a:pt x="49" y="7"/>
                  </a:cubicBezTo>
                  <a:cubicBezTo>
                    <a:pt x="49" y="9"/>
                    <a:pt x="47" y="8"/>
                    <a:pt x="45" y="6"/>
                  </a:cubicBezTo>
                  <a:cubicBezTo>
                    <a:pt x="42" y="4"/>
                    <a:pt x="39" y="8"/>
                    <a:pt x="39" y="10"/>
                  </a:cubicBezTo>
                  <a:cubicBezTo>
                    <a:pt x="40" y="11"/>
                    <a:pt x="38" y="12"/>
                    <a:pt x="36" y="8"/>
                  </a:cubicBezTo>
                  <a:cubicBezTo>
                    <a:pt x="34" y="4"/>
                    <a:pt x="31" y="8"/>
                    <a:pt x="32" y="11"/>
                  </a:cubicBezTo>
                  <a:cubicBezTo>
                    <a:pt x="34" y="13"/>
                    <a:pt x="33" y="15"/>
                    <a:pt x="31" y="14"/>
                  </a:cubicBezTo>
                  <a:cubicBezTo>
                    <a:pt x="30" y="13"/>
                    <a:pt x="27" y="15"/>
                    <a:pt x="26" y="17"/>
                  </a:cubicBezTo>
                  <a:cubicBezTo>
                    <a:pt x="25" y="18"/>
                    <a:pt x="21" y="12"/>
                    <a:pt x="24" y="10"/>
                  </a:cubicBezTo>
                  <a:cubicBezTo>
                    <a:pt x="27" y="9"/>
                    <a:pt x="15" y="2"/>
                    <a:pt x="12" y="2"/>
                  </a:cubicBezTo>
                  <a:cubicBezTo>
                    <a:pt x="8" y="2"/>
                    <a:pt x="11" y="5"/>
                    <a:pt x="13" y="7"/>
                  </a:cubicBezTo>
                  <a:cubicBezTo>
                    <a:pt x="15" y="8"/>
                    <a:pt x="11" y="8"/>
                    <a:pt x="10" y="6"/>
                  </a:cubicBezTo>
                  <a:cubicBezTo>
                    <a:pt x="9" y="5"/>
                    <a:pt x="6" y="6"/>
                    <a:pt x="5" y="8"/>
                  </a:cubicBezTo>
                  <a:cubicBezTo>
                    <a:pt x="3" y="11"/>
                    <a:pt x="1" y="12"/>
                    <a:pt x="1" y="14"/>
                  </a:cubicBezTo>
                  <a:cubicBezTo>
                    <a:pt x="0" y="15"/>
                    <a:pt x="5" y="17"/>
                    <a:pt x="8" y="16"/>
                  </a:cubicBezTo>
                  <a:cubicBezTo>
                    <a:pt x="12" y="14"/>
                    <a:pt x="16" y="14"/>
                    <a:pt x="18" y="16"/>
                  </a:cubicBezTo>
                  <a:cubicBezTo>
                    <a:pt x="20" y="17"/>
                    <a:pt x="15" y="18"/>
                    <a:pt x="17" y="20"/>
                  </a:cubicBezTo>
                  <a:cubicBezTo>
                    <a:pt x="19" y="21"/>
                    <a:pt x="17" y="22"/>
                    <a:pt x="12" y="22"/>
                  </a:cubicBezTo>
                  <a:cubicBezTo>
                    <a:pt x="8" y="21"/>
                    <a:pt x="2" y="23"/>
                    <a:pt x="3" y="24"/>
                  </a:cubicBezTo>
                  <a:cubicBezTo>
                    <a:pt x="4" y="26"/>
                    <a:pt x="15" y="23"/>
                    <a:pt x="15" y="25"/>
                  </a:cubicBezTo>
                  <a:cubicBezTo>
                    <a:pt x="15" y="26"/>
                    <a:pt x="15" y="29"/>
                    <a:pt x="18" y="28"/>
                  </a:cubicBezTo>
                  <a:cubicBezTo>
                    <a:pt x="21" y="26"/>
                    <a:pt x="19" y="30"/>
                    <a:pt x="20" y="30"/>
                  </a:cubicBezTo>
                  <a:cubicBezTo>
                    <a:pt x="22" y="31"/>
                    <a:pt x="21" y="34"/>
                    <a:pt x="17" y="34"/>
                  </a:cubicBezTo>
                  <a:cubicBezTo>
                    <a:pt x="14" y="34"/>
                    <a:pt x="12" y="35"/>
                    <a:pt x="13" y="37"/>
                  </a:cubicBezTo>
                  <a:cubicBezTo>
                    <a:pt x="15" y="39"/>
                    <a:pt x="20" y="37"/>
                    <a:pt x="24" y="36"/>
                  </a:cubicBezTo>
                  <a:cubicBezTo>
                    <a:pt x="28" y="35"/>
                    <a:pt x="33" y="40"/>
                    <a:pt x="38" y="42"/>
                  </a:cubicBezTo>
                  <a:cubicBezTo>
                    <a:pt x="43" y="44"/>
                    <a:pt x="51" y="41"/>
                    <a:pt x="52" y="39"/>
                  </a:cubicBezTo>
                  <a:cubicBezTo>
                    <a:pt x="53" y="36"/>
                    <a:pt x="60" y="37"/>
                    <a:pt x="62" y="35"/>
                  </a:cubicBezTo>
                  <a:cubicBezTo>
                    <a:pt x="65" y="34"/>
                    <a:pt x="68" y="32"/>
                    <a:pt x="73" y="31"/>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94" name="Freeform 137">
              <a:extLst>
                <a:ext uri="{FF2B5EF4-FFF2-40B4-BE49-F238E27FC236}">
                  <a16:creationId xmlns:a16="http://schemas.microsoft.com/office/drawing/2014/main" xmlns="" id="{3F1AC8ED-A83B-42B8-BB91-84909FBDC37D}"/>
                </a:ext>
              </a:extLst>
            </p:cNvPr>
            <p:cNvSpPr>
              <a:spLocks/>
            </p:cNvSpPr>
            <p:nvPr/>
          </p:nvSpPr>
          <p:spPr bwMode="auto">
            <a:xfrm>
              <a:off x="16113347" y="2680366"/>
              <a:ext cx="95250" cy="106362"/>
            </a:xfrm>
            <a:custGeom>
              <a:avLst/>
              <a:gdLst>
                <a:gd name="T0" fmla="*/ 33 w 37"/>
                <a:gd name="T1" fmla="*/ 13 h 41"/>
                <a:gd name="T2" fmla="*/ 30 w 37"/>
                <a:gd name="T3" fmla="*/ 11 h 41"/>
                <a:gd name="T4" fmla="*/ 25 w 37"/>
                <a:gd name="T5" fmla="*/ 12 h 41"/>
                <a:gd name="T6" fmla="*/ 20 w 37"/>
                <a:gd name="T7" fmla="*/ 11 h 41"/>
                <a:gd name="T8" fmla="*/ 22 w 37"/>
                <a:gd name="T9" fmla="*/ 6 h 41"/>
                <a:gd name="T10" fmla="*/ 24 w 37"/>
                <a:gd name="T11" fmla="*/ 2 h 41"/>
                <a:gd name="T12" fmla="*/ 23 w 37"/>
                <a:gd name="T13" fmla="*/ 1 h 41"/>
                <a:gd name="T14" fmla="*/ 15 w 37"/>
                <a:gd name="T15" fmla="*/ 3 h 41"/>
                <a:gd name="T16" fmla="*/ 19 w 37"/>
                <a:gd name="T17" fmla="*/ 7 h 41"/>
                <a:gd name="T18" fmla="*/ 13 w 37"/>
                <a:gd name="T19" fmla="*/ 10 h 41"/>
                <a:gd name="T20" fmla="*/ 4 w 37"/>
                <a:gd name="T21" fmla="*/ 10 h 41"/>
                <a:gd name="T22" fmla="*/ 5 w 37"/>
                <a:gd name="T23" fmla="*/ 16 h 41"/>
                <a:gd name="T24" fmla="*/ 9 w 37"/>
                <a:gd name="T25" fmla="*/ 22 h 41"/>
                <a:gd name="T26" fmla="*/ 7 w 37"/>
                <a:gd name="T27" fmla="*/ 29 h 41"/>
                <a:gd name="T28" fmla="*/ 1 w 37"/>
                <a:gd name="T29" fmla="*/ 34 h 41"/>
                <a:gd name="T30" fmla="*/ 9 w 37"/>
                <a:gd name="T31" fmla="*/ 41 h 41"/>
                <a:gd name="T32" fmla="*/ 23 w 37"/>
                <a:gd name="T33" fmla="*/ 35 h 41"/>
                <a:gd name="T34" fmla="*/ 33 w 37"/>
                <a:gd name="T35" fmla="*/ 33 h 41"/>
                <a:gd name="T36" fmla="*/ 33 w 37"/>
                <a:gd name="T37" fmla="*/ 14 h 41"/>
                <a:gd name="T38" fmla="*/ 33 w 37"/>
                <a:gd name="T39" fmla="*/ 13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 h="41">
                  <a:moveTo>
                    <a:pt x="33" y="13"/>
                  </a:moveTo>
                  <a:cubicBezTo>
                    <a:pt x="32" y="12"/>
                    <a:pt x="31" y="11"/>
                    <a:pt x="30" y="11"/>
                  </a:cubicBezTo>
                  <a:cubicBezTo>
                    <a:pt x="27" y="7"/>
                    <a:pt x="26" y="10"/>
                    <a:pt x="25" y="12"/>
                  </a:cubicBezTo>
                  <a:cubicBezTo>
                    <a:pt x="25" y="14"/>
                    <a:pt x="22" y="11"/>
                    <a:pt x="20" y="11"/>
                  </a:cubicBezTo>
                  <a:cubicBezTo>
                    <a:pt x="19" y="11"/>
                    <a:pt x="21" y="7"/>
                    <a:pt x="22" y="6"/>
                  </a:cubicBezTo>
                  <a:cubicBezTo>
                    <a:pt x="23" y="6"/>
                    <a:pt x="24" y="4"/>
                    <a:pt x="24" y="2"/>
                  </a:cubicBezTo>
                  <a:cubicBezTo>
                    <a:pt x="24" y="2"/>
                    <a:pt x="24" y="2"/>
                    <a:pt x="23" y="1"/>
                  </a:cubicBezTo>
                  <a:cubicBezTo>
                    <a:pt x="20" y="0"/>
                    <a:pt x="15" y="0"/>
                    <a:pt x="15" y="3"/>
                  </a:cubicBezTo>
                  <a:cubicBezTo>
                    <a:pt x="15" y="6"/>
                    <a:pt x="19" y="5"/>
                    <a:pt x="19" y="7"/>
                  </a:cubicBezTo>
                  <a:cubicBezTo>
                    <a:pt x="19" y="9"/>
                    <a:pt x="15" y="8"/>
                    <a:pt x="13" y="10"/>
                  </a:cubicBezTo>
                  <a:cubicBezTo>
                    <a:pt x="10" y="12"/>
                    <a:pt x="7" y="9"/>
                    <a:pt x="4" y="10"/>
                  </a:cubicBezTo>
                  <a:cubicBezTo>
                    <a:pt x="1" y="12"/>
                    <a:pt x="7" y="13"/>
                    <a:pt x="5" y="16"/>
                  </a:cubicBezTo>
                  <a:cubicBezTo>
                    <a:pt x="3" y="19"/>
                    <a:pt x="5" y="19"/>
                    <a:pt x="9" y="22"/>
                  </a:cubicBezTo>
                  <a:cubicBezTo>
                    <a:pt x="12" y="25"/>
                    <a:pt x="7" y="26"/>
                    <a:pt x="7" y="29"/>
                  </a:cubicBezTo>
                  <a:cubicBezTo>
                    <a:pt x="7" y="32"/>
                    <a:pt x="2" y="32"/>
                    <a:pt x="1" y="34"/>
                  </a:cubicBezTo>
                  <a:cubicBezTo>
                    <a:pt x="0" y="36"/>
                    <a:pt x="5" y="41"/>
                    <a:pt x="9" y="41"/>
                  </a:cubicBezTo>
                  <a:cubicBezTo>
                    <a:pt x="12" y="41"/>
                    <a:pt x="19" y="39"/>
                    <a:pt x="23" y="35"/>
                  </a:cubicBezTo>
                  <a:cubicBezTo>
                    <a:pt x="27" y="31"/>
                    <a:pt x="29" y="35"/>
                    <a:pt x="33" y="33"/>
                  </a:cubicBezTo>
                  <a:cubicBezTo>
                    <a:pt x="37" y="31"/>
                    <a:pt x="34" y="17"/>
                    <a:pt x="33" y="14"/>
                  </a:cubicBezTo>
                  <a:cubicBezTo>
                    <a:pt x="33" y="14"/>
                    <a:pt x="33" y="13"/>
                    <a:pt x="33" y="13"/>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95" name="Freeform 138">
              <a:extLst>
                <a:ext uri="{FF2B5EF4-FFF2-40B4-BE49-F238E27FC236}">
                  <a16:creationId xmlns:a16="http://schemas.microsoft.com/office/drawing/2014/main" xmlns="" id="{3F89C1B8-581B-4468-8A80-3046BD4AC1CB}"/>
                </a:ext>
              </a:extLst>
            </p:cNvPr>
            <p:cNvSpPr>
              <a:spLocks noEditPoints="1"/>
            </p:cNvSpPr>
            <p:nvPr/>
          </p:nvSpPr>
          <p:spPr bwMode="auto">
            <a:xfrm>
              <a:off x="16162559" y="2507329"/>
              <a:ext cx="211138" cy="323850"/>
            </a:xfrm>
            <a:custGeom>
              <a:avLst/>
              <a:gdLst>
                <a:gd name="T0" fmla="*/ 5 w 81"/>
                <a:gd name="T1" fmla="*/ 68 h 124"/>
                <a:gd name="T2" fmla="*/ 1 w 81"/>
                <a:gd name="T3" fmla="*/ 77 h 124"/>
                <a:gd name="T4" fmla="*/ 11 w 81"/>
                <a:gd name="T5" fmla="*/ 77 h 124"/>
                <a:gd name="T6" fmla="*/ 20 w 81"/>
                <a:gd name="T7" fmla="*/ 75 h 124"/>
                <a:gd name="T8" fmla="*/ 81 w 81"/>
                <a:gd name="T9" fmla="*/ 96 h 124"/>
                <a:gd name="T10" fmla="*/ 68 w 81"/>
                <a:gd name="T11" fmla="*/ 91 h 124"/>
                <a:gd name="T12" fmla="*/ 65 w 81"/>
                <a:gd name="T13" fmla="*/ 82 h 124"/>
                <a:gd name="T14" fmla="*/ 54 w 81"/>
                <a:gd name="T15" fmla="*/ 63 h 124"/>
                <a:gd name="T16" fmla="*/ 41 w 81"/>
                <a:gd name="T17" fmla="*/ 57 h 124"/>
                <a:gd name="T18" fmla="*/ 50 w 81"/>
                <a:gd name="T19" fmla="*/ 38 h 124"/>
                <a:gd name="T20" fmla="*/ 33 w 81"/>
                <a:gd name="T21" fmla="*/ 35 h 124"/>
                <a:gd name="T22" fmla="*/ 40 w 81"/>
                <a:gd name="T23" fmla="*/ 23 h 124"/>
                <a:gd name="T24" fmla="*/ 28 w 81"/>
                <a:gd name="T25" fmla="*/ 27 h 124"/>
                <a:gd name="T26" fmla="*/ 19 w 81"/>
                <a:gd name="T27" fmla="*/ 39 h 124"/>
                <a:gd name="T28" fmla="*/ 12 w 81"/>
                <a:gd name="T29" fmla="*/ 39 h 124"/>
                <a:gd name="T30" fmla="*/ 15 w 81"/>
                <a:gd name="T31" fmla="*/ 50 h 124"/>
                <a:gd name="T32" fmla="*/ 13 w 81"/>
                <a:gd name="T33" fmla="*/ 59 h 124"/>
                <a:gd name="T34" fmla="*/ 22 w 81"/>
                <a:gd name="T35" fmla="*/ 62 h 124"/>
                <a:gd name="T36" fmla="*/ 27 w 81"/>
                <a:gd name="T37" fmla="*/ 62 h 124"/>
                <a:gd name="T38" fmla="*/ 36 w 81"/>
                <a:gd name="T39" fmla="*/ 69 h 124"/>
                <a:gd name="T40" fmla="*/ 39 w 81"/>
                <a:gd name="T41" fmla="*/ 76 h 124"/>
                <a:gd name="T42" fmla="*/ 41 w 81"/>
                <a:gd name="T43" fmla="*/ 86 h 124"/>
                <a:gd name="T44" fmla="*/ 30 w 81"/>
                <a:gd name="T45" fmla="*/ 88 h 124"/>
                <a:gd name="T46" fmla="*/ 32 w 81"/>
                <a:gd name="T47" fmla="*/ 96 h 124"/>
                <a:gd name="T48" fmla="*/ 28 w 81"/>
                <a:gd name="T49" fmla="*/ 105 h 124"/>
                <a:gd name="T50" fmla="*/ 41 w 81"/>
                <a:gd name="T51" fmla="*/ 107 h 124"/>
                <a:gd name="T52" fmla="*/ 33 w 81"/>
                <a:gd name="T53" fmla="*/ 110 h 124"/>
                <a:gd name="T54" fmla="*/ 28 w 81"/>
                <a:gd name="T55" fmla="*/ 119 h 124"/>
                <a:gd name="T56" fmla="*/ 38 w 81"/>
                <a:gd name="T57" fmla="*/ 117 h 124"/>
                <a:gd name="T58" fmla="*/ 50 w 81"/>
                <a:gd name="T59" fmla="*/ 114 h 124"/>
                <a:gd name="T60" fmla="*/ 66 w 81"/>
                <a:gd name="T61" fmla="*/ 114 h 124"/>
                <a:gd name="T62" fmla="*/ 73 w 81"/>
                <a:gd name="T63" fmla="*/ 108 h 124"/>
                <a:gd name="T64" fmla="*/ 81 w 81"/>
                <a:gd name="T65" fmla="*/ 96 h 124"/>
                <a:gd name="T66" fmla="*/ 14 w 81"/>
                <a:gd name="T67" fmla="*/ 29 h 124"/>
                <a:gd name="T68" fmla="*/ 55 w 81"/>
                <a:gd name="T69" fmla="*/ 10 h 124"/>
                <a:gd name="T70" fmla="*/ 55 w 81"/>
                <a:gd name="T71" fmla="*/ 1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124">
                  <a:moveTo>
                    <a:pt x="16" y="66"/>
                  </a:moveTo>
                  <a:cubicBezTo>
                    <a:pt x="12" y="63"/>
                    <a:pt x="9" y="68"/>
                    <a:pt x="5" y="68"/>
                  </a:cubicBezTo>
                  <a:cubicBezTo>
                    <a:pt x="5" y="70"/>
                    <a:pt x="4" y="72"/>
                    <a:pt x="3" y="72"/>
                  </a:cubicBezTo>
                  <a:cubicBezTo>
                    <a:pt x="2" y="73"/>
                    <a:pt x="0" y="77"/>
                    <a:pt x="1" y="77"/>
                  </a:cubicBezTo>
                  <a:cubicBezTo>
                    <a:pt x="3" y="77"/>
                    <a:pt x="6" y="80"/>
                    <a:pt x="6" y="78"/>
                  </a:cubicBezTo>
                  <a:cubicBezTo>
                    <a:pt x="7" y="76"/>
                    <a:pt x="8" y="73"/>
                    <a:pt x="11" y="77"/>
                  </a:cubicBezTo>
                  <a:cubicBezTo>
                    <a:pt x="12" y="77"/>
                    <a:pt x="13" y="78"/>
                    <a:pt x="14" y="79"/>
                  </a:cubicBezTo>
                  <a:cubicBezTo>
                    <a:pt x="14" y="77"/>
                    <a:pt x="18" y="77"/>
                    <a:pt x="20" y="75"/>
                  </a:cubicBezTo>
                  <a:cubicBezTo>
                    <a:pt x="22" y="73"/>
                    <a:pt x="19" y="69"/>
                    <a:pt x="16" y="66"/>
                  </a:cubicBezTo>
                  <a:close/>
                  <a:moveTo>
                    <a:pt x="81" y="96"/>
                  </a:moveTo>
                  <a:cubicBezTo>
                    <a:pt x="81" y="92"/>
                    <a:pt x="73" y="89"/>
                    <a:pt x="72" y="91"/>
                  </a:cubicBezTo>
                  <a:cubicBezTo>
                    <a:pt x="71" y="93"/>
                    <a:pt x="69" y="93"/>
                    <a:pt x="68" y="91"/>
                  </a:cubicBezTo>
                  <a:cubicBezTo>
                    <a:pt x="67" y="89"/>
                    <a:pt x="69" y="87"/>
                    <a:pt x="68" y="87"/>
                  </a:cubicBezTo>
                  <a:cubicBezTo>
                    <a:pt x="67" y="86"/>
                    <a:pt x="65" y="83"/>
                    <a:pt x="65" y="82"/>
                  </a:cubicBezTo>
                  <a:cubicBezTo>
                    <a:pt x="66" y="81"/>
                    <a:pt x="63" y="73"/>
                    <a:pt x="59" y="72"/>
                  </a:cubicBezTo>
                  <a:cubicBezTo>
                    <a:pt x="55" y="71"/>
                    <a:pt x="55" y="66"/>
                    <a:pt x="54" y="63"/>
                  </a:cubicBezTo>
                  <a:cubicBezTo>
                    <a:pt x="53" y="60"/>
                    <a:pt x="51" y="61"/>
                    <a:pt x="49" y="59"/>
                  </a:cubicBezTo>
                  <a:cubicBezTo>
                    <a:pt x="47" y="56"/>
                    <a:pt x="43" y="57"/>
                    <a:pt x="41" y="57"/>
                  </a:cubicBezTo>
                  <a:cubicBezTo>
                    <a:pt x="40" y="57"/>
                    <a:pt x="41" y="54"/>
                    <a:pt x="44" y="52"/>
                  </a:cubicBezTo>
                  <a:cubicBezTo>
                    <a:pt x="47" y="50"/>
                    <a:pt x="50" y="40"/>
                    <a:pt x="50" y="38"/>
                  </a:cubicBezTo>
                  <a:cubicBezTo>
                    <a:pt x="50" y="36"/>
                    <a:pt x="38" y="36"/>
                    <a:pt x="36" y="37"/>
                  </a:cubicBezTo>
                  <a:cubicBezTo>
                    <a:pt x="33" y="39"/>
                    <a:pt x="31" y="36"/>
                    <a:pt x="33" y="35"/>
                  </a:cubicBezTo>
                  <a:cubicBezTo>
                    <a:pt x="35" y="34"/>
                    <a:pt x="39" y="30"/>
                    <a:pt x="39" y="28"/>
                  </a:cubicBezTo>
                  <a:cubicBezTo>
                    <a:pt x="39" y="26"/>
                    <a:pt x="42" y="25"/>
                    <a:pt x="40" y="23"/>
                  </a:cubicBezTo>
                  <a:cubicBezTo>
                    <a:pt x="38" y="22"/>
                    <a:pt x="38" y="25"/>
                    <a:pt x="37" y="27"/>
                  </a:cubicBezTo>
                  <a:cubicBezTo>
                    <a:pt x="35" y="28"/>
                    <a:pt x="32" y="27"/>
                    <a:pt x="28" y="27"/>
                  </a:cubicBezTo>
                  <a:cubicBezTo>
                    <a:pt x="24" y="26"/>
                    <a:pt x="23" y="31"/>
                    <a:pt x="23" y="33"/>
                  </a:cubicBezTo>
                  <a:cubicBezTo>
                    <a:pt x="23" y="36"/>
                    <a:pt x="19" y="37"/>
                    <a:pt x="19" y="39"/>
                  </a:cubicBezTo>
                  <a:cubicBezTo>
                    <a:pt x="20" y="41"/>
                    <a:pt x="18" y="42"/>
                    <a:pt x="17" y="41"/>
                  </a:cubicBezTo>
                  <a:cubicBezTo>
                    <a:pt x="16" y="40"/>
                    <a:pt x="15" y="38"/>
                    <a:pt x="12" y="39"/>
                  </a:cubicBezTo>
                  <a:cubicBezTo>
                    <a:pt x="10" y="41"/>
                    <a:pt x="15" y="44"/>
                    <a:pt x="18" y="44"/>
                  </a:cubicBezTo>
                  <a:cubicBezTo>
                    <a:pt x="21" y="45"/>
                    <a:pt x="16" y="47"/>
                    <a:pt x="15" y="50"/>
                  </a:cubicBezTo>
                  <a:cubicBezTo>
                    <a:pt x="15" y="53"/>
                    <a:pt x="19" y="52"/>
                    <a:pt x="20" y="54"/>
                  </a:cubicBezTo>
                  <a:cubicBezTo>
                    <a:pt x="20" y="57"/>
                    <a:pt x="13" y="57"/>
                    <a:pt x="13" y="59"/>
                  </a:cubicBezTo>
                  <a:cubicBezTo>
                    <a:pt x="13" y="62"/>
                    <a:pt x="17" y="58"/>
                    <a:pt x="19" y="57"/>
                  </a:cubicBezTo>
                  <a:cubicBezTo>
                    <a:pt x="20" y="56"/>
                    <a:pt x="18" y="63"/>
                    <a:pt x="22" y="62"/>
                  </a:cubicBezTo>
                  <a:cubicBezTo>
                    <a:pt x="26" y="62"/>
                    <a:pt x="25" y="56"/>
                    <a:pt x="27" y="56"/>
                  </a:cubicBezTo>
                  <a:cubicBezTo>
                    <a:pt x="28" y="56"/>
                    <a:pt x="26" y="59"/>
                    <a:pt x="27" y="62"/>
                  </a:cubicBezTo>
                  <a:cubicBezTo>
                    <a:pt x="28" y="64"/>
                    <a:pt x="24" y="68"/>
                    <a:pt x="24" y="70"/>
                  </a:cubicBezTo>
                  <a:cubicBezTo>
                    <a:pt x="25" y="71"/>
                    <a:pt x="33" y="71"/>
                    <a:pt x="36" y="69"/>
                  </a:cubicBezTo>
                  <a:cubicBezTo>
                    <a:pt x="39" y="66"/>
                    <a:pt x="40" y="69"/>
                    <a:pt x="38" y="71"/>
                  </a:cubicBezTo>
                  <a:cubicBezTo>
                    <a:pt x="36" y="73"/>
                    <a:pt x="37" y="75"/>
                    <a:pt x="39" y="76"/>
                  </a:cubicBezTo>
                  <a:cubicBezTo>
                    <a:pt x="42" y="77"/>
                    <a:pt x="42" y="77"/>
                    <a:pt x="41" y="79"/>
                  </a:cubicBezTo>
                  <a:cubicBezTo>
                    <a:pt x="40" y="81"/>
                    <a:pt x="41" y="84"/>
                    <a:pt x="41" y="86"/>
                  </a:cubicBezTo>
                  <a:cubicBezTo>
                    <a:pt x="40" y="88"/>
                    <a:pt x="33" y="88"/>
                    <a:pt x="33" y="87"/>
                  </a:cubicBezTo>
                  <a:cubicBezTo>
                    <a:pt x="32" y="85"/>
                    <a:pt x="29" y="86"/>
                    <a:pt x="30" y="88"/>
                  </a:cubicBezTo>
                  <a:cubicBezTo>
                    <a:pt x="31" y="89"/>
                    <a:pt x="27" y="91"/>
                    <a:pt x="28" y="93"/>
                  </a:cubicBezTo>
                  <a:cubicBezTo>
                    <a:pt x="28" y="94"/>
                    <a:pt x="32" y="94"/>
                    <a:pt x="32" y="96"/>
                  </a:cubicBezTo>
                  <a:cubicBezTo>
                    <a:pt x="32" y="98"/>
                    <a:pt x="29" y="100"/>
                    <a:pt x="25" y="101"/>
                  </a:cubicBezTo>
                  <a:cubicBezTo>
                    <a:pt x="20" y="103"/>
                    <a:pt x="26" y="106"/>
                    <a:pt x="28" y="105"/>
                  </a:cubicBezTo>
                  <a:cubicBezTo>
                    <a:pt x="30" y="103"/>
                    <a:pt x="29" y="106"/>
                    <a:pt x="33" y="106"/>
                  </a:cubicBezTo>
                  <a:cubicBezTo>
                    <a:pt x="36" y="106"/>
                    <a:pt x="37" y="108"/>
                    <a:pt x="41" y="107"/>
                  </a:cubicBezTo>
                  <a:cubicBezTo>
                    <a:pt x="44" y="106"/>
                    <a:pt x="44" y="107"/>
                    <a:pt x="42" y="109"/>
                  </a:cubicBezTo>
                  <a:cubicBezTo>
                    <a:pt x="39" y="111"/>
                    <a:pt x="35" y="109"/>
                    <a:pt x="33" y="110"/>
                  </a:cubicBezTo>
                  <a:cubicBezTo>
                    <a:pt x="30" y="111"/>
                    <a:pt x="21" y="121"/>
                    <a:pt x="23" y="123"/>
                  </a:cubicBezTo>
                  <a:cubicBezTo>
                    <a:pt x="24" y="124"/>
                    <a:pt x="25" y="121"/>
                    <a:pt x="28" y="119"/>
                  </a:cubicBezTo>
                  <a:cubicBezTo>
                    <a:pt x="32" y="118"/>
                    <a:pt x="32" y="120"/>
                    <a:pt x="34" y="121"/>
                  </a:cubicBezTo>
                  <a:cubicBezTo>
                    <a:pt x="36" y="121"/>
                    <a:pt x="36" y="117"/>
                    <a:pt x="38" y="117"/>
                  </a:cubicBezTo>
                  <a:cubicBezTo>
                    <a:pt x="40" y="117"/>
                    <a:pt x="41" y="116"/>
                    <a:pt x="44" y="116"/>
                  </a:cubicBezTo>
                  <a:cubicBezTo>
                    <a:pt x="47" y="117"/>
                    <a:pt x="49" y="116"/>
                    <a:pt x="50" y="114"/>
                  </a:cubicBezTo>
                  <a:cubicBezTo>
                    <a:pt x="52" y="113"/>
                    <a:pt x="55" y="117"/>
                    <a:pt x="57" y="116"/>
                  </a:cubicBezTo>
                  <a:cubicBezTo>
                    <a:pt x="58" y="115"/>
                    <a:pt x="63" y="114"/>
                    <a:pt x="66" y="114"/>
                  </a:cubicBezTo>
                  <a:cubicBezTo>
                    <a:pt x="68" y="114"/>
                    <a:pt x="75" y="111"/>
                    <a:pt x="77" y="110"/>
                  </a:cubicBezTo>
                  <a:cubicBezTo>
                    <a:pt x="79" y="108"/>
                    <a:pt x="76" y="108"/>
                    <a:pt x="73" y="108"/>
                  </a:cubicBezTo>
                  <a:cubicBezTo>
                    <a:pt x="71" y="108"/>
                    <a:pt x="71" y="106"/>
                    <a:pt x="74" y="103"/>
                  </a:cubicBezTo>
                  <a:cubicBezTo>
                    <a:pt x="76" y="101"/>
                    <a:pt x="80" y="99"/>
                    <a:pt x="81" y="96"/>
                  </a:cubicBezTo>
                  <a:close/>
                  <a:moveTo>
                    <a:pt x="9" y="36"/>
                  </a:moveTo>
                  <a:cubicBezTo>
                    <a:pt x="12" y="36"/>
                    <a:pt x="16" y="30"/>
                    <a:pt x="14" y="29"/>
                  </a:cubicBezTo>
                  <a:cubicBezTo>
                    <a:pt x="13" y="27"/>
                    <a:pt x="7" y="36"/>
                    <a:pt x="9" y="36"/>
                  </a:cubicBezTo>
                  <a:close/>
                  <a:moveTo>
                    <a:pt x="55" y="10"/>
                  </a:moveTo>
                  <a:cubicBezTo>
                    <a:pt x="57" y="8"/>
                    <a:pt x="59" y="0"/>
                    <a:pt x="56" y="1"/>
                  </a:cubicBezTo>
                  <a:cubicBezTo>
                    <a:pt x="53" y="2"/>
                    <a:pt x="54" y="11"/>
                    <a:pt x="55" y="10"/>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96" name="Freeform 139">
              <a:extLst>
                <a:ext uri="{FF2B5EF4-FFF2-40B4-BE49-F238E27FC236}">
                  <a16:creationId xmlns:a16="http://schemas.microsoft.com/office/drawing/2014/main" xmlns="" id="{77D95E85-0A9B-4135-B03A-AE7A901839C0}"/>
                </a:ext>
              </a:extLst>
            </p:cNvPr>
            <p:cNvSpPr>
              <a:spLocks noEditPoints="1"/>
            </p:cNvSpPr>
            <p:nvPr/>
          </p:nvSpPr>
          <p:spPr bwMode="auto">
            <a:xfrm>
              <a:off x="16162559" y="2507329"/>
              <a:ext cx="211138" cy="323850"/>
            </a:xfrm>
            <a:custGeom>
              <a:avLst/>
              <a:gdLst>
                <a:gd name="T0" fmla="*/ 5 w 81"/>
                <a:gd name="T1" fmla="*/ 68 h 124"/>
                <a:gd name="T2" fmla="*/ 1 w 81"/>
                <a:gd name="T3" fmla="*/ 77 h 124"/>
                <a:gd name="T4" fmla="*/ 11 w 81"/>
                <a:gd name="T5" fmla="*/ 77 h 124"/>
                <a:gd name="T6" fmla="*/ 20 w 81"/>
                <a:gd name="T7" fmla="*/ 75 h 124"/>
                <a:gd name="T8" fmla="*/ 81 w 81"/>
                <a:gd name="T9" fmla="*/ 96 h 124"/>
                <a:gd name="T10" fmla="*/ 68 w 81"/>
                <a:gd name="T11" fmla="*/ 91 h 124"/>
                <a:gd name="T12" fmla="*/ 65 w 81"/>
                <a:gd name="T13" fmla="*/ 82 h 124"/>
                <a:gd name="T14" fmla="*/ 54 w 81"/>
                <a:gd name="T15" fmla="*/ 63 h 124"/>
                <a:gd name="T16" fmla="*/ 41 w 81"/>
                <a:gd name="T17" fmla="*/ 57 h 124"/>
                <a:gd name="T18" fmla="*/ 50 w 81"/>
                <a:gd name="T19" fmla="*/ 38 h 124"/>
                <a:gd name="T20" fmla="*/ 33 w 81"/>
                <a:gd name="T21" fmla="*/ 35 h 124"/>
                <a:gd name="T22" fmla="*/ 40 w 81"/>
                <a:gd name="T23" fmla="*/ 23 h 124"/>
                <a:gd name="T24" fmla="*/ 28 w 81"/>
                <a:gd name="T25" fmla="*/ 27 h 124"/>
                <a:gd name="T26" fmla="*/ 19 w 81"/>
                <a:gd name="T27" fmla="*/ 39 h 124"/>
                <a:gd name="T28" fmla="*/ 12 w 81"/>
                <a:gd name="T29" fmla="*/ 39 h 124"/>
                <a:gd name="T30" fmla="*/ 15 w 81"/>
                <a:gd name="T31" fmla="*/ 50 h 124"/>
                <a:gd name="T32" fmla="*/ 13 w 81"/>
                <a:gd name="T33" fmla="*/ 59 h 124"/>
                <a:gd name="T34" fmla="*/ 22 w 81"/>
                <a:gd name="T35" fmla="*/ 62 h 124"/>
                <a:gd name="T36" fmla="*/ 27 w 81"/>
                <a:gd name="T37" fmla="*/ 62 h 124"/>
                <a:gd name="T38" fmla="*/ 36 w 81"/>
                <a:gd name="T39" fmla="*/ 69 h 124"/>
                <a:gd name="T40" fmla="*/ 39 w 81"/>
                <a:gd name="T41" fmla="*/ 76 h 124"/>
                <a:gd name="T42" fmla="*/ 41 w 81"/>
                <a:gd name="T43" fmla="*/ 86 h 124"/>
                <a:gd name="T44" fmla="*/ 30 w 81"/>
                <a:gd name="T45" fmla="*/ 88 h 124"/>
                <a:gd name="T46" fmla="*/ 32 w 81"/>
                <a:gd name="T47" fmla="*/ 96 h 124"/>
                <a:gd name="T48" fmla="*/ 28 w 81"/>
                <a:gd name="T49" fmla="*/ 105 h 124"/>
                <a:gd name="T50" fmla="*/ 41 w 81"/>
                <a:gd name="T51" fmla="*/ 107 h 124"/>
                <a:gd name="T52" fmla="*/ 33 w 81"/>
                <a:gd name="T53" fmla="*/ 110 h 124"/>
                <a:gd name="T54" fmla="*/ 28 w 81"/>
                <a:gd name="T55" fmla="*/ 119 h 124"/>
                <a:gd name="T56" fmla="*/ 38 w 81"/>
                <a:gd name="T57" fmla="*/ 117 h 124"/>
                <a:gd name="T58" fmla="*/ 50 w 81"/>
                <a:gd name="T59" fmla="*/ 114 h 124"/>
                <a:gd name="T60" fmla="*/ 66 w 81"/>
                <a:gd name="T61" fmla="*/ 114 h 124"/>
                <a:gd name="T62" fmla="*/ 73 w 81"/>
                <a:gd name="T63" fmla="*/ 108 h 124"/>
                <a:gd name="T64" fmla="*/ 81 w 81"/>
                <a:gd name="T65" fmla="*/ 96 h 124"/>
                <a:gd name="T66" fmla="*/ 14 w 81"/>
                <a:gd name="T67" fmla="*/ 29 h 124"/>
                <a:gd name="T68" fmla="*/ 55 w 81"/>
                <a:gd name="T69" fmla="*/ 10 h 124"/>
                <a:gd name="T70" fmla="*/ 55 w 81"/>
                <a:gd name="T71" fmla="*/ 1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 h="124">
                  <a:moveTo>
                    <a:pt x="16" y="66"/>
                  </a:moveTo>
                  <a:cubicBezTo>
                    <a:pt x="12" y="63"/>
                    <a:pt x="9" y="68"/>
                    <a:pt x="5" y="68"/>
                  </a:cubicBezTo>
                  <a:cubicBezTo>
                    <a:pt x="5" y="70"/>
                    <a:pt x="4" y="72"/>
                    <a:pt x="3" y="72"/>
                  </a:cubicBezTo>
                  <a:cubicBezTo>
                    <a:pt x="2" y="73"/>
                    <a:pt x="0" y="77"/>
                    <a:pt x="1" y="77"/>
                  </a:cubicBezTo>
                  <a:cubicBezTo>
                    <a:pt x="3" y="77"/>
                    <a:pt x="6" y="80"/>
                    <a:pt x="6" y="78"/>
                  </a:cubicBezTo>
                  <a:cubicBezTo>
                    <a:pt x="7" y="76"/>
                    <a:pt x="8" y="73"/>
                    <a:pt x="11" y="77"/>
                  </a:cubicBezTo>
                  <a:cubicBezTo>
                    <a:pt x="12" y="77"/>
                    <a:pt x="13" y="78"/>
                    <a:pt x="14" y="79"/>
                  </a:cubicBezTo>
                  <a:cubicBezTo>
                    <a:pt x="14" y="77"/>
                    <a:pt x="18" y="77"/>
                    <a:pt x="20" y="75"/>
                  </a:cubicBezTo>
                  <a:cubicBezTo>
                    <a:pt x="22" y="73"/>
                    <a:pt x="19" y="69"/>
                    <a:pt x="16" y="66"/>
                  </a:cubicBezTo>
                  <a:close/>
                  <a:moveTo>
                    <a:pt x="81" y="96"/>
                  </a:moveTo>
                  <a:cubicBezTo>
                    <a:pt x="81" y="92"/>
                    <a:pt x="73" y="89"/>
                    <a:pt x="72" y="91"/>
                  </a:cubicBezTo>
                  <a:cubicBezTo>
                    <a:pt x="71" y="93"/>
                    <a:pt x="69" y="93"/>
                    <a:pt x="68" y="91"/>
                  </a:cubicBezTo>
                  <a:cubicBezTo>
                    <a:pt x="67" y="89"/>
                    <a:pt x="69" y="87"/>
                    <a:pt x="68" y="87"/>
                  </a:cubicBezTo>
                  <a:cubicBezTo>
                    <a:pt x="67" y="86"/>
                    <a:pt x="65" y="83"/>
                    <a:pt x="65" y="82"/>
                  </a:cubicBezTo>
                  <a:cubicBezTo>
                    <a:pt x="66" y="81"/>
                    <a:pt x="63" y="73"/>
                    <a:pt x="59" y="72"/>
                  </a:cubicBezTo>
                  <a:cubicBezTo>
                    <a:pt x="55" y="71"/>
                    <a:pt x="55" y="66"/>
                    <a:pt x="54" y="63"/>
                  </a:cubicBezTo>
                  <a:cubicBezTo>
                    <a:pt x="53" y="60"/>
                    <a:pt x="51" y="61"/>
                    <a:pt x="49" y="59"/>
                  </a:cubicBezTo>
                  <a:cubicBezTo>
                    <a:pt x="47" y="56"/>
                    <a:pt x="43" y="57"/>
                    <a:pt x="41" y="57"/>
                  </a:cubicBezTo>
                  <a:cubicBezTo>
                    <a:pt x="40" y="57"/>
                    <a:pt x="41" y="54"/>
                    <a:pt x="44" y="52"/>
                  </a:cubicBezTo>
                  <a:cubicBezTo>
                    <a:pt x="47" y="50"/>
                    <a:pt x="50" y="40"/>
                    <a:pt x="50" y="38"/>
                  </a:cubicBezTo>
                  <a:cubicBezTo>
                    <a:pt x="50" y="36"/>
                    <a:pt x="38" y="36"/>
                    <a:pt x="36" y="37"/>
                  </a:cubicBezTo>
                  <a:cubicBezTo>
                    <a:pt x="33" y="39"/>
                    <a:pt x="31" y="36"/>
                    <a:pt x="33" y="35"/>
                  </a:cubicBezTo>
                  <a:cubicBezTo>
                    <a:pt x="35" y="34"/>
                    <a:pt x="39" y="30"/>
                    <a:pt x="39" y="28"/>
                  </a:cubicBezTo>
                  <a:cubicBezTo>
                    <a:pt x="39" y="26"/>
                    <a:pt x="42" y="25"/>
                    <a:pt x="40" y="23"/>
                  </a:cubicBezTo>
                  <a:cubicBezTo>
                    <a:pt x="38" y="22"/>
                    <a:pt x="38" y="25"/>
                    <a:pt x="37" y="27"/>
                  </a:cubicBezTo>
                  <a:cubicBezTo>
                    <a:pt x="35" y="28"/>
                    <a:pt x="32" y="27"/>
                    <a:pt x="28" y="27"/>
                  </a:cubicBezTo>
                  <a:cubicBezTo>
                    <a:pt x="24" y="26"/>
                    <a:pt x="23" y="31"/>
                    <a:pt x="23" y="33"/>
                  </a:cubicBezTo>
                  <a:cubicBezTo>
                    <a:pt x="23" y="36"/>
                    <a:pt x="19" y="37"/>
                    <a:pt x="19" y="39"/>
                  </a:cubicBezTo>
                  <a:cubicBezTo>
                    <a:pt x="20" y="41"/>
                    <a:pt x="18" y="42"/>
                    <a:pt x="17" y="41"/>
                  </a:cubicBezTo>
                  <a:cubicBezTo>
                    <a:pt x="16" y="40"/>
                    <a:pt x="15" y="38"/>
                    <a:pt x="12" y="39"/>
                  </a:cubicBezTo>
                  <a:cubicBezTo>
                    <a:pt x="10" y="41"/>
                    <a:pt x="15" y="44"/>
                    <a:pt x="18" y="44"/>
                  </a:cubicBezTo>
                  <a:cubicBezTo>
                    <a:pt x="21" y="45"/>
                    <a:pt x="16" y="47"/>
                    <a:pt x="15" y="50"/>
                  </a:cubicBezTo>
                  <a:cubicBezTo>
                    <a:pt x="15" y="53"/>
                    <a:pt x="19" y="52"/>
                    <a:pt x="20" y="54"/>
                  </a:cubicBezTo>
                  <a:cubicBezTo>
                    <a:pt x="20" y="57"/>
                    <a:pt x="13" y="57"/>
                    <a:pt x="13" y="59"/>
                  </a:cubicBezTo>
                  <a:cubicBezTo>
                    <a:pt x="13" y="62"/>
                    <a:pt x="17" y="58"/>
                    <a:pt x="19" y="57"/>
                  </a:cubicBezTo>
                  <a:cubicBezTo>
                    <a:pt x="20" y="56"/>
                    <a:pt x="18" y="63"/>
                    <a:pt x="22" y="62"/>
                  </a:cubicBezTo>
                  <a:cubicBezTo>
                    <a:pt x="26" y="62"/>
                    <a:pt x="25" y="56"/>
                    <a:pt x="27" y="56"/>
                  </a:cubicBezTo>
                  <a:cubicBezTo>
                    <a:pt x="28" y="56"/>
                    <a:pt x="26" y="59"/>
                    <a:pt x="27" y="62"/>
                  </a:cubicBezTo>
                  <a:cubicBezTo>
                    <a:pt x="28" y="64"/>
                    <a:pt x="24" y="68"/>
                    <a:pt x="24" y="70"/>
                  </a:cubicBezTo>
                  <a:cubicBezTo>
                    <a:pt x="25" y="71"/>
                    <a:pt x="33" y="71"/>
                    <a:pt x="36" y="69"/>
                  </a:cubicBezTo>
                  <a:cubicBezTo>
                    <a:pt x="39" y="66"/>
                    <a:pt x="40" y="69"/>
                    <a:pt x="38" y="71"/>
                  </a:cubicBezTo>
                  <a:cubicBezTo>
                    <a:pt x="36" y="73"/>
                    <a:pt x="37" y="75"/>
                    <a:pt x="39" y="76"/>
                  </a:cubicBezTo>
                  <a:cubicBezTo>
                    <a:pt x="42" y="77"/>
                    <a:pt x="42" y="77"/>
                    <a:pt x="41" y="79"/>
                  </a:cubicBezTo>
                  <a:cubicBezTo>
                    <a:pt x="40" y="81"/>
                    <a:pt x="41" y="84"/>
                    <a:pt x="41" y="86"/>
                  </a:cubicBezTo>
                  <a:cubicBezTo>
                    <a:pt x="40" y="88"/>
                    <a:pt x="33" y="88"/>
                    <a:pt x="33" y="87"/>
                  </a:cubicBezTo>
                  <a:cubicBezTo>
                    <a:pt x="32" y="85"/>
                    <a:pt x="29" y="86"/>
                    <a:pt x="30" y="88"/>
                  </a:cubicBezTo>
                  <a:cubicBezTo>
                    <a:pt x="31" y="89"/>
                    <a:pt x="27" y="91"/>
                    <a:pt x="28" y="93"/>
                  </a:cubicBezTo>
                  <a:cubicBezTo>
                    <a:pt x="28" y="94"/>
                    <a:pt x="32" y="94"/>
                    <a:pt x="32" y="96"/>
                  </a:cubicBezTo>
                  <a:cubicBezTo>
                    <a:pt x="32" y="98"/>
                    <a:pt x="29" y="100"/>
                    <a:pt x="25" y="101"/>
                  </a:cubicBezTo>
                  <a:cubicBezTo>
                    <a:pt x="20" y="103"/>
                    <a:pt x="26" y="106"/>
                    <a:pt x="28" y="105"/>
                  </a:cubicBezTo>
                  <a:cubicBezTo>
                    <a:pt x="30" y="103"/>
                    <a:pt x="29" y="106"/>
                    <a:pt x="33" y="106"/>
                  </a:cubicBezTo>
                  <a:cubicBezTo>
                    <a:pt x="36" y="106"/>
                    <a:pt x="37" y="108"/>
                    <a:pt x="41" y="107"/>
                  </a:cubicBezTo>
                  <a:cubicBezTo>
                    <a:pt x="44" y="106"/>
                    <a:pt x="44" y="107"/>
                    <a:pt x="42" y="109"/>
                  </a:cubicBezTo>
                  <a:cubicBezTo>
                    <a:pt x="39" y="111"/>
                    <a:pt x="35" y="109"/>
                    <a:pt x="33" y="110"/>
                  </a:cubicBezTo>
                  <a:cubicBezTo>
                    <a:pt x="30" y="111"/>
                    <a:pt x="21" y="121"/>
                    <a:pt x="23" y="123"/>
                  </a:cubicBezTo>
                  <a:cubicBezTo>
                    <a:pt x="24" y="124"/>
                    <a:pt x="25" y="121"/>
                    <a:pt x="28" y="119"/>
                  </a:cubicBezTo>
                  <a:cubicBezTo>
                    <a:pt x="32" y="118"/>
                    <a:pt x="32" y="120"/>
                    <a:pt x="34" y="121"/>
                  </a:cubicBezTo>
                  <a:cubicBezTo>
                    <a:pt x="36" y="121"/>
                    <a:pt x="36" y="117"/>
                    <a:pt x="38" y="117"/>
                  </a:cubicBezTo>
                  <a:cubicBezTo>
                    <a:pt x="40" y="117"/>
                    <a:pt x="41" y="116"/>
                    <a:pt x="44" y="116"/>
                  </a:cubicBezTo>
                  <a:cubicBezTo>
                    <a:pt x="47" y="117"/>
                    <a:pt x="49" y="116"/>
                    <a:pt x="50" y="114"/>
                  </a:cubicBezTo>
                  <a:cubicBezTo>
                    <a:pt x="52" y="113"/>
                    <a:pt x="55" y="117"/>
                    <a:pt x="57" y="116"/>
                  </a:cubicBezTo>
                  <a:cubicBezTo>
                    <a:pt x="58" y="115"/>
                    <a:pt x="63" y="114"/>
                    <a:pt x="66" y="114"/>
                  </a:cubicBezTo>
                  <a:cubicBezTo>
                    <a:pt x="68" y="114"/>
                    <a:pt x="75" y="111"/>
                    <a:pt x="77" y="110"/>
                  </a:cubicBezTo>
                  <a:cubicBezTo>
                    <a:pt x="79" y="108"/>
                    <a:pt x="76" y="108"/>
                    <a:pt x="73" y="108"/>
                  </a:cubicBezTo>
                  <a:cubicBezTo>
                    <a:pt x="71" y="108"/>
                    <a:pt x="71" y="106"/>
                    <a:pt x="74" y="103"/>
                  </a:cubicBezTo>
                  <a:cubicBezTo>
                    <a:pt x="76" y="101"/>
                    <a:pt x="80" y="99"/>
                    <a:pt x="81" y="96"/>
                  </a:cubicBezTo>
                  <a:close/>
                  <a:moveTo>
                    <a:pt x="9" y="36"/>
                  </a:moveTo>
                  <a:cubicBezTo>
                    <a:pt x="12" y="36"/>
                    <a:pt x="16" y="30"/>
                    <a:pt x="14" y="29"/>
                  </a:cubicBezTo>
                  <a:cubicBezTo>
                    <a:pt x="13" y="27"/>
                    <a:pt x="7" y="36"/>
                    <a:pt x="9" y="36"/>
                  </a:cubicBezTo>
                  <a:close/>
                  <a:moveTo>
                    <a:pt x="55" y="10"/>
                  </a:moveTo>
                  <a:cubicBezTo>
                    <a:pt x="57" y="8"/>
                    <a:pt x="59" y="0"/>
                    <a:pt x="56" y="1"/>
                  </a:cubicBezTo>
                  <a:cubicBezTo>
                    <a:pt x="53" y="2"/>
                    <a:pt x="54" y="11"/>
                    <a:pt x="55" y="10"/>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97" name="Freeform 140">
              <a:extLst>
                <a:ext uri="{FF2B5EF4-FFF2-40B4-BE49-F238E27FC236}">
                  <a16:creationId xmlns:a16="http://schemas.microsoft.com/office/drawing/2014/main" xmlns="" id="{6A0432B7-7FD9-4694-8ACE-D358C11E34F2}"/>
                </a:ext>
              </a:extLst>
            </p:cNvPr>
            <p:cNvSpPr>
              <a:spLocks noEditPoints="1"/>
            </p:cNvSpPr>
            <p:nvPr/>
          </p:nvSpPr>
          <p:spPr bwMode="auto">
            <a:xfrm>
              <a:off x="16500697" y="2600991"/>
              <a:ext cx="101600" cy="96837"/>
            </a:xfrm>
            <a:custGeom>
              <a:avLst/>
              <a:gdLst>
                <a:gd name="T0" fmla="*/ 20 w 39"/>
                <a:gd name="T1" fmla="*/ 14 h 37"/>
                <a:gd name="T2" fmla="*/ 20 w 39"/>
                <a:gd name="T3" fmla="*/ 8 h 37"/>
                <a:gd name="T4" fmla="*/ 21 w 39"/>
                <a:gd name="T5" fmla="*/ 1 h 37"/>
                <a:gd name="T6" fmla="*/ 15 w 39"/>
                <a:gd name="T7" fmla="*/ 4 h 37"/>
                <a:gd name="T8" fmla="*/ 10 w 39"/>
                <a:gd name="T9" fmla="*/ 7 h 37"/>
                <a:gd name="T10" fmla="*/ 10 w 39"/>
                <a:gd name="T11" fmla="*/ 11 h 37"/>
                <a:gd name="T12" fmla="*/ 6 w 39"/>
                <a:gd name="T13" fmla="*/ 8 h 37"/>
                <a:gd name="T14" fmla="*/ 2 w 39"/>
                <a:gd name="T15" fmla="*/ 14 h 37"/>
                <a:gd name="T16" fmla="*/ 2 w 39"/>
                <a:gd name="T17" fmla="*/ 23 h 37"/>
                <a:gd name="T18" fmla="*/ 5 w 39"/>
                <a:gd name="T19" fmla="*/ 30 h 37"/>
                <a:gd name="T20" fmla="*/ 6 w 39"/>
                <a:gd name="T21" fmla="*/ 34 h 37"/>
                <a:gd name="T22" fmla="*/ 13 w 39"/>
                <a:gd name="T23" fmla="*/ 34 h 37"/>
                <a:gd name="T24" fmla="*/ 16 w 39"/>
                <a:gd name="T25" fmla="*/ 34 h 37"/>
                <a:gd name="T26" fmla="*/ 13 w 39"/>
                <a:gd name="T27" fmla="*/ 30 h 37"/>
                <a:gd name="T28" fmla="*/ 17 w 39"/>
                <a:gd name="T29" fmla="*/ 31 h 37"/>
                <a:gd name="T30" fmla="*/ 23 w 39"/>
                <a:gd name="T31" fmla="*/ 31 h 37"/>
                <a:gd name="T32" fmla="*/ 20 w 39"/>
                <a:gd name="T33" fmla="*/ 26 h 37"/>
                <a:gd name="T34" fmla="*/ 17 w 39"/>
                <a:gd name="T35" fmla="*/ 25 h 37"/>
                <a:gd name="T36" fmla="*/ 19 w 39"/>
                <a:gd name="T37" fmla="*/ 20 h 37"/>
                <a:gd name="T38" fmla="*/ 24 w 39"/>
                <a:gd name="T39" fmla="*/ 18 h 37"/>
                <a:gd name="T40" fmla="*/ 20 w 39"/>
                <a:gd name="T41" fmla="*/ 14 h 37"/>
                <a:gd name="T42" fmla="*/ 38 w 39"/>
                <a:gd name="T43" fmla="*/ 21 h 37"/>
                <a:gd name="T44" fmla="*/ 35 w 39"/>
                <a:gd name="T45" fmla="*/ 23 h 37"/>
                <a:gd name="T46" fmla="*/ 33 w 39"/>
                <a:gd name="T47" fmla="*/ 21 h 37"/>
                <a:gd name="T48" fmla="*/ 27 w 39"/>
                <a:gd name="T49" fmla="*/ 23 h 37"/>
                <a:gd name="T50" fmla="*/ 30 w 39"/>
                <a:gd name="T51" fmla="*/ 31 h 37"/>
                <a:gd name="T52" fmla="*/ 28 w 39"/>
                <a:gd name="T53" fmla="*/ 33 h 37"/>
                <a:gd name="T54" fmla="*/ 30 w 39"/>
                <a:gd name="T55" fmla="*/ 36 h 37"/>
                <a:gd name="T56" fmla="*/ 36 w 39"/>
                <a:gd name="T57" fmla="*/ 30 h 37"/>
                <a:gd name="T58" fmla="*/ 38 w 39"/>
                <a:gd name="T59" fmla="*/ 2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9" h="37">
                  <a:moveTo>
                    <a:pt x="20" y="14"/>
                  </a:moveTo>
                  <a:cubicBezTo>
                    <a:pt x="19" y="13"/>
                    <a:pt x="18" y="9"/>
                    <a:pt x="20" y="8"/>
                  </a:cubicBezTo>
                  <a:cubicBezTo>
                    <a:pt x="21" y="7"/>
                    <a:pt x="22" y="2"/>
                    <a:pt x="21" y="1"/>
                  </a:cubicBezTo>
                  <a:cubicBezTo>
                    <a:pt x="19" y="0"/>
                    <a:pt x="15" y="1"/>
                    <a:pt x="15" y="4"/>
                  </a:cubicBezTo>
                  <a:cubicBezTo>
                    <a:pt x="14" y="8"/>
                    <a:pt x="11" y="6"/>
                    <a:pt x="10" y="7"/>
                  </a:cubicBezTo>
                  <a:cubicBezTo>
                    <a:pt x="9" y="8"/>
                    <a:pt x="12" y="9"/>
                    <a:pt x="10" y="11"/>
                  </a:cubicBezTo>
                  <a:cubicBezTo>
                    <a:pt x="9" y="12"/>
                    <a:pt x="8" y="8"/>
                    <a:pt x="6" y="8"/>
                  </a:cubicBezTo>
                  <a:cubicBezTo>
                    <a:pt x="3" y="8"/>
                    <a:pt x="3" y="12"/>
                    <a:pt x="2" y="14"/>
                  </a:cubicBezTo>
                  <a:cubicBezTo>
                    <a:pt x="0" y="16"/>
                    <a:pt x="1" y="20"/>
                    <a:pt x="2" y="23"/>
                  </a:cubicBezTo>
                  <a:cubicBezTo>
                    <a:pt x="2" y="26"/>
                    <a:pt x="6" y="28"/>
                    <a:pt x="5" y="30"/>
                  </a:cubicBezTo>
                  <a:cubicBezTo>
                    <a:pt x="4" y="31"/>
                    <a:pt x="5" y="33"/>
                    <a:pt x="6" y="34"/>
                  </a:cubicBezTo>
                  <a:cubicBezTo>
                    <a:pt x="9" y="34"/>
                    <a:pt x="12" y="34"/>
                    <a:pt x="13" y="34"/>
                  </a:cubicBezTo>
                  <a:cubicBezTo>
                    <a:pt x="14" y="35"/>
                    <a:pt x="15" y="35"/>
                    <a:pt x="16" y="34"/>
                  </a:cubicBezTo>
                  <a:cubicBezTo>
                    <a:pt x="15" y="33"/>
                    <a:pt x="13" y="31"/>
                    <a:pt x="13" y="30"/>
                  </a:cubicBezTo>
                  <a:cubicBezTo>
                    <a:pt x="13" y="28"/>
                    <a:pt x="16" y="29"/>
                    <a:pt x="17" y="31"/>
                  </a:cubicBezTo>
                  <a:cubicBezTo>
                    <a:pt x="19" y="32"/>
                    <a:pt x="23" y="33"/>
                    <a:pt x="23" y="31"/>
                  </a:cubicBezTo>
                  <a:cubicBezTo>
                    <a:pt x="23" y="30"/>
                    <a:pt x="22" y="25"/>
                    <a:pt x="20" y="26"/>
                  </a:cubicBezTo>
                  <a:cubicBezTo>
                    <a:pt x="18" y="27"/>
                    <a:pt x="17" y="26"/>
                    <a:pt x="17" y="25"/>
                  </a:cubicBezTo>
                  <a:cubicBezTo>
                    <a:pt x="16" y="24"/>
                    <a:pt x="18" y="22"/>
                    <a:pt x="19" y="20"/>
                  </a:cubicBezTo>
                  <a:cubicBezTo>
                    <a:pt x="19" y="18"/>
                    <a:pt x="23" y="19"/>
                    <a:pt x="24" y="18"/>
                  </a:cubicBezTo>
                  <a:cubicBezTo>
                    <a:pt x="24" y="16"/>
                    <a:pt x="21" y="14"/>
                    <a:pt x="20" y="14"/>
                  </a:cubicBezTo>
                  <a:close/>
                  <a:moveTo>
                    <a:pt x="38" y="21"/>
                  </a:moveTo>
                  <a:cubicBezTo>
                    <a:pt x="37" y="20"/>
                    <a:pt x="36" y="23"/>
                    <a:pt x="35" y="23"/>
                  </a:cubicBezTo>
                  <a:cubicBezTo>
                    <a:pt x="34" y="23"/>
                    <a:pt x="33" y="18"/>
                    <a:pt x="33" y="21"/>
                  </a:cubicBezTo>
                  <a:cubicBezTo>
                    <a:pt x="32" y="24"/>
                    <a:pt x="30" y="20"/>
                    <a:pt x="27" y="23"/>
                  </a:cubicBezTo>
                  <a:cubicBezTo>
                    <a:pt x="25" y="27"/>
                    <a:pt x="29" y="30"/>
                    <a:pt x="30" y="31"/>
                  </a:cubicBezTo>
                  <a:cubicBezTo>
                    <a:pt x="32" y="32"/>
                    <a:pt x="30" y="33"/>
                    <a:pt x="28" y="33"/>
                  </a:cubicBezTo>
                  <a:cubicBezTo>
                    <a:pt x="26" y="32"/>
                    <a:pt x="27" y="36"/>
                    <a:pt x="30" y="36"/>
                  </a:cubicBezTo>
                  <a:cubicBezTo>
                    <a:pt x="33" y="37"/>
                    <a:pt x="36" y="31"/>
                    <a:pt x="36" y="30"/>
                  </a:cubicBezTo>
                  <a:cubicBezTo>
                    <a:pt x="36" y="28"/>
                    <a:pt x="39" y="22"/>
                    <a:pt x="38" y="21"/>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98" name="Freeform 141">
              <a:extLst>
                <a:ext uri="{FF2B5EF4-FFF2-40B4-BE49-F238E27FC236}">
                  <a16:creationId xmlns:a16="http://schemas.microsoft.com/office/drawing/2014/main" xmlns="" id="{6FAF6E54-9428-4340-9DB7-1588A4A73691}"/>
                </a:ext>
              </a:extLst>
            </p:cNvPr>
            <p:cNvSpPr>
              <a:spLocks noEditPoints="1"/>
            </p:cNvSpPr>
            <p:nvPr/>
          </p:nvSpPr>
          <p:spPr bwMode="auto">
            <a:xfrm>
              <a:off x="16572134" y="2216816"/>
              <a:ext cx="260350" cy="460375"/>
            </a:xfrm>
            <a:custGeom>
              <a:avLst/>
              <a:gdLst>
                <a:gd name="T0" fmla="*/ 98 w 100"/>
                <a:gd name="T1" fmla="*/ 37 h 176"/>
                <a:gd name="T2" fmla="*/ 96 w 100"/>
                <a:gd name="T3" fmla="*/ 23 h 176"/>
                <a:gd name="T4" fmla="*/ 84 w 100"/>
                <a:gd name="T5" fmla="*/ 9 h 176"/>
                <a:gd name="T6" fmla="*/ 70 w 100"/>
                <a:gd name="T7" fmla="*/ 8 h 176"/>
                <a:gd name="T8" fmla="*/ 56 w 100"/>
                <a:gd name="T9" fmla="*/ 8 h 176"/>
                <a:gd name="T10" fmla="*/ 48 w 100"/>
                <a:gd name="T11" fmla="*/ 16 h 176"/>
                <a:gd name="T12" fmla="*/ 40 w 100"/>
                <a:gd name="T13" fmla="*/ 26 h 176"/>
                <a:gd name="T14" fmla="*/ 34 w 100"/>
                <a:gd name="T15" fmla="*/ 37 h 176"/>
                <a:gd name="T16" fmla="*/ 26 w 100"/>
                <a:gd name="T17" fmla="*/ 43 h 176"/>
                <a:gd name="T18" fmla="*/ 20 w 100"/>
                <a:gd name="T19" fmla="*/ 60 h 176"/>
                <a:gd name="T20" fmla="*/ 22 w 100"/>
                <a:gd name="T21" fmla="*/ 69 h 176"/>
                <a:gd name="T22" fmla="*/ 9 w 100"/>
                <a:gd name="T23" fmla="*/ 75 h 176"/>
                <a:gd name="T24" fmla="*/ 8 w 100"/>
                <a:gd name="T25" fmla="*/ 91 h 176"/>
                <a:gd name="T26" fmla="*/ 13 w 100"/>
                <a:gd name="T27" fmla="*/ 104 h 176"/>
                <a:gd name="T28" fmla="*/ 10 w 100"/>
                <a:gd name="T29" fmla="*/ 112 h 176"/>
                <a:gd name="T30" fmla="*/ 5 w 100"/>
                <a:gd name="T31" fmla="*/ 122 h 176"/>
                <a:gd name="T32" fmla="*/ 2 w 100"/>
                <a:gd name="T33" fmla="*/ 134 h 176"/>
                <a:gd name="T34" fmla="*/ 0 w 100"/>
                <a:gd name="T35" fmla="*/ 134 h 176"/>
                <a:gd name="T36" fmla="*/ 6 w 100"/>
                <a:gd name="T37" fmla="*/ 150 h 176"/>
                <a:gd name="T38" fmla="*/ 12 w 100"/>
                <a:gd name="T39" fmla="*/ 164 h 176"/>
                <a:gd name="T40" fmla="*/ 14 w 100"/>
                <a:gd name="T41" fmla="*/ 174 h 176"/>
                <a:gd name="T42" fmla="*/ 24 w 100"/>
                <a:gd name="T43" fmla="*/ 169 h 176"/>
                <a:gd name="T44" fmla="*/ 33 w 100"/>
                <a:gd name="T45" fmla="*/ 166 h 176"/>
                <a:gd name="T46" fmla="*/ 40 w 100"/>
                <a:gd name="T47" fmla="*/ 164 h 176"/>
                <a:gd name="T48" fmla="*/ 42 w 100"/>
                <a:gd name="T49" fmla="*/ 156 h 176"/>
                <a:gd name="T50" fmla="*/ 43 w 100"/>
                <a:gd name="T51" fmla="*/ 139 h 176"/>
                <a:gd name="T52" fmla="*/ 55 w 100"/>
                <a:gd name="T53" fmla="*/ 128 h 176"/>
                <a:gd name="T54" fmla="*/ 52 w 100"/>
                <a:gd name="T55" fmla="*/ 113 h 176"/>
                <a:gd name="T56" fmla="*/ 45 w 100"/>
                <a:gd name="T57" fmla="*/ 102 h 176"/>
                <a:gd name="T58" fmla="*/ 51 w 100"/>
                <a:gd name="T59" fmla="*/ 88 h 176"/>
                <a:gd name="T60" fmla="*/ 60 w 100"/>
                <a:gd name="T61" fmla="*/ 78 h 176"/>
                <a:gd name="T62" fmla="*/ 80 w 100"/>
                <a:gd name="T63" fmla="*/ 65 h 176"/>
                <a:gd name="T64" fmla="*/ 82 w 100"/>
                <a:gd name="T65" fmla="*/ 50 h 176"/>
                <a:gd name="T66" fmla="*/ 96 w 100"/>
                <a:gd name="T67" fmla="*/ 45 h 176"/>
                <a:gd name="T68" fmla="*/ 99 w 100"/>
                <a:gd name="T69" fmla="*/ 42 h 176"/>
                <a:gd name="T70" fmla="*/ 53 w 100"/>
                <a:gd name="T71" fmla="*/ 15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176">
                  <a:moveTo>
                    <a:pt x="99" y="42"/>
                  </a:moveTo>
                  <a:cubicBezTo>
                    <a:pt x="98" y="40"/>
                    <a:pt x="96" y="37"/>
                    <a:pt x="98" y="37"/>
                  </a:cubicBezTo>
                  <a:cubicBezTo>
                    <a:pt x="99" y="37"/>
                    <a:pt x="100" y="32"/>
                    <a:pt x="98" y="30"/>
                  </a:cubicBezTo>
                  <a:cubicBezTo>
                    <a:pt x="96" y="29"/>
                    <a:pt x="98" y="24"/>
                    <a:pt x="96" y="23"/>
                  </a:cubicBezTo>
                  <a:cubicBezTo>
                    <a:pt x="94" y="22"/>
                    <a:pt x="95" y="18"/>
                    <a:pt x="96" y="16"/>
                  </a:cubicBezTo>
                  <a:cubicBezTo>
                    <a:pt x="96" y="13"/>
                    <a:pt x="88" y="11"/>
                    <a:pt x="84" y="9"/>
                  </a:cubicBezTo>
                  <a:cubicBezTo>
                    <a:pt x="80" y="7"/>
                    <a:pt x="78" y="4"/>
                    <a:pt x="75" y="2"/>
                  </a:cubicBezTo>
                  <a:cubicBezTo>
                    <a:pt x="71" y="0"/>
                    <a:pt x="70" y="5"/>
                    <a:pt x="70" y="8"/>
                  </a:cubicBezTo>
                  <a:cubicBezTo>
                    <a:pt x="70" y="11"/>
                    <a:pt x="67" y="11"/>
                    <a:pt x="65" y="9"/>
                  </a:cubicBezTo>
                  <a:cubicBezTo>
                    <a:pt x="62" y="8"/>
                    <a:pt x="60" y="9"/>
                    <a:pt x="56" y="8"/>
                  </a:cubicBezTo>
                  <a:cubicBezTo>
                    <a:pt x="53" y="6"/>
                    <a:pt x="54" y="11"/>
                    <a:pt x="54" y="14"/>
                  </a:cubicBezTo>
                  <a:cubicBezTo>
                    <a:pt x="54" y="16"/>
                    <a:pt x="51" y="16"/>
                    <a:pt x="48" y="16"/>
                  </a:cubicBezTo>
                  <a:cubicBezTo>
                    <a:pt x="46" y="16"/>
                    <a:pt x="42" y="18"/>
                    <a:pt x="42" y="21"/>
                  </a:cubicBezTo>
                  <a:cubicBezTo>
                    <a:pt x="42" y="23"/>
                    <a:pt x="39" y="25"/>
                    <a:pt x="40" y="26"/>
                  </a:cubicBezTo>
                  <a:cubicBezTo>
                    <a:pt x="41" y="28"/>
                    <a:pt x="39" y="29"/>
                    <a:pt x="38" y="30"/>
                  </a:cubicBezTo>
                  <a:cubicBezTo>
                    <a:pt x="36" y="32"/>
                    <a:pt x="35" y="35"/>
                    <a:pt x="34" y="37"/>
                  </a:cubicBezTo>
                  <a:cubicBezTo>
                    <a:pt x="33" y="38"/>
                    <a:pt x="34" y="40"/>
                    <a:pt x="32" y="41"/>
                  </a:cubicBezTo>
                  <a:cubicBezTo>
                    <a:pt x="30" y="43"/>
                    <a:pt x="27" y="42"/>
                    <a:pt x="26" y="43"/>
                  </a:cubicBezTo>
                  <a:cubicBezTo>
                    <a:pt x="25" y="44"/>
                    <a:pt x="26" y="47"/>
                    <a:pt x="26" y="50"/>
                  </a:cubicBezTo>
                  <a:cubicBezTo>
                    <a:pt x="25" y="53"/>
                    <a:pt x="23" y="57"/>
                    <a:pt x="20" y="60"/>
                  </a:cubicBezTo>
                  <a:cubicBezTo>
                    <a:pt x="18" y="63"/>
                    <a:pt x="21" y="64"/>
                    <a:pt x="22" y="64"/>
                  </a:cubicBezTo>
                  <a:cubicBezTo>
                    <a:pt x="23" y="65"/>
                    <a:pt x="23" y="67"/>
                    <a:pt x="22" y="69"/>
                  </a:cubicBezTo>
                  <a:cubicBezTo>
                    <a:pt x="21" y="71"/>
                    <a:pt x="18" y="70"/>
                    <a:pt x="17" y="69"/>
                  </a:cubicBezTo>
                  <a:cubicBezTo>
                    <a:pt x="15" y="69"/>
                    <a:pt x="11" y="71"/>
                    <a:pt x="9" y="75"/>
                  </a:cubicBezTo>
                  <a:cubicBezTo>
                    <a:pt x="7" y="79"/>
                    <a:pt x="7" y="81"/>
                    <a:pt x="8" y="83"/>
                  </a:cubicBezTo>
                  <a:cubicBezTo>
                    <a:pt x="9" y="85"/>
                    <a:pt x="6" y="87"/>
                    <a:pt x="8" y="91"/>
                  </a:cubicBezTo>
                  <a:cubicBezTo>
                    <a:pt x="10" y="95"/>
                    <a:pt x="7" y="95"/>
                    <a:pt x="8" y="98"/>
                  </a:cubicBezTo>
                  <a:cubicBezTo>
                    <a:pt x="8" y="102"/>
                    <a:pt x="13" y="101"/>
                    <a:pt x="13" y="104"/>
                  </a:cubicBezTo>
                  <a:cubicBezTo>
                    <a:pt x="13" y="107"/>
                    <a:pt x="12" y="108"/>
                    <a:pt x="10" y="108"/>
                  </a:cubicBezTo>
                  <a:cubicBezTo>
                    <a:pt x="8" y="108"/>
                    <a:pt x="9" y="111"/>
                    <a:pt x="10" y="112"/>
                  </a:cubicBezTo>
                  <a:cubicBezTo>
                    <a:pt x="12" y="113"/>
                    <a:pt x="12" y="118"/>
                    <a:pt x="11" y="120"/>
                  </a:cubicBezTo>
                  <a:cubicBezTo>
                    <a:pt x="10" y="121"/>
                    <a:pt x="5" y="120"/>
                    <a:pt x="5" y="122"/>
                  </a:cubicBezTo>
                  <a:cubicBezTo>
                    <a:pt x="6" y="124"/>
                    <a:pt x="4" y="127"/>
                    <a:pt x="4" y="128"/>
                  </a:cubicBezTo>
                  <a:cubicBezTo>
                    <a:pt x="4" y="130"/>
                    <a:pt x="4" y="135"/>
                    <a:pt x="2" y="134"/>
                  </a:cubicBezTo>
                  <a:cubicBezTo>
                    <a:pt x="2" y="133"/>
                    <a:pt x="1" y="133"/>
                    <a:pt x="0" y="133"/>
                  </a:cubicBezTo>
                  <a:cubicBezTo>
                    <a:pt x="0" y="133"/>
                    <a:pt x="0" y="134"/>
                    <a:pt x="0" y="134"/>
                  </a:cubicBezTo>
                  <a:cubicBezTo>
                    <a:pt x="0" y="137"/>
                    <a:pt x="1" y="140"/>
                    <a:pt x="3" y="142"/>
                  </a:cubicBezTo>
                  <a:cubicBezTo>
                    <a:pt x="6" y="144"/>
                    <a:pt x="4" y="147"/>
                    <a:pt x="6" y="150"/>
                  </a:cubicBezTo>
                  <a:cubicBezTo>
                    <a:pt x="9" y="153"/>
                    <a:pt x="8" y="156"/>
                    <a:pt x="10" y="158"/>
                  </a:cubicBezTo>
                  <a:cubicBezTo>
                    <a:pt x="13" y="160"/>
                    <a:pt x="13" y="161"/>
                    <a:pt x="12" y="164"/>
                  </a:cubicBezTo>
                  <a:cubicBezTo>
                    <a:pt x="11" y="166"/>
                    <a:pt x="14" y="166"/>
                    <a:pt x="14" y="167"/>
                  </a:cubicBezTo>
                  <a:cubicBezTo>
                    <a:pt x="14" y="169"/>
                    <a:pt x="14" y="173"/>
                    <a:pt x="14" y="174"/>
                  </a:cubicBezTo>
                  <a:cubicBezTo>
                    <a:pt x="15" y="176"/>
                    <a:pt x="17" y="174"/>
                    <a:pt x="21" y="174"/>
                  </a:cubicBezTo>
                  <a:cubicBezTo>
                    <a:pt x="24" y="174"/>
                    <a:pt x="24" y="172"/>
                    <a:pt x="24" y="169"/>
                  </a:cubicBezTo>
                  <a:cubicBezTo>
                    <a:pt x="24" y="167"/>
                    <a:pt x="26" y="168"/>
                    <a:pt x="26" y="167"/>
                  </a:cubicBezTo>
                  <a:cubicBezTo>
                    <a:pt x="27" y="165"/>
                    <a:pt x="30" y="165"/>
                    <a:pt x="33" y="166"/>
                  </a:cubicBezTo>
                  <a:cubicBezTo>
                    <a:pt x="36" y="167"/>
                    <a:pt x="37" y="165"/>
                    <a:pt x="37" y="162"/>
                  </a:cubicBezTo>
                  <a:cubicBezTo>
                    <a:pt x="38" y="160"/>
                    <a:pt x="39" y="163"/>
                    <a:pt x="40" y="164"/>
                  </a:cubicBezTo>
                  <a:cubicBezTo>
                    <a:pt x="41" y="164"/>
                    <a:pt x="44" y="159"/>
                    <a:pt x="45" y="156"/>
                  </a:cubicBezTo>
                  <a:cubicBezTo>
                    <a:pt x="46" y="153"/>
                    <a:pt x="45" y="153"/>
                    <a:pt x="42" y="156"/>
                  </a:cubicBezTo>
                  <a:cubicBezTo>
                    <a:pt x="39" y="160"/>
                    <a:pt x="41" y="153"/>
                    <a:pt x="42" y="151"/>
                  </a:cubicBezTo>
                  <a:cubicBezTo>
                    <a:pt x="43" y="148"/>
                    <a:pt x="43" y="141"/>
                    <a:pt x="43" y="139"/>
                  </a:cubicBezTo>
                  <a:cubicBezTo>
                    <a:pt x="44" y="138"/>
                    <a:pt x="44" y="135"/>
                    <a:pt x="48" y="135"/>
                  </a:cubicBezTo>
                  <a:cubicBezTo>
                    <a:pt x="51" y="134"/>
                    <a:pt x="56" y="130"/>
                    <a:pt x="55" y="128"/>
                  </a:cubicBezTo>
                  <a:cubicBezTo>
                    <a:pt x="54" y="126"/>
                    <a:pt x="60" y="123"/>
                    <a:pt x="60" y="121"/>
                  </a:cubicBezTo>
                  <a:cubicBezTo>
                    <a:pt x="60" y="120"/>
                    <a:pt x="54" y="114"/>
                    <a:pt x="52" y="113"/>
                  </a:cubicBezTo>
                  <a:cubicBezTo>
                    <a:pt x="50" y="112"/>
                    <a:pt x="46" y="113"/>
                    <a:pt x="46" y="111"/>
                  </a:cubicBezTo>
                  <a:cubicBezTo>
                    <a:pt x="47" y="110"/>
                    <a:pt x="46" y="105"/>
                    <a:pt x="45" y="102"/>
                  </a:cubicBezTo>
                  <a:cubicBezTo>
                    <a:pt x="45" y="100"/>
                    <a:pt x="48" y="97"/>
                    <a:pt x="48" y="94"/>
                  </a:cubicBezTo>
                  <a:cubicBezTo>
                    <a:pt x="48" y="92"/>
                    <a:pt x="48" y="89"/>
                    <a:pt x="51" y="88"/>
                  </a:cubicBezTo>
                  <a:cubicBezTo>
                    <a:pt x="53" y="87"/>
                    <a:pt x="51" y="85"/>
                    <a:pt x="54" y="85"/>
                  </a:cubicBezTo>
                  <a:cubicBezTo>
                    <a:pt x="57" y="84"/>
                    <a:pt x="57" y="80"/>
                    <a:pt x="60" y="78"/>
                  </a:cubicBezTo>
                  <a:cubicBezTo>
                    <a:pt x="63" y="77"/>
                    <a:pt x="63" y="76"/>
                    <a:pt x="68" y="74"/>
                  </a:cubicBezTo>
                  <a:cubicBezTo>
                    <a:pt x="72" y="72"/>
                    <a:pt x="79" y="67"/>
                    <a:pt x="80" y="65"/>
                  </a:cubicBezTo>
                  <a:cubicBezTo>
                    <a:pt x="81" y="62"/>
                    <a:pt x="76" y="59"/>
                    <a:pt x="79" y="57"/>
                  </a:cubicBezTo>
                  <a:cubicBezTo>
                    <a:pt x="83" y="54"/>
                    <a:pt x="80" y="51"/>
                    <a:pt x="82" y="50"/>
                  </a:cubicBezTo>
                  <a:cubicBezTo>
                    <a:pt x="85" y="49"/>
                    <a:pt x="86" y="48"/>
                    <a:pt x="87" y="46"/>
                  </a:cubicBezTo>
                  <a:cubicBezTo>
                    <a:pt x="89" y="44"/>
                    <a:pt x="92" y="46"/>
                    <a:pt x="96" y="45"/>
                  </a:cubicBezTo>
                  <a:cubicBezTo>
                    <a:pt x="97" y="45"/>
                    <a:pt x="99" y="45"/>
                    <a:pt x="100" y="46"/>
                  </a:cubicBezTo>
                  <a:cubicBezTo>
                    <a:pt x="100" y="44"/>
                    <a:pt x="100" y="42"/>
                    <a:pt x="99" y="42"/>
                  </a:cubicBezTo>
                  <a:close/>
                  <a:moveTo>
                    <a:pt x="59" y="146"/>
                  </a:moveTo>
                  <a:cubicBezTo>
                    <a:pt x="54" y="146"/>
                    <a:pt x="52" y="155"/>
                    <a:pt x="53" y="157"/>
                  </a:cubicBezTo>
                  <a:cubicBezTo>
                    <a:pt x="54" y="158"/>
                    <a:pt x="63" y="146"/>
                    <a:pt x="59" y="146"/>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199" name="Freeform 142">
              <a:extLst>
                <a:ext uri="{FF2B5EF4-FFF2-40B4-BE49-F238E27FC236}">
                  <a16:creationId xmlns:a16="http://schemas.microsoft.com/office/drawing/2014/main" xmlns="" id="{A2B645AD-D19F-4ACD-AFAE-E8EA96159B58}"/>
                </a:ext>
              </a:extLst>
            </p:cNvPr>
            <p:cNvSpPr>
              <a:spLocks noEditPoints="1"/>
            </p:cNvSpPr>
            <p:nvPr/>
          </p:nvSpPr>
          <p:spPr bwMode="auto">
            <a:xfrm>
              <a:off x="16784859" y="2540666"/>
              <a:ext cx="133350" cy="66675"/>
            </a:xfrm>
            <a:custGeom>
              <a:avLst/>
              <a:gdLst>
                <a:gd name="T0" fmla="*/ 47 w 51"/>
                <a:gd name="T1" fmla="*/ 7 h 25"/>
                <a:gd name="T2" fmla="*/ 49 w 51"/>
                <a:gd name="T3" fmla="*/ 2 h 25"/>
                <a:gd name="T4" fmla="*/ 47 w 51"/>
                <a:gd name="T5" fmla="*/ 3 h 25"/>
                <a:gd name="T6" fmla="*/ 32 w 51"/>
                <a:gd name="T7" fmla="*/ 1 h 25"/>
                <a:gd name="T8" fmla="*/ 17 w 51"/>
                <a:gd name="T9" fmla="*/ 4 h 25"/>
                <a:gd name="T10" fmla="*/ 12 w 51"/>
                <a:gd name="T11" fmla="*/ 9 h 25"/>
                <a:gd name="T12" fmla="*/ 14 w 51"/>
                <a:gd name="T13" fmla="*/ 14 h 25"/>
                <a:gd name="T14" fmla="*/ 19 w 51"/>
                <a:gd name="T15" fmla="*/ 16 h 25"/>
                <a:gd name="T16" fmla="*/ 20 w 51"/>
                <a:gd name="T17" fmla="*/ 20 h 25"/>
                <a:gd name="T18" fmla="*/ 20 w 51"/>
                <a:gd name="T19" fmla="*/ 20 h 25"/>
                <a:gd name="T20" fmla="*/ 29 w 51"/>
                <a:gd name="T21" fmla="*/ 20 h 25"/>
                <a:gd name="T22" fmla="*/ 37 w 51"/>
                <a:gd name="T23" fmla="*/ 24 h 25"/>
                <a:gd name="T24" fmla="*/ 45 w 51"/>
                <a:gd name="T25" fmla="*/ 25 h 25"/>
                <a:gd name="T26" fmla="*/ 45 w 51"/>
                <a:gd name="T27" fmla="*/ 23 h 25"/>
                <a:gd name="T28" fmla="*/ 47 w 51"/>
                <a:gd name="T29" fmla="*/ 20 h 25"/>
                <a:gd name="T30" fmla="*/ 45 w 51"/>
                <a:gd name="T31" fmla="*/ 16 h 25"/>
                <a:gd name="T32" fmla="*/ 45 w 51"/>
                <a:gd name="T33" fmla="*/ 11 h 25"/>
                <a:gd name="T34" fmla="*/ 47 w 51"/>
                <a:gd name="T35" fmla="*/ 7 h 25"/>
                <a:gd name="T36" fmla="*/ 5 w 51"/>
                <a:gd name="T37" fmla="*/ 13 h 25"/>
                <a:gd name="T38" fmla="*/ 2 w 51"/>
                <a:gd name="T39" fmla="*/ 20 h 25"/>
                <a:gd name="T40" fmla="*/ 10 w 51"/>
                <a:gd name="T41" fmla="*/ 14 h 25"/>
                <a:gd name="T42" fmla="*/ 5 w 51"/>
                <a:gd name="T43" fmla="*/ 13 h 25"/>
                <a:gd name="T44" fmla="*/ 9 w 51"/>
                <a:gd name="T45" fmla="*/ 9 h 25"/>
                <a:gd name="T46" fmla="*/ 4 w 51"/>
                <a:gd name="T47" fmla="*/ 10 h 25"/>
                <a:gd name="T48" fmla="*/ 9 w 51"/>
                <a:gd name="T49" fmla="*/ 9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 h="25">
                  <a:moveTo>
                    <a:pt x="47" y="7"/>
                  </a:moveTo>
                  <a:cubicBezTo>
                    <a:pt x="48" y="5"/>
                    <a:pt x="51" y="4"/>
                    <a:pt x="49" y="2"/>
                  </a:cubicBezTo>
                  <a:cubicBezTo>
                    <a:pt x="49" y="2"/>
                    <a:pt x="48" y="2"/>
                    <a:pt x="47" y="3"/>
                  </a:cubicBezTo>
                  <a:cubicBezTo>
                    <a:pt x="44" y="3"/>
                    <a:pt x="36" y="0"/>
                    <a:pt x="32" y="1"/>
                  </a:cubicBezTo>
                  <a:cubicBezTo>
                    <a:pt x="28" y="2"/>
                    <a:pt x="19" y="2"/>
                    <a:pt x="17" y="4"/>
                  </a:cubicBezTo>
                  <a:cubicBezTo>
                    <a:pt x="15" y="6"/>
                    <a:pt x="10" y="7"/>
                    <a:pt x="12" y="9"/>
                  </a:cubicBezTo>
                  <a:cubicBezTo>
                    <a:pt x="14" y="10"/>
                    <a:pt x="12" y="11"/>
                    <a:pt x="14" y="14"/>
                  </a:cubicBezTo>
                  <a:cubicBezTo>
                    <a:pt x="15" y="16"/>
                    <a:pt x="16" y="17"/>
                    <a:pt x="19" y="16"/>
                  </a:cubicBezTo>
                  <a:cubicBezTo>
                    <a:pt x="21" y="16"/>
                    <a:pt x="23" y="17"/>
                    <a:pt x="20" y="20"/>
                  </a:cubicBezTo>
                  <a:cubicBezTo>
                    <a:pt x="20" y="20"/>
                    <a:pt x="20" y="20"/>
                    <a:pt x="20" y="20"/>
                  </a:cubicBezTo>
                  <a:cubicBezTo>
                    <a:pt x="24" y="19"/>
                    <a:pt x="28" y="19"/>
                    <a:pt x="29" y="20"/>
                  </a:cubicBezTo>
                  <a:cubicBezTo>
                    <a:pt x="30" y="20"/>
                    <a:pt x="35" y="25"/>
                    <a:pt x="37" y="24"/>
                  </a:cubicBezTo>
                  <a:cubicBezTo>
                    <a:pt x="38" y="24"/>
                    <a:pt x="42" y="25"/>
                    <a:pt x="45" y="25"/>
                  </a:cubicBezTo>
                  <a:cubicBezTo>
                    <a:pt x="44" y="24"/>
                    <a:pt x="44" y="23"/>
                    <a:pt x="45" y="23"/>
                  </a:cubicBezTo>
                  <a:cubicBezTo>
                    <a:pt x="46" y="22"/>
                    <a:pt x="48" y="22"/>
                    <a:pt x="47" y="20"/>
                  </a:cubicBezTo>
                  <a:cubicBezTo>
                    <a:pt x="46" y="18"/>
                    <a:pt x="45" y="18"/>
                    <a:pt x="45" y="16"/>
                  </a:cubicBezTo>
                  <a:cubicBezTo>
                    <a:pt x="45" y="14"/>
                    <a:pt x="44" y="13"/>
                    <a:pt x="45" y="11"/>
                  </a:cubicBezTo>
                  <a:cubicBezTo>
                    <a:pt x="45" y="10"/>
                    <a:pt x="46" y="9"/>
                    <a:pt x="47" y="7"/>
                  </a:cubicBezTo>
                  <a:close/>
                  <a:moveTo>
                    <a:pt x="5" y="13"/>
                  </a:moveTo>
                  <a:cubicBezTo>
                    <a:pt x="1" y="14"/>
                    <a:pt x="0" y="20"/>
                    <a:pt x="2" y="20"/>
                  </a:cubicBezTo>
                  <a:cubicBezTo>
                    <a:pt x="4" y="20"/>
                    <a:pt x="9" y="16"/>
                    <a:pt x="10" y="14"/>
                  </a:cubicBezTo>
                  <a:cubicBezTo>
                    <a:pt x="12" y="13"/>
                    <a:pt x="10" y="12"/>
                    <a:pt x="5" y="13"/>
                  </a:cubicBezTo>
                  <a:close/>
                  <a:moveTo>
                    <a:pt x="9" y="9"/>
                  </a:moveTo>
                  <a:cubicBezTo>
                    <a:pt x="10" y="8"/>
                    <a:pt x="2" y="8"/>
                    <a:pt x="4" y="10"/>
                  </a:cubicBezTo>
                  <a:cubicBezTo>
                    <a:pt x="5" y="11"/>
                    <a:pt x="8" y="11"/>
                    <a:pt x="9" y="9"/>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200" name="Freeform 143">
              <a:extLst>
                <a:ext uri="{FF2B5EF4-FFF2-40B4-BE49-F238E27FC236}">
                  <a16:creationId xmlns:a16="http://schemas.microsoft.com/office/drawing/2014/main" xmlns="" id="{8DC8FC25-9E49-4969-A766-919A57516EE7}"/>
                </a:ext>
              </a:extLst>
            </p:cNvPr>
            <p:cNvSpPr>
              <a:spLocks/>
            </p:cNvSpPr>
            <p:nvPr/>
          </p:nvSpPr>
          <p:spPr bwMode="auto">
            <a:xfrm>
              <a:off x="17027747" y="3882104"/>
              <a:ext cx="168275" cy="203200"/>
            </a:xfrm>
            <a:custGeom>
              <a:avLst/>
              <a:gdLst>
                <a:gd name="T0" fmla="*/ 58 w 65"/>
                <a:gd name="T1" fmla="*/ 18 h 78"/>
                <a:gd name="T2" fmla="*/ 61 w 65"/>
                <a:gd name="T3" fmla="*/ 12 h 78"/>
                <a:gd name="T4" fmla="*/ 65 w 65"/>
                <a:gd name="T5" fmla="*/ 6 h 78"/>
                <a:gd name="T6" fmla="*/ 61 w 65"/>
                <a:gd name="T7" fmla="*/ 7 h 78"/>
                <a:gd name="T8" fmla="*/ 57 w 65"/>
                <a:gd name="T9" fmla="*/ 6 h 78"/>
                <a:gd name="T10" fmla="*/ 50 w 65"/>
                <a:gd name="T11" fmla="*/ 7 h 78"/>
                <a:gd name="T12" fmla="*/ 45 w 65"/>
                <a:gd name="T13" fmla="*/ 12 h 78"/>
                <a:gd name="T14" fmla="*/ 36 w 65"/>
                <a:gd name="T15" fmla="*/ 10 h 78"/>
                <a:gd name="T16" fmla="*/ 26 w 65"/>
                <a:gd name="T17" fmla="*/ 5 h 78"/>
                <a:gd name="T18" fmla="*/ 18 w 65"/>
                <a:gd name="T19" fmla="*/ 3 h 78"/>
                <a:gd name="T20" fmla="*/ 14 w 65"/>
                <a:gd name="T21" fmla="*/ 1 h 78"/>
                <a:gd name="T22" fmla="*/ 9 w 65"/>
                <a:gd name="T23" fmla="*/ 0 h 78"/>
                <a:gd name="T24" fmla="*/ 2 w 65"/>
                <a:gd name="T25" fmla="*/ 4 h 78"/>
                <a:gd name="T26" fmla="*/ 1 w 65"/>
                <a:gd name="T27" fmla="*/ 6 h 78"/>
                <a:gd name="T28" fmla="*/ 5 w 65"/>
                <a:gd name="T29" fmla="*/ 9 h 78"/>
                <a:gd name="T30" fmla="*/ 6 w 65"/>
                <a:gd name="T31" fmla="*/ 15 h 78"/>
                <a:gd name="T32" fmla="*/ 9 w 65"/>
                <a:gd name="T33" fmla="*/ 18 h 78"/>
                <a:gd name="T34" fmla="*/ 9 w 65"/>
                <a:gd name="T35" fmla="*/ 24 h 78"/>
                <a:gd name="T36" fmla="*/ 3 w 65"/>
                <a:gd name="T37" fmla="*/ 34 h 78"/>
                <a:gd name="T38" fmla="*/ 1 w 65"/>
                <a:gd name="T39" fmla="*/ 39 h 78"/>
                <a:gd name="T40" fmla="*/ 6 w 65"/>
                <a:gd name="T41" fmla="*/ 42 h 78"/>
                <a:gd name="T42" fmla="*/ 1 w 65"/>
                <a:gd name="T43" fmla="*/ 47 h 78"/>
                <a:gd name="T44" fmla="*/ 0 w 65"/>
                <a:gd name="T45" fmla="*/ 48 h 78"/>
                <a:gd name="T46" fmla="*/ 31 w 65"/>
                <a:gd name="T47" fmla="*/ 64 h 78"/>
                <a:gd name="T48" fmla="*/ 30 w 65"/>
                <a:gd name="T49" fmla="*/ 69 h 78"/>
                <a:gd name="T50" fmla="*/ 44 w 65"/>
                <a:gd name="T51" fmla="*/ 78 h 78"/>
                <a:gd name="T52" fmla="*/ 52 w 65"/>
                <a:gd name="T53" fmla="*/ 61 h 78"/>
                <a:gd name="T54" fmla="*/ 57 w 65"/>
                <a:gd name="T55" fmla="*/ 57 h 78"/>
                <a:gd name="T56" fmla="*/ 61 w 65"/>
                <a:gd name="T57" fmla="*/ 54 h 78"/>
                <a:gd name="T58" fmla="*/ 62 w 65"/>
                <a:gd name="T59" fmla="*/ 53 h 78"/>
                <a:gd name="T60" fmla="*/ 58 w 65"/>
                <a:gd name="T61" fmla="*/ 47 h 78"/>
                <a:gd name="T62" fmla="*/ 58 w 65"/>
                <a:gd name="T63" fmla="*/ 1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5" h="78">
                  <a:moveTo>
                    <a:pt x="58" y="18"/>
                  </a:moveTo>
                  <a:cubicBezTo>
                    <a:pt x="61" y="12"/>
                    <a:pt x="61" y="12"/>
                    <a:pt x="61" y="12"/>
                  </a:cubicBezTo>
                  <a:cubicBezTo>
                    <a:pt x="65" y="6"/>
                    <a:pt x="65" y="6"/>
                    <a:pt x="65" y="6"/>
                  </a:cubicBezTo>
                  <a:cubicBezTo>
                    <a:pt x="63" y="7"/>
                    <a:pt x="62" y="7"/>
                    <a:pt x="61" y="7"/>
                  </a:cubicBezTo>
                  <a:cubicBezTo>
                    <a:pt x="60" y="8"/>
                    <a:pt x="58" y="7"/>
                    <a:pt x="57" y="6"/>
                  </a:cubicBezTo>
                  <a:cubicBezTo>
                    <a:pt x="57" y="5"/>
                    <a:pt x="53" y="6"/>
                    <a:pt x="50" y="7"/>
                  </a:cubicBezTo>
                  <a:cubicBezTo>
                    <a:pt x="47" y="9"/>
                    <a:pt x="46" y="12"/>
                    <a:pt x="45" y="12"/>
                  </a:cubicBezTo>
                  <a:cubicBezTo>
                    <a:pt x="44" y="11"/>
                    <a:pt x="37" y="10"/>
                    <a:pt x="36" y="10"/>
                  </a:cubicBezTo>
                  <a:cubicBezTo>
                    <a:pt x="34" y="10"/>
                    <a:pt x="28" y="6"/>
                    <a:pt x="26" y="5"/>
                  </a:cubicBezTo>
                  <a:cubicBezTo>
                    <a:pt x="25" y="3"/>
                    <a:pt x="19" y="4"/>
                    <a:pt x="18" y="3"/>
                  </a:cubicBezTo>
                  <a:cubicBezTo>
                    <a:pt x="17" y="2"/>
                    <a:pt x="14" y="2"/>
                    <a:pt x="14" y="1"/>
                  </a:cubicBezTo>
                  <a:cubicBezTo>
                    <a:pt x="13" y="0"/>
                    <a:pt x="11" y="0"/>
                    <a:pt x="9" y="0"/>
                  </a:cubicBezTo>
                  <a:cubicBezTo>
                    <a:pt x="7" y="0"/>
                    <a:pt x="3" y="3"/>
                    <a:pt x="2" y="4"/>
                  </a:cubicBezTo>
                  <a:cubicBezTo>
                    <a:pt x="2" y="5"/>
                    <a:pt x="2" y="5"/>
                    <a:pt x="1" y="6"/>
                  </a:cubicBezTo>
                  <a:cubicBezTo>
                    <a:pt x="5" y="9"/>
                    <a:pt x="5" y="9"/>
                    <a:pt x="5" y="9"/>
                  </a:cubicBezTo>
                  <a:cubicBezTo>
                    <a:pt x="6" y="15"/>
                    <a:pt x="6" y="15"/>
                    <a:pt x="6" y="15"/>
                  </a:cubicBezTo>
                  <a:cubicBezTo>
                    <a:pt x="9" y="18"/>
                    <a:pt x="9" y="18"/>
                    <a:pt x="9" y="18"/>
                  </a:cubicBezTo>
                  <a:cubicBezTo>
                    <a:pt x="9" y="18"/>
                    <a:pt x="9" y="21"/>
                    <a:pt x="9" y="24"/>
                  </a:cubicBezTo>
                  <a:cubicBezTo>
                    <a:pt x="8" y="28"/>
                    <a:pt x="5" y="32"/>
                    <a:pt x="3" y="34"/>
                  </a:cubicBezTo>
                  <a:cubicBezTo>
                    <a:pt x="3" y="34"/>
                    <a:pt x="2" y="36"/>
                    <a:pt x="1" y="39"/>
                  </a:cubicBezTo>
                  <a:cubicBezTo>
                    <a:pt x="4" y="40"/>
                    <a:pt x="6" y="41"/>
                    <a:pt x="6" y="42"/>
                  </a:cubicBezTo>
                  <a:cubicBezTo>
                    <a:pt x="6" y="44"/>
                    <a:pt x="1" y="43"/>
                    <a:pt x="1" y="47"/>
                  </a:cubicBezTo>
                  <a:cubicBezTo>
                    <a:pt x="1" y="47"/>
                    <a:pt x="1" y="47"/>
                    <a:pt x="0" y="48"/>
                  </a:cubicBezTo>
                  <a:cubicBezTo>
                    <a:pt x="31" y="64"/>
                    <a:pt x="31" y="64"/>
                    <a:pt x="31" y="64"/>
                  </a:cubicBezTo>
                  <a:cubicBezTo>
                    <a:pt x="30" y="69"/>
                    <a:pt x="30" y="69"/>
                    <a:pt x="30" y="69"/>
                  </a:cubicBezTo>
                  <a:cubicBezTo>
                    <a:pt x="30" y="69"/>
                    <a:pt x="37" y="74"/>
                    <a:pt x="44" y="78"/>
                  </a:cubicBezTo>
                  <a:cubicBezTo>
                    <a:pt x="47" y="71"/>
                    <a:pt x="51" y="62"/>
                    <a:pt x="52" y="61"/>
                  </a:cubicBezTo>
                  <a:cubicBezTo>
                    <a:pt x="54" y="58"/>
                    <a:pt x="55" y="59"/>
                    <a:pt x="57" y="57"/>
                  </a:cubicBezTo>
                  <a:cubicBezTo>
                    <a:pt x="58" y="55"/>
                    <a:pt x="59" y="58"/>
                    <a:pt x="61" y="54"/>
                  </a:cubicBezTo>
                  <a:cubicBezTo>
                    <a:pt x="62" y="54"/>
                    <a:pt x="62" y="53"/>
                    <a:pt x="62" y="53"/>
                  </a:cubicBezTo>
                  <a:cubicBezTo>
                    <a:pt x="58" y="47"/>
                    <a:pt x="58" y="47"/>
                    <a:pt x="58" y="47"/>
                  </a:cubicBezTo>
                  <a:lnTo>
                    <a:pt x="58" y="18"/>
                  </a:ln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201" name="Freeform 144">
              <a:extLst>
                <a:ext uri="{FF2B5EF4-FFF2-40B4-BE49-F238E27FC236}">
                  <a16:creationId xmlns:a16="http://schemas.microsoft.com/office/drawing/2014/main" xmlns="" id="{7CBA4589-AEBC-4D92-94B3-1710AFBB786E}"/>
                </a:ext>
              </a:extLst>
            </p:cNvPr>
            <p:cNvSpPr>
              <a:spLocks/>
            </p:cNvSpPr>
            <p:nvPr/>
          </p:nvSpPr>
          <p:spPr bwMode="auto">
            <a:xfrm>
              <a:off x="16935672" y="3897979"/>
              <a:ext cx="114300" cy="117475"/>
            </a:xfrm>
            <a:custGeom>
              <a:avLst/>
              <a:gdLst>
                <a:gd name="T0" fmla="*/ 41 w 44"/>
                <a:gd name="T1" fmla="*/ 9 h 45"/>
                <a:gd name="T2" fmla="*/ 40 w 44"/>
                <a:gd name="T3" fmla="*/ 3 h 45"/>
                <a:gd name="T4" fmla="*/ 36 w 44"/>
                <a:gd name="T5" fmla="*/ 0 h 45"/>
                <a:gd name="T6" fmla="*/ 34 w 44"/>
                <a:gd name="T7" fmla="*/ 2 h 45"/>
                <a:gd name="T8" fmla="*/ 29 w 44"/>
                <a:gd name="T9" fmla="*/ 3 h 45"/>
                <a:gd name="T10" fmla="*/ 23 w 44"/>
                <a:gd name="T11" fmla="*/ 5 h 45"/>
                <a:gd name="T12" fmla="*/ 18 w 44"/>
                <a:gd name="T13" fmla="*/ 3 h 45"/>
                <a:gd name="T14" fmla="*/ 12 w 44"/>
                <a:gd name="T15" fmla="*/ 5 h 45"/>
                <a:gd name="T16" fmla="*/ 11 w 44"/>
                <a:gd name="T17" fmla="*/ 12 h 45"/>
                <a:gd name="T18" fmla="*/ 14 w 44"/>
                <a:gd name="T19" fmla="*/ 16 h 45"/>
                <a:gd name="T20" fmla="*/ 11 w 44"/>
                <a:gd name="T21" fmla="*/ 20 h 45"/>
                <a:gd name="T22" fmla="*/ 8 w 44"/>
                <a:gd name="T23" fmla="*/ 22 h 45"/>
                <a:gd name="T24" fmla="*/ 5 w 44"/>
                <a:gd name="T25" fmla="*/ 26 h 45"/>
                <a:gd name="T26" fmla="*/ 3 w 44"/>
                <a:gd name="T27" fmla="*/ 32 h 45"/>
                <a:gd name="T28" fmla="*/ 1 w 44"/>
                <a:gd name="T29" fmla="*/ 39 h 45"/>
                <a:gd name="T30" fmla="*/ 0 w 44"/>
                <a:gd name="T31" fmla="*/ 45 h 45"/>
                <a:gd name="T32" fmla="*/ 4 w 44"/>
                <a:gd name="T33" fmla="*/ 44 h 45"/>
                <a:gd name="T34" fmla="*/ 12 w 44"/>
                <a:gd name="T35" fmla="*/ 42 h 45"/>
                <a:gd name="T36" fmla="*/ 19 w 44"/>
                <a:gd name="T37" fmla="*/ 41 h 45"/>
                <a:gd name="T38" fmla="*/ 25 w 44"/>
                <a:gd name="T39" fmla="*/ 32 h 45"/>
                <a:gd name="T40" fmla="*/ 36 w 44"/>
                <a:gd name="T41" fmla="*/ 33 h 45"/>
                <a:gd name="T42" fmla="*/ 38 w 44"/>
                <a:gd name="T43" fmla="*/ 28 h 45"/>
                <a:gd name="T44" fmla="*/ 44 w 44"/>
                <a:gd name="T45" fmla="*/ 18 h 45"/>
                <a:gd name="T46" fmla="*/ 44 w 44"/>
                <a:gd name="T47" fmla="*/ 12 h 45"/>
                <a:gd name="T48" fmla="*/ 41 w 44"/>
                <a:gd name="T49" fmla="*/ 9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4" h="45">
                  <a:moveTo>
                    <a:pt x="41" y="9"/>
                  </a:moveTo>
                  <a:cubicBezTo>
                    <a:pt x="40" y="3"/>
                    <a:pt x="40" y="3"/>
                    <a:pt x="40" y="3"/>
                  </a:cubicBezTo>
                  <a:cubicBezTo>
                    <a:pt x="36" y="0"/>
                    <a:pt x="36" y="0"/>
                    <a:pt x="36" y="0"/>
                  </a:cubicBezTo>
                  <a:cubicBezTo>
                    <a:pt x="35" y="1"/>
                    <a:pt x="34" y="1"/>
                    <a:pt x="34" y="2"/>
                  </a:cubicBezTo>
                  <a:cubicBezTo>
                    <a:pt x="33" y="4"/>
                    <a:pt x="30" y="3"/>
                    <a:pt x="29" y="3"/>
                  </a:cubicBezTo>
                  <a:cubicBezTo>
                    <a:pt x="27" y="2"/>
                    <a:pt x="23" y="4"/>
                    <a:pt x="23" y="5"/>
                  </a:cubicBezTo>
                  <a:cubicBezTo>
                    <a:pt x="22" y="6"/>
                    <a:pt x="19" y="3"/>
                    <a:pt x="18" y="3"/>
                  </a:cubicBezTo>
                  <a:cubicBezTo>
                    <a:pt x="16" y="3"/>
                    <a:pt x="12" y="5"/>
                    <a:pt x="12" y="5"/>
                  </a:cubicBezTo>
                  <a:cubicBezTo>
                    <a:pt x="12" y="5"/>
                    <a:pt x="11" y="10"/>
                    <a:pt x="11" y="12"/>
                  </a:cubicBezTo>
                  <a:cubicBezTo>
                    <a:pt x="11" y="14"/>
                    <a:pt x="14" y="14"/>
                    <a:pt x="14" y="16"/>
                  </a:cubicBezTo>
                  <a:cubicBezTo>
                    <a:pt x="14" y="17"/>
                    <a:pt x="11" y="19"/>
                    <a:pt x="11" y="20"/>
                  </a:cubicBezTo>
                  <a:cubicBezTo>
                    <a:pt x="11" y="21"/>
                    <a:pt x="10" y="21"/>
                    <a:pt x="8" y="22"/>
                  </a:cubicBezTo>
                  <a:cubicBezTo>
                    <a:pt x="6" y="22"/>
                    <a:pt x="6" y="25"/>
                    <a:pt x="5" y="26"/>
                  </a:cubicBezTo>
                  <a:cubicBezTo>
                    <a:pt x="3" y="27"/>
                    <a:pt x="4" y="30"/>
                    <a:pt x="3" y="32"/>
                  </a:cubicBezTo>
                  <a:cubicBezTo>
                    <a:pt x="2" y="34"/>
                    <a:pt x="1" y="37"/>
                    <a:pt x="1" y="39"/>
                  </a:cubicBezTo>
                  <a:cubicBezTo>
                    <a:pt x="1" y="41"/>
                    <a:pt x="1" y="44"/>
                    <a:pt x="0" y="45"/>
                  </a:cubicBezTo>
                  <a:cubicBezTo>
                    <a:pt x="2" y="45"/>
                    <a:pt x="3" y="45"/>
                    <a:pt x="4" y="44"/>
                  </a:cubicBezTo>
                  <a:cubicBezTo>
                    <a:pt x="6" y="43"/>
                    <a:pt x="12" y="42"/>
                    <a:pt x="12" y="42"/>
                  </a:cubicBezTo>
                  <a:cubicBezTo>
                    <a:pt x="19" y="41"/>
                    <a:pt x="19" y="41"/>
                    <a:pt x="19" y="41"/>
                  </a:cubicBezTo>
                  <a:cubicBezTo>
                    <a:pt x="21" y="37"/>
                    <a:pt x="23" y="33"/>
                    <a:pt x="25" y="32"/>
                  </a:cubicBezTo>
                  <a:cubicBezTo>
                    <a:pt x="28" y="32"/>
                    <a:pt x="33" y="32"/>
                    <a:pt x="36" y="33"/>
                  </a:cubicBezTo>
                  <a:cubicBezTo>
                    <a:pt x="37" y="30"/>
                    <a:pt x="38" y="28"/>
                    <a:pt x="38" y="28"/>
                  </a:cubicBezTo>
                  <a:cubicBezTo>
                    <a:pt x="40" y="26"/>
                    <a:pt x="43" y="22"/>
                    <a:pt x="44" y="18"/>
                  </a:cubicBezTo>
                  <a:cubicBezTo>
                    <a:pt x="44" y="15"/>
                    <a:pt x="44" y="12"/>
                    <a:pt x="44" y="12"/>
                  </a:cubicBezTo>
                  <a:lnTo>
                    <a:pt x="41" y="9"/>
                  </a:ln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202" name="Freeform 145">
              <a:extLst>
                <a:ext uri="{FF2B5EF4-FFF2-40B4-BE49-F238E27FC236}">
                  <a16:creationId xmlns:a16="http://schemas.microsoft.com/office/drawing/2014/main" xmlns="" id="{57FCAAE6-601B-4405-A472-7ED47D99005E}"/>
                </a:ext>
              </a:extLst>
            </p:cNvPr>
            <p:cNvSpPr>
              <a:spLocks/>
            </p:cNvSpPr>
            <p:nvPr/>
          </p:nvSpPr>
          <p:spPr bwMode="auto">
            <a:xfrm>
              <a:off x="17500822" y="2948654"/>
              <a:ext cx="369888" cy="217487"/>
            </a:xfrm>
            <a:custGeom>
              <a:avLst/>
              <a:gdLst>
                <a:gd name="T0" fmla="*/ 138 w 142"/>
                <a:gd name="T1" fmla="*/ 47 h 83"/>
                <a:gd name="T2" fmla="*/ 127 w 142"/>
                <a:gd name="T3" fmla="*/ 42 h 83"/>
                <a:gd name="T4" fmla="*/ 121 w 142"/>
                <a:gd name="T5" fmla="*/ 42 h 83"/>
                <a:gd name="T6" fmla="*/ 113 w 142"/>
                <a:gd name="T7" fmla="*/ 40 h 83"/>
                <a:gd name="T8" fmla="*/ 105 w 142"/>
                <a:gd name="T9" fmla="*/ 46 h 83"/>
                <a:gd name="T10" fmla="*/ 101 w 142"/>
                <a:gd name="T11" fmla="*/ 47 h 83"/>
                <a:gd name="T12" fmla="*/ 94 w 142"/>
                <a:gd name="T13" fmla="*/ 43 h 83"/>
                <a:gd name="T14" fmla="*/ 87 w 142"/>
                <a:gd name="T15" fmla="*/ 41 h 83"/>
                <a:gd name="T16" fmla="*/ 83 w 142"/>
                <a:gd name="T17" fmla="*/ 33 h 83"/>
                <a:gd name="T18" fmla="*/ 81 w 142"/>
                <a:gd name="T19" fmla="*/ 25 h 83"/>
                <a:gd name="T20" fmla="*/ 75 w 142"/>
                <a:gd name="T21" fmla="*/ 21 h 83"/>
                <a:gd name="T22" fmla="*/ 59 w 142"/>
                <a:gd name="T23" fmla="*/ 20 h 83"/>
                <a:gd name="T24" fmla="*/ 48 w 142"/>
                <a:gd name="T25" fmla="*/ 21 h 83"/>
                <a:gd name="T26" fmla="*/ 39 w 142"/>
                <a:gd name="T27" fmla="*/ 10 h 83"/>
                <a:gd name="T28" fmla="*/ 36 w 142"/>
                <a:gd name="T29" fmla="*/ 14 h 83"/>
                <a:gd name="T30" fmla="*/ 27 w 142"/>
                <a:gd name="T31" fmla="*/ 12 h 83"/>
                <a:gd name="T32" fmla="*/ 26 w 142"/>
                <a:gd name="T33" fmla="*/ 1 h 83"/>
                <a:gd name="T34" fmla="*/ 22 w 142"/>
                <a:gd name="T35" fmla="*/ 13 h 83"/>
                <a:gd name="T36" fmla="*/ 21 w 142"/>
                <a:gd name="T37" fmla="*/ 0 h 83"/>
                <a:gd name="T38" fmla="*/ 1 w 142"/>
                <a:gd name="T39" fmla="*/ 5 h 83"/>
                <a:gd name="T40" fmla="*/ 0 w 142"/>
                <a:gd name="T41" fmla="*/ 41 h 83"/>
                <a:gd name="T42" fmla="*/ 0 w 142"/>
                <a:gd name="T43" fmla="*/ 41 h 83"/>
                <a:gd name="T44" fmla="*/ 5 w 142"/>
                <a:gd name="T45" fmla="*/ 42 h 83"/>
                <a:gd name="T46" fmla="*/ 8 w 142"/>
                <a:gd name="T47" fmla="*/ 39 h 83"/>
                <a:gd name="T48" fmla="*/ 14 w 142"/>
                <a:gd name="T49" fmla="*/ 34 h 83"/>
                <a:gd name="T50" fmla="*/ 17 w 142"/>
                <a:gd name="T51" fmla="*/ 31 h 83"/>
                <a:gd name="T52" fmla="*/ 20 w 142"/>
                <a:gd name="T53" fmla="*/ 30 h 83"/>
                <a:gd name="T54" fmla="*/ 26 w 142"/>
                <a:gd name="T55" fmla="*/ 31 h 83"/>
                <a:gd name="T56" fmla="*/ 32 w 142"/>
                <a:gd name="T57" fmla="*/ 33 h 83"/>
                <a:gd name="T58" fmla="*/ 35 w 142"/>
                <a:gd name="T59" fmla="*/ 42 h 83"/>
                <a:gd name="T60" fmla="*/ 47 w 142"/>
                <a:gd name="T61" fmla="*/ 43 h 83"/>
                <a:gd name="T62" fmla="*/ 50 w 142"/>
                <a:gd name="T63" fmla="*/ 48 h 83"/>
                <a:gd name="T64" fmla="*/ 54 w 142"/>
                <a:gd name="T65" fmla="*/ 55 h 83"/>
                <a:gd name="T66" fmla="*/ 62 w 142"/>
                <a:gd name="T67" fmla="*/ 61 h 83"/>
                <a:gd name="T68" fmla="*/ 71 w 142"/>
                <a:gd name="T69" fmla="*/ 66 h 83"/>
                <a:gd name="T70" fmla="*/ 79 w 142"/>
                <a:gd name="T71" fmla="*/ 72 h 83"/>
                <a:gd name="T72" fmla="*/ 86 w 142"/>
                <a:gd name="T73" fmla="*/ 74 h 83"/>
                <a:gd name="T74" fmla="*/ 87 w 142"/>
                <a:gd name="T75" fmla="*/ 80 h 83"/>
                <a:gd name="T76" fmla="*/ 88 w 142"/>
                <a:gd name="T77" fmla="*/ 79 h 83"/>
                <a:gd name="T78" fmla="*/ 94 w 142"/>
                <a:gd name="T79" fmla="*/ 82 h 83"/>
                <a:gd name="T80" fmla="*/ 98 w 142"/>
                <a:gd name="T81" fmla="*/ 83 h 83"/>
                <a:gd name="T82" fmla="*/ 101 w 142"/>
                <a:gd name="T83" fmla="*/ 75 h 83"/>
                <a:gd name="T84" fmla="*/ 100 w 142"/>
                <a:gd name="T85" fmla="*/ 68 h 83"/>
                <a:gd name="T86" fmla="*/ 95 w 142"/>
                <a:gd name="T87" fmla="*/ 61 h 83"/>
                <a:gd name="T88" fmla="*/ 103 w 142"/>
                <a:gd name="T89" fmla="*/ 59 h 83"/>
                <a:gd name="T90" fmla="*/ 105 w 142"/>
                <a:gd name="T91" fmla="*/ 54 h 83"/>
                <a:gd name="T92" fmla="*/ 109 w 142"/>
                <a:gd name="T93" fmla="*/ 50 h 83"/>
                <a:gd name="T94" fmla="*/ 115 w 142"/>
                <a:gd name="T95" fmla="*/ 48 h 83"/>
                <a:gd name="T96" fmla="*/ 121 w 142"/>
                <a:gd name="T97" fmla="*/ 47 h 83"/>
                <a:gd name="T98" fmla="*/ 118 w 142"/>
                <a:gd name="T99" fmla="*/ 54 h 83"/>
                <a:gd name="T100" fmla="*/ 127 w 142"/>
                <a:gd name="T101" fmla="*/ 52 h 83"/>
                <a:gd name="T102" fmla="*/ 135 w 142"/>
                <a:gd name="T103" fmla="*/ 51 h 83"/>
                <a:gd name="T104" fmla="*/ 138 w 142"/>
                <a:gd name="T105" fmla="*/ 47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2" h="83">
                  <a:moveTo>
                    <a:pt x="138" y="47"/>
                  </a:moveTo>
                  <a:cubicBezTo>
                    <a:pt x="134" y="44"/>
                    <a:pt x="128" y="40"/>
                    <a:pt x="127" y="42"/>
                  </a:cubicBezTo>
                  <a:cubicBezTo>
                    <a:pt x="127" y="44"/>
                    <a:pt x="122" y="44"/>
                    <a:pt x="121" y="42"/>
                  </a:cubicBezTo>
                  <a:cubicBezTo>
                    <a:pt x="119" y="40"/>
                    <a:pt x="118" y="38"/>
                    <a:pt x="113" y="40"/>
                  </a:cubicBezTo>
                  <a:cubicBezTo>
                    <a:pt x="108" y="42"/>
                    <a:pt x="105" y="44"/>
                    <a:pt x="105" y="46"/>
                  </a:cubicBezTo>
                  <a:cubicBezTo>
                    <a:pt x="105" y="48"/>
                    <a:pt x="101" y="50"/>
                    <a:pt x="101" y="47"/>
                  </a:cubicBezTo>
                  <a:cubicBezTo>
                    <a:pt x="101" y="45"/>
                    <a:pt x="97" y="44"/>
                    <a:pt x="94" y="43"/>
                  </a:cubicBezTo>
                  <a:cubicBezTo>
                    <a:pt x="92" y="43"/>
                    <a:pt x="88" y="44"/>
                    <a:pt x="87" y="41"/>
                  </a:cubicBezTo>
                  <a:cubicBezTo>
                    <a:pt x="87" y="39"/>
                    <a:pt x="83" y="36"/>
                    <a:pt x="83" y="33"/>
                  </a:cubicBezTo>
                  <a:cubicBezTo>
                    <a:pt x="83" y="30"/>
                    <a:pt x="84" y="26"/>
                    <a:pt x="81" y="25"/>
                  </a:cubicBezTo>
                  <a:cubicBezTo>
                    <a:pt x="79" y="25"/>
                    <a:pt x="77" y="21"/>
                    <a:pt x="75" y="21"/>
                  </a:cubicBezTo>
                  <a:cubicBezTo>
                    <a:pt x="73" y="21"/>
                    <a:pt x="60" y="21"/>
                    <a:pt x="59" y="20"/>
                  </a:cubicBezTo>
                  <a:cubicBezTo>
                    <a:pt x="57" y="19"/>
                    <a:pt x="49" y="23"/>
                    <a:pt x="48" y="21"/>
                  </a:cubicBezTo>
                  <a:cubicBezTo>
                    <a:pt x="48" y="19"/>
                    <a:pt x="42" y="13"/>
                    <a:pt x="39" y="10"/>
                  </a:cubicBezTo>
                  <a:cubicBezTo>
                    <a:pt x="38" y="12"/>
                    <a:pt x="38" y="13"/>
                    <a:pt x="36" y="14"/>
                  </a:cubicBezTo>
                  <a:cubicBezTo>
                    <a:pt x="30" y="18"/>
                    <a:pt x="25" y="17"/>
                    <a:pt x="27" y="12"/>
                  </a:cubicBezTo>
                  <a:cubicBezTo>
                    <a:pt x="28" y="7"/>
                    <a:pt x="29" y="1"/>
                    <a:pt x="26" y="1"/>
                  </a:cubicBezTo>
                  <a:cubicBezTo>
                    <a:pt x="23" y="1"/>
                    <a:pt x="25" y="12"/>
                    <a:pt x="22" y="13"/>
                  </a:cubicBezTo>
                  <a:cubicBezTo>
                    <a:pt x="20" y="13"/>
                    <a:pt x="19" y="5"/>
                    <a:pt x="21" y="0"/>
                  </a:cubicBezTo>
                  <a:cubicBezTo>
                    <a:pt x="1" y="5"/>
                    <a:pt x="1" y="5"/>
                    <a:pt x="1" y="5"/>
                  </a:cubicBezTo>
                  <a:cubicBezTo>
                    <a:pt x="0" y="41"/>
                    <a:pt x="0" y="41"/>
                    <a:pt x="0" y="41"/>
                  </a:cubicBezTo>
                  <a:cubicBezTo>
                    <a:pt x="0" y="41"/>
                    <a:pt x="0" y="41"/>
                    <a:pt x="0" y="41"/>
                  </a:cubicBezTo>
                  <a:cubicBezTo>
                    <a:pt x="2" y="42"/>
                    <a:pt x="4" y="42"/>
                    <a:pt x="5" y="42"/>
                  </a:cubicBezTo>
                  <a:cubicBezTo>
                    <a:pt x="8" y="43"/>
                    <a:pt x="8" y="40"/>
                    <a:pt x="8" y="39"/>
                  </a:cubicBezTo>
                  <a:cubicBezTo>
                    <a:pt x="8" y="37"/>
                    <a:pt x="12" y="34"/>
                    <a:pt x="14" y="34"/>
                  </a:cubicBezTo>
                  <a:cubicBezTo>
                    <a:pt x="16" y="35"/>
                    <a:pt x="16" y="31"/>
                    <a:pt x="17" y="31"/>
                  </a:cubicBezTo>
                  <a:cubicBezTo>
                    <a:pt x="18" y="31"/>
                    <a:pt x="19" y="31"/>
                    <a:pt x="20" y="30"/>
                  </a:cubicBezTo>
                  <a:cubicBezTo>
                    <a:pt x="21" y="28"/>
                    <a:pt x="25" y="30"/>
                    <a:pt x="26" y="31"/>
                  </a:cubicBezTo>
                  <a:cubicBezTo>
                    <a:pt x="27" y="32"/>
                    <a:pt x="30" y="33"/>
                    <a:pt x="32" y="33"/>
                  </a:cubicBezTo>
                  <a:cubicBezTo>
                    <a:pt x="34" y="34"/>
                    <a:pt x="35" y="40"/>
                    <a:pt x="35" y="42"/>
                  </a:cubicBezTo>
                  <a:cubicBezTo>
                    <a:pt x="35" y="43"/>
                    <a:pt x="45" y="43"/>
                    <a:pt x="47" y="43"/>
                  </a:cubicBezTo>
                  <a:cubicBezTo>
                    <a:pt x="48" y="43"/>
                    <a:pt x="48" y="46"/>
                    <a:pt x="50" y="48"/>
                  </a:cubicBezTo>
                  <a:cubicBezTo>
                    <a:pt x="52" y="51"/>
                    <a:pt x="53" y="53"/>
                    <a:pt x="54" y="55"/>
                  </a:cubicBezTo>
                  <a:cubicBezTo>
                    <a:pt x="54" y="57"/>
                    <a:pt x="60" y="59"/>
                    <a:pt x="62" y="61"/>
                  </a:cubicBezTo>
                  <a:cubicBezTo>
                    <a:pt x="63" y="63"/>
                    <a:pt x="68" y="65"/>
                    <a:pt x="71" y="66"/>
                  </a:cubicBezTo>
                  <a:cubicBezTo>
                    <a:pt x="74" y="68"/>
                    <a:pt x="77" y="72"/>
                    <a:pt x="79" y="72"/>
                  </a:cubicBezTo>
                  <a:cubicBezTo>
                    <a:pt x="81" y="72"/>
                    <a:pt x="86" y="74"/>
                    <a:pt x="86" y="74"/>
                  </a:cubicBezTo>
                  <a:cubicBezTo>
                    <a:pt x="87" y="80"/>
                    <a:pt x="87" y="80"/>
                    <a:pt x="87" y="80"/>
                  </a:cubicBezTo>
                  <a:cubicBezTo>
                    <a:pt x="87" y="80"/>
                    <a:pt x="88" y="80"/>
                    <a:pt x="88" y="79"/>
                  </a:cubicBezTo>
                  <a:cubicBezTo>
                    <a:pt x="91" y="79"/>
                    <a:pt x="92" y="82"/>
                    <a:pt x="94" y="82"/>
                  </a:cubicBezTo>
                  <a:cubicBezTo>
                    <a:pt x="95" y="82"/>
                    <a:pt x="97" y="82"/>
                    <a:pt x="98" y="83"/>
                  </a:cubicBezTo>
                  <a:cubicBezTo>
                    <a:pt x="98" y="79"/>
                    <a:pt x="99" y="76"/>
                    <a:pt x="101" y="75"/>
                  </a:cubicBezTo>
                  <a:cubicBezTo>
                    <a:pt x="103" y="73"/>
                    <a:pt x="100" y="70"/>
                    <a:pt x="100" y="68"/>
                  </a:cubicBezTo>
                  <a:cubicBezTo>
                    <a:pt x="100" y="65"/>
                    <a:pt x="95" y="64"/>
                    <a:pt x="95" y="61"/>
                  </a:cubicBezTo>
                  <a:cubicBezTo>
                    <a:pt x="96" y="59"/>
                    <a:pt x="100" y="60"/>
                    <a:pt x="103" y="59"/>
                  </a:cubicBezTo>
                  <a:cubicBezTo>
                    <a:pt x="105" y="58"/>
                    <a:pt x="103" y="54"/>
                    <a:pt x="105" y="54"/>
                  </a:cubicBezTo>
                  <a:cubicBezTo>
                    <a:pt x="107" y="54"/>
                    <a:pt x="108" y="52"/>
                    <a:pt x="109" y="50"/>
                  </a:cubicBezTo>
                  <a:cubicBezTo>
                    <a:pt x="110" y="48"/>
                    <a:pt x="113" y="50"/>
                    <a:pt x="115" y="48"/>
                  </a:cubicBezTo>
                  <a:cubicBezTo>
                    <a:pt x="117" y="47"/>
                    <a:pt x="120" y="46"/>
                    <a:pt x="121" y="47"/>
                  </a:cubicBezTo>
                  <a:cubicBezTo>
                    <a:pt x="121" y="48"/>
                    <a:pt x="119" y="52"/>
                    <a:pt x="118" y="54"/>
                  </a:cubicBezTo>
                  <a:cubicBezTo>
                    <a:pt x="121" y="54"/>
                    <a:pt x="126" y="53"/>
                    <a:pt x="127" y="52"/>
                  </a:cubicBezTo>
                  <a:cubicBezTo>
                    <a:pt x="128" y="51"/>
                    <a:pt x="133" y="54"/>
                    <a:pt x="135" y="51"/>
                  </a:cubicBezTo>
                  <a:cubicBezTo>
                    <a:pt x="136" y="48"/>
                    <a:pt x="142" y="50"/>
                    <a:pt x="138" y="47"/>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203" name="Freeform 146">
              <a:extLst>
                <a:ext uri="{FF2B5EF4-FFF2-40B4-BE49-F238E27FC236}">
                  <a16:creationId xmlns:a16="http://schemas.microsoft.com/office/drawing/2014/main" xmlns="" id="{905DF087-9F25-4390-A20E-CF226F64B1AA}"/>
                </a:ext>
              </a:extLst>
            </p:cNvPr>
            <p:cNvSpPr>
              <a:spLocks noEditPoints="1"/>
            </p:cNvSpPr>
            <p:nvPr/>
          </p:nvSpPr>
          <p:spPr bwMode="auto">
            <a:xfrm>
              <a:off x="16435609" y="1734216"/>
              <a:ext cx="544513" cy="858837"/>
            </a:xfrm>
            <a:custGeom>
              <a:avLst/>
              <a:gdLst>
                <a:gd name="T0" fmla="*/ 198 w 209"/>
                <a:gd name="T1" fmla="*/ 172 h 329"/>
                <a:gd name="T2" fmla="*/ 198 w 209"/>
                <a:gd name="T3" fmla="*/ 162 h 329"/>
                <a:gd name="T4" fmla="*/ 187 w 209"/>
                <a:gd name="T5" fmla="*/ 160 h 329"/>
                <a:gd name="T6" fmla="*/ 174 w 209"/>
                <a:gd name="T7" fmla="*/ 160 h 329"/>
                <a:gd name="T8" fmla="*/ 167 w 209"/>
                <a:gd name="T9" fmla="*/ 159 h 329"/>
                <a:gd name="T10" fmla="*/ 155 w 209"/>
                <a:gd name="T11" fmla="*/ 162 h 329"/>
                <a:gd name="T12" fmla="*/ 145 w 209"/>
                <a:gd name="T13" fmla="*/ 173 h 329"/>
                <a:gd name="T14" fmla="*/ 145 w 209"/>
                <a:gd name="T15" fmla="*/ 161 h 329"/>
                <a:gd name="T16" fmla="*/ 131 w 209"/>
                <a:gd name="T17" fmla="*/ 169 h 329"/>
                <a:gd name="T18" fmla="*/ 124 w 209"/>
                <a:gd name="T19" fmla="*/ 172 h 329"/>
                <a:gd name="T20" fmla="*/ 118 w 209"/>
                <a:gd name="T21" fmla="*/ 170 h 329"/>
                <a:gd name="T22" fmla="*/ 107 w 209"/>
                <a:gd name="T23" fmla="*/ 179 h 329"/>
                <a:gd name="T24" fmla="*/ 100 w 209"/>
                <a:gd name="T25" fmla="*/ 185 h 329"/>
                <a:gd name="T26" fmla="*/ 93 w 209"/>
                <a:gd name="T27" fmla="*/ 188 h 329"/>
                <a:gd name="T28" fmla="*/ 80 w 209"/>
                <a:gd name="T29" fmla="*/ 191 h 329"/>
                <a:gd name="T30" fmla="*/ 76 w 209"/>
                <a:gd name="T31" fmla="*/ 198 h 329"/>
                <a:gd name="T32" fmla="*/ 92 w 209"/>
                <a:gd name="T33" fmla="*/ 199 h 329"/>
                <a:gd name="T34" fmla="*/ 80 w 209"/>
                <a:gd name="T35" fmla="*/ 208 h 329"/>
                <a:gd name="T36" fmla="*/ 62 w 209"/>
                <a:gd name="T37" fmla="*/ 227 h 329"/>
                <a:gd name="T38" fmla="*/ 50 w 209"/>
                <a:gd name="T39" fmla="*/ 243 h 329"/>
                <a:gd name="T40" fmla="*/ 40 w 209"/>
                <a:gd name="T41" fmla="*/ 257 h 329"/>
                <a:gd name="T42" fmla="*/ 27 w 209"/>
                <a:gd name="T43" fmla="*/ 266 h 329"/>
                <a:gd name="T44" fmla="*/ 12 w 209"/>
                <a:gd name="T45" fmla="*/ 275 h 329"/>
                <a:gd name="T46" fmla="*/ 5 w 209"/>
                <a:gd name="T47" fmla="*/ 288 h 329"/>
                <a:gd name="T48" fmla="*/ 2 w 209"/>
                <a:gd name="T49" fmla="*/ 302 h 329"/>
                <a:gd name="T50" fmla="*/ 9 w 209"/>
                <a:gd name="T51" fmla="*/ 307 h 329"/>
                <a:gd name="T52" fmla="*/ 7 w 209"/>
                <a:gd name="T53" fmla="*/ 313 h 329"/>
                <a:gd name="T54" fmla="*/ 15 w 209"/>
                <a:gd name="T55" fmla="*/ 326 h 329"/>
                <a:gd name="T56" fmla="*/ 47 w 209"/>
                <a:gd name="T57" fmla="*/ 310 h 329"/>
                <a:gd name="T58" fmla="*/ 56 w 209"/>
                <a:gd name="T59" fmla="*/ 313 h 329"/>
                <a:gd name="T60" fmla="*/ 62 w 209"/>
                <a:gd name="T61" fmla="*/ 293 h 329"/>
                <a:gd name="T62" fmla="*/ 60 w 209"/>
                <a:gd name="T63" fmla="*/ 268 h 329"/>
                <a:gd name="T64" fmla="*/ 74 w 209"/>
                <a:gd name="T65" fmla="*/ 249 h 329"/>
                <a:gd name="T66" fmla="*/ 84 w 209"/>
                <a:gd name="T67" fmla="*/ 226 h 329"/>
                <a:gd name="T68" fmla="*/ 94 w 209"/>
                <a:gd name="T69" fmla="*/ 206 h 329"/>
                <a:gd name="T70" fmla="*/ 117 w 209"/>
                <a:gd name="T71" fmla="*/ 194 h 329"/>
                <a:gd name="T72" fmla="*/ 133 w 209"/>
                <a:gd name="T73" fmla="*/ 183 h 329"/>
                <a:gd name="T74" fmla="*/ 161 w 209"/>
                <a:gd name="T75" fmla="*/ 192 h 329"/>
                <a:gd name="T76" fmla="*/ 179 w 209"/>
                <a:gd name="T77" fmla="*/ 173 h 329"/>
                <a:gd name="T78" fmla="*/ 198 w 209"/>
                <a:gd name="T79" fmla="*/ 181 h 329"/>
                <a:gd name="T80" fmla="*/ 58 w 209"/>
                <a:gd name="T81" fmla="*/ 23 h 329"/>
                <a:gd name="T82" fmla="*/ 78 w 209"/>
                <a:gd name="T83" fmla="*/ 35 h 329"/>
                <a:gd name="T84" fmla="*/ 93 w 209"/>
                <a:gd name="T85" fmla="*/ 38 h 329"/>
                <a:gd name="T86" fmla="*/ 94 w 209"/>
                <a:gd name="T87" fmla="*/ 49 h 329"/>
                <a:gd name="T88" fmla="*/ 80 w 209"/>
                <a:gd name="T89" fmla="*/ 61 h 329"/>
                <a:gd name="T90" fmla="*/ 96 w 209"/>
                <a:gd name="T91" fmla="*/ 68 h 329"/>
                <a:gd name="T92" fmla="*/ 114 w 209"/>
                <a:gd name="T93" fmla="*/ 37 h 329"/>
                <a:gd name="T94" fmla="*/ 130 w 209"/>
                <a:gd name="T95" fmla="*/ 45 h 329"/>
                <a:gd name="T96" fmla="*/ 151 w 209"/>
                <a:gd name="T97" fmla="*/ 53 h 329"/>
                <a:gd name="T98" fmla="*/ 144 w 209"/>
                <a:gd name="T99" fmla="*/ 42 h 329"/>
                <a:gd name="T100" fmla="*/ 126 w 209"/>
                <a:gd name="T101" fmla="*/ 27 h 329"/>
                <a:gd name="T102" fmla="*/ 108 w 209"/>
                <a:gd name="T103" fmla="*/ 18 h 329"/>
                <a:gd name="T104" fmla="*/ 91 w 209"/>
                <a:gd name="T105" fmla="*/ 8 h 329"/>
                <a:gd name="T106" fmla="*/ 84 w 209"/>
                <a:gd name="T107" fmla="*/ 18 h 329"/>
                <a:gd name="T108" fmla="*/ 67 w 209"/>
                <a:gd name="T109" fmla="*/ 17 h 329"/>
                <a:gd name="T110" fmla="*/ 57 w 209"/>
                <a:gd name="T111" fmla="*/ 13 h 329"/>
                <a:gd name="T112" fmla="*/ 51 w 209"/>
                <a:gd name="T113" fmla="*/ 38 h 329"/>
                <a:gd name="T114" fmla="*/ 51 w 209"/>
                <a:gd name="T115" fmla="*/ 38 h 329"/>
                <a:gd name="T116" fmla="*/ 119 w 209"/>
                <a:gd name="T117" fmla="*/ 18 h 329"/>
                <a:gd name="T118" fmla="*/ 167 w 209"/>
                <a:gd name="T119" fmla="*/ 17 h 329"/>
                <a:gd name="T120" fmla="*/ 146 w 209"/>
                <a:gd name="T121" fmla="*/ 6 h 329"/>
                <a:gd name="T122" fmla="*/ 127 w 209"/>
                <a:gd name="T123" fmla="*/ 5 h 329"/>
                <a:gd name="T124" fmla="*/ 113 w 209"/>
                <a:gd name="T125" fmla="*/ 7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9" h="329">
                  <a:moveTo>
                    <a:pt x="202" y="176"/>
                  </a:moveTo>
                  <a:cubicBezTo>
                    <a:pt x="202" y="178"/>
                    <a:pt x="199" y="177"/>
                    <a:pt x="199" y="175"/>
                  </a:cubicBezTo>
                  <a:cubicBezTo>
                    <a:pt x="199" y="174"/>
                    <a:pt x="194" y="172"/>
                    <a:pt x="193" y="171"/>
                  </a:cubicBezTo>
                  <a:cubicBezTo>
                    <a:pt x="193" y="171"/>
                    <a:pt x="196" y="171"/>
                    <a:pt x="198" y="172"/>
                  </a:cubicBezTo>
                  <a:cubicBezTo>
                    <a:pt x="199" y="173"/>
                    <a:pt x="201" y="172"/>
                    <a:pt x="203" y="170"/>
                  </a:cubicBezTo>
                  <a:cubicBezTo>
                    <a:pt x="205" y="168"/>
                    <a:pt x="208" y="170"/>
                    <a:pt x="208" y="168"/>
                  </a:cubicBezTo>
                  <a:cubicBezTo>
                    <a:pt x="209" y="166"/>
                    <a:pt x="205" y="165"/>
                    <a:pt x="204" y="164"/>
                  </a:cubicBezTo>
                  <a:cubicBezTo>
                    <a:pt x="203" y="163"/>
                    <a:pt x="201" y="161"/>
                    <a:pt x="198" y="162"/>
                  </a:cubicBezTo>
                  <a:cubicBezTo>
                    <a:pt x="195" y="162"/>
                    <a:pt x="195" y="161"/>
                    <a:pt x="194" y="160"/>
                  </a:cubicBezTo>
                  <a:cubicBezTo>
                    <a:pt x="192" y="158"/>
                    <a:pt x="188" y="161"/>
                    <a:pt x="188" y="164"/>
                  </a:cubicBezTo>
                  <a:cubicBezTo>
                    <a:pt x="188" y="167"/>
                    <a:pt x="185" y="167"/>
                    <a:pt x="186" y="165"/>
                  </a:cubicBezTo>
                  <a:cubicBezTo>
                    <a:pt x="187" y="163"/>
                    <a:pt x="184" y="161"/>
                    <a:pt x="187" y="160"/>
                  </a:cubicBezTo>
                  <a:cubicBezTo>
                    <a:pt x="189" y="160"/>
                    <a:pt x="188" y="156"/>
                    <a:pt x="183" y="156"/>
                  </a:cubicBezTo>
                  <a:cubicBezTo>
                    <a:pt x="179" y="155"/>
                    <a:pt x="177" y="159"/>
                    <a:pt x="178" y="160"/>
                  </a:cubicBezTo>
                  <a:cubicBezTo>
                    <a:pt x="179" y="161"/>
                    <a:pt x="175" y="167"/>
                    <a:pt x="173" y="167"/>
                  </a:cubicBezTo>
                  <a:cubicBezTo>
                    <a:pt x="172" y="167"/>
                    <a:pt x="174" y="162"/>
                    <a:pt x="174" y="160"/>
                  </a:cubicBezTo>
                  <a:cubicBezTo>
                    <a:pt x="173" y="157"/>
                    <a:pt x="172" y="159"/>
                    <a:pt x="169" y="163"/>
                  </a:cubicBezTo>
                  <a:cubicBezTo>
                    <a:pt x="165" y="166"/>
                    <a:pt x="163" y="170"/>
                    <a:pt x="161" y="170"/>
                  </a:cubicBezTo>
                  <a:cubicBezTo>
                    <a:pt x="159" y="171"/>
                    <a:pt x="159" y="167"/>
                    <a:pt x="162" y="165"/>
                  </a:cubicBezTo>
                  <a:cubicBezTo>
                    <a:pt x="165" y="163"/>
                    <a:pt x="165" y="159"/>
                    <a:pt x="167" y="159"/>
                  </a:cubicBezTo>
                  <a:cubicBezTo>
                    <a:pt x="169" y="159"/>
                    <a:pt x="169" y="156"/>
                    <a:pt x="166" y="156"/>
                  </a:cubicBezTo>
                  <a:cubicBezTo>
                    <a:pt x="164" y="155"/>
                    <a:pt x="163" y="158"/>
                    <a:pt x="162" y="159"/>
                  </a:cubicBezTo>
                  <a:cubicBezTo>
                    <a:pt x="161" y="160"/>
                    <a:pt x="156" y="158"/>
                    <a:pt x="156" y="159"/>
                  </a:cubicBezTo>
                  <a:cubicBezTo>
                    <a:pt x="156" y="160"/>
                    <a:pt x="154" y="160"/>
                    <a:pt x="155" y="162"/>
                  </a:cubicBezTo>
                  <a:cubicBezTo>
                    <a:pt x="156" y="163"/>
                    <a:pt x="154" y="165"/>
                    <a:pt x="153" y="163"/>
                  </a:cubicBezTo>
                  <a:cubicBezTo>
                    <a:pt x="152" y="161"/>
                    <a:pt x="149" y="162"/>
                    <a:pt x="148" y="165"/>
                  </a:cubicBezTo>
                  <a:cubicBezTo>
                    <a:pt x="146" y="167"/>
                    <a:pt x="144" y="167"/>
                    <a:pt x="146" y="168"/>
                  </a:cubicBezTo>
                  <a:cubicBezTo>
                    <a:pt x="147" y="169"/>
                    <a:pt x="147" y="172"/>
                    <a:pt x="145" y="173"/>
                  </a:cubicBezTo>
                  <a:cubicBezTo>
                    <a:pt x="143" y="173"/>
                    <a:pt x="144" y="167"/>
                    <a:pt x="142" y="167"/>
                  </a:cubicBezTo>
                  <a:cubicBezTo>
                    <a:pt x="140" y="168"/>
                    <a:pt x="141" y="164"/>
                    <a:pt x="144" y="164"/>
                  </a:cubicBezTo>
                  <a:cubicBezTo>
                    <a:pt x="146" y="164"/>
                    <a:pt x="148" y="161"/>
                    <a:pt x="148" y="160"/>
                  </a:cubicBezTo>
                  <a:cubicBezTo>
                    <a:pt x="147" y="159"/>
                    <a:pt x="145" y="159"/>
                    <a:pt x="145" y="161"/>
                  </a:cubicBezTo>
                  <a:cubicBezTo>
                    <a:pt x="145" y="163"/>
                    <a:pt x="141" y="162"/>
                    <a:pt x="138" y="162"/>
                  </a:cubicBezTo>
                  <a:cubicBezTo>
                    <a:pt x="135" y="162"/>
                    <a:pt x="136" y="166"/>
                    <a:pt x="139" y="167"/>
                  </a:cubicBezTo>
                  <a:cubicBezTo>
                    <a:pt x="142" y="169"/>
                    <a:pt x="138" y="171"/>
                    <a:pt x="137" y="169"/>
                  </a:cubicBezTo>
                  <a:cubicBezTo>
                    <a:pt x="135" y="168"/>
                    <a:pt x="132" y="168"/>
                    <a:pt x="131" y="169"/>
                  </a:cubicBezTo>
                  <a:cubicBezTo>
                    <a:pt x="129" y="170"/>
                    <a:pt x="135" y="172"/>
                    <a:pt x="135" y="173"/>
                  </a:cubicBezTo>
                  <a:cubicBezTo>
                    <a:pt x="135" y="174"/>
                    <a:pt x="132" y="172"/>
                    <a:pt x="131" y="173"/>
                  </a:cubicBezTo>
                  <a:cubicBezTo>
                    <a:pt x="131" y="174"/>
                    <a:pt x="127" y="172"/>
                    <a:pt x="127" y="170"/>
                  </a:cubicBezTo>
                  <a:cubicBezTo>
                    <a:pt x="127" y="168"/>
                    <a:pt x="121" y="171"/>
                    <a:pt x="124" y="172"/>
                  </a:cubicBezTo>
                  <a:cubicBezTo>
                    <a:pt x="127" y="172"/>
                    <a:pt x="126" y="174"/>
                    <a:pt x="126" y="177"/>
                  </a:cubicBezTo>
                  <a:cubicBezTo>
                    <a:pt x="126" y="180"/>
                    <a:pt x="123" y="178"/>
                    <a:pt x="124" y="175"/>
                  </a:cubicBezTo>
                  <a:cubicBezTo>
                    <a:pt x="124" y="173"/>
                    <a:pt x="121" y="173"/>
                    <a:pt x="119" y="175"/>
                  </a:cubicBezTo>
                  <a:cubicBezTo>
                    <a:pt x="117" y="176"/>
                    <a:pt x="119" y="172"/>
                    <a:pt x="118" y="170"/>
                  </a:cubicBezTo>
                  <a:cubicBezTo>
                    <a:pt x="117" y="168"/>
                    <a:pt x="115" y="170"/>
                    <a:pt x="113" y="171"/>
                  </a:cubicBezTo>
                  <a:cubicBezTo>
                    <a:pt x="110" y="171"/>
                    <a:pt x="109" y="171"/>
                    <a:pt x="111" y="173"/>
                  </a:cubicBezTo>
                  <a:cubicBezTo>
                    <a:pt x="112" y="175"/>
                    <a:pt x="112" y="177"/>
                    <a:pt x="110" y="177"/>
                  </a:cubicBezTo>
                  <a:cubicBezTo>
                    <a:pt x="108" y="176"/>
                    <a:pt x="107" y="177"/>
                    <a:pt x="107" y="179"/>
                  </a:cubicBezTo>
                  <a:cubicBezTo>
                    <a:pt x="108" y="180"/>
                    <a:pt x="105" y="181"/>
                    <a:pt x="104" y="179"/>
                  </a:cubicBezTo>
                  <a:cubicBezTo>
                    <a:pt x="104" y="177"/>
                    <a:pt x="100" y="178"/>
                    <a:pt x="99" y="180"/>
                  </a:cubicBezTo>
                  <a:cubicBezTo>
                    <a:pt x="98" y="182"/>
                    <a:pt x="94" y="183"/>
                    <a:pt x="95" y="185"/>
                  </a:cubicBezTo>
                  <a:cubicBezTo>
                    <a:pt x="95" y="187"/>
                    <a:pt x="98" y="184"/>
                    <a:pt x="100" y="185"/>
                  </a:cubicBezTo>
                  <a:cubicBezTo>
                    <a:pt x="102" y="185"/>
                    <a:pt x="100" y="187"/>
                    <a:pt x="101" y="188"/>
                  </a:cubicBezTo>
                  <a:cubicBezTo>
                    <a:pt x="102" y="189"/>
                    <a:pt x="102" y="191"/>
                    <a:pt x="100" y="190"/>
                  </a:cubicBezTo>
                  <a:cubicBezTo>
                    <a:pt x="99" y="188"/>
                    <a:pt x="96" y="188"/>
                    <a:pt x="96" y="190"/>
                  </a:cubicBezTo>
                  <a:cubicBezTo>
                    <a:pt x="96" y="193"/>
                    <a:pt x="94" y="190"/>
                    <a:pt x="93" y="188"/>
                  </a:cubicBezTo>
                  <a:cubicBezTo>
                    <a:pt x="91" y="186"/>
                    <a:pt x="90" y="191"/>
                    <a:pt x="88" y="190"/>
                  </a:cubicBezTo>
                  <a:cubicBezTo>
                    <a:pt x="87" y="189"/>
                    <a:pt x="91" y="185"/>
                    <a:pt x="90" y="184"/>
                  </a:cubicBezTo>
                  <a:cubicBezTo>
                    <a:pt x="89" y="182"/>
                    <a:pt x="88" y="185"/>
                    <a:pt x="85" y="187"/>
                  </a:cubicBezTo>
                  <a:cubicBezTo>
                    <a:pt x="83" y="190"/>
                    <a:pt x="79" y="190"/>
                    <a:pt x="80" y="191"/>
                  </a:cubicBezTo>
                  <a:cubicBezTo>
                    <a:pt x="81" y="193"/>
                    <a:pt x="77" y="193"/>
                    <a:pt x="77" y="196"/>
                  </a:cubicBezTo>
                  <a:cubicBezTo>
                    <a:pt x="76" y="198"/>
                    <a:pt x="70" y="199"/>
                    <a:pt x="67" y="201"/>
                  </a:cubicBezTo>
                  <a:cubicBezTo>
                    <a:pt x="63" y="203"/>
                    <a:pt x="68" y="204"/>
                    <a:pt x="70" y="201"/>
                  </a:cubicBezTo>
                  <a:cubicBezTo>
                    <a:pt x="72" y="199"/>
                    <a:pt x="72" y="200"/>
                    <a:pt x="76" y="198"/>
                  </a:cubicBezTo>
                  <a:cubicBezTo>
                    <a:pt x="79" y="196"/>
                    <a:pt x="82" y="195"/>
                    <a:pt x="83" y="195"/>
                  </a:cubicBezTo>
                  <a:cubicBezTo>
                    <a:pt x="85" y="196"/>
                    <a:pt x="87" y="197"/>
                    <a:pt x="88" y="195"/>
                  </a:cubicBezTo>
                  <a:cubicBezTo>
                    <a:pt x="90" y="193"/>
                    <a:pt x="92" y="193"/>
                    <a:pt x="93" y="194"/>
                  </a:cubicBezTo>
                  <a:cubicBezTo>
                    <a:pt x="95" y="196"/>
                    <a:pt x="91" y="197"/>
                    <a:pt x="92" y="199"/>
                  </a:cubicBezTo>
                  <a:cubicBezTo>
                    <a:pt x="94" y="201"/>
                    <a:pt x="90" y="202"/>
                    <a:pt x="90" y="200"/>
                  </a:cubicBezTo>
                  <a:cubicBezTo>
                    <a:pt x="90" y="198"/>
                    <a:pt x="88" y="197"/>
                    <a:pt x="87" y="198"/>
                  </a:cubicBezTo>
                  <a:cubicBezTo>
                    <a:pt x="86" y="200"/>
                    <a:pt x="85" y="202"/>
                    <a:pt x="83" y="202"/>
                  </a:cubicBezTo>
                  <a:cubicBezTo>
                    <a:pt x="82" y="202"/>
                    <a:pt x="80" y="205"/>
                    <a:pt x="80" y="208"/>
                  </a:cubicBezTo>
                  <a:cubicBezTo>
                    <a:pt x="80" y="210"/>
                    <a:pt x="77" y="208"/>
                    <a:pt x="77" y="210"/>
                  </a:cubicBezTo>
                  <a:cubicBezTo>
                    <a:pt x="77" y="213"/>
                    <a:pt x="73" y="217"/>
                    <a:pt x="70" y="220"/>
                  </a:cubicBezTo>
                  <a:cubicBezTo>
                    <a:pt x="66" y="223"/>
                    <a:pt x="69" y="224"/>
                    <a:pt x="68" y="226"/>
                  </a:cubicBezTo>
                  <a:cubicBezTo>
                    <a:pt x="67" y="228"/>
                    <a:pt x="63" y="226"/>
                    <a:pt x="62" y="227"/>
                  </a:cubicBezTo>
                  <a:cubicBezTo>
                    <a:pt x="61" y="228"/>
                    <a:pt x="63" y="233"/>
                    <a:pt x="61" y="235"/>
                  </a:cubicBezTo>
                  <a:cubicBezTo>
                    <a:pt x="59" y="236"/>
                    <a:pt x="61" y="238"/>
                    <a:pt x="61" y="240"/>
                  </a:cubicBezTo>
                  <a:cubicBezTo>
                    <a:pt x="61" y="242"/>
                    <a:pt x="56" y="239"/>
                    <a:pt x="56" y="241"/>
                  </a:cubicBezTo>
                  <a:cubicBezTo>
                    <a:pt x="56" y="243"/>
                    <a:pt x="52" y="242"/>
                    <a:pt x="50" y="243"/>
                  </a:cubicBezTo>
                  <a:cubicBezTo>
                    <a:pt x="49" y="243"/>
                    <a:pt x="53" y="246"/>
                    <a:pt x="55" y="248"/>
                  </a:cubicBezTo>
                  <a:cubicBezTo>
                    <a:pt x="57" y="249"/>
                    <a:pt x="53" y="251"/>
                    <a:pt x="52" y="249"/>
                  </a:cubicBezTo>
                  <a:cubicBezTo>
                    <a:pt x="52" y="247"/>
                    <a:pt x="49" y="250"/>
                    <a:pt x="45" y="251"/>
                  </a:cubicBezTo>
                  <a:cubicBezTo>
                    <a:pt x="42" y="253"/>
                    <a:pt x="43" y="256"/>
                    <a:pt x="40" y="257"/>
                  </a:cubicBezTo>
                  <a:cubicBezTo>
                    <a:pt x="37" y="257"/>
                    <a:pt x="38" y="261"/>
                    <a:pt x="36" y="263"/>
                  </a:cubicBezTo>
                  <a:cubicBezTo>
                    <a:pt x="34" y="264"/>
                    <a:pt x="35" y="259"/>
                    <a:pt x="32" y="259"/>
                  </a:cubicBezTo>
                  <a:cubicBezTo>
                    <a:pt x="29" y="259"/>
                    <a:pt x="29" y="261"/>
                    <a:pt x="31" y="264"/>
                  </a:cubicBezTo>
                  <a:cubicBezTo>
                    <a:pt x="33" y="266"/>
                    <a:pt x="28" y="264"/>
                    <a:pt x="27" y="266"/>
                  </a:cubicBezTo>
                  <a:cubicBezTo>
                    <a:pt x="25" y="269"/>
                    <a:pt x="20" y="268"/>
                    <a:pt x="19" y="269"/>
                  </a:cubicBezTo>
                  <a:cubicBezTo>
                    <a:pt x="18" y="271"/>
                    <a:pt x="22" y="271"/>
                    <a:pt x="23" y="273"/>
                  </a:cubicBezTo>
                  <a:cubicBezTo>
                    <a:pt x="24" y="274"/>
                    <a:pt x="19" y="273"/>
                    <a:pt x="16" y="273"/>
                  </a:cubicBezTo>
                  <a:cubicBezTo>
                    <a:pt x="14" y="272"/>
                    <a:pt x="14" y="276"/>
                    <a:pt x="12" y="275"/>
                  </a:cubicBezTo>
                  <a:cubicBezTo>
                    <a:pt x="10" y="275"/>
                    <a:pt x="7" y="278"/>
                    <a:pt x="8" y="279"/>
                  </a:cubicBezTo>
                  <a:cubicBezTo>
                    <a:pt x="10" y="281"/>
                    <a:pt x="7" y="281"/>
                    <a:pt x="5" y="280"/>
                  </a:cubicBezTo>
                  <a:cubicBezTo>
                    <a:pt x="4" y="279"/>
                    <a:pt x="2" y="282"/>
                    <a:pt x="2" y="284"/>
                  </a:cubicBezTo>
                  <a:cubicBezTo>
                    <a:pt x="1" y="286"/>
                    <a:pt x="5" y="287"/>
                    <a:pt x="5" y="288"/>
                  </a:cubicBezTo>
                  <a:cubicBezTo>
                    <a:pt x="5" y="289"/>
                    <a:pt x="2" y="290"/>
                    <a:pt x="4" y="291"/>
                  </a:cubicBezTo>
                  <a:cubicBezTo>
                    <a:pt x="6" y="291"/>
                    <a:pt x="4" y="293"/>
                    <a:pt x="3" y="294"/>
                  </a:cubicBezTo>
                  <a:cubicBezTo>
                    <a:pt x="1" y="294"/>
                    <a:pt x="1" y="296"/>
                    <a:pt x="3" y="297"/>
                  </a:cubicBezTo>
                  <a:cubicBezTo>
                    <a:pt x="4" y="299"/>
                    <a:pt x="0" y="300"/>
                    <a:pt x="2" y="302"/>
                  </a:cubicBezTo>
                  <a:cubicBezTo>
                    <a:pt x="4" y="305"/>
                    <a:pt x="6" y="302"/>
                    <a:pt x="6" y="304"/>
                  </a:cubicBezTo>
                  <a:cubicBezTo>
                    <a:pt x="7" y="306"/>
                    <a:pt x="10" y="304"/>
                    <a:pt x="12" y="301"/>
                  </a:cubicBezTo>
                  <a:cubicBezTo>
                    <a:pt x="15" y="299"/>
                    <a:pt x="16" y="304"/>
                    <a:pt x="14" y="304"/>
                  </a:cubicBezTo>
                  <a:cubicBezTo>
                    <a:pt x="11" y="304"/>
                    <a:pt x="9" y="305"/>
                    <a:pt x="9" y="307"/>
                  </a:cubicBezTo>
                  <a:cubicBezTo>
                    <a:pt x="10" y="309"/>
                    <a:pt x="6" y="309"/>
                    <a:pt x="6" y="306"/>
                  </a:cubicBezTo>
                  <a:cubicBezTo>
                    <a:pt x="6" y="304"/>
                    <a:pt x="2" y="307"/>
                    <a:pt x="3" y="309"/>
                  </a:cubicBezTo>
                  <a:cubicBezTo>
                    <a:pt x="5" y="311"/>
                    <a:pt x="3" y="312"/>
                    <a:pt x="3" y="314"/>
                  </a:cubicBezTo>
                  <a:cubicBezTo>
                    <a:pt x="3" y="315"/>
                    <a:pt x="6" y="315"/>
                    <a:pt x="7" y="313"/>
                  </a:cubicBezTo>
                  <a:cubicBezTo>
                    <a:pt x="9" y="311"/>
                    <a:pt x="11" y="311"/>
                    <a:pt x="12" y="313"/>
                  </a:cubicBezTo>
                  <a:cubicBezTo>
                    <a:pt x="13" y="315"/>
                    <a:pt x="10" y="314"/>
                    <a:pt x="10" y="317"/>
                  </a:cubicBezTo>
                  <a:cubicBezTo>
                    <a:pt x="10" y="319"/>
                    <a:pt x="8" y="317"/>
                    <a:pt x="6" y="319"/>
                  </a:cubicBezTo>
                  <a:cubicBezTo>
                    <a:pt x="5" y="321"/>
                    <a:pt x="12" y="325"/>
                    <a:pt x="15" y="326"/>
                  </a:cubicBezTo>
                  <a:cubicBezTo>
                    <a:pt x="17" y="326"/>
                    <a:pt x="19" y="329"/>
                    <a:pt x="24" y="328"/>
                  </a:cubicBezTo>
                  <a:cubicBezTo>
                    <a:pt x="29" y="328"/>
                    <a:pt x="38" y="319"/>
                    <a:pt x="39" y="317"/>
                  </a:cubicBezTo>
                  <a:cubicBezTo>
                    <a:pt x="40" y="316"/>
                    <a:pt x="43" y="317"/>
                    <a:pt x="45" y="316"/>
                  </a:cubicBezTo>
                  <a:cubicBezTo>
                    <a:pt x="47" y="315"/>
                    <a:pt x="45" y="311"/>
                    <a:pt x="47" y="310"/>
                  </a:cubicBezTo>
                  <a:cubicBezTo>
                    <a:pt x="48" y="310"/>
                    <a:pt x="49" y="314"/>
                    <a:pt x="50" y="315"/>
                  </a:cubicBezTo>
                  <a:cubicBezTo>
                    <a:pt x="51" y="315"/>
                    <a:pt x="52" y="316"/>
                    <a:pt x="52" y="318"/>
                  </a:cubicBezTo>
                  <a:cubicBezTo>
                    <a:pt x="53" y="318"/>
                    <a:pt x="54" y="318"/>
                    <a:pt x="54" y="319"/>
                  </a:cubicBezTo>
                  <a:cubicBezTo>
                    <a:pt x="56" y="320"/>
                    <a:pt x="56" y="315"/>
                    <a:pt x="56" y="313"/>
                  </a:cubicBezTo>
                  <a:cubicBezTo>
                    <a:pt x="56" y="312"/>
                    <a:pt x="58" y="309"/>
                    <a:pt x="57" y="307"/>
                  </a:cubicBezTo>
                  <a:cubicBezTo>
                    <a:pt x="57" y="305"/>
                    <a:pt x="62" y="306"/>
                    <a:pt x="63" y="305"/>
                  </a:cubicBezTo>
                  <a:cubicBezTo>
                    <a:pt x="64" y="303"/>
                    <a:pt x="64" y="298"/>
                    <a:pt x="62" y="297"/>
                  </a:cubicBezTo>
                  <a:cubicBezTo>
                    <a:pt x="61" y="296"/>
                    <a:pt x="60" y="293"/>
                    <a:pt x="62" y="293"/>
                  </a:cubicBezTo>
                  <a:cubicBezTo>
                    <a:pt x="64" y="293"/>
                    <a:pt x="65" y="292"/>
                    <a:pt x="65" y="289"/>
                  </a:cubicBezTo>
                  <a:cubicBezTo>
                    <a:pt x="65" y="286"/>
                    <a:pt x="60" y="287"/>
                    <a:pt x="60" y="283"/>
                  </a:cubicBezTo>
                  <a:cubicBezTo>
                    <a:pt x="59" y="280"/>
                    <a:pt x="62" y="280"/>
                    <a:pt x="60" y="276"/>
                  </a:cubicBezTo>
                  <a:cubicBezTo>
                    <a:pt x="58" y="272"/>
                    <a:pt x="61" y="270"/>
                    <a:pt x="60" y="268"/>
                  </a:cubicBezTo>
                  <a:cubicBezTo>
                    <a:pt x="59" y="266"/>
                    <a:pt x="59" y="264"/>
                    <a:pt x="61" y="260"/>
                  </a:cubicBezTo>
                  <a:cubicBezTo>
                    <a:pt x="63" y="256"/>
                    <a:pt x="67" y="254"/>
                    <a:pt x="69" y="254"/>
                  </a:cubicBezTo>
                  <a:cubicBezTo>
                    <a:pt x="70" y="255"/>
                    <a:pt x="73" y="256"/>
                    <a:pt x="74" y="254"/>
                  </a:cubicBezTo>
                  <a:cubicBezTo>
                    <a:pt x="75" y="252"/>
                    <a:pt x="75" y="250"/>
                    <a:pt x="74" y="249"/>
                  </a:cubicBezTo>
                  <a:cubicBezTo>
                    <a:pt x="73" y="249"/>
                    <a:pt x="70" y="248"/>
                    <a:pt x="72" y="245"/>
                  </a:cubicBezTo>
                  <a:cubicBezTo>
                    <a:pt x="75" y="242"/>
                    <a:pt x="77" y="238"/>
                    <a:pt x="78" y="235"/>
                  </a:cubicBezTo>
                  <a:cubicBezTo>
                    <a:pt x="78" y="232"/>
                    <a:pt x="77" y="229"/>
                    <a:pt x="78" y="228"/>
                  </a:cubicBezTo>
                  <a:cubicBezTo>
                    <a:pt x="79" y="227"/>
                    <a:pt x="82" y="228"/>
                    <a:pt x="84" y="226"/>
                  </a:cubicBezTo>
                  <a:cubicBezTo>
                    <a:pt x="86" y="225"/>
                    <a:pt x="85" y="223"/>
                    <a:pt x="86" y="222"/>
                  </a:cubicBezTo>
                  <a:cubicBezTo>
                    <a:pt x="87" y="220"/>
                    <a:pt x="88" y="217"/>
                    <a:pt x="90" y="215"/>
                  </a:cubicBezTo>
                  <a:cubicBezTo>
                    <a:pt x="91" y="214"/>
                    <a:pt x="93" y="213"/>
                    <a:pt x="92" y="211"/>
                  </a:cubicBezTo>
                  <a:cubicBezTo>
                    <a:pt x="91" y="210"/>
                    <a:pt x="94" y="208"/>
                    <a:pt x="94" y="206"/>
                  </a:cubicBezTo>
                  <a:cubicBezTo>
                    <a:pt x="94" y="203"/>
                    <a:pt x="98" y="201"/>
                    <a:pt x="100" y="201"/>
                  </a:cubicBezTo>
                  <a:cubicBezTo>
                    <a:pt x="103" y="201"/>
                    <a:pt x="106" y="201"/>
                    <a:pt x="106" y="199"/>
                  </a:cubicBezTo>
                  <a:cubicBezTo>
                    <a:pt x="106" y="196"/>
                    <a:pt x="105" y="191"/>
                    <a:pt x="108" y="193"/>
                  </a:cubicBezTo>
                  <a:cubicBezTo>
                    <a:pt x="112" y="194"/>
                    <a:pt x="114" y="193"/>
                    <a:pt x="117" y="194"/>
                  </a:cubicBezTo>
                  <a:cubicBezTo>
                    <a:pt x="119" y="196"/>
                    <a:pt x="122" y="196"/>
                    <a:pt x="122" y="193"/>
                  </a:cubicBezTo>
                  <a:cubicBezTo>
                    <a:pt x="122" y="190"/>
                    <a:pt x="123" y="185"/>
                    <a:pt x="127" y="187"/>
                  </a:cubicBezTo>
                  <a:cubicBezTo>
                    <a:pt x="127" y="187"/>
                    <a:pt x="127" y="187"/>
                    <a:pt x="127" y="187"/>
                  </a:cubicBezTo>
                  <a:cubicBezTo>
                    <a:pt x="128" y="185"/>
                    <a:pt x="131" y="183"/>
                    <a:pt x="133" y="183"/>
                  </a:cubicBezTo>
                  <a:cubicBezTo>
                    <a:pt x="136" y="184"/>
                    <a:pt x="138" y="189"/>
                    <a:pt x="141" y="190"/>
                  </a:cubicBezTo>
                  <a:cubicBezTo>
                    <a:pt x="145" y="191"/>
                    <a:pt x="149" y="192"/>
                    <a:pt x="150" y="190"/>
                  </a:cubicBezTo>
                  <a:cubicBezTo>
                    <a:pt x="151" y="188"/>
                    <a:pt x="154" y="191"/>
                    <a:pt x="156" y="191"/>
                  </a:cubicBezTo>
                  <a:cubicBezTo>
                    <a:pt x="159" y="190"/>
                    <a:pt x="159" y="195"/>
                    <a:pt x="161" y="192"/>
                  </a:cubicBezTo>
                  <a:cubicBezTo>
                    <a:pt x="163" y="189"/>
                    <a:pt x="161" y="187"/>
                    <a:pt x="164" y="187"/>
                  </a:cubicBezTo>
                  <a:cubicBezTo>
                    <a:pt x="168" y="188"/>
                    <a:pt x="166" y="183"/>
                    <a:pt x="166" y="180"/>
                  </a:cubicBezTo>
                  <a:cubicBezTo>
                    <a:pt x="166" y="178"/>
                    <a:pt x="171" y="177"/>
                    <a:pt x="171" y="175"/>
                  </a:cubicBezTo>
                  <a:cubicBezTo>
                    <a:pt x="171" y="173"/>
                    <a:pt x="178" y="175"/>
                    <a:pt x="179" y="173"/>
                  </a:cubicBezTo>
                  <a:cubicBezTo>
                    <a:pt x="180" y="172"/>
                    <a:pt x="184" y="170"/>
                    <a:pt x="185" y="173"/>
                  </a:cubicBezTo>
                  <a:cubicBezTo>
                    <a:pt x="187" y="176"/>
                    <a:pt x="193" y="177"/>
                    <a:pt x="194" y="179"/>
                  </a:cubicBezTo>
                  <a:cubicBezTo>
                    <a:pt x="194" y="180"/>
                    <a:pt x="194" y="182"/>
                    <a:pt x="194" y="183"/>
                  </a:cubicBezTo>
                  <a:cubicBezTo>
                    <a:pt x="195" y="182"/>
                    <a:pt x="196" y="181"/>
                    <a:pt x="198" y="181"/>
                  </a:cubicBezTo>
                  <a:cubicBezTo>
                    <a:pt x="200" y="181"/>
                    <a:pt x="202" y="178"/>
                    <a:pt x="204" y="178"/>
                  </a:cubicBezTo>
                  <a:cubicBezTo>
                    <a:pt x="206" y="179"/>
                    <a:pt x="208" y="178"/>
                    <a:pt x="208" y="175"/>
                  </a:cubicBezTo>
                  <a:cubicBezTo>
                    <a:pt x="206" y="174"/>
                    <a:pt x="203" y="174"/>
                    <a:pt x="202" y="176"/>
                  </a:cubicBezTo>
                  <a:close/>
                  <a:moveTo>
                    <a:pt x="58" y="23"/>
                  </a:moveTo>
                  <a:cubicBezTo>
                    <a:pt x="62" y="24"/>
                    <a:pt x="55" y="28"/>
                    <a:pt x="54" y="31"/>
                  </a:cubicBezTo>
                  <a:cubicBezTo>
                    <a:pt x="53" y="35"/>
                    <a:pt x="59" y="38"/>
                    <a:pt x="62" y="40"/>
                  </a:cubicBezTo>
                  <a:cubicBezTo>
                    <a:pt x="65" y="43"/>
                    <a:pt x="71" y="42"/>
                    <a:pt x="73" y="41"/>
                  </a:cubicBezTo>
                  <a:cubicBezTo>
                    <a:pt x="76" y="39"/>
                    <a:pt x="75" y="34"/>
                    <a:pt x="78" y="35"/>
                  </a:cubicBezTo>
                  <a:cubicBezTo>
                    <a:pt x="81" y="35"/>
                    <a:pt x="79" y="32"/>
                    <a:pt x="82" y="31"/>
                  </a:cubicBezTo>
                  <a:cubicBezTo>
                    <a:pt x="84" y="30"/>
                    <a:pt x="85" y="33"/>
                    <a:pt x="83" y="36"/>
                  </a:cubicBezTo>
                  <a:cubicBezTo>
                    <a:pt x="80" y="38"/>
                    <a:pt x="86" y="38"/>
                    <a:pt x="89" y="35"/>
                  </a:cubicBezTo>
                  <a:cubicBezTo>
                    <a:pt x="93" y="32"/>
                    <a:pt x="93" y="35"/>
                    <a:pt x="93" y="38"/>
                  </a:cubicBezTo>
                  <a:cubicBezTo>
                    <a:pt x="92" y="41"/>
                    <a:pt x="85" y="39"/>
                    <a:pt x="83" y="42"/>
                  </a:cubicBezTo>
                  <a:cubicBezTo>
                    <a:pt x="81" y="45"/>
                    <a:pt x="74" y="43"/>
                    <a:pt x="70" y="46"/>
                  </a:cubicBezTo>
                  <a:cubicBezTo>
                    <a:pt x="67" y="50"/>
                    <a:pt x="73" y="50"/>
                    <a:pt x="78" y="49"/>
                  </a:cubicBezTo>
                  <a:cubicBezTo>
                    <a:pt x="82" y="48"/>
                    <a:pt x="91" y="48"/>
                    <a:pt x="94" y="49"/>
                  </a:cubicBezTo>
                  <a:cubicBezTo>
                    <a:pt x="97" y="49"/>
                    <a:pt x="92" y="50"/>
                    <a:pt x="86" y="50"/>
                  </a:cubicBezTo>
                  <a:cubicBezTo>
                    <a:pt x="81" y="50"/>
                    <a:pt x="79" y="52"/>
                    <a:pt x="80" y="53"/>
                  </a:cubicBezTo>
                  <a:cubicBezTo>
                    <a:pt x="80" y="55"/>
                    <a:pt x="72" y="52"/>
                    <a:pt x="72" y="55"/>
                  </a:cubicBezTo>
                  <a:cubicBezTo>
                    <a:pt x="71" y="58"/>
                    <a:pt x="79" y="60"/>
                    <a:pt x="80" y="61"/>
                  </a:cubicBezTo>
                  <a:cubicBezTo>
                    <a:pt x="81" y="63"/>
                    <a:pt x="86" y="62"/>
                    <a:pt x="88" y="62"/>
                  </a:cubicBezTo>
                  <a:cubicBezTo>
                    <a:pt x="89" y="63"/>
                    <a:pt x="84" y="65"/>
                    <a:pt x="84" y="65"/>
                  </a:cubicBezTo>
                  <a:cubicBezTo>
                    <a:pt x="83" y="66"/>
                    <a:pt x="89" y="68"/>
                    <a:pt x="90" y="69"/>
                  </a:cubicBezTo>
                  <a:cubicBezTo>
                    <a:pt x="91" y="71"/>
                    <a:pt x="96" y="70"/>
                    <a:pt x="96" y="68"/>
                  </a:cubicBezTo>
                  <a:cubicBezTo>
                    <a:pt x="95" y="65"/>
                    <a:pt x="99" y="55"/>
                    <a:pt x="105" y="53"/>
                  </a:cubicBezTo>
                  <a:cubicBezTo>
                    <a:pt x="110" y="51"/>
                    <a:pt x="107" y="50"/>
                    <a:pt x="108" y="46"/>
                  </a:cubicBezTo>
                  <a:cubicBezTo>
                    <a:pt x="109" y="43"/>
                    <a:pt x="113" y="46"/>
                    <a:pt x="112" y="43"/>
                  </a:cubicBezTo>
                  <a:cubicBezTo>
                    <a:pt x="110" y="41"/>
                    <a:pt x="111" y="40"/>
                    <a:pt x="114" y="37"/>
                  </a:cubicBezTo>
                  <a:cubicBezTo>
                    <a:pt x="118" y="33"/>
                    <a:pt x="120" y="36"/>
                    <a:pt x="124" y="34"/>
                  </a:cubicBezTo>
                  <a:cubicBezTo>
                    <a:pt x="128" y="32"/>
                    <a:pt x="130" y="35"/>
                    <a:pt x="126" y="36"/>
                  </a:cubicBezTo>
                  <a:cubicBezTo>
                    <a:pt x="122" y="36"/>
                    <a:pt x="124" y="40"/>
                    <a:pt x="127" y="42"/>
                  </a:cubicBezTo>
                  <a:cubicBezTo>
                    <a:pt x="130" y="43"/>
                    <a:pt x="127" y="44"/>
                    <a:pt x="130" y="45"/>
                  </a:cubicBezTo>
                  <a:cubicBezTo>
                    <a:pt x="132" y="45"/>
                    <a:pt x="132" y="49"/>
                    <a:pt x="128" y="52"/>
                  </a:cubicBezTo>
                  <a:cubicBezTo>
                    <a:pt x="125" y="56"/>
                    <a:pt x="129" y="56"/>
                    <a:pt x="136" y="54"/>
                  </a:cubicBezTo>
                  <a:cubicBezTo>
                    <a:pt x="143" y="51"/>
                    <a:pt x="139" y="56"/>
                    <a:pt x="141" y="58"/>
                  </a:cubicBezTo>
                  <a:cubicBezTo>
                    <a:pt x="142" y="60"/>
                    <a:pt x="148" y="56"/>
                    <a:pt x="151" y="53"/>
                  </a:cubicBezTo>
                  <a:cubicBezTo>
                    <a:pt x="154" y="50"/>
                    <a:pt x="158" y="50"/>
                    <a:pt x="158" y="48"/>
                  </a:cubicBezTo>
                  <a:cubicBezTo>
                    <a:pt x="157" y="46"/>
                    <a:pt x="154" y="46"/>
                    <a:pt x="152" y="47"/>
                  </a:cubicBezTo>
                  <a:cubicBezTo>
                    <a:pt x="149" y="48"/>
                    <a:pt x="143" y="47"/>
                    <a:pt x="145" y="45"/>
                  </a:cubicBezTo>
                  <a:cubicBezTo>
                    <a:pt x="147" y="43"/>
                    <a:pt x="147" y="42"/>
                    <a:pt x="144" y="42"/>
                  </a:cubicBezTo>
                  <a:cubicBezTo>
                    <a:pt x="141" y="43"/>
                    <a:pt x="135" y="41"/>
                    <a:pt x="138" y="40"/>
                  </a:cubicBezTo>
                  <a:cubicBezTo>
                    <a:pt x="140" y="39"/>
                    <a:pt x="136" y="35"/>
                    <a:pt x="133" y="35"/>
                  </a:cubicBezTo>
                  <a:cubicBezTo>
                    <a:pt x="131" y="36"/>
                    <a:pt x="131" y="33"/>
                    <a:pt x="132" y="31"/>
                  </a:cubicBezTo>
                  <a:cubicBezTo>
                    <a:pt x="132" y="29"/>
                    <a:pt x="124" y="28"/>
                    <a:pt x="126" y="27"/>
                  </a:cubicBezTo>
                  <a:cubicBezTo>
                    <a:pt x="127" y="27"/>
                    <a:pt x="123" y="25"/>
                    <a:pt x="122" y="26"/>
                  </a:cubicBezTo>
                  <a:cubicBezTo>
                    <a:pt x="121" y="28"/>
                    <a:pt x="119" y="27"/>
                    <a:pt x="119" y="25"/>
                  </a:cubicBezTo>
                  <a:cubicBezTo>
                    <a:pt x="119" y="23"/>
                    <a:pt x="113" y="24"/>
                    <a:pt x="111" y="24"/>
                  </a:cubicBezTo>
                  <a:cubicBezTo>
                    <a:pt x="109" y="24"/>
                    <a:pt x="110" y="19"/>
                    <a:pt x="108" y="18"/>
                  </a:cubicBezTo>
                  <a:cubicBezTo>
                    <a:pt x="106" y="16"/>
                    <a:pt x="103" y="21"/>
                    <a:pt x="101" y="20"/>
                  </a:cubicBezTo>
                  <a:cubicBezTo>
                    <a:pt x="100" y="20"/>
                    <a:pt x="103" y="17"/>
                    <a:pt x="103" y="15"/>
                  </a:cubicBezTo>
                  <a:cubicBezTo>
                    <a:pt x="104" y="13"/>
                    <a:pt x="96" y="10"/>
                    <a:pt x="95" y="12"/>
                  </a:cubicBezTo>
                  <a:cubicBezTo>
                    <a:pt x="94" y="14"/>
                    <a:pt x="93" y="9"/>
                    <a:pt x="91" y="8"/>
                  </a:cubicBezTo>
                  <a:cubicBezTo>
                    <a:pt x="89" y="8"/>
                    <a:pt x="90" y="12"/>
                    <a:pt x="89" y="12"/>
                  </a:cubicBezTo>
                  <a:cubicBezTo>
                    <a:pt x="87" y="12"/>
                    <a:pt x="85" y="14"/>
                    <a:pt x="88" y="16"/>
                  </a:cubicBezTo>
                  <a:cubicBezTo>
                    <a:pt x="90" y="18"/>
                    <a:pt x="93" y="27"/>
                    <a:pt x="93" y="28"/>
                  </a:cubicBezTo>
                  <a:cubicBezTo>
                    <a:pt x="92" y="29"/>
                    <a:pt x="84" y="22"/>
                    <a:pt x="84" y="18"/>
                  </a:cubicBezTo>
                  <a:cubicBezTo>
                    <a:pt x="83" y="14"/>
                    <a:pt x="79" y="11"/>
                    <a:pt x="78" y="14"/>
                  </a:cubicBezTo>
                  <a:cubicBezTo>
                    <a:pt x="77" y="16"/>
                    <a:pt x="74" y="17"/>
                    <a:pt x="75" y="20"/>
                  </a:cubicBezTo>
                  <a:cubicBezTo>
                    <a:pt x="76" y="23"/>
                    <a:pt x="73" y="24"/>
                    <a:pt x="73" y="22"/>
                  </a:cubicBezTo>
                  <a:cubicBezTo>
                    <a:pt x="73" y="19"/>
                    <a:pt x="68" y="17"/>
                    <a:pt x="67" y="17"/>
                  </a:cubicBezTo>
                  <a:cubicBezTo>
                    <a:pt x="65" y="17"/>
                    <a:pt x="71" y="15"/>
                    <a:pt x="74" y="14"/>
                  </a:cubicBezTo>
                  <a:cubicBezTo>
                    <a:pt x="76" y="13"/>
                    <a:pt x="71" y="11"/>
                    <a:pt x="69" y="13"/>
                  </a:cubicBezTo>
                  <a:cubicBezTo>
                    <a:pt x="67" y="14"/>
                    <a:pt x="64" y="12"/>
                    <a:pt x="62" y="14"/>
                  </a:cubicBezTo>
                  <a:cubicBezTo>
                    <a:pt x="61" y="16"/>
                    <a:pt x="59" y="14"/>
                    <a:pt x="57" y="13"/>
                  </a:cubicBezTo>
                  <a:cubicBezTo>
                    <a:pt x="54" y="13"/>
                    <a:pt x="52" y="17"/>
                    <a:pt x="50" y="16"/>
                  </a:cubicBezTo>
                  <a:cubicBezTo>
                    <a:pt x="48" y="15"/>
                    <a:pt x="47" y="20"/>
                    <a:pt x="50" y="24"/>
                  </a:cubicBezTo>
                  <a:cubicBezTo>
                    <a:pt x="53" y="28"/>
                    <a:pt x="55" y="23"/>
                    <a:pt x="58" y="23"/>
                  </a:cubicBezTo>
                  <a:close/>
                  <a:moveTo>
                    <a:pt x="51" y="38"/>
                  </a:moveTo>
                  <a:cubicBezTo>
                    <a:pt x="53" y="38"/>
                    <a:pt x="55" y="42"/>
                    <a:pt x="57" y="42"/>
                  </a:cubicBezTo>
                  <a:cubicBezTo>
                    <a:pt x="58" y="42"/>
                    <a:pt x="54" y="37"/>
                    <a:pt x="52" y="35"/>
                  </a:cubicBezTo>
                  <a:cubicBezTo>
                    <a:pt x="49" y="32"/>
                    <a:pt x="49" y="30"/>
                    <a:pt x="46" y="31"/>
                  </a:cubicBezTo>
                  <a:cubicBezTo>
                    <a:pt x="43" y="32"/>
                    <a:pt x="49" y="37"/>
                    <a:pt x="51" y="38"/>
                  </a:cubicBezTo>
                  <a:close/>
                  <a:moveTo>
                    <a:pt x="108" y="9"/>
                  </a:moveTo>
                  <a:cubicBezTo>
                    <a:pt x="109" y="10"/>
                    <a:pt x="105" y="10"/>
                    <a:pt x="107" y="12"/>
                  </a:cubicBezTo>
                  <a:cubicBezTo>
                    <a:pt x="112" y="17"/>
                    <a:pt x="133" y="11"/>
                    <a:pt x="136" y="13"/>
                  </a:cubicBezTo>
                  <a:cubicBezTo>
                    <a:pt x="139" y="14"/>
                    <a:pt x="119" y="16"/>
                    <a:pt x="119" y="18"/>
                  </a:cubicBezTo>
                  <a:cubicBezTo>
                    <a:pt x="120" y="21"/>
                    <a:pt x="137" y="22"/>
                    <a:pt x="138" y="21"/>
                  </a:cubicBezTo>
                  <a:cubicBezTo>
                    <a:pt x="140" y="20"/>
                    <a:pt x="142" y="24"/>
                    <a:pt x="148" y="24"/>
                  </a:cubicBezTo>
                  <a:cubicBezTo>
                    <a:pt x="154" y="25"/>
                    <a:pt x="153" y="22"/>
                    <a:pt x="157" y="22"/>
                  </a:cubicBezTo>
                  <a:cubicBezTo>
                    <a:pt x="161" y="22"/>
                    <a:pt x="167" y="20"/>
                    <a:pt x="167" y="17"/>
                  </a:cubicBezTo>
                  <a:cubicBezTo>
                    <a:pt x="168" y="15"/>
                    <a:pt x="180" y="12"/>
                    <a:pt x="178" y="8"/>
                  </a:cubicBezTo>
                  <a:cubicBezTo>
                    <a:pt x="177" y="4"/>
                    <a:pt x="166" y="7"/>
                    <a:pt x="163" y="5"/>
                  </a:cubicBezTo>
                  <a:cubicBezTo>
                    <a:pt x="159" y="4"/>
                    <a:pt x="152" y="2"/>
                    <a:pt x="151" y="4"/>
                  </a:cubicBezTo>
                  <a:cubicBezTo>
                    <a:pt x="149" y="7"/>
                    <a:pt x="147" y="7"/>
                    <a:pt x="146" y="6"/>
                  </a:cubicBezTo>
                  <a:cubicBezTo>
                    <a:pt x="145" y="5"/>
                    <a:pt x="147" y="0"/>
                    <a:pt x="142" y="1"/>
                  </a:cubicBezTo>
                  <a:cubicBezTo>
                    <a:pt x="136" y="3"/>
                    <a:pt x="141" y="8"/>
                    <a:pt x="140" y="9"/>
                  </a:cubicBezTo>
                  <a:cubicBezTo>
                    <a:pt x="139" y="10"/>
                    <a:pt x="134" y="8"/>
                    <a:pt x="134" y="5"/>
                  </a:cubicBezTo>
                  <a:cubicBezTo>
                    <a:pt x="133" y="3"/>
                    <a:pt x="128" y="8"/>
                    <a:pt x="127" y="5"/>
                  </a:cubicBezTo>
                  <a:cubicBezTo>
                    <a:pt x="126" y="2"/>
                    <a:pt x="120" y="0"/>
                    <a:pt x="118" y="0"/>
                  </a:cubicBezTo>
                  <a:cubicBezTo>
                    <a:pt x="117" y="0"/>
                    <a:pt x="120" y="2"/>
                    <a:pt x="119" y="4"/>
                  </a:cubicBezTo>
                  <a:cubicBezTo>
                    <a:pt x="118" y="5"/>
                    <a:pt x="114" y="2"/>
                    <a:pt x="113" y="2"/>
                  </a:cubicBezTo>
                  <a:cubicBezTo>
                    <a:pt x="112" y="2"/>
                    <a:pt x="114" y="5"/>
                    <a:pt x="113" y="7"/>
                  </a:cubicBezTo>
                  <a:cubicBezTo>
                    <a:pt x="113" y="8"/>
                    <a:pt x="110" y="2"/>
                    <a:pt x="107" y="2"/>
                  </a:cubicBezTo>
                  <a:cubicBezTo>
                    <a:pt x="105" y="2"/>
                    <a:pt x="106" y="5"/>
                    <a:pt x="104" y="5"/>
                  </a:cubicBezTo>
                  <a:cubicBezTo>
                    <a:pt x="102" y="5"/>
                    <a:pt x="106" y="8"/>
                    <a:pt x="108" y="9"/>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204" name="Freeform 147">
              <a:extLst>
                <a:ext uri="{FF2B5EF4-FFF2-40B4-BE49-F238E27FC236}">
                  <a16:creationId xmlns:a16="http://schemas.microsoft.com/office/drawing/2014/main" xmlns="" id="{1ED14662-6FE7-41F4-8158-B6063A167B70}"/>
                </a:ext>
              </a:extLst>
            </p:cNvPr>
            <p:cNvSpPr>
              <a:spLocks/>
            </p:cNvSpPr>
            <p:nvPr/>
          </p:nvSpPr>
          <p:spPr bwMode="auto">
            <a:xfrm>
              <a:off x="20266247" y="2421604"/>
              <a:ext cx="71438" cy="25400"/>
            </a:xfrm>
            <a:custGeom>
              <a:avLst/>
              <a:gdLst>
                <a:gd name="T0" fmla="*/ 12 w 27"/>
                <a:gd name="T1" fmla="*/ 1 h 10"/>
                <a:gd name="T2" fmla="*/ 2 w 27"/>
                <a:gd name="T3" fmla="*/ 4 h 10"/>
                <a:gd name="T4" fmla="*/ 17 w 27"/>
                <a:gd name="T5" fmla="*/ 7 h 10"/>
                <a:gd name="T6" fmla="*/ 27 w 27"/>
                <a:gd name="T7" fmla="*/ 6 h 10"/>
                <a:gd name="T8" fmla="*/ 12 w 27"/>
                <a:gd name="T9" fmla="*/ 1 h 10"/>
              </a:gdLst>
              <a:ahLst/>
              <a:cxnLst>
                <a:cxn ang="0">
                  <a:pos x="T0" y="T1"/>
                </a:cxn>
                <a:cxn ang="0">
                  <a:pos x="T2" y="T3"/>
                </a:cxn>
                <a:cxn ang="0">
                  <a:pos x="T4" y="T5"/>
                </a:cxn>
                <a:cxn ang="0">
                  <a:pos x="T6" y="T7"/>
                </a:cxn>
                <a:cxn ang="0">
                  <a:pos x="T8" y="T9"/>
                </a:cxn>
              </a:cxnLst>
              <a:rect l="0" t="0" r="r" b="b"/>
              <a:pathLst>
                <a:path w="27" h="10">
                  <a:moveTo>
                    <a:pt x="12" y="1"/>
                  </a:moveTo>
                  <a:cubicBezTo>
                    <a:pt x="10" y="2"/>
                    <a:pt x="0" y="1"/>
                    <a:pt x="2" y="4"/>
                  </a:cubicBezTo>
                  <a:cubicBezTo>
                    <a:pt x="4" y="6"/>
                    <a:pt x="13" y="5"/>
                    <a:pt x="17" y="7"/>
                  </a:cubicBezTo>
                  <a:cubicBezTo>
                    <a:pt x="21" y="10"/>
                    <a:pt x="27" y="8"/>
                    <a:pt x="27" y="6"/>
                  </a:cubicBezTo>
                  <a:cubicBezTo>
                    <a:pt x="27" y="4"/>
                    <a:pt x="14" y="0"/>
                    <a:pt x="12" y="1"/>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205" name="Freeform 148">
              <a:extLst>
                <a:ext uri="{FF2B5EF4-FFF2-40B4-BE49-F238E27FC236}">
                  <a16:creationId xmlns:a16="http://schemas.microsoft.com/office/drawing/2014/main" xmlns="" id="{6E53442D-D6E0-478A-87C7-B801E85F8D82}"/>
                </a:ext>
              </a:extLst>
            </p:cNvPr>
            <p:cNvSpPr>
              <a:spLocks noEditPoints="1"/>
            </p:cNvSpPr>
            <p:nvPr/>
          </p:nvSpPr>
          <p:spPr bwMode="auto">
            <a:xfrm>
              <a:off x="19024822" y="2951829"/>
              <a:ext cx="358775" cy="360362"/>
            </a:xfrm>
            <a:custGeom>
              <a:avLst/>
              <a:gdLst>
                <a:gd name="T0" fmla="*/ 122 w 138"/>
                <a:gd name="T1" fmla="*/ 17 h 138"/>
                <a:gd name="T2" fmla="*/ 100 w 138"/>
                <a:gd name="T3" fmla="*/ 6 h 138"/>
                <a:gd name="T4" fmla="*/ 97 w 138"/>
                <a:gd name="T5" fmla="*/ 22 h 138"/>
                <a:gd name="T6" fmla="*/ 87 w 138"/>
                <a:gd name="T7" fmla="*/ 29 h 138"/>
                <a:gd name="T8" fmla="*/ 85 w 138"/>
                <a:gd name="T9" fmla="*/ 40 h 138"/>
                <a:gd name="T10" fmla="*/ 94 w 138"/>
                <a:gd name="T11" fmla="*/ 38 h 138"/>
                <a:gd name="T12" fmla="*/ 96 w 138"/>
                <a:gd name="T13" fmla="*/ 31 h 138"/>
                <a:gd name="T14" fmla="*/ 113 w 138"/>
                <a:gd name="T15" fmla="*/ 32 h 138"/>
                <a:gd name="T16" fmla="*/ 129 w 138"/>
                <a:gd name="T17" fmla="*/ 23 h 138"/>
                <a:gd name="T18" fmla="*/ 130 w 138"/>
                <a:gd name="T19" fmla="*/ 15 h 138"/>
                <a:gd name="T20" fmla="*/ 85 w 138"/>
                <a:gd name="T21" fmla="*/ 58 h 138"/>
                <a:gd name="T22" fmla="*/ 76 w 138"/>
                <a:gd name="T23" fmla="*/ 77 h 138"/>
                <a:gd name="T24" fmla="*/ 64 w 138"/>
                <a:gd name="T25" fmla="*/ 80 h 138"/>
                <a:gd name="T26" fmla="*/ 53 w 138"/>
                <a:gd name="T27" fmla="*/ 94 h 138"/>
                <a:gd name="T28" fmla="*/ 38 w 138"/>
                <a:gd name="T29" fmla="*/ 97 h 138"/>
                <a:gd name="T30" fmla="*/ 14 w 138"/>
                <a:gd name="T31" fmla="*/ 107 h 138"/>
                <a:gd name="T32" fmla="*/ 22 w 138"/>
                <a:gd name="T33" fmla="*/ 110 h 138"/>
                <a:gd name="T34" fmla="*/ 46 w 138"/>
                <a:gd name="T35" fmla="*/ 112 h 138"/>
                <a:gd name="T36" fmla="*/ 58 w 138"/>
                <a:gd name="T37" fmla="*/ 106 h 138"/>
                <a:gd name="T38" fmla="*/ 71 w 138"/>
                <a:gd name="T39" fmla="*/ 104 h 138"/>
                <a:gd name="T40" fmla="*/ 82 w 138"/>
                <a:gd name="T41" fmla="*/ 100 h 138"/>
                <a:gd name="T42" fmla="*/ 91 w 138"/>
                <a:gd name="T43" fmla="*/ 87 h 138"/>
                <a:gd name="T44" fmla="*/ 101 w 138"/>
                <a:gd name="T45" fmla="*/ 66 h 138"/>
                <a:gd name="T46" fmla="*/ 87 w 138"/>
                <a:gd name="T47" fmla="*/ 47 h 138"/>
                <a:gd name="T48" fmla="*/ 27 w 138"/>
                <a:gd name="T49" fmla="*/ 111 h 138"/>
                <a:gd name="T50" fmla="*/ 30 w 138"/>
                <a:gd name="T51" fmla="*/ 120 h 138"/>
                <a:gd name="T52" fmla="*/ 42 w 138"/>
                <a:gd name="T53" fmla="*/ 110 h 138"/>
                <a:gd name="T54" fmla="*/ 18 w 138"/>
                <a:gd name="T55" fmla="*/ 119 h 138"/>
                <a:gd name="T56" fmla="*/ 5 w 138"/>
                <a:gd name="T57" fmla="*/ 116 h 138"/>
                <a:gd name="T58" fmla="*/ 6 w 138"/>
                <a:gd name="T59" fmla="*/ 119 h 138"/>
                <a:gd name="T60" fmla="*/ 11 w 138"/>
                <a:gd name="T61" fmla="*/ 137 h 138"/>
                <a:gd name="T62" fmla="*/ 18 w 138"/>
                <a:gd name="T63" fmla="*/ 119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8" h="138">
                  <a:moveTo>
                    <a:pt x="130" y="15"/>
                  </a:moveTo>
                  <a:cubicBezTo>
                    <a:pt x="129" y="13"/>
                    <a:pt x="126" y="16"/>
                    <a:pt x="122" y="17"/>
                  </a:cubicBezTo>
                  <a:cubicBezTo>
                    <a:pt x="119" y="17"/>
                    <a:pt x="108" y="8"/>
                    <a:pt x="105" y="4"/>
                  </a:cubicBezTo>
                  <a:cubicBezTo>
                    <a:pt x="102" y="0"/>
                    <a:pt x="97" y="3"/>
                    <a:pt x="100" y="6"/>
                  </a:cubicBezTo>
                  <a:cubicBezTo>
                    <a:pt x="102" y="9"/>
                    <a:pt x="99" y="10"/>
                    <a:pt x="99" y="15"/>
                  </a:cubicBezTo>
                  <a:cubicBezTo>
                    <a:pt x="99" y="19"/>
                    <a:pt x="96" y="19"/>
                    <a:pt x="97" y="22"/>
                  </a:cubicBezTo>
                  <a:cubicBezTo>
                    <a:pt x="97" y="25"/>
                    <a:pt x="93" y="24"/>
                    <a:pt x="90" y="25"/>
                  </a:cubicBezTo>
                  <a:cubicBezTo>
                    <a:pt x="87" y="25"/>
                    <a:pt x="90" y="28"/>
                    <a:pt x="87" y="29"/>
                  </a:cubicBezTo>
                  <a:cubicBezTo>
                    <a:pt x="84" y="31"/>
                    <a:pt x="84" y="33"/>
                    <a:pt x="85" y="34"/>
                  </a:cubicBezTo>
                  <a:cubicBezTo>
                    <a:pt x="87" y="35"/>
                    <a:pt x="86" y="38"/>
                    <a:pt x="85" y="40"/>
                  </a:cubicBezTo>
                  <a:cubicBezTo>
                    <a:pt x="85" y="42"/>
                    <a:pt x="88" y="41"/>
                    <a:pt x="90" y="39"/>
                  </a:cubicBezTo>
                  <a:cubicBezTo>
                    <a:pt x="91" y="36"/>
                    <a:pt x="93" y="40"/>
                    <a:pt x="94" y="38"/>
                  </a:cubicBezTo>
                  <a:cubicBezTo>
                    <a:pt x="94" y="35"/>
                    <a:pt x="89" y="34"/>
                    <a:pt x="89" y="32"/>
                  </a:cubicBezTo>
                  <a:cubicBezTo>
                    <a:pt x="89" y="29"/>
                    <a:pt x="93" y="32"/>
                    <a:pt x="96" y="31"/>
                  </a:cubicBezTo>
                  <a:cubicBezTo>
                    <a:pt x="99" y="30"/>
                    <a:pt x="104" y="31"/>
                    <a:pt x="108" y="34"/>
                  </a:cubicBezTo>
                  <a:cubicBezTo>
                    <a:pt x="111" y="37"/>
                    <a:pt x="112" y="36"/>
                    <a:pt x="113" y="32"/>
                  </a:cubicBezTo>
                  <a:cubicBezTo>
                    <a:pt x="114" y="28"/>
                    <a:pt x="119" y="26"/>
                    <a:pt x="125" y="26"/>
                  </a:cubicBezTo>
                  <a:cubicBezTo>
                    <a:pt x="130" y="26"/>
                    <a:pt x="131" y="24"/>
                    <a:pt x="129" y="23"/>
                  </a:cubicBezTo>
                  <a:cubicBezTo>
                    <a:pt x="127" y="21"/>
                    <a:pt x="138" y="15"/>
                    <a:pt x="138" y="13"/>
                  </a:cubicBezTo>
                  <a:cubicBezTo>
                    <a:pt x="138" y="11"/>
                    <a:pt x="132" y="17"/>
                    <a:pt x="130" y="15"/>
                  </a:cubicBezTo>
                  <a:close/>
                  <a:moveTo>
                    <a:pt x="87" y="47"/>
                  </a:moveTo>
                  <a:cubicBezTo>
                    <a:pt x="84" y="49"/>
                    <a:pt x="83" y="56"/>
                    <a:pt x="85" y="58"/>
                  </a:cubicBezTo>
                  <a:cubicBezTo>
                    <a:pt x="88" y="60"/>
                    <a:pt x="81" y="64"/>
                    <a:pt x="81" y="69"/>
                  </a:cubicBezTo>
                  <a:cubicBezTo>
                    <a:pt x="81" y="73"/>
                    <a:pt x="77" y="73"/>
                    <a:pt x="76" y="77"/>
                  </a:cubicBezTo>
                  <a:cubicBezTo>
                    <a:pt x="76" y="80"/>
                    <a:pt x="73" y="79"/>
                    <a:pt x="69" y="82"/>
                  </a:cubicBezTo>
                  <a:cubicBezTo>
                    <a:pt x="65" y="85"/>
                    <a:pt x="63" y="82"/>
                    <a:pt x="64" y="80"/>
                  </a:cubicBezTo>
                  <a:cubicBezTo>
                    <a:pt x="65" y="78"/>
                    <a:pt x="57" y="81"/>
                    <a:pt x="58" y="86"/>
                  </a:cubicBezTo>
                  <a:cubicBezTo>
                    <a:pt x="58" y="91"/>
                    <a:pt x="51" y="92"/>
                    <a:pt x="53" y="94"/>
                  </a:cubicBezTo>
                  <a:cubicBezTo>
                    <a:pt x="54" y="97"/>
                    <a:pt x="47" y="98"/>
                    <a:pt x="48" y="96"/>
                  </a:cubicBezTo>
                  <a:cubicBezTo>
                    <a:pt x="48" y="94"/>
                    <a:pt x="43" y="95"/>
                    <a:pt x="38" y="97"/>
                  </a:cubicBezTo>
                  <a:cubicBezTo>
                    <a:pt x="32" y="99"/>
                    <a:pt x="29" y="95"/>
                    <a:pt x="26" y="98"/>
                  </a:cubicBezTo>
                  <a:cubicBezTo>
                    <a:pt x="23" y="101"/>
                    <a:pt x="18" y="106"/>
                    <a:pt x="14" y="107"/>
                  </a:cubicBezTo>
                  <a:cubicBezTo>
                    <a:pt x="10" y="108"/>
                    <a:pt x="12" y="113"/>
                    <a:pt x="14" y="112"/>
                  </a:cubicBezTo>
                  <a:cubicBezTo>
                    <a:pt x="17" y="110"/>
                    <a:pt x="21" y="112"/>
                    <a:pt x="22" y="110"/>
                  </a:cubicBezTo>
                  <a:cubicBezTo>
                    <a:pt x="24" y="108"/>
                    <a:pt x="36" y="105"/>
                    <a:pt x="43" y="105"/>
                  </a:cubicBezTo>
                  <a:cubicBezTo>
                    <a:pt x="50" y="104"/>
                    <a:pt x="46" y="108"/>
                    <a:pt x="46" y="112"/>
                  </a:cubicBezTo>
                  <a:cubicBezTo>
                    <a:pt x="46" y="116"/>
                    <a:pt x="52" y="115"/>
                    <a:pt x="56" y="111"/>
                  </a:cubicBezTo>
                  <a:cubicBezTo>
                    <a:pt x="59" y="108"/>
                    <a:pt x="61" y="108"/>
                    <a:pt x="58" y="106"/>
                  </a:cubicBezTo>
                  <a:cubicBezTo>
                    <a:pt x="56" y="104"/>
                    <a:pt x="59" y="102"/>
                    <a:pt x="61" y="105"/>
                  </a:cubicBezTo>
                  <a:cubicBezTo>
                    <a:pt x="63" y="108"/>
                    <a:pt x="69" y="108"/>
                    <a:pt x="71" y="104"/>
                  </a:cubicBezTo>
                  <a:cubicBezTo>
                    <a:pt x="73" y="100"/>
                    <a:pt x="74" y="105"/>
                    <a:pt x="77" y="104"/>
                  </a:cubicBezTo>
                  <a:cubicBezTo>
                    <a:pt x="80" y="104"/>
                    <a:pt x="81" y="97"/>
                    <a:pt x="82" y="100"/>
                  </a:cubicBezTo>
                  <a:cubicBezTo>
                    <a:pt x="82" y="102"/>
                    <a:pt x="86" y="102"/>
                    <a:pt x="89" y="99"/>
                  </a:cubicBezTo>
                  <a:cubicBezTo>
                    <a:pt x="92" y="95"/>
                    <a:pt x="90" y="90"/>
                    <a:pt x="91" y="87"/>
                  </a:cubicBezTo>
                  <a:cubicBezTo>
                    <a:pt x="93" y="84"/>
                    <a:pt x="95" y="78"/>
                    <a:pt x="93" y="75"/>
                  </a:cubicBezTo>
                  <a:cubicBezTo>
                    <a:pt x="91" y="71"/>
                    <a:pt x="98" y="69"/>
                    <a:pt x="101" y="66"/>
                  </a:cubicBezTo>
                  <a:cubicBezTo>
                    <a:pt x="104" y="63"/>
                    <a:pt x="97" y="49"/>
                    <a:pt x="97" y="45"/>
                  </a:cubicBezTo>
                  <a:cubicBezTo>
                    <a:pt x="97" y="40"/>
                    <a:pt x="89" y="46"/>
                    <a:pt x="87" y="47"/>
                  </a:cubicBezTo>
                  <a:close/>
                  <a:moveTo>
                    <a:pt x="34" y="109"/>
                  </a:moveTo>
                  <a:cubicBezTo>
                    <a:pt x="33" y="112"/>
                    <a:pt x="31" y="111"/>
                    <a:pt x="27" y="111"/>
                  </a:cubicBezTo>
                  <a:cubicBezTo>
                    <a:pt x="23" y="112"/>
                    <a:pt x="23" y="121"/>
                    <a:pt x="26" y="122"/>
                  </a:cubicBezTo>
                  <a:cubicBezTo>
                    <a:pt x="28" y="123"/>
                    <a:pt x="29" y="123"/>
                    <a:pt x="30" y="120"/>
                  </a:cubicBezTo>
                  <a:cubicBezTo>
                    <a:pt x="31" y="117"/>
                    <a:pt x="35" y="116"/>
                    <a:pt x="37" y="117"/>
                  </a:cubicBezTo>
                  <a:cubicBezTo>
                    <a:pt x="39" y="119"/>
                    <a:pt x="42" y="114"/>
                    <a:pt x="42" y="110"/>
                  </a:cubicBezTo>
                  <a:cubicBezTo>
                    <a:pt x="42" y="107"/>
                    <a:pt x="35" y="107"/>
                    <a:pt x="34" y="109"/>
                  </a:cubicBezTo>
                  <a:close/>
                  <a:moveTo>
                    <a:pt x="18" y="119"/>
                  </a:moveTo>
                  <a:cubicBezTo>
                    <a:pt x="18" y="116"/>
                    <a:pt x="13" y="117"/>
                    <a:pt x="12" y="114"/>
                  </a:cubicBezTo>
                  <a:cubicBezTo>
                    <a:pt x="12" y="112"/>
                    <a:pt x="9" y="114"/>
                    <a:pt x="5" y="116"/>
                  </a:cubicBezTo>
                  <a:cubicBezTo>
                    <a:pt x="2" y="119"/>
                    <a:pt x="0" y="119"/>
                    <a:pt x="2" y="122"/>
                  </a:cubicBezTo>
                  <a:cubicBezTo>
                    <a:pt x="3" y="124"/>
                    <a:pt x="5" y="122"/>
                    <a:pt x="6" y="119"/>
                  </a:cubicBezTo>
                  <a:cubicBezTo>
                    <a:pt x="7" y="117"/>
                    <a:pt x="10" y="123"/>
                    <a:pt x="8" y="128"/>
                  </a:cubicBezTo>
                  <a:cubicBezTo>
                    <a:pt x="5" y="132"/>
                    <a:pt x="8" y="138"/>
                    <a:pt x="11" y="137"/>
                  </a:cubicBezTo>
                  <a:cubicBezTo>
                    <a:pt x="13" y="137"/>
                    <a:pt x="16" y="128"/>
                    <a:pt x="20" y="124"/>
                  </a:cubicBezTo>
                  <a:cubicBezTo>
                    <a:pt x="23" y="119"/>
                    <a:pt x="18" y="121"/>
                    <a:pt x="18" y="119"/>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206" name="Freeform 149">
              <a:extLst>
                <a:ext uri="{FF2B5EF4-FFF2-40B4-BE49-F238E27FC236}">
                  <a16:creationId xmlns:a16="http://schemas.microsoft.com/office/drawing/2014/main" xmlns="" id="{58C7EFFF-7613-48DC-BC7D-CB706ACDA39C}"/>
                </a:ext>
              </a:extLst>
            </p:cNvPr>
            <p:cNvSpPr>
              <a:spLocks noEditPoints="1"/>
            </p:cNvSpPr>
            <p:nvPr/>
          </p:nvSpPr>
          <p:spPr bwMode="auto">
            <a:xfrm>
              <a:off x="17881822" y="2732754"/>
              <a:ext cx="1257300" cy="874712"/>
            </a:xfrm>
            <a:custGeom>
              <a:avLst/>
              <a:gdLst>
                <a:gd name="T0" fmla="*/ 459 w 483"/>
                <a:gd name="T1" fmla="*/ 63 h 335"/>
                <a:gd name="T2" fmla="*/ 435 w 483"/>
                <a:gd name="T3" fmla="*/ 45 h 335"/>
                <a:gd name="T4" fmla="*/ 416 w 483"/>
                <a:gd name="T5" fmla="*/ 19 h 335"/>
                <a:gd name="T6" fmla="*/ 388 w 483"/>
                <a:gd name="T7" fmla="*/ 1 h 335"/>
                <a:gd name="T8" fmla="*/ 369 w 483"/>
                <a:gd name="T9" fmla="*/ 15 h 335"/>
                <a:gd name="T10" fmla="*/ 353 w 483"/>
                <a:gd name="T11" fmla="*/ 39 h 335"/>
                <a:gd name="T12" fmla="*/ 329 w 483"/>
                <a:gd name="T13" fmla="*/ 52 h 335"/>
                <a:gd name="T14" fmla="*/ 344 w 483"/>
                <a:gd name="T15" fmla="*/ 62 h 335"/>
                <a:gd name="T16" fmla="*/ 343 w 483"/>
                <a:gd name="T17" fmla="*/ 75 h 335"/>
                <a:gd name="T18" fmla="*/ 301 w 483"/>
                <a:gd name="T19" fmla="*/ 91 h 335"/>
                <a:gd name="T20" fmla="*/ 271 w 483"/>
                <a:gd name="T21" fmla="*/ 116 h 335"/>
                <a:gd name="T22" fmla="*/ 224 w 483"/>
                <a:gd name="T23" fmla="*/ 119 h 335"/>
                <a:gd name="T24" fmla="*/ 172 w 483"/>
                <a:gd name="T25" fmla="*/ 112 h 335"/>
                <a:gd name="T26" fmla="*/ 150 w 483"/>
                <a:gd name="T27" fmla="*/ 90 h 335"/>
                <a:gd name="T28" fmla="*/ 129 w 483"/>
                <a:gd name="T29" fmla="*/ 64 h 335"/>
                <a:gd name="T30" fmla="*/ 109 w 483"/>
                <a:gd name="T31" fmla="*/ 47 h 335"/>
                <a:gd name="T32" fmla="*/ 98 w 483"/>
                <a:gd name="T33" fmla="*/ 54 h 335"/>
                <a:gd name="T34" fmla="*/ 79 w 483"/>
                <a:gd name="T35" fmla="*/ 69 h 335"/>
                <a:gd name="T36" fmla="*/ 63 w 483"/>
                <a:gd name="T37" fmla="*/ 87 h 335"/>
                <a:gd name="T38" fmla="*/ 55 w 483"/>
                <a:gd name="T39" fmla="*/ 107 h 335"/>
                <a:gd name="T40" fmla="*/ 37 w 483"/>
                <a:gd name="T41" fmla="*/ 126 h 335"/>
                <a:gd name="T42" fmla="*/ 14 w 483"/>
                <a:gd name="T43" fmla="*/ 133 h 335"/>
                <a:gd name="T44" fmla="*/ 0 w 483"/>
                <a:gd name="T45" fmla="*/ 143 h 335"/>
                <a:gd name="T46" fmla="*/ 10 w 483"/>
                <a:gd name="T47" fmla="*/ 166 h 335"/>
                <a:gd name="T48" fmla="*/ 28 w 483"/>
                <a:gd name="T49" fmla="*/ 182 h 335"/>
                <a:gd name="T50" fmla="*/ 42 w 483"/>
                <a:gd name="T51" fmla="*/ 177 h 335"/>
                <a:gd name="T52" fmla="*/ 40 w 483"/>
                <a:gd name="T53" fmla="*/ 197 h 335"/>
                <a:gd name="T54" fmla="*/ 40 w 483"/>
                <a:gd name="T55" fmla="*/ 217 h 335"/>
                <a:gd name="T56" fmla="*/ 55 w 483"/>
                <a:gd name="T57" fmla="*/ 230 h 335"/>
                <a:gd name="T58" fmla="*/ 98 w 483"/>
                <a:gd name="T59" fmla="*/ 248 h 335"/>
                <a:gd name="T60" fmla="*/ 116 w 483"/>
                <a:gd name="T61" fmla="*/ 252 h 335"/>
                <a:gd name="T62" fmla="*/ 130 w 483"/>
                <a:gd name="T63" fmla="*/ 248 h 335"/>
                <a:gd name="T64" fmla="*/ 149 w 483"/>
                <a:gd name="T65" fmla="*/ 243 h 335"/>
                <a:gd name="T66" fmla="*/ 173 w 483"/>
                <a:gd name="T67" fmla="*/ 243 h 335"/>
                <a:gd name="T68" fmla="*/ 186 w 483"/>
                <a:gd name="T69" fmla="*/ 252 h 335"/>
                <a:gd name="T70" fmla="*/ 182 w 483"/>
                <a:gd name="T71" fmla="*/ 282 h 335"/>
                <a:gd name="T72" fmla="*/ 195 w 483"/>
                <a:gd name="T73" fmla="*/ 299 h 335"/>
                <a:gd name="T74" fmla="*/ 212 w 483"/>
                <a:gd name="T75" fmla="*/ 307 h 335"/>
                <a:gd name="T76" fmla="*/ 225 w 483"/>
                <a:gd name="T77" fmla="*/ 294 h 335"/>
                <a:gd name="T78" fmla="*/ 251 w 483"/>
                <a:gd name="T79" fmla="*/ 293 h 335"/>
                <a:gd name="T80" fmla="*/ 267 w 483"/>
                <a:gd name="T81" fmla="*/ 303 h 335"/>
                <a:gd name="T82" fmla="*/ 280 w 483"/>
                <a:gd name="T83" fmla="*/ 314 h 335"/>
                <a:gd name="T84" fmla="*/ 317 w 483"/>
                <a:gd name="T85" fmla="*/ 295 h 335"/>
                <a:gd name="T86" fmla="*/ 345 w 483"/>
                <a:gd name="T87" fmla="*/ 280 h 335"/>
                <a:gd name="T88" fmla="*/ 359 w 483"/>
                <a:gd name="T89" fmla="*/ 263 h 335"/>
                <a:gd name="T90" fmla="*/ 373 w 483"/>
                <a:gd name="T91" fmla="*/ 246 h 335"/>
                <a:gd name="T92" fmla="*/ 376 w 483"/>
                <a:gd name="T93" fmla="*/ 231 h 335"/>
                <a:gd name="T94" fmla="*/ 372 w 483"/>
                <a:gd name="T95" fmla="*/ 219 h 335"/>
                <a:gd name="T96" fmla="*/ 370 w 483"/>
                <a:gd name="T97" fmla="*/ 207 h 335"/>
                <a:gd name="T98" fmla="*/ 360 w 483"/>
                <a:gd name="T99" fmla="*/ 180 h 335"/>
                <a:gd name="T100" fmla="*/ 382 w 483"/>
                <a:gd name="T101" fmla="*/ 168 h 335"/>
                <a:gd name="T102" fmla="*/ 354 w 483"/>
                <a:gd name="T103" fmla="*/ 160 h 335"/>
                <a:gd name="T104" fmla="*/ 365 w 483"/>
                <a:gd name="T105" fmla="*/ 137 h 335"/>
                <a:gd name="T106" fmla="*/ 378 w 483"/>
                <a:gd name="T107" fmla="*/ 149 h 335"/>
                <a:gd name="T108" fmla="*/ 414 w 483"/>
                <a:gd name="T109" fmla="*/ 128 h 335"/>
                <a:gd name="T110" fmla="*/ 432 w 483"/>
                <a:gd name="T111" fmla="*/ 120 h 335"/>
                <a:gd name="T112" fmla="*/ 452 w 483"/>
                <a:gd name="T113" fmla="*/ 113 h 335"/>
                <a:gd name="T114" fmla="*/ 454 w 483"/>
                <a:gd name="T115" fmla="*/ 91 h 335"/>
                <a:gd name="T116" fmla="*/ 476 w 483"/>
                <a:gd name="T117" fmla="*/ 77 h 335"/>
                <a:gd name="T118" fmla="*/ 368 w 483"/>
                <a:gd name="T119" fmla="*/ 299 h 335"/>
                <a:gd name="T120" fmla="*/ 271 w 483"/>
                <a:gd name="T121" fmla="*/ 32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3" h="335">
                  <a:moveTo>
                    <a:pt x="480" y="60"/>
                  </a:moveTo>
                  <a:cubicBezTo>
                    <a:pt x="480" y="56"/>
                    <a:pt x="475" y="57"/>
                    <a:pt x="474" y="58"/>
                  </a:cubicBezTo>
                  <a:cubicBezTo>
                    <a:pt x="472" y="59"/>
                    <a:pt x="467" y="58"/>
                    <a:pt x="466" y="61"/>
                  </a:cubicBezTo>
                  <a:cubicBezTo>
                    <a:pt x="464" y="64"/>
                    <a:pt x="462" y="62"/>
                    <a:pt x="459" y="63"/>
                  </a:cubicBezTo>
                  <a:cubicBezTo>
                    <a:pt x="455" y="63"/>
                    <a:pt x="451" y="62"/>
                    <a:pt x="451" y="60"/>
                  </a:cubicBezTo>
                  <a:cubicBezTo>
                    <a:pt x="451" y="57"/>
                    <a:pt x="449" y="55"/>
                    <a:pt x="449" y="53"/>
                  </a:cubicBezTo>
                  <a:cubicBezTo>
                    <a:pt x="449" y="50"/>
                    <a:pt x="446" y="51"/>
                    <a:pt x="443" y="49"/>
                  </a:cubicBezTo>
                  <a:cubicBezTo>
                    <a:pt x="441" y="47"/>
                    <a:pt x="436" y="45"/>
                    <a:pt x="435" y="45"/>
                  </a:cubicBezTo>
                  <a:cubicBezTo>
                    <a:pt x="434" y="46"/>
                    <a:pt x="432" y="43"/>
                    <a:pt x="427" y="42"/>
                  </a:cubicBezTo>
                  <a:cubicBezTo>
                    <a:pt x="423" y="42"/>
                    <a:pt x="424" y="40"/>
                    <a:pt x="424" y="38"/>
                  </a:cubicBezTo>
                  <a:cubicBezTo>
                    <a:pt x="425" y="36"/>
                    <a:pt x="421" y="31"/>
                    <a:pt x="420" y="28"/>
                  </a:cubicBezTo>
                  <a:cubicBezTo>
                    <a:pt x="420" y="25"/>
                    <a:pt x="417" y="25"/>
                    <a:pt x="416" y="19"/>
                  </a:cubicBezTo>
                  <a:cubicBezTo>
                    <a:pt x="414" y="13"/>
                    <a:pt x="411" y="14"/>
                    <a:pt x="412" y="11"/>
                  </a:cubicBezTo>
                  <a:cubicBezTo>
                    <a:pt x="412" y="8"/>
                    <a:pt x="408" y="7"/>
                    <a:pt x="407" y="5"/>
                  </a:cubicBezTo>
                  <a:cubicBezTo>
                    <a:pt x="405" y="4"/>
                    <a:pt x="400" y="4"/>
                    <a:pt x="397" y="3"/>
                  </a:cubicBezTo>
                  <a:cubicBezTo>
                    <a:pt x="393" y="1"/>
                    <a:pt x="391" y="2"/>
                    <a:pt x="388" y="1"/>
                  </a:cubicBezTo>
                  <a:cubicBezTo>
                    <a:pt x="384" y="0"/>
                    <a:pt x="377" y="2"/>
                    <a:pt x="376" y="2"/>
                  </a:cubicBezTo>
                  <a:cubicBezTo>
                    <a:pt x="375" y="2"/>
                    <a:pt x="369" y="1"/>
                    <a:pt x="366" y="5"/>
                  </a:cubicBezTo>
                  <a:cubicBezTo>
                    <a:pt x="362" y="10"/>
                    <a:pt x="365" y="10"/>
                    <a:pt x="366" y="10"/>
                  </a:cubicBezTo>
                  <a:cubicBezTo>
                    <a:pt x="368" y="10"/>
                    <a:pt x="369" y="14"/>
                    <a:pt x="369" y="15"/>
                  </a:cubicBezTo>
                  <a:cubicBezTo>
                    <a:pt x="369" y="17"/>
                    <a:pt x="366" y="19"/>
                    <a:pt x="365" y="19"/>
                  </a:cubicBezTo>
                  <a:cubicBezTo>
                    <a:pt x="364" y="20"/>
                    <a:pt x="361" y="25"/>
                    <a:pt x="360" y="27"/>
                  </a:cubicBezTo>
                  <a:cubicBezTo>
                    <a:pt x="360" y="29"/>
                    <a:pt x="356" y="34"/>
                    <a:pt x="356" y="35"/>
                  </a:cubicBezTo>
                  <a:cubicBezTo>
                    <a:pt x="357" y="37"/>
                    <a:pt x="354" y="39"/>
                    <a:pt x="353" y="39"/>
                  </a:cubicBezTo>
                  <a:cubicBezTo>
                    <a:pt x="351" y="39"/>
                    <a:pt x="347" y="42"/>
                    <a:pt x="345" y="43"/>
                  </a:cubicBezTo>
                  <a:cubicBezTo>
                    <a:pt x="344" y="43"/>
                    <a:pt x="338" y="42"/>
                    <a:pt x="337" y="41"/>
                  </a:cubicBezTo>
                  <a:cubicBezTo>
                    <a:pt x="337" y="40"/>
                    <a:pt x="336" y="40"/>
                    <a:pt x="336" y="39"/>
                  </a:cubicBezTo>
                  <a:cubicBezTo>
                    <a:pt x="329" y="52"/>
                    <a:pt x="329" y="52"/>
                    <a:pt x="329" y="52"/>
                  </a:cubicBezTo>
                  <a:cubicBezTo>
                    <a:pt x="329" y="56"/>
                    <a:pt x="329" y="56"/>
                    <a:pt x="329" y="56"/>
                  </a:cubicBezTo>
                  <a:cubicBezTo>
                    <a:pt x="329" y="56"/>
                    <a:pt x="324" y="58"/>
                    <a:pt x="328" y="61"/>
                  </a:cubicBezTo>
                  <a:cubicBezTo>
                    <a:pt x="331" y="64"/>
                    <a:pt x="331" y="61"/>
                    <a:pt x="336" y="61"/>
                  </a:cubicBezTo>
                  <a:cubicBezTo>
                    <a:pt x="341" y="61"/>
                    <a:pt x="343" y="65"/>
                    <a:pt x="344" y="62"/>
                  </a:cubicBezTo>
                  <a:cubicBezTo>
                    <a:pt x="345" y="60"/>
                    <a:pt x="349" y="58"/>
                    <a:pt x="351" y="61"/>
                  </a:cubicBezTo>
                  <a:cubicBezTo>
                    <a:pt x="354" y="64"/>
                    <a:pt x="362" y="69"/>
                    <a:pt x="362" y="72"/>
                  </a:cubicBezTo>
                  <a:cubicBezTo>
                    <a:pt x="361" y="75"/>
                    <a:pt x="357" y="74"/>
                    <a:pt x="353" y="73"/>
                  </a:cubicBezTo>
                  <a:cubicBezTo>
                    <a:pt x="350" y="72"/>
                    <a:pt x="346" y="75"/>
                    <a:pt x="343" y="75"/>
                  </a:cubicBezTo>
                  <a:cubicBezTo>
                    <a:pt x="340" y="75"/>
                    <a:pt x="336" y="76"/>
                    <a:pt x="333" y="79"/>
                  </a:cubicBezTo>
                  <a:cubicBezTo>
                    <a:pt x="330" y="82"/>
                    <a:pt x="331" y="85"/>
                    <a:pt x="326" y="86"/>
                  </a:cubicBezTo>
                  <a:cubicBezTo>
                    <a:pt x="321" y="87"/>
                    <a:pt x="319" y="86"/>
                    <a:pt x="314" y="90"/>
                  </a:cubicBezTo>
                  <a:cubicBezTo>
                    <a:pt x="309" y="93"/>
                    <a:pt x="303" y="92"/>
                    <a:pt x="301" y="91"/>
                  </a:cubicBezTo>
                  <a:cubicBezTo>
                    <a:pt x="299" y="90"/>
                    <a:pt x="295" y="89"/>
                    <a:pt x="293" y="93"/>
                  </a:cubicBezTo>
                  <a:cubicBezTo>
                    <a:pt x="291" y="96"/>
                    <a:pt x="296" y="98"/>
                    <a:pt x="295" y="102"/>
                  </a:cubicBezTo>
                  <a:cubicBezTo>
                    <a:pt x="295" y="106"/>
                    <a:pt x="290" y="105"/>
                    <a:pt x="286" y="110"/>
                  </a:cubicBezTo>
                  <a:cubicBezTo>
                    <a:pt x="281" y="115"/>
                    <a:pt x="275" y="117"/>
                    <a:pt x="271" y="116"/>
                  </a:cubicBezTo>
                  <a:cubicBezTo>
                    <a:pt x="267" y="116"/>
                    <a:pt x="260" y="113"/>
                    <a:pt x="253" y="117"/>
                  </a:cubicBezTo>
                  <a:cubicBezTo>
                    <a:pt x="246" y="120"/>
                    <a:pt x="242" y="124"/>
                    <a:pt x="239" y="124"/>
                  </a:cubicBezTo>
                  <a:cubicBezTo>
                    <a:pt x="236" y="123"/>
                    <a:pt x="236" y="120"/>
                    <a:pt x="233" y="121"/>
                  </a:cubicBezTo>
                  <a:cubicBezTo>
                    <a:pt x="229" y="121"/>
                    <a:pt x="227" y="120"/>
                    <a:pt x="224" y="119"/>
                  </a:cubicBezTo>
                  <a:cubicBezTo>
                    <a:pt x="222" y="117"/>
                    <a:pt x="220" y="120"/>
                    <a:pt x="216" y="117"/>
                  </a:cubicBezTo>
                  <a:cubicBezTo>
                    <a:pt x="212" y="113"/>
                    <a:pt x="204" y="114"/>
                    <a:pt x="201" y="113"/>
                  </a:cubicBezTo>
                  <a:cubicBezTo>
                    <a:pt x="198" y="113"/>
                    <a:pt x="186" y="113"/>
                    <a:pt x="182" y="113"/>
                  </a:cubicBezTo>
                  <a:cubicBezTo>
                    <a:pt x="178" y="112"/>
                    <a:pt x="172" y="114"/>
                    <a:pt x="172" y="112"/>
                  </a:cubicBezTo>
                  <a:cubicBezTo>
                    <a:pt x="171" y="110"/>
                    <a:pt x="168" y="108"/>
                    <a:pt x="167" y="104"/>
                  </a:cubicBezTo>
                  <a:cubicBezTo>
                    <a:pt x="166" y="99"/>
                    <a:pt x="163" y="97"/>
                    <a:pt x="161" y="97"/>
                  </a:cubicBezTo>
                  <a:cubicBezTo>
                    <a:pt x="158" y="96"/>
                    <a:pt x="158" y="94"/>
                    <a:pt x="156" y="93"/>
                  </a:cubicBezTo>
                  <a:cubicBezTo>
                    <a:pt x="154" y="93"/>
                    <a:pt x="153" y="90"/>
                    <a:pt x="150" y="90"/>
                  </a:cubicBezTo>
                  <a:cubicBezTo>
                    <a:pt x="146" y="90"/>
                    <a:pt x="133" y="88"/>
                    <a:pt x="131" y="85"/>
                  </a:cubicBezTo>
                  <a:cubicBezTo>
                    <a:pt x="130" y="82"/>
                    <a:pt x="133" y="82"/>
                    <a:pt x="133" y="79"/>
                  </a:cubicBezTo>
                  <a:cubicBezTo>
                    <a:pt x="133" y="76"/>
                    <a:pt x="135" y="72"/>
                    <a:pt x="134" y="71"/>
                  </a:cubicBezTo>
                  <a:cubicBezTo>
                    <a:pt x="132" y="69"/>
                    <a:pt x="130" y="67"/>
                    <a:pt x="129" y="64"/>
                  </a:cubicBezTo>
                  <a:cubicBezTo>
                    <a:pt x="129" y="62"/>
                    <a:pt x="125" y="59"/>
                    <a:pt x="123" y="59"/>
                  </a:cubicBezTo>
                  <a:cubicBezTo>
                    <a:pt x="120" y="59"/>
                    <a:pt x="118" y="57"/>
                    <a:pt x="115" y="55"/>
                  </a:cubicBezTo>
                  <a:cubicBezTo>
                    <a:pt x="113" y="53"/>
                    <a:pt x="111" y="53"/>
                    <a:pt x="110" y="47"/>
                  </a:cubicBezTo>
                  <a:cubicBezTo>
                    <a:pt x="109" y="47"/>
                    <a:pt x="109" y="47"/>
                    <a:pt x="109" y="47"/>
                  </a:cubicBezTo>
                  <a:cubicBezTo>
                    <a:pt x="108" y="46"/>
                    <a:pt x="107" y="46"/>
                    <a:pt x="106" y="46"/>
                  </a:cubicBezTo>
                  <a:cubicBezTo>
                    <a:pt x="106" y="46"/>
                    <a:pt x="105" y="46"/>
                    <a:pt x="104" y="45"/>
                  </a:cubicBezTo>
                  <a:cubicBezTo>
                    <a:pt x="103" y="47"/>
                    <a:pt x="101" y="48"/>
                    <a:pt x="101" y="50"/>
                  </a:cubicBezTo>
                  <a:cubicBezTo>
                    <a:pt x="101" y="52"/>
                    <a:pt x="100" y="54"/>
                    <a:pt x="98" y="54"/>
                  </a:cubicBezTo>
                  <a:cubicBezTo>
                    <a:pt x="95" y="54"/>
                    <a:pt x="93" y="56"/>
                    <a:pt x="93" y="60"/>
                  </a:cubicBezTo>
                  <a:cubicBezTo>
                    <a:pt x="92" y="65"/>
                    <a:pt x="95" y="65"/>
                    <a:pt x="94" y="67"/>
                  </a:cubicBezTo>
                  <a:cubicBezTo>
                    <a:pt x="93" y="69"/>
                    <a:pt x="88" y="71"/>
                    <a:pt x="86" y="70"/>
                  </a:cubicBezTo>
                  <a:cubicBezTo>
                    <a:pt x="85" y="69"/>
                    <a:pt x="81" y="69"/>
                    <a:pt x="79" y="69"/>
                  </a:cubicBezTo>
                  <a:cubicBezTo>
                    <a:pt x="76" y="69"/>
                    <a:pt x="74" y="65"/>
                    <a:pt x="73" y="69"/>
                  </a:cubicBezTo>
                  <a:cubicBezTo>
                    <a:pt x="73" y="73"/>
                    <a:pt x="67" y="83"/>
                    <a:pt x="68" y="85"/>
                  </a:cubicBezTo>
                  <a:cubicBezTo>
                    <a:pt x="70" y="86"/>
                    <a:pt x="71" y="88"/>
                    <a:pt x="68" y="88"/>
                  </a:cubicBezTo>
                  <a:cubicBezTo>
                    <a:pt x="66" y="88"/>
                    <a:pt x="64" y="88"/>
                    <a:pt x="63" y="87"/>
                  </a:cubicBezTo>
                  <a:cubicBezTo>
                    <a:pt x="61" y="86"/>
                    <a:pt x="58" y="88"/>
                    <a:pt x="55" y="88"/>
                  </a:cubicBezTo>
                  <a:cubicBezTo>
                    <a:pt x="54" y="88"/>
                    <a:pt x="49" y="91"/>
                    <a:pt x="50" y="91"/>
                  </a:cubicBezTo>
                  <a:cubicBezTo>
                    <a:pt x="52" y="92"/>
                    <a:pt x="52" y="97"/>
                    <a:pt x="52" y="98"/>
                  </a:cubicBezTo>
                  <a:cubicBezTo>
                    <a:pt x="52" y="100"/>
                    <a:pt x="56" y="106"/>
                    <a:pt x="55" y="107"/>
                  </a:cubicBezTo>
                  <a:cubicBezTo>
                    <a:pt x="55" y="109"/>
                    <a:pt x="51" y="111"/>
                    <a:pt x="51" y="113"/>
                  </a:cubicBezTo>
                  <a:cubicBezTo>
                    <a:pt x="51" y="116"/>
                    <a:pt x="52" y="118"/>
                    <a:pt x="51" y="118"/>
                  </a:cubicBezTo>
                  <a:cubicBezTo>
                    <a:pt x="49" y="119"/>
                    <a:pt x="45" y="121"/>
                    <a:pt x="43" y="122"/>
                  </a:cubicBezTo>
                  <a:cubicBezTo>
                    <a:pt x="42" y="123"/>
                    <a:pt x="38" y="123"/>
                    <a:pt x="37" y="126"/>
                  </a:cubicBezTo>
                  <a:cubicBezTo>
                    <a:pt x="36" y="128"/>
                    <a:pt x="35" y="130"/>
                    <a:pt x="31" y="129"/>
                  </a:cubicBezTo>
                  <a:cubicBezTo>
                    <a:pt x="28" y="129"/>
                    <a:pt x="26" y="128"/>
                    <a:pt x="24" y="131"/>
                  </a:cubicBezTo>
                  <a:cubicBezTo>
                    <a:pt x="21" y="134"/>
                    <a:pt x="20" y="133"/>
                    <a:pt x="19" y="134"/>
                  </a:cubicBezTo>
                  <a:cubicBezTo>
                    <a:pt x="17" y="136"/>
                    <a:pt x="15" y="133"/>
                    <a:pt x="14" y="133"/>
                  </a:cubicBezTo>
                  <a:cubicBezTo>
                    <a:pt x="12" y="132"/>
                    <a:pt x="10" y="134"/>
                    <a:pt x="9" y="134"/>
                  </a:cubicBezTo>
                  <a:cubicBezTo>
                    <a:pt x="7" y="134"/>
                    <a:pt x="6" y="137"/>
                    <a:pt x="4" y="137"/>
                  </a:cubicBezTo>
                  <a:cubicBezTo>
                    <a:pt x="3" y="138"/>
                    <a:pt x="1" y="137"/>
                    <a:pt x="1" y="139"/>
                  </a:cubicBezTo>
                  <a:cubicBezTo>
                    <a:pt x="1" y="141"/>
                    <a:pt x="1" y="142"/>
                    <a:pt x="0" y="143"/>
                  </a:cubicBezTo>
                  <a:cubicBezTo>
                    <a:pt x="0" y="143"/>
                    <a:pt x="0" y="143"/>
                    <a:pt x="0" y="143"/>
                  </a:cubicBezTo>
                  <a:cubicBezTo>
                    <a:pt x="1" y="150"/>
                    <a:pt x="1" y="150"/>
                    <a:pt x="1" y="150"/>
                  </a:cubicBezTo>
                  <a:cubicBezTo>
                    <a:pt x="1" y="150"/>
                    <a:pt x="8" y="153"/>
                    <a:pt x="9" y="155"/>
                  </a:cubicBezTo>
                  <a:cubicBezTo>
                    <a:pt x="9" y="158"/>
                    <a:pt x="10" y="166"/>
                    <a:pt x="10" y="166"/>
                  </a:cubicBezTo>
                  <a:cubicBezTo>
                    <a:pt x="10" y="166"/>
                    <a:pt x="10" y="166"/>
                    <a:pt x="10" y="166"/>
                  </a:cubicBezTo>
                  <a:cubicBezTo>
                    <a:pt x="13" y="169"/>
                    <a:pt x="17" y="171"/>
                    <a:pt x="17" y="172"/>
                  </a:cubicBezTo>
                  <a:cubicBezTo>
                    <a:pt x="17" y="173"/>
                    <a:pt x="18" y="177"/>
                    <a:pt x="22" y="178"/>
                  </a:cubicBezTo>
                  <a:cubicBezTo>
                    <a:pt x="24" y="179"/>
                    <a:pt x="26" y="181"/>
                    <a:pt x="28" y="182"/>
                  </a:cubicBezTo>
                  <a:cubicBezTo>
                    <a:pt x="28" y="181"/>
                    <a:pt x="28" y="181"/>
                    <a:pt x="28" y="181"/>
                  </a:cubicBezTo>
                  <a:cubicBezTo>
                    <a:pt x="31" y="181"/>
                    <a:pt x="31" y="181"/>
                    <a:pt x="31" y="181"/>
                  </a:cubicBezTo>
                  <a:cubicBezTo>
                    <a:pt x="31" y="181"/>
                    <a:pt x="32" y="181"/>
                    <a:pt x="33" y="182"/>
                  </a:cubicBezTo>
                  <a:cubicBezTo>
                    <a:pt x="34" y="180"/>
                    <a:pt x="39" y="177"/>
                    <a:pt x="42" y="177"/>
                  </a:cubicBezTo>
                  <a:cubicBezTo>
                    <a:pt x="45" y="177"/>
                    <a:pt x="52" y="183"/>
                    <a:pt x="52" y="185"/>
                  </a:cubicBezTo>
                  <a:cubicBezTo>
                    <a:pt x="51" y="187"/>
                    <a:pt x="46" y="194"/>
                    <a:pt x="43" y="194"/>
                  </a:cubicBezTo>
                  <a:cubicBezTo>
                    <a:pt x="43" y="194"/>
                    <a:pt x="41" y="194"/>
                    <a:pt x="40" y="195"/>
                  </a:cubicBezTo>
                  <a:cubicBezTo>
                    <a:pt x="40" y="196"/>
                    <a:pt x="40" y="197"/>
                    <a:pt x="40" y="197"/>
                  </a:cubicBezTo>
                  <a:cubicBezTo>
                    <a:pt x="40" y="199"/>
                    <a:pt x="42" y="202"/>
                    <a:pt x="44" y="204"/>
                  </a:cubicBezTo>
                  <a:cubicBezTo>
                    <a:pt x="46" y="207"/>
                    <a:pt x="41" y="209"/>
                    <a:pt x="39" y="207"/>
                  </a:cubicBezTo>
                  <a:cubicBezTo>
                    <a:pt x="37" y="205"/>
                    <a:pt x="36" y="209"/>
                    <a:pt x="37" y="211"/>
                  </a:cubicBezTo>
                  <a:cubicBezTo>
                    <a:pt x="39" y="212"/>
                    <a:pt x="38" y="217"/>
                    <a:pt x="40" y="217"/>
                  </a:cubicBezTo>
                  <a:cubicBezTo>
                    <a:pt x="42" y="217"/>
                    <a:pt x="44" y="222"/>
                    <a:pt x="47" y="222"/>
                  </a:cubicBezTo>
                  <a:cubicBezTo>
                    <a:pt x="49" y="222"/>
                    <a:pt x="52" y="226"/>
                    <a:pt x="52" y="226"/>
                  </a:cubicBezTo>
                  <a:cubicBezTo>
                    <a:pt x="52" y="226"/>
                    <a:pt x="55" y="228"/>
                    <a:pt x="55" y="229"/>
                  </a:cubicBezTo>
                  <a:cubicBezTo>
                    <a:pt x="55" y="230"/>
                    <a:pt x="55" y="230"/>
                    <a:pt x="55" y="230"/>
                  </a:cubicBezTo>
                  <a:cubicBezTo>
                    <a:pt x="58" y="230"/>
                    <a:pt x="60" y="230"/>
                    <a:pt x="60" y="228"/>
                  </a:cubicBezTo>
                  <a:cubicBezTo>
                    <a:pt x="60" y="227"/>
                    <a:pt x="64" y="227"/>
                    <a:pt x="66" y="230"/>
                  </a:cubicBezTo>
                  <a:cubicBezTo>
                    <a:pt x="69" y="232"/>
                    <a:pt x="79" y="239"/>
                    <a:pt x="83" y="242"/>
                  </a:cubicBezTo>
                  <a:cubicBezTo>
                    <a:pt x="86" y="245"/>
                    <a:pt x="95" y="248"/>
                    <a:pt x="98" y="248"/>
                  </a:cubicBezTo>
                  <a:cubicBezTo>
                    <a:pt x="101" y="248"/>
                    <a:pt x="104" y="250"/>
                    <a:pt x="109" y="250"/>
                  </a:cubicBezTo>
                  <a:cubicBezTo>
                    <a:pt x="109" y="250"/>
                    <a:pt x="110" y="250"/>
                    <a:pt x="111" y="250"/>
                  </a:cubicBezTo>
                  <a:cubicBezTo>
                    <a:pt x="111" y="249"/>
                    <a:pt x="112" y="249"/>
                    <a:pt x="113" y="248"/>
                  </a:cubicBezTo>
                  <a:cubicBezTo>
                    <a:pt x="115" y="246"/>
                    <a:pt x="116" y="249"/>
                    <a:pt x="116" y="252"/>
                  </a:cubicBezTo>
                  <a:cubicBezTo>
                    <a:pt x="115" y="253"/>
                    <a:pt x="116" y="255"/>
                    <a:pt x="116" y="256"/>
                  </a:cubicBezTo>
                  <a:cubicBezTo>
                    <a:pt x="117" y="255"/>
                    <a:pt x="118" y="253"/>
                    <a:pt x="118" y="252"/>
                  </a:cubicBezTo>
                  <a:cubicBezTo>
                    <a:pt x="120" y="248"/>
                    <a:pt x="122" y="248"/>
                    <a:pt x="124" y="247"/>
                  </a:cubicBezTo>
                  <a:cubicBezTo>
                    <a:pt x="125" y="246"/>
                    <a:pt x="127" y="246"/>
                    <a:pt x="130" y="248"/>
                  </a:cubicBezTo>
                  <a:cubicBezTo>
                    <a:pt x="134" y="250"/>
                    <a:pt x="135" y="246"/>
                    <a:pt x="140" y="251"/>
                  </a:cubicBezTo>
                  <a:cubicBezTo>
                    <a:pt x="141" y="250"/>
                    <a:pt x="142" y="250"/>
                    <a:pt x="142" y="250"/>
                  </a:cubicBezTo>
                  <a:cubicBezTo>
                    <a:pt x="143" y="250"/>
                    <a:pt x="145" y="248"/>
                    <a:pt x="146" y="246"/>
                  </a:cubicBezTo>
                  <a:cubicBezTo>
                    <a:pt x="148" y="245"/>
                    <a:pt x="148" y="243"/>
                    <a:pt x="149" y="243"/>
                  </a:cubicBezTo>
                  <a:cubicBezTo>
                    <a:pt x="151" y="243"/>
                    <a:pt x="152" y="241"/>
                    <a:pt x="156" y="239"/>
                  </a:cubicBezTo>
                  <a:cubicBezTo>
                    <a:pt x="161" y="236"/>
                    <a:pt x="164" y="240"/>
                    <a:pt x="166" y="238"/>
                  </a:cubicBezTo>
                  <a:cubicBezTo>
                    <a:pt x="168" y="237"/>
                    <a:pt x="170" y="236"/>
                    <a:pt x="170" y="238"/>
                  </a:cubicBezTo>
                  <a:cubicBezTo>
                    <a:pt x="170" y="239"/>
                    <a:pt x="173" y="241"/>
                    <a:pt x="173" y="243"/>
                  </a:cubicBezTo>
                  <a:cubicBezTo>
                    <a:pt x="174" y="245"/>
                    <a:pt x="177" y="246"/>
                    <a:pt x="178" y="246"/>
                  </a:cubicBezTo>
                  <a:cubicBezTo>
                    <a:pt x="178" y="245"/>
                    <a:pt x="179" y="245"/>
                    <a:pt x="179" y="245"/>
                  </a:cubicBezTo>
                  <a:cubicBezTo>
                    <a:pt x="181" y="243"/>
                    <a:pt x="185" y="245"/>
                    <a:pt x="185" y="247"/>
                  </a:cubicBezTo>
                  <a:cubicBezTo>
                    <a:pt x="185" y="249"/>
                    <a:pt x="185" y="252"/>
                    <a:pt x="186" y="252"/>
                  </a:cubicBezTo>
                  <a:cubicBezTo>
                    <a:pt x="188" y="252"/>
                    <a:pt x="190" y="252"/>
                    <a:pt x="190" y="256"/>
                  </a:cubicBezTo>
                  <a:cubicBezTo>
                    <a:pt x="190" y="259"/>
                    <a:pt x="191" y="264"/>
                    <a:pt x="188" y="267"/>
                  </a:cubicBezTo>
                  <a:cubicBezTo>
                    <a:pt x="184" y="271"/>
                    <a:pt x="180" y="277"/>
                    <a:pt x="181" y="279"/>
                  </a:cubicBezTo>
                  <a:cubicBezTo>
                    <a:pt x="182" y="280"/>
                    <a:pt x="180" y="284"/>
                    <a:pt x="182" y="282"/>
                  </a:cubicBezTo>
                  <a:cubicBezTo>
                    <a:pt x="185" y="281"/>
                    <a:pt x="191" y="282"/>
                    <a:pt x="190" y="284"/>
                  </a:cubicBezTo>
                  <a:cubicBezTo>
                    <a:pt x="189" y="285"/>
                    <a:pt x="190" y="290"/>
                    <a:pt x="192" y="290"/>
                  </a:cubicBezTo>
                  <a:cubicBezTo>
                    <a:pt x="195" y="291"/>
                    <a:pt x="196" y="292"/>
                    <a:pt x="195" y="294"/>
                  </a:cubicBezTo>
                  <a:cubicBezTo>
                    <a:pt x="195" y="296"/>
                    <a:pt x="193" y="299"/>
                    <a:pt x="195" y="299"/>
                  </a:cubicBezTo>
                  <a:cubicBezTo>
                    <a:pt x="197" y="299"/>
                    <a:pt x="200" y="299"/>
                    <a:pt x="200" y="302"/>
                  </a:cubicBezTo>
                  <a:cubicBezTo>
                    <a:pt x="199" y="304"/>
                    <a:pt x="201" y="306"/>
                    <a:pt x="205" y="304"/>
                  </a:cubicBezTo>
                  <a:cubicBezTo>
                    <a:pt x="207" y="303"/>
                    <a:pt x="208" y="303"/>
                    <a:pt x="208" y="303"/>
                  </a:cubicBezTo>
                  <a:cubicBezTo>
                    <a:pt x="210" y="303"/>
                    <a:pt x="210" y="307"/>
                    <a:pt x="212" y="307"/>
                  </a:cubicBezTo>
                  <a:cubicBezTo>
                    <a:pt x="215" y="308"/>
                    <a:pt x="214" y="302"/>
                    <a:pt x="213" y="301"/>
                  </a:cubicBezTo>
                  <a:cubicBezTo>
                    <a:pt x="212" y="300"/>
                    <a:pt x="213" y="296"/>
                    <a:pt x="214" y="297"/>
                  </a:cubicBezTo>
                  <a:cubicBezTo>
                    <a:pt x="215" y="298"/>
                    <a:pt x="218" y="297"/>
                    <a:pt x="219" y="295"/>
                  </a:cubicBezTo>
                  <a:cubicBezTo>
                    <a:pt x="221" y="293"/>
                    <a:pt x="224" y="296"/>
                    <a:pt x="225" y="294"/>
                  </a:cubicBezTo>
                  <a:cubicBezTo>
                    <a:pt x="227" y="292"/>
                    <a:pt x="229" y="296"/>
                    <a:pt x="232" y="294"/>
                  </a:cubicBezTo>
                  <a:cubicBezTo>
                    <a:pt x="235" y="293"/>
                    <a:pt x="236" y="296"/>
                    <a:pt x="238" y="293"/>
                  </a:cubicBezTo>
                  <a:cubicBezTo>
                    <a:pt x="239" y="291"/>
                    <a:pt x="243" y="288"/>
                    <a:pt x="244" y="289"/>
                  </a:cubicBezTo>
                  <a:cubicBezTo>
                    <a:pt x="245" y="290"/>
                    <a:pt x="246" y="292"/>
                    <a:pt x="251" y="293"/>
                  </a:cubicBezTo>
                  <a:cubicBezTo>
                    <a:pt x="256" y="293"/>
                    <a:pt x="253" y="296"/>
                    <a:pt x="253" y="297"/>
                  </a:cubicBezTo>
                  <a:cubicBezTo>
                    <a:pt x="253" y="299"/>
                    <a:pt x="259" y="303"/>
                    <a:pt x="261" y="303"/>
                  </a:cubicBezTo>
                  <a:cubicBezTo>
                    <a:pt x="261" y="304"/>
                    <a:pt x="262" y="304"/>
                    <a:pt x="263" y="305"/>
                  </a:cubicBezTo>
                  <a:cubicBezTo>
                    <a:pt x="264" y="304"/>
                    <a:pt x="267" y="305"/>
                    <a:pt x="267" y="303"/>
                  </a:cubicBezTo>
                  <a:cubicBezTo>
                    <a:pt x="268" y="301"/>
                    <a:pt x="271" y="302"/>
                    <a:pt x="272" y="304"/>
                  </a:cubicBezTo>
                  <a:cubicBezTo>
                    <a:pt x="273" y="305"/>
                    <a:pt x="274" y="306"/>
                    <a:pt x="276" y="304"/>
                  </a:cubicBezTo>
                  <a:cubicBezTo>
                    <a:pt x="279" y="302"/>
                    <a:pt x="280" y="306"/>
                    <a:pt x="279" y="307"/>
                  </a:cubicBezTo>
                  <a:cubicBezTo>
                    <a:pt x="277" y="308"/>
                    <a:pt x="278" y="312"/>
                    <a:pt x="280" y="314"/>
                  </a:cubicBezTo>
                  <a:cubicBezTo>
                    <a:pt x="283" y="316"/>
                    <a:pt x="283" y="313"/>
                    <a:pt x="283" y="311"/>
                  </a:cubicBezTo>
                  <a:cubicBezTo>
                    <a:pt x="282" y="308"/>
                    <a:pt x="286" y="306"/>
                    <a:pt x="294" y="304"/>
                  </a:cubicBezTo>
                  <a:cubicBezTo>
                    <a:pt x="301" y="301"/>
                    <a:pt x="309" y="296"/>
                    <a:pt x="310" y="295"/>
                  </a:cubicBezTo>
                  <a:cubicBezTo>
                    <a:pt x="310" y="293"/>
                    <a:pt x="315" y="297"/>
                    <a:pt x="317" y="295"/>
                  </a:cubicBezTo>
                  <a:cubicBezTo>
                    <a:pt x="320" y="293"/>
                    <a:pt x="329" y="293"/>
                    <a:pt x="331" y="293"/>
                  </a:cubicBezTo>
                  <a:cubicBezTo>
                    <a:pt x="334" y="293"/>
                    <a:pt x="334" y="290"/>
                    <a:pt x="336" y="288"/>
                  </a:cubicBezTo>
                  <a:cubicBezTo>
                    <a:pt x="339" y="286"/>
                    <a:pt x="338" y="285"/>
                    <a:pt x="341" y="285"/>
                  </a:cubicBezTo>
                  <a:cubicBezTo>
                    <a:pt x="344" y="284"/>
                    <a:pt x="345" y="281"/>
                    <a:pt x="345" y="280"/>
                  </a:cubicBezTo>
                  <a:cubicBezTo>
                    <a:pt x="345" y="278"/>
                    <a:pt x="351" y="278"/>
                    <a:pt x="351" y="276"/>
                  </a:cubicBezTo>
                  <a:cubicBezTo>
                    <a:pt x="351" y="275"/>
                    <a:pt x="355" y="274"/>
                    <a:pt x="355" y="272"/>
                  </a:cubicBezTo>
                  <a:cubicBezTo>
                    <a:pt x="355" y="271"/>
                    <a:pt x="357" y="271"/>
                    <a:pt x="358" y="269"/>
                  </a:cubicBezTo>
                  <a:cubicBezTo>
                    <a:pt x="359" y="268"/>
                    <a:pt x="358" y="264"/>
                    <a:pt x="359" y="263"/>
                  </a:cubicBezTo>
                  <a:cubicBezTo>
                    <a:pt x="361" y="263"/>
                    <a:pt x="359" y="260"/>
                    <a:pt x="358" y="259"/>
                  </a:cubicBezTo>
                  <a:cubicBezTo>
                    <a:pt x="358" y="258"/>
                    <a:pt x="362" y="258"/>
                    <a:pt x="364" y="257"/>
                  </a:cubicBezTo>
                  <a:cubicBezTo>
                    <a:pt x="366" y="255"/>
                    <a:pt x="367" y="253"/>
                    <a:pt x="368" y="251"/>
                  </a:cubicBezTo>
                  <a:cubicBezTo>
                    <a:pt x="368" y="249"/>
                    <a:pt x="371" y="247"/>
                    <a:pt x="373" y="246"/>
                  </a:cubicBezTo>
                  <a:cubicBezTo>
                    <a:pt x="374" y="246"/>
                    <a:pt x="375" y="242"/>
                    <a:pt x="375" y="240"/>
                  </a:cubicBezTo>
                  <a:cubicBezTo>
                    <a:pt x="374" y="237"/>
                    <a:pt x="377" y="238"/>
                    <a:pt x="376" y="237"/>
                  </a:cubicBezTo>
                  <a:cubicBezTo>
                    <a:pt x="374" y="236"/>
                    <a:pt x="376" y="233"/>
                    <a:pt x="379" y="232"/>
                  </a:cubicBezTo>
                  <a:cubicBezTo>
                    <a:pt x="382" y="231"/>
                    <a:pt x="378" y="230"/>
                    <a:pt x="376" y="231"/>
                  </a:cubicBezTo>
                  <a:cubicBezTo>
                    <a:pt x="374" y="232"/>
                    <a:pt x="373" y="227"/>
                    <a:pt x="371" y="229"/>
                  </a:cubicBezTo>
                  <a:cubicBezTo>
                    <a:pt x="370" y="231"/>
                    <a:pt x="366" y="228"/>
                    <a:pt x="369" y="227"/>
                  </a:cubicBezTo>
                  <a:cubicBezTo>
                    <a:pt x="371" y="227"/>
                    <a:pt x="375" y="224"/>
                    <a:pt x="377" y="223"/>
                  </a:cubicBezTo>
                  <a:cubicBezTo>
                    <a:pt x="379" y="223"/>
                    <a:pt x="374" y="219"/>
                    <a:pt x="372" y="219"/>
                  </a:cubicBezTo>
                  <a:cubicBezTo>
                    <a:pt x="370" y="219"/>
                    <a:pt x="367" y="214"/>
                    <a:pt x="365" y="214"/>
                  </a:cubicBezTo>
                  <a:cubicBezTo>
                    <a:pt x="363" y="214"/>
                    <a:pt x="367" y="212"/>
                    <a:pt x="369" y="213"/>
                  </a:cubicBezTo>
                  <a:cubicBezTo>
                    <a:pt x="372" y="215"/>
                    <a:pt x="375" y="216"/>
                    <a:pt x="377" y="215"/>
                  </a:cubicBezTo>
                  <a:cubicBezTo>
                    <a:pt x="378" y="214"/>
                    <a:pt x="372" y="209"/>
                    <a:pt x="370" y="207"/>
                  </a:cubicBezTo>
                  <a:cubicBezTo>
                    <a:pt x="368" y="206"/>
                    <a:pt x="370" y="203"/>
                    <a:pt x="368" y="202"/>
                  </a:cubicBezTo>
                  <a:cubicBezTo>
                    <a:pt x="367" y="201"/>
                    <a:pt x="364" y="195"/>
                    <a:pt x="363" y="193"/>
                  </a:cubicBezTo>
                  <a:cubicBezTo>
                    <a:pt x="362" y="190"/>
                    <a:pt x="357" y="189"/>
                    <a:pt x="356" y="188"/>
                  </a:cubicBezTo>
                  <a:cubicBezTo>
                    <a:pt x="355" y="186"/>
                    <a:pt x="356" y="182"/>
                    <a:pt x="360" y="180"/>
                  </a:cubicBezTo>
                  <a:cubicBezTo>
                    <a:pt x="364" y="179"/>
                    <a:pt x="362" y="176"/>
                    <a:pt x="364" y="176"/>
                  </a:cubicBezTo>
                  <a:cubicBezTo>
                    <a:pt x="365" y="176"/>
                    <a:pt x="367" y="176"/>
                    <a:pt x="368" y="173"/>
                  </a:cubicBezTo>
                  <a:cubicBezTo>
                    <a:pt x="369" y="170"/>
                    <a:pt x="372" y="172"/>
                    <a:pt x="373" y="170"/>
                  </a:cubicBezTo>
                  <a:cubicBezTo>
                    <a:pt x="374" y="169"/>
                    <a:pt x="380" y="169"/>
                    <a:pt x="382" y="168"/>
                  </a:cubicBezTo>
                  <a:cubicBezTo>
                    <a:pt x="384" y="166"/>
                    <a:pt x="380" y="162"/>
                    <a:pt x="378" y="162"/>
                  </a:cubicBezTo>
                  <a:cubicBezTo>
                    <a:pt x="375" y="163"/>
                    <a:pt x="372" y="162"/>
                    <a:pt x="370" y="159"/>
                  </a:cubicBezTo>
                  <a:cubicBezTo>
                    <a:pt x="368" y="156"/>
                    <a:pt x="363" y="164"/>
                    <a:pt x="359" y="166"/>
                  </a:cubicBezTo>
                  <a:cubicBezTo>
                    <a:pt x="355" y="168"/>
                    <a:pt x="353" y="163"/>
                    <a:pt x="354" y="160"/>
                  </a:cubicBezTo>
                  <a:cubicBezTo>
                    <a:pt x="355" y="157"/>
                    <a:pt x="351" y="157"/>
                    <a:pt x="346" y="157"/>
                  </a:cubicBezTo>
                  <a:cubicBezTo>
                    <a:pt x="340" y="157"/>
                    <a:pt x="342" y="147"/>
                    <a:pt x="346" y="147"/>
                  </a:cubicBezTo>
                  <a:cubicBezTo>
                    <a:pt x="349" y="147"/>
                    <a:pt x="354" y="150"/>
                    <a:pt x="356" y="144"/>
                  </a:cubicBezTo>
                  <a:cubicBezTo>
                    <a:pt x="358" y="138"/>
                    <a:pt x="360" y="143"/>
                    <a:pt x="365" y="137"/>
                  </a:cubicBezTo>
                  <a:cubicBezTo>
                    <a:pt x="369" y="132"/>
                    <a:pt x="375" y="129"/>
                    <a:pt x="379" y="132"/>
                  </a:cubicBezTo>
                  <a:cubicBezTo>
                    <a:pt x="383" y="135"/>
                    <a:pt x="374" y="140"/>
                    <a:pt x="373" y="143"/>
                  </a:cubicBezTo>
                  <a:cubicBezTo>
                    <a:pt x="372" y="146"/>
                    <a:pt x="374" y="147"/>
                    <a:pt x="372" y="149"/>
                  </a:cubicBezTo>
                  <a:cubicBezTo>
                    <a:pt x="370" y="152"/>
                    <a:pt x="373" y="152"/>
                    <a:pt x="378" y="149"/>
                  </a:cubicBezTo>
                  <a:cubicBezTo>
                    <a:pt x="382" y="146"/>
                    <a:pt x="388" y="143"/>
                    <a:pt x="392" y="141"/>
                  </a:cubicBezTo>
                  <a:cubicBezTo>
                    <a:pt x="394" y="140"/>
                    <a:pt x="395" y="140"/>
                    <a:pt x="396" y="140"/>
                  </a:cubicBezTo>
                  <a:cubicBezTo>
                    <a:pt x="397" y="139"/>
                    <a:pt x="398" y="137"/>
                    <a:pt x="399" y="137"/>
                  </a:cubicBezTo>
                  <a:cubicBezTo>
                    <a:pt x="402" y="135"/>
                    <a:pt x="412" y="131"/>
                    <a:pt x="414" y="128"/>
                  </a:cubicBezTo>
                  <a:cubicBezTo>
                    <a:pt x="415" y="126"/>
                    <a:pt x="417" y="123"/>
                    <a:pt x="419" y="123"/>
                  </a:cubicBezTo>
                  <a:cubicBezTo>
                    <a:pt x="421" y="123"/>
                    <a:pt x="421" y="125"/>
                    <a:pt x="424" y="125"/>
                  </a:cubicBezTo>
                  <a:cubicBezTo>
                    <a:pt x="427" y="125"/>
                    <a:pt x="431" y="126"/>
                    <a:pt x="429" y="123"/>
                  </a:cubicBezTo>
                  <a:cubicBezTo>
                    <a:pt x="428" y="121"/>
                    <a:pt x="429" y="121"/>
                    <a:pt x="432" y="120"/>
                  </a:cubicBezTo>
                  <a:cubicBezTo>
                    <a:pt x="436" y="120"/>
                    <a:pt x="435" y="116"/>
                    <a:pt x="438" y="116"/>
                  </a:cubicBezTo>
                  <a:cubicBezTo>
                    <a:pt x="441" y="116"/>
                    <a:pt x="440" y="110"/>
                    <a:pt x="443" y="110"/>
                  </a:cubicBezTo>
                  <a:cubicBezTo>
                    <a:pt x="445" y="110"/>
                    <a:pt x="446" y="113"/>
                    <a:pt x="449" y="112"/>
                  </a:cubicBezTo>
                  <a:cubicBezTo>
                    <a:pt x="450" y="112"/>
                    <a:pt x="451" y="112"/>
                    <a:pt x="452" y="113"/>
                  </a:cubicBezTo>
                  <a:cubicBezTo>
                    <a:pt x="452" y="112"/>
                    <a:pt x="453" y="112"/>
                    <a:pt x="453" y="111"/>
                  </a:cubicBezTo>
                  <a:cubicBezTo>
                    <a:pt x="453" y="108"/>
                    <a:pt x="454" y="105"/>
                    <a:pt x="453" y="104"/>
                  </a:cubicBezTo>
                  <a:cubicBezTo>
                    <a:pt x="452" y="101"/>
                    <a:pt x="453" y="99"/>
                    <a:pt x="452" y="97"/>
                  </a:cubicBezTo>
                  <a:cubicBezTo>
                    <a:pt x="452" y="95"/>
                    <a:pt x="452" y="91"/>
                    <a:pt x="454" y="91"/>
                  </a:cubicBezTo>
                  <a:cubicBezTo>
                    <a:pt x="456" y="91"/>
                    <a:pt x="458" y="86"/>
                    <a:pt x="460" y="88"/>
                  </a:cubicBezTo>
                  <a:cubicBezTo>
                    <a:pt x="463" y="90"/>
                    <a:pt x="467" y="90"/>
                    <a:pt x="467" y="88"/>
                  </a:cubicBezTo>
                  <a:cubicBezTo>
                    <a:pt x="467" y="86"/>
                    <a:pt x="471" y="86"/>
                    <a:pt x="471" y="83"/>
                  </a:cubicBezTo>
                  <a:cubicBezTo>
                    <a:pt x="472" y="80"/>
                    <a:pt x="475" y="79"/>
                    <a:pt x="476" y="77"/>
                  </a:cubicBezTo>
                  <a:cubicBezTo>
                    <a:pt x="477" y="74"/>
                    <a:pt x="478" y="68"/>
                    <a:pt x="480" y="66"/>
                  </a:cubicBezTo>
                  <a:cubicBezTo>
                    <a:pt x="483" y="65"/>
                    <a:pt x="480" y="64"/>
                    <a:pt x="480" y="60"/>
                  </a:cubicBezTo>
                  <a:close/>
                  <a:moveTo>
                    <a:pt x="364" y="285"/>
                  </a:moveTo>
                  <a:cubicBezTo>
                    <a:pt x="361" y="295"/>
                    <a:pt x="367" y="299"/>
                    <a:pt x="368" y="299"/>
                  </a:cubicBezTo>
                  <a:cubicBezTo>
                    <a:pt x="370" y="297"/>
                    <a:pt x="380" y="277"/>
                    <a:pt x="378" y="274"/>
                  </a:cubicBezTo>
                  <a:cubicBezTo>
                    <a:pt x="376" y="271"/>
                    <a:pt x="366" y="276"/>
                    <a:pt x="364" y="285"/>
                  </a:cubicBezTo>
                  <a:close/>
                  <a:moveTo>
                    <a:pt x="279" y="317"/>
                  </a:moveTo>
                  <a:cubicBezTo>
                    <a:pt x="276" y="317"/>
                    <a:pt x="268" y="322"/>
                    <a:pt x="271" y="328"/>
                  </a:cubicBezTo>
                  <a:cubicBezTo>
                    <a:pt x="274" y="335"/>
                    <a:pt x="284" y="330"/>
                    <a:pt x="284" y="328"/>
                  </a:cubicBezTo>
                  <a:cubicBezTo>
                    <a:pt x="285" y="325"/>
                    <a:pt x="289" y="320"/>
                    <a:pt x="289" y="318"/>
                  </a:cubicBezTo>
                  <a:cubicBezTo>
                    <a:pt x="288" y="316"/>
                    <a:pt x="282" y="317"/>
                    <a:pt x="279" y="317"/>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207" name="Freeform 150">
              <a:extLst>
                <a:ext uri="{FF2B5EF4-FFF2-40B4-BE49-F238E27FC236}">
                  <a16:creationId xmlns:a16="http://schemas.microsoft.com/office/drawing/2014/main" xmlns="" id="{5A449826-AD69-49B9-8DC6-60029E29AEE9}"/>
                </a:ext>
              </a:extLst>
            </p:cNvPr>
            <p:cNvSpPr>
              <a:spLocks noEditPoints="1"/>
            </p:cNvSpPr>
            <p:nvPr/>
          </p:nvSpPr>
          <p:spPr bwMode="auto">
            <a:xfrm>
              <a:off x="18764472" y="3591591"/>
              <a:ext cx="203200" cy="282575"/>
            </a:xfrm>
            <a:custGeom>
              <a:avLst/>
              <a:gdLst>
                <a:gd name="T0" fmla="*/ 41 w 78"/>
                <a:gd name="T1" fmla="*/ 42 h 108"/>
                <a:gd name="T2" fmla="*/ 51 w 78"/>
                <a:gd name="T3" fmla="*/ 49 h 108"/>
                <a:gd name="T4" fmla="*/ 53 w 78"/>
                <a:gd name="T5" fmla="*/ 56 h 108"/>
                <a:gd name="T6" fmla="*/ 57 w 78"/>
                <a:gd name="T7" fmla="*/ 59 h 108"/>
                <a:gd name="T8" fmla="*/ 61 w 78"/>
                <a:gd name="T9" fmla="*/ 69 h 108"/>
                <a:gd name="T10" fmla="*/ 63 w 78"/>
                <a:gd name="T11" fmla="*/ 67 h 108"/>
                <a:gd name="T12" fmla="*/ 67 w 78"/>
                <a:gd name="T13" fmla="*/ 63 h 108"/>
                <a:gd name="T14" fmla="*/ 65 w 78"/>
                <a:gd name="T15" fmla="*/ 53 h 108"/>
                <a:gd name="T16" fmla="*/ 56 w 78"/>
                <a:gd name="T17" fmla="*/ 46 h 108"/>
                <a:gd name="T18" fmla="*/ 50 w 78"/>
                <a:gd name="T19" fmla="*/ 39 h 108"/>
                <a:gd name="T20" fmla="*/ 39 w 78"/>
                <a:gd name="T21" fmla="*/ 37 h 108"/>
                <a:gd name="T22" fmla="*/ 35 w 78"/>
                <a:gd name="T23" fmla="*/ 30 h 108"/>
                <a:gd name="T24" fmla="*/ 40 w 78"/>
                <a:gd name="T25" fmla="*/ 19 h 108"/>
                <a:gd name="T26" fmla="*/ 40 w 78"/>
                <a:gd name="T27" fmla="*/ 5 h 108"/>
                <a:gd name="T28" fmla="*/ 39 w 78"/>
                <a:gd name="T29" fmla="*/ 3 h 108"/>
                <a:gd name="T30" fmla="*/ 27 w 78"/>
                <a:gd name="T31" fmla="*/ 2 h 108"/>
                <a:gd name="T32" fmla="*/ 25 w 78"/>
                <a:gd name="T33" fmla="*/ 20 h 108"/>
                <a:gd name="T34" fmla="*/ 21 w 78"/>
                <a:gd name="T35" fmla="*/ 20 h 108"/>
                <a:gd name="T36" fmla="*/ 24 w 78"/>
                <a:gd name="T37" fmla="*/ 30 h 108"/>
                <a:gd name="T38" fmla="*/ 26 w 78"/>
                <a:gd name="T39" fmla="*/ 37 h 108"/>
                <a:gd name="T40" fmla="*/ 34 w 78"/>
                <a:gd name="T41" fmla="*/ 39 h 108"/>
                <a:gd name="T42" fmla="*/ 41 w 78"/>
                <a:gd name="T43" fmla="*/ 42 h 108"/>
                <a:gd name="T44" fmla="*/ 26 w 78"/>
                <a:gd name="T45" fmla="*/ 44 h 108"/>
                <a:gd name="T46" fmla="*/ 34 w 78"/>
                <a:gd name="T47" fmla="*/ 52 h 108"/>
                <a:gd name="T48" fmla="*/ 26 w 78"/>
                <a:gd name="T49" fmla="*/ 44 h 108"/>
                <a:gd name="T50" fmla="*/ 39 w 78"/>
                <a:gd name="T51" fmla="*/ 67 h 108"/>
                <a:gd name="T52" fmla="*/ 44 w 78"/>
                <a:gd name="T53" fmla="*/ 64 h 108"/>
                <a:gd name="T54" fmla="*/ 44 w 78"/>
                <a:gd name="T55" fmla="*/ 71 h 108"/>
                <a:gd name="T56" fmla="*/ 45 w 78"/>
                <a:gd name="T57" fmla="*/ 80 h 108"/>
                <a:gd name="T58" fmla="*/ 54 w 78"/>
                <a:gd name="T59" fmla="*/ 67 h 108"/>
                <a:gd name="T60" fmla="*/ 51 w 78"/>
                <a:gd name="T61" fmla="*/ 65 h 108"/>
                <a:gd name="T62" fmla="*/ 39 w 78"/>
                <a:gd name="T63" fmla="*/ 56 h 108"/>
                <a:gd name="T64" fmla="*/ 39 w 78"/>
                <a:gd name="T65" fmla="*/ 67 h 108"/>
                <a:gd name="T66" fmla="*/ 11 w 78"/>
                <a:gd name="T67" fmla="*/ 71 h 108"/>
                <a:gd name="T68" fmla="*/ 1 w 78"/>
                <a:gd name="T69" fmla="*/ 85 h 108"/>
                <a:gd name="T70" fmla="*/ 15 w 78"/>
                <a:gd name="T71" fmla="*/ 71 h 108"/>
                <a:gd name="T72" fmla="*/ 18 w 78"/>
                <a:gd name="T73" fmla="*/ 63 h 108"/>
                <a:gd name="T74" fmla="*/ 11 w 78"/>
                <a:gd name="T75" fmla="*/ 71 h 108"/>
                <a:gd name="T76" fmla="*/ 54 w 78"/>
                <a:gd name="T77" fmla="*/ 76 h 108"/>
                <a:gd name="T78" fmla="*/ 59 w 78"/>
                <a:gd name="T79" fmla="*/ 72 h 108"/>
                <a:gd name="T80" fmla="*/ 54 w 78"/>
                <a:gd name="T81" fmla="*/ 76 h 108"/>
                <a:gd name="T82" fmla="*/ 75 w 78"/>
                <a:gd name="T83" fmla="*/ 95 h 108"/>
                <a:gd name="T84" fmla="*/ 73 w 78"/>
                <a:gd name="T85" fmla="*/ 77 h 108"/>
                <a:gd name="T86" fmla="*/ 67 w 78"/>
                <a:gd name="T87" fmla="*/ 76 h 108"/>
                <a:gd name="T88" fmla="*/ 63 w 78"/>
                <a:gd name="T89" fmla="*/ 81 h 108"/>
                <a:gd name="T90" fmla="*/ 58 w 78"/>
                <a:gd name="T91" fmla="*/ 84 h 108"/>
                <a:gd name="T92" fmla="*/ 51 w 78"/>
                <a:gd name="T93" fmla="*/ 83 h 108"/>
                <a:gd name="T94" fmla="*/ 42 w 78"/>
                <a:gd name="T95" fmla="*/ 88 h 108"/>
                <a:gd name="T96" fmla="*/ 39 w 78"/>
                <a:gd name="T97" fmla="*/ 96 h 108"/>
                <a:gd name="T98" fmla="*/ 46 w 78"/>
                <a:gd name="T99" fmla="*/ 93 h 108"/>
                <a:gd name="T100" fmla="*/ 52 w 78"/>
                <a:gd name="T101" fmla="*/ 90 h 108"/>
                <a:gd name="T102" fmla="*/ 58 w 78"/>
                <a:gd name="T103" fmla="*/ 104 h 108"/>
                <a:gd name="T104" fmla="*/ 67 w 78"/>
                <a:gd name="T105" fmla="*/ 108 h 108"/>
                <a:gd name="T106" fmla="*/ 66 w 78"/>
                <a:gd name="T107" fmla="*/ 98 h 108"/>
                <a:gd name="T108" fmla="*/ 75 w 78"/>
                <a:gd name="T109" fmla="*/ 9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 h="108">
                  <a:moveTo>
                    <a:pt x="41" y="42"/>
                  </a:moveTo>
                  <a:cubicBezTo>
                    <a:pt x="46" y="41"/>
                    <a:pt x="52" y="47"/>
                    <a:pt x="51" y="49"/>
                  </a:cubicBezTo>
                  <a:cubicBezTo>
                    <a:pt x="50" y="51"/>
                    <a:pt x="51" y="58"/>
                    <a:pt x="53" y="56"/>
                  </a:cubicBezTo>
                  <a:cubicBezTo>
                    <a:pt x="55" y="54"/>
                    <a:pt x="59" y="56"/>
                    <a:pt x="57" y="59"/>
                  </a:cubicBezTo>
                  <a:cubicBezTo>
                    <a:pt x="54" y="63"/>
                    <a:pt x="60" y="66"/>
                    <a:pt x="61" y="69"/>
                  </a:cubicBezTo>
                  <a:cubicBezTo>
                    <a:pt x="61" y="73"/>
                    <a:pt x="64" y="70"/>
                    <a:pt x="63" y="67"/>
                  </a:cubicBezTo>
                  <a:cubicBezTo>
                    <a:pt x="63" y="64"/>
                    <a:pt x="64" y="65"/>
                    <a:pt x="67" y="63"/>
                  </a:cubicBezTo>
                  <a:cubicBezTo>
                    <a:pt x="70" y="60"/>
                    <a:pt x="67" y="57"/>
                    <a:pt x="65" y="53"/>
                  </a:cubicBezTo>
                  <a:cubicBezTo>
                    <a:pt x="63" y="49"/>
                    <a:pt x="56" y="50"/>
                    <a:pt x="56" y="46"/>
                  </a:cubicBezTo>
                  <a:cubicBezTo>
                    <a:pt x="56" y="43"/>
                    <a:pt x="50" y="41"/>
                    <a:pt x="50" y="39"/>
                  </a:cubicBezTo>
                  <a:cubicBezTo>
                    <a:pt x="50" y="37"/>
                    <a:pt x="43" y="35"/>
                    <a:pt x="39" y="37"/>
                  </a:cubicBezTo>
                  <a:cubicBezTo>
                    <a:pt x="35" y="40"/>
                    <a:pt x="38" y="33"/>
                    <a:pt x="35" y="30"/>
                  </a:cubicBezTo>
                  <a:cubicBezTo>
                    <a:pt x="32" y="27"/>
                    <a:pt x="37" y="22"/>
                    <a:pt x="40" y="19"/>
                  </a:cubicBezTo>
                  <a:cubicBezTo>
                    <a:pt x="44" y="15"/>
                    <a:pt x="39" y="8"/>
                    <a:pt x="40" y="5"/>
                  </a:cubicBezTo>
                  <a:cubicBezTo>
                    <a:pt x="40" y="3"/>
                    <a:pt x="40" y="2"/>
                    <a:pt x="39" y="3"/>
                  </a:cubicBezTo>
                  <a:cubicBezTo>
                    <a:pt x="37" y="4"/>
                    <a:pt x="30" y="0"/>
                    <a:pt x="27" y="2"/>
                  </a:cubicBezTo>
                  <a:cubicBezTo>
                    <a:pt x="24" y="4"/>
                    <a:pt x="27" y="19"/>
                    <a:pt x="25" y="20"/>
                  </a:cubicBezTo>
                  <a:cubicBezTo>
                    <a:pt x="24" y="22"/>
                    <a:pt x="22" y="18"/>
                    <a:pt x="21" y="20"/>
                  </a:cubicBezTo>
                  <a:cubicBezTo>
                    <a:pt x="21" y="22"/>
                    <a:pt x="22" y="30"/>
                    <a:pt x="24" y="30"/>
                  </a:cubicBezTo>
                  <a:cubicBezTo>
                    <a:pt x="25" y="30"/>
                    <a:pt x="27" y="33"/>
                    <a:pt x="26" y="37"/>
                  </a:cubicBezTo>
                  <a:cubicBezTo>
                    <a:pt x="25" y="40"/>
                    <a:pt x="29" y="41"/>
                    <a:pt x="34" y="39"/>
                  </a:cubicBezTo>
                  <a:cubicBezTo>
                    <a:pt x="38" y="38"/>
                    <a:pt x="37" y="42"/>
                    <a:pt x="41" y="42"/>
                  </a:cubicBezTo>
                  <a:close/>
                  <a:moveTo>
                    <a:pt x="26" y="44"/>
                  </a:moveTo>
                  <a:cubicBezTo>
                    <a:pt x="27" y="47"/>
                    <a:pt x="28" y="54"/>
                    <a:pt x="34" y="52"/>
                  </a:cubicBezTo>
                  <a:cubicBezTo>
                    <a:pt x="39" y="51"/>
                    <a:pt x="25" y="41"/>
                    <a:pt x="26" y="44"/>
                  </a:cubicBezTo>
                  <a:close/>
                  <a:moveTo>
                    <a:pt x="39" y="67"/>
                  </a:moveTo>
                  <a:cubicBezTo>
                    <a:pt x="40" y="67"/>
                    <a:pt x="43" y="67"/>
                    <a:pt x="44" y="64"/>
                  </a:cubicBezTo>
                  <a:cubicBezTo>
                    <a:pt x="44" y="62"/>
                    <a:pt x="46" y="69"/>
                    <a:pt x="44" y="71"/>
                  </a:cubicBezTo>
                  <a:cubicBezTo>
                    <a:pt x="42" y="73"/>
                    <a:pt x="42" y="79"/>
                    <a:pt x="45" y="80"/>
                  </a:cubicBezTo>
                  <a:cubicBezTo>
                    <a:pt x="49" y="80"/>
                    <a:pt x="55" y="69"/>
                    <a:pt x="54" y="67"/>
                  </a:cubicBezTo>
                  <a:cubicBezTo>
                    <a:pt x="53" y="65"/>
                    <a:pt x="50" y="68"/>
                    <a:pt x="51" y="65"/>
                  </a:cubicBezTo>
                  <a:cubicBezTo>
                    <a:pt x="52" y="63"/>
                    <a:pt x="42" y="55"/>
                    <a:pt x="39" y="56"/>
                  </a:cubicBezTo>
                  <a:cubicBezTo>
                    <a:pt x="35" y="57"/>
                    <a:pt x="36" y="67"/>
                    <a:pt x="39" y="67"/>
                  </a:cubicBezTo>
                  <a:close/>
                  <a:moveTo>
                    <a:pt x="11" y="71"/>
                  </a:moveTo>
                  <a:cubicBezTo>
                    <a:pt x="8" y="76"/>
                    <a:pt x="0" y="83"/>
                    <a:pt x="1" y="85"/>
                  </a:cubicBezTo>
                  <a:cubicBezTo>
                    <a:pt x="2" y="87"/>
                    <a:pt x="11" y="74"/>
                    <a:pt x="15" y="71"/>
                  </a:cubicBezTo>
                  <a:cubicBezTo>
                    <a:pt x="20" y="68"/>
                    <a:pt x="19" y="65"/>
                    <a:pt x="18" y="63"/>
                  </a:cubicBezTo>
                  <a:cubicBezTo>
                    <a:pt x="16" y="60"/>
                    <a:pt x="15" y="67"/>
                    <a:pt x="11" y="71"/>
                  </a:cubicBezTo>
                  <a:close/>
                  <a:moveTo>
                    <a:pt x="54" y="76"/>
                  </a:moveTo>
                  <a:cubicBezTo>
                    <a:pt x="54" y="78"/>
                    <a:pt x="61" y="75"/>
                    <a:pt x="59" y="72"/>
                  </a:cubicBezTo>
                  <a:cubicBezTo>
                    <a:pt x="58" y="70"/>
                    <a:pt x="53" y="74"/>
                    <a:pt x="54" y="76"/>
                  </a:cubicBezTo>
                  <a:close/>
                  <a:moveTo>
                    <a:pt x="75" y="95"/>
                  </a:moveTo>
                  <a:cubicBezTo>
                    <a:pt x="78" y="91"/>
                    <a:pt x="73" y="83"/>
                    <a:pt x="73" y="77"/>
                  </a:cubicBezTo>
                  <a:cubicBezTo>
                    <a:pt x="73" y="71"/>
                    <a:pt x="65" y="73"/>
                    <a:pt x="67" y="76"/>
                  </a:cubicBezTo>
                  <a:cubicBezTo>
                    <a:pt x="69" y="80"/>
                    <a:pt x="63" y="77"/>
                    <a:pt x="63" y="81"/>
                  </a:cubicBezTo>
                  <a:cubicBezTo>
                    <a:pt x="62" y="84"/>
                    <a:pt x="58" y="81"/>
                    <a:pt x="58" y="84"/>
                  </a:cubicBezTo>
                  <a:cubicBezTo>
                    <a:pt x="58" y="87"/>
                    <a:pt x="53" y="84"/>
                    <a:pt x="51" y="83"/>
                  </a:cubicBezTo>
                  <a:cubicBezTo>
                    <a:pt x="49" y="81"/>
                    <a:pt x="45" y="87"/>
                    <a:pt x="42" y="88"/>
                  </a:cubicBezTo>
                  <a:cubicBezTo>
                    <a:pt x="38" y="89"/>
                    <a:pt x="36" y="97"/>
                    <a:pt x="39" y="96"/>
                  </a:cubicBezTo>
                  <a:cubicBezTo>
                    <a:pt x="41" y="96"/>
                    <a:pt x="43" y="92"/>
                    <a:pt x="46" y="93"/>
                  </a:cubicBezTo>
                  <a:cubicBezTo>
                    <a:pt x="49" y="93"/>
                    <a:pt x="48" y="90"/>
                    <a:pt x="52" y="90"/>
                  </a:cubicBezTo>
                  <a:cubicBezTo>
                    <a:pt x="56" y="91"/>
                    <a:pt x="53" y="103"/>
                    <a:pt x="58" y="104"/>
                  </a:cubicBezTo>
                  <a:cubicBezTo>
                    <a:pt x="64" y="105"/>
                    <a:pt x="64" y="108"/>
                    <a:pt x="67" y="108"/>
                  </a:cubicBezTo>
                  <a:cubicBezTo>
                    <a:pt x="69" y="108"/>
                    <a:pt x="66" y="101"/>
                    <a:pt x="66" y="98"/>
                  </a:cubicBezTo>
                  <a:cubicBezTo>
                    <a:pt x="67" y="96"/>
                    <a:pt x="72" y="98"/>
                    <a:pt x="75" y="95"/>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208" name="Freeform 151">
              <a:extLst>
                <a:ext uri="{FF2B5EF4-FFF2-40B4-BE49-F238E27FC236}">
                  <a16:creationId xmlns:a16="http://schemas.microsoft.com/office/drawing/2014/main" xmlns="" id="{177CDDB3-3D0A-45C5-B895-54938B0956C1}"/>
                </a:ext>
              </a:extLst>
            </p:cNvPr>
            <p:cNvSpPr>
              <a:spLocks noEditPoints="1"/>
            </p:cNvSpPr>
            <p:nvPr/>
          </p:nvSpPr>
          <p:spPr bwMode="auto">
            <a:xfrm>
              <a:off x="19264534" y="4048791"/>
              <a:ext cx="265113" cy="169862"/>
            </a:xfrm>
            <a:custGeom>
              <a:avLst/>
              <a:gdLst>
                <a:gd name="T0" fmla="*/ 73 w 102"/>
                <a:gd name="T1" fmla="*/ 60 h 65"/>
                <a:gd name="T2" fmla="*/ 68 w 102"/>
                <a:gd name="T3" fmla="*/ 54 h 65"/>
                <a:gd name="T4" fmla="*/ 60 w 102"/>
                <a:gd name="T5" fmla="*/ 51 h 65"/>
                <a:gd name="T6" fmla="*/ 54 w 102"/>
                <a:gd name="T7" fmla="*/ 40 h 65"/>
                <a:gd name="T8" fmla="*/ 52 w 102"/>
                <a:gd name="T9" fmla="*/ 33 h 65"/>
                <a:gd name="T10" fmla="*/ 54 w 102"/>
                <a:gd name="T11" fmla="*/ 28 h 65"/>
                <a:gd name="T12" fmla="*/ 38 w 102"/>
                <a:gd name="T13" fmla="*/ 19 h 65"/>
                <a:gd name="T14" fmla="*/ 6 w 102"/>
                <a:gd name="T15" fmla="*/ 2 h 65"/>
                <a:gd name="T16" fmla="*/ 0 w 102"/>
                <a:gd name="T17" fmla="*/ 0 h 65"/>
                <a:gd name="T18" fmla="*/ 0 w 102"/>
                <a:gd name="T19" fmla="*/ 51 h 65"/>
                <a:gd name="T20" fmla="*/ 9 w 102"/>
                <a:gd name="T21" fmla="*/ 54 h 65"/>
                <a:gd name="T22" fmla="*/ 18 w 102"/>
                <a:gd name="T23" fmla="*/ 48 h 65"/>
                <a:gd name="T24" fmla="*/ 23 w 102"/>
                <a:gd name="T25" fmla="*/ 42 h 65"/>
                <a:gd name="T26" fmla="*/ 40 w 102"/>
                <a:gd name="T27" fmla="*/ 46 h 65"/>
                <a:gd name="T28" fmla="*/ 58 w 102"/>
                <a:gd name="T29" fmla="*/ 62 h 65"/>
                <a:gd name="T30" fmla="*/ 75 w 102"/>
                <a:gd name="T31" fmla="*/ 65 h 65"/>
                <a:gd name="T32" fmla="*/ 73 w 102"/>
                <a:gd name="T33" fmla="*/ 60 h 65"/>
                <a:gd name="T34" fmla="*/ 87 w 102"/>
                <a:gd name="T35" fmla="*/ 18 h 65"/>
                <a:gd name="T36" fmla="*/ 77 w 102"/>
                <a:gd name="T37" fmla="*/ 23 h 65"/>
                <a:gd name="T38" fmla="*/ 60 w 102"/>
                <a:gd name="T39" fmla="*/ 24 h 65"/>
                <a:gd name="T40" fmla="*/ 73 w 102"/>
                <a:gd name="T41" fmla="*/ 30 h 65"/>
                <a:gd name="T42" fmla="*/ 90 w 102"/>
                <a:gd name="T43" fmla="*/ 22 h 65"/>
                <a:gd name="T44" fmla="*/ 92 w 102"/>
                <a:gd name="T45" fmla="*/ 15 h 65"/>
                <a:gd name="T46" fmla="*/ 87 w 102"/>
                <a:gd name="T47" fmla="*/ 18 h 65"/>
                <a:gd name="T48" fmla="*/ 95 w 102"/>
                <a:gd name="T49" fmla="*/ 9 h 65"/>
                <a:gd name="T50" fmla="*/ 93 w 102"/>
                <a:gd name="T51" fmla="*/ 9 h 65"/>
                <a:gd name="T52" fmla="*/ 98 w 102"/>
                <a:gd name="T53" fmla="*/ 17 h 65"/>
                <a:gd name="T54" fmla="*/ 95 w 102"/>
                <a:gd name="T55" fmla="*/ 9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2" h="65">
                  <a:moveTo>
                    <a:pt x="73" y="60"/>
                  </a:moveTo>
                  <a:cubicBezTo>
                    <a:pt x="72" y="59"/>
                    <a:pt x="67" y="56"/>
                    <a:pt x="68" y="54"/>
                  </a:cubicBezTo>
                  <a:cubicBezTo>
                    <a:pt x="68" y="53"/>
                    <a:pt x="63" y="53"/>
                    <a:pt x="60" y="51"/>
                  </a:cubicBezTo>
                  <a:cubicBezTo>
                    <a:pt x="56" y="49"/>
                    <a:pt x="57" y="42"/>
                    <a:pt x="54" y="40"/>
                  </a:cubicBezTo>
                  <a:cubicBezTo>
                    <a:pt x="50" y="38"/>
                    <a:pt x="48" y="33"/>
                    <a:pt x="52" y="33"/>
                  </a:cubicBezTo>
                  <a:cubicBezTo>
                    <a:pt x="56" y="34"/>
                    <a:pt x="57" y="31"/>
                    <a:pt x="54" y="28"/>
                  </a:cubicBezTo>
                  <a:cubicBezTo>
                    <a:pt x="50" y="25"/>
                    <a:pt x="38" y="24"/>
                    <a:pt x="38" y="19"/>
                  </a:cubicBezTo>
                  <a:cubicBezTo>
                    <a:pt x="37" y="15"/>
                    <a:pt x="16" y="4"/>
                    <a:pt x="6" y="2"/>
                  </a:cubicBezTo>
                  <a:cubicBezTo>
                    <a:pt x="4" y="2"/>
                    <a:pt x="2" y="1"/>
                    <a:pt x="0" y="0"/>
                  </a:cubicBezTo>
                  <a:cubicBezTo>
                    <a:pt x="0" y="51"/>
                    <a:pt x="0" y="51"/>
                    <a:pt x="0" y="51"/>
                  </a:cubicBezTo>
                  <a:cubicBezTo>
                    <a:pt x="2" y="52"/>
                    <a:pt x="5" y="54"/>
                    <a:pt x="9" y="54"/>
                  </a:cubicBezTo>
                  <a:cubicBezTo>
                    <a:pt x="19" y="54"/>
                    <a:pt x="17" y="48"/>
                    <a:pt x="18" y="48"/>
                  </a:cubicBezTo>
                  <a:cubicBezTo>
                    <a:pt x="20" y="48"/>
                    <a:pt x="21" y="45"/>
                    <a:pt x="23" y="42"/>
                  </a:cubicBezTo>
                  <a:cubicBezTo>
                    <a:pt x="25" y="40"/>
                    <a:pt x="35" y="42"/>
                    <a:pt x="40" y="46"/>
                  </a:cubicBezTo>
                  <a:cubicBezTo>
                    <a:pt x="46" y="50"/>
                    <a:pt x="52" y="63"/>
                    <a:pt x="58" y="62"/>
                  </a:cubicBezTo>
                  <a:cubicBezTo>
                    <a:pt x="63" y="61"/>
                    <a:pt x="69" y="65"/>
                    <a:pt x="75" y="65"/>
                  </a:cubicBezTo>
                  <a:cubicBezTo>
                    <a:pt x="80" y="65"/>
                    <a:pt x="75" y="61"/>
                    <a:pt x="73" y="60"/>
                  </a:cubicBezTo>
                  <a:close/>
                  <a:moveTo>
                    <a:pt x="87" y="18"/>
                  </a:moveTo>
                  <a:cubicBezTo>
                    <a:pt x="87" y="20"/>
                    <a:pt x="83" y="21"/>
                    <a:pt x="77" y="23"/>
                  </a:cubicBezTo>
                  <a:cubicBezTo>
                    <a:pt x="71" y="26"/>
                    <a:pt x="60" y="21"/>
                    <a:pt x="60" y="24"/>
                  </a:cubicBezTo>
                  <a:cubicBezTo>
                    <a:pt x="60" y="26"/>
                    <a:pt x="67" y="30"/>
                    <a:pt x="73" y="30"/>
                  </a:cubicBezTo>
                  <a:cubicBezTo>
                    <a:pt x="80" y="30"/>
                    <a:pt x="90" y="24"/>
                    <a:pt x="90" y="22"/>
                  </a:cubicBezTo>
                  <a:cubicBezTo>
                    <a:pt x="90" y="20"/>
                    <a:pt x="94" y="16"/>
                    <a:pt x="92" y="15"/>
                  </a:cubicBezTo>
                  <a:cubicBezTo>
                    <a:pt x="91" y="13"/>
                    <a:pt x="87" y="15"/>
                    <a:pt x="87" y="18"/>
                  </a:cubicBezTo>
                  <a:close/>
                  <a:moveTo>
                    <a:pt x="95" y="9"/>
                  </a:moveTo>
                  <a:cubicBezTo>
                    <a:pt x="91" y="6"/>
                    <a:pt x="88" y="5"/>
                    <a:pt x="93" y="9"/>
                  </a:cubicBezTo>
                  <a:cubicBezTo>
                    <a:pt x="97" y="14"/>
                    <a:pt x="95" y="17"/>
                    <a:pt x="98" y="17"/>
                  </a:cubicBezTo>
                  <a:cubicBezTo>
                    <a:pt x="102" y="15"/>
                    <a:pt x="99" y="11"/>
                    <a:pt x="95" y="9"/>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209" name="Freeform 152">
              <a:extLst>
                <a:ext uri="{FF2B5EF4-FFF2-40B4-BE49-F238E27FC236}">
                  <a16:creationId xmlns:a16="http://schemas.microsoft.com/office/drawing/2014/main" xmlns="" id="{8D6C98CA-CC7D-4A83-B368-FA1DAF393441}"/>
                </a:ext>
              </a:extLst>
            </p:cNvPr>
            <p:cNvSpPr>
              <a:spLocks/>
            </p:cNvSpPr>
            <p:nvPr/>
          </p:nvSpPr>
          <p:spPr bwMode="auto">
            <a:xfrm>
              <a:off x="17997709" y="3785266"/>
              <a:ext cx="47625" cy="85725"/>
            </a:xfrm>
            <a:custGeom>
              <a:avLst/>
              <a:gdLst>
                <a:gd name="T0" fmla="*/ 4 w 18"/>
                <a:gd name="T1" fmla="*/ 0 h 33"/>
                <a:gd name="T2" fmla="*/ 2 w 18"/>
                <a:gd name="T3" fmla="*/ 8 h 33"/>
                <a:gd name="T4" fmla="*/ 1 w 18"/>
                <a:gd name="T5" fmla="*/ 18 h 33"/>
                <a:gd name="T6" fmla="*/ 5 w 18"/>
                <a:gd name="T7" fmla="*/ 30 h 33"/>
                <a:gd name="T8" fmla="*/ 17 w 18"/>
                <a:gd name="T9" fmla="*/ 19 h 33"/>
                <a:gd name="T10" fmla="*/ 4 w 18"/>
                <a:gd name="T11" fmla="*/ 0 h 33"/>
              </a:gdLst>
              <a:ahLst/>
              <a:cxnLst>
                <a:cxn ang="0">
                  <a:pos x="T0" y="T1"/>
                </a:cxn>
                <a:cxn ang="0">
                  <a:pos x="T2" y="T3"/>
                </a:cxn>
                <a:cxn ang="0">
                  <a:pos x="T4" y="T5"/>
                </a:cxn>
                <a:cxn ang="0">
                  <a:pos x="T6" y="T7"/>
                </a:cxn>
                <a:cxn ang="0">
                  <a:pos x="T8" y="T9"/>
                </a:cxn>
                <a:cxn ang="0">
                  <a:pos x="T10" y="T11"/>
                </a:cxn>
              </a:cxnLst>
              <a:rect l="0" t="0" r="r" b="b"/>
              <a:pathLst>
                <a:path w="18" h="33">
                  <a:moveTo>
                    <a:pt x="4" y="0"/>
                  </a:moveTo>
                  <a:cubicBezTo>
                    <a:pt x="2" y="0"/>
                    <a:pt x="3" y="4"/>
                    <a:pt x="2" y="8"/>
                  </a:cubicBezTo>
                  <a:cubicBezTo>
                    <a:pt x="0" y="11"/>
                    <a:pt x="1" y="14"/>
                    <a:pt x="1" y="18"/>
                  </a:cubicBezTo>
                  <a:cubicBezTo>
                    <a:pt x="2" y="23"/>
                    <a:pt x="1" y="28"/>
                    <a:pt x="5" y="30"/>
                  </a:cubicBezTo>
                  <a:cubicBezTo>
                    <a:pt x="10" y="33"/>
                    <a:pt x="17" y="25"/>
                    <a:pt x="17" y="19"/>
                  </a:cubicBezTo>
                  <a:cubicBezTo>
                    <a:pt x="18" y="12"/>
                    <a:pt x="6" y="0"/>
                    <a:pt x="4" y="0"/>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210" name="Freeform 153">
              <a:extLst>
                <a:ext uri="{FF2B5EF4-FFF2-40B4-BE49-F238E27FC236}">
                  <a16:creationId xmlns:a16="http://schemas.microsoft.com/office/drawing/2014/main" xmlns="" id="{1F68B606-9AD6-4A52-AF73-60795615C807}"/>
                </a:ext>
              </a:extLst>
            </p:cNvPr>
            <p:cNvSpPr>
              <a:spLocks/>
            </p:cNvSpPr>
            <p:nvPr/>
          </p:nvSpPr>
          <p:spPr bwMode="auto">
            <a:xfrm>
              <a:off x="17219834" y="4234529"/>
              <a:ext cx="155575" cy="309562"/>
            </a:xfrm>
            <a:custGeom>
              <a:avLst/>
              <a:gdLst>
                <a:gd name="T0" fmla="*/ 51 w 60"/>
                <a:gd name="T1" fmla="*/ 3 h 118"/>
                <a:gd name="T2" fmla="*/ 48 w 60"/>
                <a:gd name="T3" fmla="*/ 6 h 118"/>
                <a:gd name="T4" fmla="*/ 47 w 60"/>
                <a:gd name="T5" fmla="*/ 12 h 118"/>
                <a:gd name="T6" fmla="*/ 42 w 60"/>
                <a:gd name="T7" fmla="*/ 15 h 118"/>
                <a:gd name="T8" fmla="*/ 38 w 60"/>
                <a:gd name="T9" fmla="*/ 19 h 118"/>
                <a:gd name="T10" fmla="*/ 38 w 60"/>
                <a:gd name="T11" fmla="*/ 23 h 118"/>
                <a:gd name="T12" fmla="*/ 32 w 60"/>
                <a:gd name="T13" fmla="*/ 28 h 118"/>
                <a:gd name="T14" fmla="*/ 20 w 60"/>
                <a:gd name="T15" fmla="*/ 34 h 118"/>
                <a:gd name="T16" fmla="*/ 10 w 60"/>
                <a:gd name="T17" fmla="*/ 36 h 118"/>
                <a:gd name="T18" fmla="*/ 7 w 60"/>
                <a:gd name="T19" fmla="*/ 46 h 118"/>
                <a:gd name="T20" fmla="*/ 8 w 60"/>
                <a:gd name="T21" fmla="*/ 61 h 118"/>
                <a:gd name="T22" fmla="*/ 6 w 60"/>
                <a:gd name="T23" fmla="*/ 77 h 118"/>
                <a:gd name="T24" fmla="*/ 3 w 60"/>
                <a:gd name="T25" fmla="*/ 96 h 118"/>
                <a:gd name="T26" fmla="*/ 8 w 60"/>
                <a:gd name="T27" fmla="*/ 112 h 118"/>
                <a:gd name="T28" fmla="*/ 22 w 60"/>
                <a:gd name="T29" fmla="*/ 115 h 118"/>
                <a:gd name="T30" fmla="*/ 31 w 60"/>
                <a:gd name="T31" fmla="*/ 112 h 118"/>
                <a:gd name="T32" fmla="*/ 42 w 60"/>
                <a:gd name="T33" fmla="*/ 78 h 118"/>
                <a:gd name="T34" fmla="*/ 51 w 60"/>
                <a:gd name="T35" fmla="*/ 47 h 118"/>
                <a:gd name="T36" fmla="*/ 53 w 60"/>
                <a:gd name="T37" fmla="*/ 38 h 118"/>
                <a:gd name="T38" fmla="*/ 55 w 60"/>
                <a:gd name="T39" fmla="*/ 33 h 118"/>
                <a:gd name="T40" fmla="*/ 59 w 60"/>
                <a:gd name="T41" fmla="*/ 32 h 118"/>
                <a:gd name="T42" fmla="*/ 56 w 60"/>
                <a:gd name="T43" fmla="*/ 17 h 118"/>
                <a:gd name="T44" fmla="*/ 51 w 60"/>
                <a:gd name="T45" fmla="*/ 3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118">
                  <a:moveTo>
                    <a:pt x="51" y="3"/>
                  </a:moveTo>
                  <a:cubicBezTo>
                    <a:pt x="50" y="0"/>
                    <a:pt x="49" y="5"/>
                    <a:pt x="48" y="6"/>
                  </a:cubicBezTo>
                  <a:cubicBezTo>
                    <a:pt x="47" y="7"/>
                    <a:pt x="46" y="10"/>
                    <a:pt x="47" y="12"/>
                  </a:cubicBezTo>
                  <a:cubicBezTo>
                    <a:pt x="47" y="13"/>
                    <a:pt x="44" y="15"/>
                    <a:pt x="42" y="15"/>
                  </a:cubicBezTo>
                  <a:cubicBezTo>
                    <a:pt x="40" y="15"/>
                    <a:pt x="37" y="16"/>
                    <a:pt x="38" y="19"/>
                  </a:cubicBezTo>
                  <a:cubicBezTo>
                    <a:pt x="39" y="21"/>
                    <a:pt x="36" y="21"/>
                    <a:pt x="38" y="23"/>
                  </a:cubicBezTo>
                  <a:cubicBezTo>
                    <a:pt x="39" y="25"/>
                    <a:pt x="35" y="28"/>
                    <a:pt x="32" y="28"/>
                  </a:cubicBezTo>
                  <a:cubicBezTo>
                    <a:pt x="28" y="28"/>
                    <a:pt x="24" y="34"/>
                    <a:pt x="20" y="34"/>
                  </a:cubicBezTo>
                  <a:cubicBezTo>
                    <a:pt x="17" y="33"/>
                    <a:pt x="13" y="36"/>
                    <a:pt x="10" y="36"/>
                  </a:cubicBezTo>
                  <a:cubicBezTo>
                    <a:pt x="7" y="35"/>
                    <a:pt x="9" y="42"/>
                    <a:pt x="7" y="46"/>
                  </a:cubicBezTo>
                  <a:cubicBezTo>
                    <a:pt x="4" y="51"/>
                    <a:pt x="6" y="56"/>
                    <a:pt x="8" y="61"/>
                  </a:cubicBezTo>
                  <a:cubicBezTo>
                    <a:pt x="10" y="66"/>
                    <a:pt x="12" y="70"/>
                    <a:pt x="6" y="77"/>
                  </a:cubicBezTo>
                  <a:cubicBezTo>
                    <a:pt x="0" y="84"/>
                    <a:pt x="1" y="92"/>
                    <a:pt x="3" y="96"/>
                  </a:cubicBezTo>
                  <a:cubicBezTo>
                    <a:pt x="5" y="101"/>
                    <a:pt x="5" y="108"/>
                    <a:pt x="8" y="112"/>
                  </a:cubicBezTo>
                  <a:cubicBezTo>
                    <a:pt x="11" y="115"/>
                    <a:pt x="20" y="118"/>
                    <a:pt x="22" y="115"/>
                  </a:cubicBezTo>
                  <a:cubicBezTo>
                    <a:pt x="25" y="113"/>
                    <a:pt x="28" y="116"/>
                    <a:pt x="31" y="112"/>
                  </a:cubicBezTo>
                  <a:cubicBezTo>
                    <a:pt x="33" y="109"/>
                    <a:pt x="38" y="90"/>
                    <a:pt x="42" y="78"/>
                  </a:cubicBezTo>
                  <a:cubicBezTo>
                    <a:pt x="46" y="66"/>
                    <a:pt x="52" y="50"/>
                    <a:pt x="51" y="47"/>
                  </a:cubicBezTo>
                  <a:cubicBezTo>
                    <a:pt x="51" y="44"/>
                    <a:pt x="54" y="42"/>
                    <a:pt x="53" y="38"/>
                  </a:cubicBezTo>
                  <a:cubicBezTo>
                    <a:pt x="51" y="34"/>
                    <a:pt x="53" y="30"/>
                    <a:pt x="55" y="33"/>
                  </a:cubicBezTo>
                  <a:cubicBezTo>
                    <a:pt x="56" y="36"/>
                    <a:pt x="59" y="36"/>
                    <a:pt x="59" y="32"/>
                  </a:cubicBezTo>
                  <a:cubicBezTo>
                    <a:pt x="60" y="28"/>
                    <a:pt x="57" y="22"/>
                    <a:pt x="56" y="17"/>
                  </a:cubicBezTo>
                  <a:cubicBezTo>
                    <a:pt x="56" y="11"/>
                    <a:pt x="51" y="6"/>
                    <a:pt x="51" y="3"/>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211" name="Freeform 154">
              <a:extLst>
                <a:ext uri="{FF2B5EF4-FFF2-40B4-BE49-F238E27FC236}">
                  <a16:creationId xmlns:a16="http://schemas.microsoft.com/office/drawing/2014/main" xmlns="" id="{02404B5D-3B4D-408C-9EFB-8AA234EE3A6E}"/>
                </a:ext>
              </a:extLst>
            </p:cNvPr>
            <p:cNvSpPr>
              <a:spLocks noEditPoints="1"/>
            </p:cNvSpPr>
            <p:nvPr/>
          </p:nvSpPr>
          <p:spPr bwMode="auto">
            <a:xfrm>
              <a:off x="17215072" y="3578891"/>
              <a:ext cx="249238" cy="153987"/>
            </a:xfrm>
            <a:custGeom>
              <a:avLst/>
              <a:gdLst>
                <a:gd name="T0" fmla="*/ 68 w 96"/>
                <a:gd name="T1" fmla="*/ 3 h 59"/>
                <a:gd name="T2" fmla="*/ 52 w 96"/>
                <a:gd name="T3" fmla="*/ 3 h 59"/>
                <a:gd name="T4" fmla="*/ 40 w 96"/>
                <a:gd name="T5" fmla="*/ 14 h 59"/>
                <a:gd name="T6" fmla="*/ 34 w 96"/>
                <a:gd name="T7" fmla="*/ 16 h 59"/>
                <a:gd name="T8" fmla="*/ 23 w 96"/>
                <a:gd name="T9" fmla="*/ 15 h 59"/>
                <a:gd name="T10" fmla="*/ 13 w 96"/>
                <a:gd name="T11" fmla="*/ 14 h 59"/>
                <a:gd name="T12" fmla="*/ 7 w 96"/>
                <a:gd name="T13" fmla="*/ 13 h 59"/>
                <a:gd name="T14" fmla="*/ 4 w 96"/>
                <a:gd name="T15" fmla="*/ 16 h 59"/>
                <a:gd name="T16" fmla="*/ 4 w 96"/>
                <a:gd name="T17" fmla="*/ 20 h 59"/>
                <a:gd name="T18" fmla="*/ 0 w 96"/>
                <a:gd name="T19" fmla="*/ 22 h 59"/>
                <a:gd name="T20" fmla="*/ 1 w 96"/>
                <a:gd name="T21" fmla="*/ 27 h 59"/>
                <a:gd name="T22" fmla="*/ 3 w 96"/>
                <a:gd name="T23" fmla="*/ 40 h 59"/>
                <a:gd name="T24" fmla="*/ 6 w 96"/>
                <a:gd name="T25" fmla="*/ 52 h 59"/>
                <a:gd name="T26" fmla="*/ 20 w 96"/>
                <a:gd name="T27" fmla="*/ 50 h 59"/>
                <a:gd name="T28" fmla="*/ 31 w 96"/>
                <a:gd name="T29" fmla="*/ 47 h 59"/>
                <a:gd name="T30" fmla="*/ 40 w 96"/>
                <a:gd name="T31" fmla="*/ 42 h 59"/>
                <a:gd name="T32" fmla="*/ 48 w 96"/>
                <a:gd name="T33" fmla="*/ 41 h 59"/>
                <a:gd name="T34" fmla="*/ 54 w 96"/>
                <a:gd name="T35" fmla="*/ 37 h 59"/>
                <a:gd name="T36" fmla="*/ 71 w 96"/>
                <a:gd name="T37" fmla="*/ 31 h 59"/>
                <a:gd name="T38" fmla="*/ 79 w 96"/>
                <a:gd name="T39" fmla="*/ 23 h 59"/>
                <a:gd name="T40" fmla="*/ 86 w 96"/>
                <a:gd name="T41" fmla="*/ 21 h 59"/>
                <a:gd name="T42" fmla="*/ 76 w 96"/>
                <a:gd name="T43" fmla="*/ 0 h 59"/>
                <a:gd name="T44" fmla="*/ 68 w 96"/>
                <a:gd name="T45" fmla="*/ 3 h 59"/>
                <a:gd name="T46" fmla="*/ 88 w 96"/>
                <a:gd name="T47" fmla="*/ 56 h 59"/>
                <a:gd name="T48" fmla="*/ 96 w 96"/>
                <a:gd name="T49" fmla="*/ 54 h 59"/>
                <a:gd name="T50" fmla="*/ 88 w 96"/>
                <a:gd name="T51" fmla="*/ 56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6" h="59">
                  <a:moveTo>
                    <a:pt x="68" y="3"/>
                  </a:moveTo>
                  <a:cubicBezTo>
                    <a:pt x="64" y="3"/>
                    <a:pt x="53" y="3"/>
                    <a:pt x="52" y="3"/>
                  </a:cubicBezTo>
                  <a:cubicBezTo>
                    <a:pt x="51" y="4"/>
                    <a:pt x="41" y="11"/>
                    <a:pt x="40" y="14"/>
                  </a:cubicBezTo>
                  <a:cubicBezTo>
                    <a:pt x="38" y="17"/>
                    <a:pt x="36" y="18"/>
                    <a:pt x="34" y="16"/>
                  </a:cubicBezTo>
                  <a:cubicBezTo>
                    <a:pt x="32" y="15"/>
                    <a:pt x="24" y="15"/>
                    <a:pt x="23" y="15"/>
                  </a:cubicBezTo>
                  <a:cubicBezTo>
                    <a:pt x="22" y="14"/>
                    <a:pt x="16" y="13"/>
                    <a:pt x="13" y="14"/>
                  </a:cubicBezTo>
                  <a:cubicBezTo>
                    <a:pt x="10" y="14"/>
                    <a:pt x="8" y="12"/>
                    <a:pt x="7" y="13"/>
                  </a:cubicBezTo>
                  <a:cubicBezTo>
                    <a:pt x="6" y="13"/>
                    <a:pt x="4" y="15"/>
                    <a:pt x="4" y="16"/>
                  </a:cubicBezTo>
                  <a:cubicBezTo>
                    <a:pt x="3" y="17"/>
                    <a:pt x="4" y="19"/>
                    <a:pt x="4" y="20"/>
                  </a:cubicBezTo>
                  <a:cubicBezTo>
                    <a:pt x="4" y="20"/>
                    <a:pt x="2" y="21"/>
                    <a:pt x="0" y="22"/>
                  </a:cubicBezTo>
                  <a:cubicBezTo>
                    <a:pt x="1" y="24"/>
                    <a:pt x="1" y="26"/>
                    <a:pt x="1" y="27"/>
                  </a:cubicBezTo>
                  <a:cubicBezTo>
                    <a:pt x="0" y="30"/>
                    <a:pt x="1" y="36"/>
                    <a:pt x="3" y="40"/>
                  </a:cubicBezTo>
                  <a:cubicBezTo>
                    <a:pt x="6" y="44"/>
                    <a:pt x="5" y="50"/>
                    <a:pt x="6" y="52"/>
                  </a:cubicBezTo>
                  <a:cubicBezTo>
                    <a:pt x="7" y="53"/>
                    <a:pt x="16" y="53"/>
                    <a:pt x="20" y="50"/>
                  </a:cubicBezTo>
                  <a:cubicBezTo>
                    <a:pt x="25" y="47"/>
                    <a:pt x="28" y="47"/>
                    <a:pt x="31" y="47"/>
                  </a:cubicBezTo>
                  <a:cubicBezTo>
                    <a:pt x="34" y="47"/>
                    <a:pt x="39" y="44"/>
                    <a:pt x="40" y="42"/>
                  </a:cubicBezTo>
                  <a:cubicBezTo>
                    <a:pt x="41" y="41"/>
                    <a:pt x="46" y="41"/>
                    <a:pt x="48" y="41"/>
                  </a:cubicBezTo>
                  <a:cubicBezTo>
                    <a:pt x="50" y="41"/>
                    <a:pt x="52" y="39"/>
                    <a:pt x="54" y="37"/>
                  </a:cubicBezTo>
                  <a:cubicBezTo>
                    <a:pt x="56" y="35"/>
                    <a:pt x="63" y="34"/>
                    <a:pt x="71" y="31"/>
                  </a:cubicBezTo>
                  <a:cubicBezTo>
                    <a:pt x="79" y="29"/>
                    <a:pt x="77" y="25"/>
                    <a:pt x="79" y="23"/>
                  </a:cubicBezTo>
                  <a:cubicBezTo>
                    <a:pt x="80" y="21"/>
                    <a:pt x="82" y="22"/>
                    <a:pt x="86" y="21"/>
                  </a:cubicBezTo>
                  <a:cubicBezTo>
                    <a:pt x="82" y="13"/>
                    <a:pt x="78" y="5"/>
                    <a:pt x="76" y="0"/>
                  </a:cubicBezTo>
                  <a:cubicBezTo>
                    <a:pt x="72" y="1"/>
                    <a:pt x="69" y="2"/>
                    <a:pt x="68" y="3"/>
                  </a:cubicBezTo>
                  <a:close/>
                  <a:moveTo>
                    <a:pt x="88" y="56"/>
                  </a:moveTo>
                  <a:cubicBezTo>
                    <a:pt x="90" y="59"/>
                    <a:pt x="95" y="55"/>
                    <a:pt x="96" y="54"/>
                  </a:cubicBezTo>
                  <a:cubicBezTo>
                    <a:pt x="96" y="53"/>
                    <a:pt x="84" y="53"/>
                    <a:pt x="88" y="56"/>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212" name="Freeform 155">
              <a:extLst>
                <a:ext uri="{FF2B5EF4-FFF2-40B4-BE49-F238E27FC236}">
                  <a16:creationId xmlns:a16="http://schemas.microsoft.com/office/drawing/2014/main" xmlns="" id="{9DDCB5EA-F66E-4538-A587-F0DBF6460B5E}"/>
                </a:ext>
              </a:extLst>
            </p:cNvPr>
            <p:cNvSpPr>
              <a:spLocks/>
            </p:cNvSpPr>
            <p:nvPr/>
          </p:nvSpPr>
          <p:spPr bwMode="auto">
            <a:xfrm>
              <a:off x="17745297" y="5110829"/>
              <a:ext cx="55563" cy="36512"/>
            </a:xfrm>
            <a:custGeom>
              <a:avLst/>
              <a:gdLst>
                <a:gd name="T0" fmla="*/ 9 w 21"/>
                <a:gd name="T1" fmla="*/ 3 h 14"/>
                <a:gd name="T2" fmla="*/ 7 w 21"/>
                <a:gd name="T3" fmla="*/ 12 h 14"/>
                <a:gd name="T4" fmla="*/ 13 w 21"/>
                <a:gd name="T5" fmla="*/ 12 h 14"/>
                <a:gd name="T6" fmla="*/ 20 w 21"/>
                <a:gd name="T7" fmla="*/ 9 h 14"/>
                <a:gd name="T8" fmla="*/ 9 w 21"/>
                <a:gd name="T9" fmla="*/ 3 h 14"/>
              </a:gdLst>
              <a:ahLst/>
              <a:cxnLst>
                <a:cxn ang="0">
                  <a:pos x="T0" y="T1"/>
                </a:cxn>
                <a:cxn ang="0">
                  <a:pos x="T2" y="T3"/>
                </a:cxn>
                <a:cxn ang="0">
                  <a:pos x="T4" y="T5"/>
                </a:cxn>
                <a:cxn ang="0">
                  <a:pos x="T6" y="T7"/>
                </a:cxn>
                <a:cxn ang="0">
                  <a:pos x="T8" y="T9"/>
                </a:cxn>
              </a:cxnLst>
              <a:rect l="0" t="0" r="r" b="b"/>
              <a:pathLst>
                <a:path w="21" h="14">
                  <a:moveTo>
                    <a:pt x="9" y="3"/>
                  </a:moveTo>
                  <a:cubicBezTo>
                    <a:pt x="8" y="0"/>
                    <a:pt x="0" y="9"/>
                    <a:pt x="7" y="12"/>
                  </a:cubicBezTo>
                  <a:cubicBezTo>
                    <a:pt x="10" y="13"/>
                    <a:pt x="11" y="10"/>
                    <a:pt x="13" y="12"/>
                  </a:cubicBezTo>
                  <a:cubicBezTo>
                    <a:pt x="15" y="14"/>
                    <a:pt x="20" y="13"/>
                    <a:pt x="20" y="9"/>
                  </a:cubicBezTo>
                  <a:cubicBezTo>
                    <a:pt x="21" y="4"/>
                    <a:pt x="11" y="5"/>
                    <a:pt x="9" y="3"/>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213" name="Freeform 156">
              <a:extLst>
                <a:ext uri="{FF2B5EF4-FFF2-40B4-BE49-F238E27FC236}">
                  <a16:creationId xmlns:a16="http://schemas.microsoft.com/office/drawing/2014/main" xmlns="" id="{FE5AF42D-0F03-497E-AD7C-F288A13627DC}"/>
                </a:ext>
              </a:extLst>
            </p:cNvPr>
            <p:cNvSpPr>
              <a:spLocks noEditPoints="1"/>
            </p:cNvSpPr>
            <p:nvPr/>
          </p:nvSpPr>
          <p:spPr bwMode="auto">
            <a:xfrm>
              <a:off x="19553459" y="4104354"/>
              <a:ext cx="168275" cy="122237"/>
            </a:xfrm>
            <a:custGeom>
              <a:avLst/>
              <a:gdLst>
                <a:gd name="T0" fmla="*/ 1 w 65"/>
                <a:gd name="T1" fmla="*/ 2 h 47"/>
                <a:gd name="T2" fmla="*/ 11 w 65"/>
                <a:gd name="T3" fmla="*/ 14 h 47"/>
                <a:gd name="T4" fmla="*/ 1 w 65"/>
                <a:gd name="T5" fmla="*/ 2 h 47"/>
                <a:gd name="T6" fmla="*/ 16 w 65"/>
                <a:gd name="T7" fmla="*/ 12 h 47"/>
                <a:gd name="T8" fmla="*/ 23 w 65"/>
                <a:gd name="T9" fmla="*/ 18 h 47"/>
                <a:gd name="T10" fmla="*/ 16 w 65"/>
                <a:gd name="T11" fmla="*/ 12 h 47"/>
                <a:gd name="T12" fmla="*/ 43 w 65"/>
                <a:gd name="T13" fmla="*/ 27 h 47"/>
                <a:gd name="T14" fmla="*/ 31 w 65"/>
                <a:gd name="T15" fmla="*/ 21 h 47"/>
                <a:gd name="T16" fmla="*/ 43 w 65"/>
                <a:gd name="T17" fmla="*/ 27 h 47"/>
                <a:gd name="T18" fmla="*/ 41 w 65"/>
                <a:gd name="T19" fmla="*/ 34 h 47"/>
                <a:gd name="T20" fmla="*/ 49 w 65"/>
                <a:gd name="T21" fmla="*/ 39 h 47"/>
                <a:gd name="T22" fmla="*/ 41 w 65"/>
                <a:gd name="T23" fmla="*/ 34 h 47"/>
                <a:gd name="T24" fmla="*/ 56 w 65"/>
                <a:gd name="T25" fmla="*/ 42 h 47"/>
                <a:gd name="T26" fmla="*/ 63 w 65"/>
                <a:gd name="T27" fmla="*/ 46 h 47"/>
                <a:gd name="T28" fmla="*/ 56 w 65"/>
                <a:gd name="T29" fmla="*/ 42 h 47"/>
                <a:gd name="T30" fmla="*/ 50 w 65"/>
                <a:gd name="T31" fmla="*/ 26 h 47"/>
                <a:gd name="T32" fmla="*/ 56 w 65"/>
                <a:gd name="T33" fmla="*/ 37 h 47"/>
                <a:gd name="T34" fmla="*/ 50 w 65"/>
                <a:gd name="T35" fmla="*/ 2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5" h="47">
                  <a:moveTo>
                    <a:pt x="1" y="2"/>
                  </a:moveTo>
                  <a:cubicBezTo>
                    <a:pt x="0" y="4"/>
                    <a:pt x="8" y="16"/>
                    <a:pt x="11" y="14"/>
                  </a:cubicBezTo>
                  <a:cubicBezTo>
                    <a:pt x="16" y="11"/>
                    <a:pt x="1" y="0"/>
                    <a:pt x="1" y="2"/>
                  </a:cubicBezTo>
                  <a:close/>
                  <a:moveTo>
                    <a:pt x="16" y="12"/>
                  </a:moveTo>
                  <a:cubicBezTo>
                    <a:pt x="16" y="13"/>
                    <a:pt x="21" y="19"/>
                    <a:pt x="23" y="18"/>
                  </a:cubicBezTo>
                  <a:cubicBezTo>
                    <a:pt x="24" y="17"/>
                    <a:pt x="16" y="11"/>
                    <a:pt x="16" y="12"/>
                  </a:cubicBezTo>
                  <a:close/>
                  <a:moveTo>
                    <a:pt x="43" y="27"/>
                  </a:moveTo>
                  <a:cubicBezTo>
                    <a:pt x="45" y="25"/>
                    <a:pt x="32" y="18"/>
                    <a:pt x="31" y="21"/>
                  </a:cubicBezTo>
                  <a:cubicBezTo>
                    <a:pt x="31" y="23"/>
                    <a:pt x="41" y="28"/>
                    <a:pt x="43" y="27"/>
                  </a:cubicBezTo>
                  <a:close/>
                  <a:moveTo>
                    <a:pt x="41" y="34"/>
                  </a:moveTo>
                  <a:cubicBezTo>
                    <a:pt x="42" y="38"/>
                    <a:pt x="47" y="40"/>
                    <a:pt x="49" y="39"/>
                  </a:cubicBezTo>
                  <a:cubicBezTo>
                    <a:pt x="52" y="37"/>
                    <a:pt x="40" y="31"/>
                    <a:pt x="41" y="34"/>
                  </a:cubicBezTo>
                  <a:close/>
                  <a:moveTo>
                    <a:pt x="56" y="42"/>
                  </a:moveTo>
                  <a:cubicBezTo>
                    <a:pt x="56" y="43"/>
                    <a:pt x="61" y="47"/>
                    <a:pt x="63" y="46"/>
                  </a:cubicBezTo>
                  <a:cubicBezTo>
                    <a:pt x="65" y="44"/>
                    <a:pt x="55" y="41"/>
                    <a:pt x="56" y="42"/>
                  </a:cubicBezTo>
                  <a:close/>
                  <a:moveTo>
                    <a:pt x="50" y="26"/>
                  </a:moveTo>
                  <a:cubicBezTo>
                    <a:pt x="48" y="30"/>
                    <a:pt x="55" y="37"/>
                    <a:pt x="56" y="37"/>
                  </a:cubicBezTo>
                  <a:cubicBezTo>
                    <a:pt x="57" y="37"/>
                    <a:pt x="51" y="23"/>
                    <a:pt x="50" y="26"/>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214" name="Freeform 157">
              <a:extLst>
                <a:ext uri="{FF2B5EF4-FFF2-40B4-BE49-F238E27FC236}">
                  <a16:creationId xmlns:a16="http://schemas.microsoft.com/office/drawing/2014/main" xmlns="" id="{534C5E02-D0F8-4211-92E4-7DC47F1D14E9}"/>
                </a:ext>
              </a:extLst>
            </p:cNvPr>
            <p:cNvSpPr>
              <a:spLocks noEditPoints="1"/>
            </p:cNvSpPr>
            <p:nvPr/>
          </p:nvSpPr>
          <p:spPr bwMode="auto">
            <a:xfrm>
              <a:off x="19553459" y="4104354"/>
              <a:ext cx="168275" cy="122237"/>
            </a:xfrm>
            <a:custGeom>
              <a:avLst/>
              <a:gdLst>
                <a:gd name="T0" fmla="*/ 1 w 65"/>
                <a:gd name="T1" fmla="*/ 2 h 47"/>
                <a:gd name="T2" fmla="*/ 11 w 65"/>
                <a:gd name="T3" fmla="*/ 14 h 47"/>
                <a:gd name="T4" fmla="*/ 1 w 65"/>
                <a:gd name="T5" fmla="*/ 2 h 47"/>
                <a:gd name="T6" fmla="*/ 16 w 65"/>
                <a:gd name="T7" fmla="*/ 12 h 47"/>
                <a:gd name="T8" fmla="*/ 23 w 65"/>
                <a:gd name="T9" fmla="*/ 18 h 47"/>
                <a:gd name="T10" fmla="*/ 16 w 65"/>
                <a:gd name="T11" fmla="*/ 12 h 47"/>
                <a:gd name="T12" fmla="*/ 43 w 65"/>
                <a:gd name="T13" fmla="*/ 27 h 47"/>
                <a:gd name="T14" fmla="*/ 31 w 65"/>
                <a:gd name="T15" fmla="*/ 21 h 47"/>
                <a:gd name="T16" fmla="*/ 43 w 65"/>
                <a:gd name="T17" fmla="*/ 27 h 47"/>
                <a:gd name="T18" fmla="*/ 41 w 65"/>
                <a:gd name="T19" fmla="*/ 34 h 47"/>
                <a:gd name="T20" fmla="*/ 49 w 65"/>
                <a:gd name="T21" fmla="*/ 39 h 47"/>
                <a:gd name="T22" fmla="*/ 41 w 65"/>
                <a:gd name="T23" fmla="*/ 34 h 47"/>
                <a:gd name="T24" fmla="*/ 56 w 65"/>
                <a:gd name="T25" fmla="*/ 42 h 47"/>
                <a:gd name="T26" fmla="*/ 63 w 65"/>
                <a:gd name="T27" fmla="*/ 46 h 47"/>
                <a:gd name="T28" fmla="*/ 56 w 65"/>
                <a:gd name="T29" fmla="*/ 42 h 47"/>
                <a:gd name="T30" fmla="*/ 50 w 65"/>
                <a:gd name="T31" fmla="*/ 26 h 47"/>
                <a:gd name="T32" fmla="*/ 56 w 65"/>
                <a:gd name="T33" fmla="*/ 37 h 47"/>
                <a:gd name="T34" fmla="*/ 50 w 65"/>
                <a:gd name="T35" fmla="*/ 2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5" h="47">
                  <a:moveTo>
                    <a:pt x="1" y="2"/>
                  </a:moveTo>
                  <a:cubicBezTo>
                    <a:pt x="0" y="4"/>
                    <a:pt x="8" y="16"/>
                    <a:pt x="11" y="14"/>
                  </a:cubicBezTo>
                  <a:cubicBezTo>
                    <a:pt x="16" y="11"/>
                    <a:pt x="1" y="0"/>
                    <a:pt x="1" y="2"/>
                  </a:cubicBezTo>
                  <a:close/>
                  <a:moveTo>
                    <a:pt x="16" y="12"/>
                  </a:moveTo>
                  <a:cubicBezTo>
                    <a:pt x="16" y="13"/>
                    <a:pt x="21" y="19"/>
                    <a:pt x="23" y="18"/>
                  </a:cubicBezTo>
                  <a:cubicBezTo>
                    <a:pt x="24" y="17"/>
                    <a:pt x="16" y="11"/>
                    <a:pt x="16" y="12"/>
                  </a:cubicBezTo>
                  <a:close/>
                  <a:moveTo>
                    <a:pt x="43" y="27"/>
                  </a:moveTo>
                  <a:cubicBezTo>
                    <a:pt x="45" y="25"/>
                    <a:pt x="32" y="18"/>
                    <a:pt x="31" y="21"/>
                  </a:cubicBezTo>
                  <a:cubicBezTo>
                    <a:pt x="31" y="23"/>
                    <a:pt x="41" y="28"/>
                    <a:pt x="43" y="27"/>
                  </a:cubicBezTo>
                  <a:close/>
                  <a:moveTo>
                    <a:pt x="41" y="34"/>
                  </a:moveTo>
                  <a:cubicBezTo>
                    <a:pt x="42" y="38"/>
                    <a:pt x="47" y="40"/>
                    <a:pt x="49" y="39"/>
                  </a:cubicBezTo>
                  <a:cubicBezTo>
                    <a:pt x="52" y="37"/>
                    <a:pt x="40" y="31"/>
                    <a:pt x="41" y="34"/>
                  </a:cubicBezTo>
                  <a:close/>
                  <a:moveTo>
                    <a:pt x="56" y="42"/>
                  </a:moveTo>
                  <a:cubicBezTo>
                    <a:pt x="56" y="43"/>
                    <a:pt x="61" y="47"/>
                    <a:pt x="63" y="46"/>
                  </a:cubicBezTo>
                  <a:cubicBezTo>
                    <a:pt x="65" y="44"/>
                    <a:pt x="55" y="41"/>
                    <a:pt x="56" y="42"/>
                  </a:cubicBezTo>
                  <a:close/>
                  <a:moveTo>
                    <a:pt x="50" y="26"/>
                  </a:moveTo>
                  <a:cubicBezTo>
                    <a:pt x="48" y="30"/>
                    <a:pt x="55" y="37"/>
                    <a:pt x="56" y="37"/>
                  </a:cubicBezTo>
                  <a:cubicBezTo>
                    <a:pt x="57" y="37"/>
                    <a:pt x="51" y="23"/>
                    <a:pt x="50" y="26"/>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215" name="Freeform 158">
              <a:extLst>
                <a:ext uri="{FF2B5EF4-FFF2-40B4-BE49-F238E27FC236}">
                  <a16:creationId xmlns:a16="http://schemas.microsoft.com/office/drawing/2014/main" xmlns="" id="{871392C7-775D-4860-A215-DFEAD1D53AED}"/>
                </a:ext>
              </a:extLst>
            </p:cNvPr>
            <p:cNvSpPr>
              <a:spLocks noEditPoints="1"/>
            </p:cNvSpPr>
            <p:nvPr/>
          </p:nvSpPr>
          <p:spPr bwMode="auto">
            <a:xfrm>
              <a:off x="18672397" y="4217066"/>
              <a:ext cx="860425" cy="768350"/>
            </a:xfrm>
            <a:custGeom>
              <a:avLst/>
              <a:gdLst>
                <a:gd name="T0" fmla="*/ 326 w 330"/>
                <a:gd name="T1" fmla="*/ 128 h 294"/>
                <a:gd name="T2" fmla="*/ 312 w 330"/>
                <a:gd name="T3" fmla="*/ 114 h 294"/>
                <a:gd name="T4" fmla="*/ 302 w 330"/>
                <a:gd name="T5" fmla="*/ 100 h 294"/>
                <a:gd name="T6" fmla="*/ 293 w 330"/>
                <a:gd name="T7" fmla="*/ 89 h 294"/>
                <a:gd name="T8" fmla="*/ 269 w 330"/>
                <a:gd name="T9" fmla="*/ 66 h 294"/>
                <a:gd name="T10" fmla="*/ 262 w 330"/>
                <a:gd name="T11" fmla="*/ 38 h 294"/>
                <a:gd name="T12" fmla="*/ 247 w 330"/>
                <a:gd name="T13" fmla="*/ 24 h 294"/>
                <a:gd name="T14" fmla="*/ 235 w 330"/>
                <a:gd name="T15" fmla="*/ 7 h 294"/>
                <a:gd name="T16" fmla="*/ 231 w 330"/>
                <a:gd name="T17" fmla="*/ 37 h 294"/>
                <a:gd name="T18" fmla="*/ 212 w 330"/>
                <a:gd name="T19" fmla="*/ 55 h 294"/>
                <a:gd name="T20" fmla="*/ 189 w 330"/>
                <a:gd name="T21" fmla="*/ 42 h 294"/>
                <a:gd name="T22" fmla="*/ 185 w 330"/>
                <a:gd name="T23" fmla="*/ 25 h 294"/>
                <a:gd name="T24" fmla="*/ 191 w 330"/>
                <a:gd name="T25" fmla="*/ 12 h 294"/>
                <a:gd name="T26" fmla="*/ 179 w 330"/>
                <a:gd name="T27" fmla="*/ 14 h 294"/>
                <a:gd name="T28" fmla="*/ 158 w 330"/>
                <a:gd name="T29" fmla="*/ 10 h 294"/>
                <a:gd name="T30" fmla="*/ 138 w 330"/>
                <a:gd name="T31" fmla="*/ 23 h 294"/>
                <a:gd name="T32" fmla="*/ 131 w 330"/>
                <a:gd name="T33" fmla="*/ 37 h 294"/>
                <a:gd name="T34" fmla="*/ 119 w 330"/>
                <a:gd name="T35" fmla="*/ 31 h 294"/>
                <a:gd name="T36" fmla="*/ 105 w 330"/>
                <a:gd name="T37" fmla="*/ 33 h 294"/>
                <a:gd name="T38" fmla="*/ 94 w 330"/>
                <a:gd name="T39" fmla="*/ 39 h 294"/>
                <a:gd name="T40" fmla="*/ 87 w 330"/>
                <a:gd name="T41" fmla="*/ 53 h 294"/>
                <a:gd name="T42" fmla="*/ 75 w 330"/>
                <a:gd name="T43" fmla="*/ 54 h 294"/>
                <a:gd name="T44" fmla="*/ 49 w 330"/>
                <a:gd name="T45" fmla="*/ 79 h 294"/>
                <a:gd name="T46" fmla="*/ 24 w 330"/>
                <a:gd name="T47" fmla="*/ 87 h 294"/>
                <a:gd name="T48" fmla="*/ 9 w 330"/>
                <a:gd name="T49" fmla="*/ 93 h 294"/>
                <a:gd name="T50" fmla="*/ 4 w 330"/>
                <a:gd name="T51" fmla="*/ 121 h 294"/>
                <a:gd name="T52" fmla="*/ 6 w 330"/>
                <a:gd name="T53" fmla="*/ 133 h 294"/>
                <a:gd name="T54" fmla="*/ 15 w 330"/>
                <a:gd name="T55" fmla="*/ 162 h 294"/>
                <a:gd name="T56" fmla="*/ 16 w 330"/>
                <a:gd name="T57" fmla="*/ 198 h 294"/>
                <a:gd name="T58" fmla="*/ 40 w 330"/>
                <a:gd name="T59" fmla="*/ 210 h 294"/>
                <a:gd name="T60" fmla="*/ 74 w 330"/>
                <a:gd name="T61" fmla="*/ 200 h 294"/>
                <a:gd name="T62" fmla="*/ 112 w 330"/>
                <a:gd name="T63" fmla="*/ 186 h 294"/>
                <a:gd name="T64" fmla="*/ 156 w 330"/>
                <a:gd name="T65" fmla="*/ 183 h 294"/>
                <a:gd name="T66" fmla="*/ 171 w 330"/>
                <a:gd name="T67" fmla="*/ 192 h 294"/>
                <a:gd name="T68" fmla="*/ 187 w 330"/>
                <a:gd name="T69" fmla="*/ 205 h 294"/>
                <a:gd name="T70" fmla="*/ 198 w 330"/>
                <a:gd name="T71" fmla="*/ 203 h 294"/>
                <a:gd name="T72" fmla="*/ 205 w 330"/>
                <a:gd name="T73" fmla="*/ 207 h 294"/>
                <a:gd name="T74" fmla="*/ 217 w 330"/>
                <a:gd name="T75" fmla="*/ 226 h 294"/>
                <a:gd name="T76" fmla="*/ 245 w 330"/>
                <a:gd name="T77" fmla="*/ 246 h 294"/>
                <a:gd name="T78" fmla="*/ 260 w 330"/>
                <a:gd name="T79" fmla="*/ 244 h 294"/>
                <a:gd name="T80" fmla="*/ 270 w 330"/>
                <a:gd name="T81" fmla="*/ 249 h 294"/>
                <a:gd name="T82" fmla="*/ 298 w 330"/>
                <a:gd name="T83" fmla="*/ 236 h 294"/>
                <a:gd name="T84" fmla="*/ 316 w 330"/>
                <a:gd name="T85" fmla="*/ 190 h 294"/>
                <a:gd name="T86" fmla="*/ 327 w 330"/>
                <a:gd name="T87" fmla="*/ 163 h 294"/>
                <a:gd name="T88" fmla="*/ 149 w 330"/>
                <a:gd name="T89" fmla="*/ 8 h 294"/>
                <a:gd name="T90" fmla="*/ 189 w 330"/>
                <a:gd name="T91" fmla="*/ 219 h 294"/>
                <a:gd name="T92" fmla="*/ 270 w 330"/>
                <a:gd name="T93" fmla="*/ 269 h 294"/>
                <a:gd name="T94" fmla="*/ 271 w 330"/>
                <a:gd name="T95" fmla="*/ 293 h 294"/>
                <a:gd name="T96" fmla="*/ 282 w 330"/>
                <a:gd name="T97" fmla="*/ 287 h 294"/>
                <a:gd name="T98" fmla="*/ 270 w 330"/>
                <a:gd name="T99" fmla="*/ 269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30" h="294">
                  <a:moveTo>
                    <a:pt x="328" y="148"/>
                  </a:moveTo>
                  <a:cubicBezTo>
                    <a:pt x="329" y="147"/>
                    <a:pt x="327" y="141"/>
                    <a:pt x="326" y="142"/>
                  </a:cubicBezTo>
                  <a:cubicBezTo>
                    <a:pt x="325" y="143"/>
                    <a:pt x="325" y="133"/>
                    <a:pt x="326" y="128"/>
                  </a:cubicBezTo>
                  <a:cubicBezTo>
                    <a:pt x="327" y="124"/>
                    <a:pt x="326" y="124"/>
                    <a:pt x="324" y="127"/>
                  </a:cubicBezTo>
                  <a:cubicBezTo>
                    <a:pt x="321" y="129"/>
                    <a:pt x="319" y="122"/>
                    <a:pt x="318" y="121"/>
                  </a:cubicBezTo>
                  <a:cubicBezTo>
                    <a:pt x="318" y="119"/>
                    <a:pt x="315" y="114"/>
                    <a:pt x="312" y="114"/>
                  </a:cubicBezTo>
                  <a:cubicBezTo>
                    <a:pt x="309" y="115"/>
                    <a:pt x="311" y="110"/>
                    <a:pt x="308" y="111"/>
                  </a:cubicBezTo>
                  <a:cubicBezTo>
                    <a:pt x="305" y="111"/>
                    <a:pt x="305" y="107"/>
                    <a:pt x="305" y="102"/>
                  </a:cubicBezTo>
                  <a:cubicBezTo>
                    <a:pt x="306" y="98"/>
                    <a:pt x="303" y="101"/>
                    <a:pt x="302" y="100"/>
                  </a:cubicBezTo>
                  <a:cubicBezTo>
                    <a:pt x="301" y="98"/>
                    <a:pt x="300" y="99"/>
                    <a:pt x="298" y="100"/>
                  </a:cubicBezTo>
                  <a:cubicBezTo>
                    <a:pt x="296" y="101"/>
                    <a:pt x="295" y="96"/>
                    <a:pt x="296" y="95"/>
                  </a:cubicBezTo>
                  <a:cubicBezTo>
                    <a:pt x="296" y="93"/>
                    <a:pt x="295" y="91"/>
                    <a:pt x="293" y="89"/>
                  </a:cubicBezTo>
                  <a:cubicBezTo>
                    <a:pt x="290" y="87"/>
                    <a:pt x="290" y="85"/>
                    <a:pt x="290" y="83"/>
                  </a:cubicBezTo>
                  <a:cubicBezTo>
                    <a:pt x="290" y="80"/>
                    <a:pt x="275" y="73"/>
                    <a:pt x="271" y="72"/>
                  </a:cubicBezTo>
                  <a:cubicBezTo>
                    <a:pt x="268" y="71"/>
                    <a:pt x="271" y="68"/>
                    <a:pt x="269" y="66"/>
                  </a:cubicBezTo>
                  <a:cubicBezTo>
                    <a:pt x="268" y="65"/>
                    <a:pt x="267" y="60"/>
                    <a:pt x="267" y="57"/>
                  </a:cubicBezTo>
                  <a:cubicBezTo>
                    <a:pt x="267" y="53"/>
                    <a:pt x="262" y="51"/>
                    <a:pt x="263" y="48"/>
                  </a:cubicBezTo>
                  <a:cubicBezTo>
                    <a:pt x="263" y="45"/>
                    <a:pt x="261" y="42"/>
                    <a:pt x="262" y="38"/>
                  </a:cubicBezTo>
                  <a:cubicBezTo>
                    <a:pt x="262" y="35"/>
                    <a:pt x="256" y="34"/>
                    <a:pt x="256" y="32"/>
                  </a:cubicBezTo>
                  <a:cubicBezTo>
                    <a:pt x="256" y="30"/>
                    <a:pt x="253" y="32"/>
                    <a:pt x="250" y="32"/>
                  </a:cubicBezTo>
                  <a:cubicBezTo>
                    <a:pt x="247" y="32"/>
                    <a:pt x="247" y="28"/>
                    <a:pt x="247" y="24"/>
                  </a:cubicBezTo>
                  <a:cubicBezTo>
                    <a:pt x="248" y="20"/>
                    <a:pt x="246" y="13"/>
                    <a:pt x="244" y="11"/>
                  </a:cubicBezTo>
                  <a:cubicBezTo>
                    <a:pt x="241" y="9"/>
                    <a:pt x="241" y="2"/>
                    <a:pt x="240" y="1"/>
                  </a:cubicBezTo>
                  <a:cubicBezTo>
                    <a:pt x="239" y="0"/>
                    <a:pt x="234" y="5"/>
                    <a:pt x="235" y="7"/>
                  </a:cubicBezTo>
                  <a:cubicBezTo>
                    <a:pt x="235" y="10"/>
                    <a:pt x="234" y="12"/>
                    <a:pt x="233" y="14"/>
                  </a:cubicBezTo>
                  <a:cubicBezTo>
                    <a:pt x="231" y="15"/>
                    <a:pt x="234" y="21"/>
                    <a:pt x="232" y="23"/>
                  </a:cubicBezTo>
                  <a:cubicBezTo>
                    <a:pt x="229" y="25"/>
                    <a:pt x="231" y="32"/>
                    <a:pt x="231" y="37"/>
                  </a:cubicBezTo>
                  <a:cubicBezTo>
                    <a:pt x="230" y="41"/>
                    <a:pt x="230" y="46"/>
                    <a:pt x="228" y="49"/>
                  </a:cubicBezTo>
                  <a:cubicBezTo>
                    <a:pt x="226" y="52"/>
                    <a:pt x="226" y="57"/>
                    <a:pt x="222" y="59"/>
                  </a:cubicBezTo>
                  <a:cubicBezTo>
                    <a:pt x="217" y="60"/>
                    <a:pt x="212" y="57"/>
                    <a:pt x="212" y="55"/>
                  </a:cubicBezTo>
                  <a:cubicBezTo>
                    <a:pt x="212" y="52"/>
                    <a:pt x="207" y="51"/>
                    <a:pt x="205" y="51"/>
                  </a:cubicBezTo>
                  <a:cubicBezTo>
                    <a:pt x="202" y="52"/>
                    <a:pt x="201" y="48"/>
                    <a:pt x="197" y="45"/>
                  </a:cubicBezTo>
                  <a:cubicBezTo>
                    <a:pt x="193" y="42"/>
                    <a:pt x="190" y="46"/>
                    <a:pt x="189" y="42"/>
                  </a:cubicBezTo>
                  <a:cubicBezTo>
                    <a:pt x="187" y="39"/>
                    <a:pt x="186" y="38"/>
                    <a:pt x="183" y="36"/>
                  </a:cubicBezTo>
                  <a:cubicBezTo>
                    <a:pt x="180" y="34"/>
                    <a:pt x="181" y="34"/>
                    <a:pt x="184" y="32"/>
                  </a:cubicBezTo>
                  <a:cubicBezTo>
                    <a:pt x="187" y="30"/>
                    <a:pt x="186" y="28"/>
                    <a:pt x="185" y="25"/>
                  </a:cubicBezTo>
                  <a:cubicBezTo>
                    <a:pt x="183" y="23"/>
                    <a:pt x="186" y="24"/>
                    <a:pt x="190" y="22"/>
                  </a:cubicBezTo>
                  <a:cubicBezTo>
                    <a:pt x="193" y="20"/>
                    <a:pt x="190" y="17"/>
                    <a:pt x="192" y="16"/>
                  </a:cubicBezTo>
                  <a:cubicBezTo>
                    <a:pt x="195" y="15"/>
                    <a:pt x="194" y="13"/>
                    <a:pt x="191" y="12"/>
                  </a:cubicBezTo>
                  <a:cubicBezTo>
                    <a:pt x="188" y="12"/>
                    <a:pt x="189" y="15"/>
                    <a:pt x="188" y="16"/>
                  </a:cubicBezTo>
                  <a:cubicBezTo>
                    <a:pt x="187" y="16"/>
                    <a:pt x="186" y="11"/>
                    <a:pt x="185" y="11"/>
                  </a:cubicBezTo>
                  <a:cubicBezTo>
                    <a:pt x="184" y="11"/>
                    <a:pt x="180" y="16"/>
                    <a:pt x="179" y="14"/>
                  </a:cubicBezTo>
                  <a:cubicBezTo>
                    <a:pt x="177" y="11"/>
                    <a:pt x="167" y="9"/>
                    <a:pt x="163" y="9"/>
                  </a:cubicBezTo>
                  <a:cubicBezTo>
                    <a:pt x="159" y="8"/>
                    <a:pt x="158" y="3"/>
                    <a:pt x="155" y="4"/>
                  </a:cubicBezTo>
                  <a:cubicBezTo>
                    <a:pt x="153" y="5"/>
                    <a:pt x="156" y="7"/>
                    <a:pt x="158" y="10"/>
                  </a:cubicBezTo>
                  <a:cubicBezTo>
                    <a:pt x="161" y="12"/>
                    <a:pt x="150" y="14"/>
                    <a:pt x="146" y="13"/>
                  </a:cubicBezTo>
                  <a:cubicBezTo>
                    <a:pt x="143" y="12"/>
                    <a:pt x="147" y="16"/>
                    <a:pt x="144" y="16"/>
                  </a:cubicBezTo>
                  <a:cubicBezTo>
                    <a:pt x="141" y="16"/>
                    <a:pt x="140" y="21"/>
                    <a:pt x="138" y="23"/>
                  </a:cubicBezTo>
                  <a:cubicBezTo>
                    <a:pt x="136" y="26"/>
                    <a:pt x="137" y="27"/>
                    <a:pt x="135" y="29"/>
                  </a:cubicBezTo>
                  <a:cubicBezTo>
                    <a:pt x="132" y="30"/>
                    <a:pt x="132" y="32"/>
                    <a:pt x="135" y="36"/>
                  </a:cubicBezTo>
                  <a:cubicBezTo>
                    <a:pt x="138" y="39"/>
                    <a:pt x="134" y="39"/>
                    <a:pt x="131" y="37"/>
                  </a:cubicBezTo>
                  <a:cubicBezTo>
                    <a:pt x="128" y="34"/>
                    <a:pt x="126" y="34"/>
                    <a:pt x="126" y="37"/>
                  </a:cubicBezTo>
                  <a:cubicBezTo>
                    <a:pt x="126" y="40"/>
                    <a:pt x="123" y="39"/>
                    <a:pt x="123" y="35"/>
                  </a:cubicBezTo>
                  <a:cubicBezTo>
                    <a:pt x="124" y="32"/>
                    <a:pt x="120" y="33"/>
                    <a:pt x="119" y="31"/>
                  </a:cubicBezTo>
                  <a:cubicBezTo>
                    <a:pt x="118" y="29"/>
                    <a:pt x="114" y="26"/>
                    <a:pt x="112" y="26"/>
                  </a:cubicBezTo>
                  <a:cubicBezTo>
                    <a:pt x="110" y="27"/>
                    <a:pt x="110" y="29"/>
                    <a:pt x="107" y="29"/>
                  </a:cubicBezTo>
                  <a:cubicBezTo>
                    <a:pt x="105" y="29"/>
                    <a:pt x="105" y="30"/>
                    <a:pt x="105" y="33"/>
                  </a:cubicBezTo>
                  <a:cubicBezTo>
                    <a:pt x="105" y="35"/>
                    <a:pt x="101" y="33"/>
                    <a:pt x="99" y="33"/>
                  </a:cubicBezTo>
                  <a:cubicBezTo>
                    <a:pt x="96" y="33"/>
                    <a:pt x="99" y="36"/>
                    <a:pt x="97" y="37"/>
                  </a:cubicBezTo>
                  <a:cubicBezTo>
                    <a:pt x="96" y="37"/>
                    <a:pt x="96" y="39"/>
                    <a:pt x="94" y="39"/>
                  </a:cubicBezTo>
                  <a:cubicBezTo>
                    <a:pt x="91" y="39"/>
                    <a:pt x="92" y="44"/>
                    <a:pt x="92" y="47"/>
                  </a:cubicBezTo>
                  <a:cubicBezTo>
                    <a:pt x="92" y="50"/>
                    <a:pt x="88" y="46"/>
                    <a:pt x="86" y="47"/>
                  </a:cubicBezTo>
                  <a:cubicBezTo>
                    <a:pt x="84" y="47"/>
                    <a:pt x="87" y="50"/>
                    <a:pt x="87" y="53"/>
                  </a:cubicBezTo>
                  <a:cubicBezTo>
                    <a:pt x="88" y="56"/>
                    <a:pt x="86" y="55"/>
                    <a:pt x="85" y="57"/>
                  </a:cubicBezTo>
                  <a:cubicBezTo>
                    <a:pt x="84" y="58"/>
                    <a:pt x="82" y="53"/>
                    <a:pt x="82" y="51"/>
                  </a:cubicBezTo>
                  <a:cubicBezTo>
                    <a:pt x="82" y="48"/>
                    <a:pt x="79" y="50"/>
                    <a:pt x="75" y="54"/>
                  </a:cubicBezTo>
                  <a:cubicBezTo>
                    <a:pt x="72" y="57"/>
                    <a:pt x="76" y="62"/>
                    <a:pt x="75" y="63"/>
                  </a:cubicBezTo>
                  <a:cubicBezTo>
                    <a:pt x="74" y="64"/>
                    <a:pt x="67" y="70"/>
                    <a:pt x="63" y="75"/>
                  </a:cubicBezTo>
                  <a:cubicBezTo>
                    <a:pt x="60" y="79"/>
                    <a:pt x="52" y="77"/>
                    <a:pt x="49" y="79"/>
                  </a:cubicBezTo>
                  <a:cubicBezTo>
                    <a:pt x="47" y="81"/>
                    <a:pt x="44" y="79"/>
                    <a:pt x="41" y="81"/>
                  </a:cubicBezTo>
                  <a:cubicBezTo>
                    <a:pt x="39" y="83"/>
                    <a:pt x="34" y="87"/>
                    <a:pt x="34" y="85"/>
                  </a:cubicBezTo>
                  <a:cubicBezTo>
                    <a:pt x="33" y="82"/>
                    <a:pt x="27" y="84"/>
                    <a:pt x="24" y="87"/>
                  </a:cubicBezTo>
                  <a:cubicBezTo>
                    <a:pt x="21" y="90"/>
                    <a:pt x="17" y="92"/>
                    <a:pt x="14" y="92"/>
                  </a:cubicBezTo>
                  <a:cubicBezTo>
                    <a:pt x="11" y="93"/>
                    <a:pt x="11" y="97"/>
                    <a:pt x="10" y="98"/>
                  </a:cubicBezTo>
                  <a:cubicBezTo>
                    <a:pt x="9" y="99"/>
                    <a:pt x="9" y="95"/>
                    <a:pt x="9" y="93"/>
                  </a:cubicBezTo>
                  <a:cubicBezTo>
                    <a:pt x="9" y="92"/>
                    <a:pt x="6" y="95"/>
                    <a:pt x="5" y="99"/>
                  </a:cubicBezTo>
                  <a:cubicBezTo>
                    <a:pt x="4" y="103"/>
                    <a:pt x="8" y="104"/>
                    <a:pt x="5" y="108"/>
                  </a:cubicBezTo>
                  <a:cubicBezTo>
                    <a:pt x="3" y="112"/>
                    <a:pt x="0" y="116"/>
                    <a:pt x="4" y="121"/>
                  </a:cubicBezTo>
                  <a:cubicBezTo>
                    <a:pt x="8" y="126"/>
                    <a:pt x="10" y="129"/>
                    <a:pt x="8" y="132"/>
                  </a:cubicBezTo>
                  <a:cubicBezTo>
                    <a:pt x="7" y="134"/>
                    <a:pt x="5" y="127"/>
                    <a:pt x="4" y="128"/>
                  </a:cubicBezTo>
                  <a:cubicBezTo>
                    <a:pt x="3" y="129"/>
                    <a:pt x="7" y="132"/>
                    <a:pt x="6" y="133"/>
                  </a:cubicBezTo>
                  <a:cubicBezTo>
                    <a:pt x="5" y="135"/>
                    <a:pt x="1" y="127"/>
                    <a:pt x="0" y="129"/>
                  </a:cubicBezTo>
                  <a:cubicBezTo>
                    <a:pt x="0" y="131"/>
                    <a:pt x="8" y="143"/>
                    <a:pt x="8" y="147"/>
                  </a:cubicBezTo>
                  <a:cubicBezTo>
                    <a:pt x="9" y="152"/>
                    <a:pt x="16" y="156"/>
                    <a:pt x="15" y="162"/>
                  </a:cubicBezTo>
                  <a:cubicBezTo>
                    <a:pt x="15" y="169"/>
                    <a:pt x="21" y="179"/>
                    <a:pt x="22" y="181"/>
                  </a:cubicBezTo>
                  <a:cubicBezTo>
                    <a:pt x="23" y="182"/>
                    <a:pt x="20" y="187"/>
                    <a:pt x="21" y="192"/>
                  </a:cubicBezTo>
                  <a:cubicBezTo>
                    <a:pt x="21" y="196"/>
                    <a:pt x="19" y="198"/>
                    <a:pt x="16" y="198"/>
                  </a:cubicBezTo>
                  <a:cubicBezTo>
                    <a:pt x="13" y="198"/>
                    <a:pt x="15" y="203"/>
                    <a:pt x="18" y="203"/>
                  </a:cubicBezTo>
                  <a:cubicBezTo>
                    <a:pt x="21" y="204"/>
                    <a:pt x="20" y="206"/>
                    <a:pt x="24" y="209"/>
                  </a:cubicBezTo>
                  <a:cubicBezTo>
                    <a:pt x="28" y="211"/>
                    <a:pt x="37" y="210"/>
                    <a:pt x="40" y="210"/>
                  </a:cubicBezTo>
                  <a:cubicBezTo>
                    <a:pt x="43" y="210"/>
                    <a:pt x="44" y="206"/>
                    <a:pt x="48" y="205"/>
                  </a:cubicBezTo>
                  <a:cubicBezTo>
                    <a:pt x="52" y="205"/>
                    <a:pt x="51" y="204"/>
                    <a:pt x="53" y="202"/>
                  </a:cubicBezTo>
                  <a:cubicBezTo>
                    <a:pt x="55" y="199"/>
                    <a:pt x="65" y="200"/>
                    <a:pt x="74" y="200"/>
                  </a:cubicBezTo>
                  <a:cubicBezTo>
                    <a:pt x="84" y="201"/>
                    <a:pt x="88" y="198"/>
                    <a:pt x="89" y="194"/>
                  </a:cubicBezTo>
                  <a:cubicBezTo>
                    <a:pt x="90" y="191"/>
                    <a:pt x="97" y="190"/>
                    <a:pt x="100" y="188"/>
                  </a:cubicBezTo>
                  <a:cubicBezTo>
                    <a:pt x="102" y="185"/>
                    <a:pt x="105" y="185"/>
                    <a:pt x="112" y="186"/>
                  </a:cubicBezTo>
                  <a:cubicBezTo>
                    <a:pt x="119" y="186"/>
                    <a:pt x="125" y="182"/>
                    <a:pt x="130" y="180"/>
                  </a:cubicBezTo>
                  <a:cubicBezTo>
                    <a:pt x="134" y="179"/>
                    <a:pt x="142" y="179"/>
                    <a:pt x="146" y="178"/>
                  </a:cubicBezTo>
                  <a:cubicBezTo>
                    <a:pt x="151" y="177"/>
                    <a:pt x="151" y="184"/>
                    <a:pt x="156" y="183"/>
                  </a:cubicBezTo>
                  <a:cubicBezTo>
                    <a:pt x="161" y="183"/>
                    <a:pt x="163" y="185"/>
                    <a:pt x="166" y="184"/>
                  </a:cubicBezTo>
                  <a:cubicBezTo>
                    <a:pt x="168" y="184"/>
                    <a:pt x="168" y="186"/>
                    <a:pt x="170" y="187"/>
                  </a:cubicBezTo>
                  <a:cubicBezTo>
                    <a:pt x="173" y="187"/>
                    <a:pt x="173" y="189"/>
                    <a:pt x="171" y="192"/>
                  </a:cubicBezTo>
                  <a:cubicBezTo>
                    <a:pt x="169" y="194"/>
                    <a:pt x="175" y="194"/>
                    <a:pt x="178" y="198"/>
                  </a:cubicBezTo>
                  <a:cubicBezTo>
                    <a:pt x="181" y="203"/>
                    <a:pt x="178" y="204"/>
                    <a:pt x="180" y="207"/>
                  </a:cubicBezTo>
                  <a:cubicBezTo>
                    <a:pt x="182" y="211"/>
                    <a:pt x="183" y="210"/>
                    <a:pt x="187" y="205"/>
                  </a:cubicBezTo>
                  <a:cubicBezTo>
                    <a:pt x="190" y="200"/>
                    <a:pt x="194" y="203"/>
                    <a:pt x="195" y="199"/>
                  </a:cubicBezTo>
                  <a:cubicBezTo>
                    <a:pt x="195" y="195"/>
                    <a:pt x="199" y="190"/>
                    <a:pt x="201" y="192"/>
                  </a:cubicBezTo>
                  <a:cubicBezTo>
                    <a:pt x="204" y="194"/>
                    <a:pt x="200" y="195"/>
                    <a:pt x="198" y="203"/>
                  </a:cubicBezTo>
                  <a:cubicBezTo>
                    <a:pt x="196" y="212"/>
                    <a:pt x="194" y="207"/>
                    <a:pt x="193" y="210"/>
                  </a:cubicBezTo>
                  <a:cubicBezTo>
                    <a:pt x="192" y="212"/>
                    <a:pt x="201" y="213"/>
                    <a:pt x="201" y="209"/>
                  </a:cubicBezTo>
                  <a:cubicBezTo>
                    <a:pt x="201" y="205"/>
                    <a:pt x="202" y="203"/>
                    <a:pt x="205" y="207"/>
                  </a:cubicBezTo>
                  <a:cubicBezTo>
                    <a:pt x="208" y="210"/>
                    <a:pt x="203" y="214"/>
                    <a:pt x="204" y="215"/>
                  </a:cubicBezTo>
                  <a:cubicBezTo>
                    <a:pt x="205" y="217"/>
                    <a:pt x="208" y="215"/>
                    <a:pt x="210" y="215"/>
                  </a:cubicBezTo>
                  <a:cubicBezTo>
                    <a:pt x="213" y="215"/>
                    <a:pt x="217" y="222"/>
                    <a:pt x="217" y="226"/>
                  </a:cubicBezTo>
                  <a:cubicBezTo>
                    <a:pt x="216" y="230"/>
                    <a:pt x="215" y="233"/>
                    <a:pt x="221" y="236"/>
                  </a:cubicBezTo>
                  <a:cubicBezTo>
                    <a:pt x="227" y="240"/>
                    <a:pt x="225" y="240"/>
                    <a:pt x="229" y="240"/>
                  </a:cubicBezTo>
                  <a:cubicBezTo>
                    <a:pt x="234" y="240"/>
                    <a:pt x="243" y="244"/>
                    <a:pt x="245" y="246"/>
                  </a:cubicBezTo>
                  <a:cubicBezTo>
                    <a:pt x="248" y="248"/>
                    <a:pt x="254" y="244"/>
                    <a:pt x="255" y="240"/>
                  </a:cubicBezTo>
                  <a:cubicBezTo>
                    <a:pt x="257" y="236"/>
                    <a:pt x="261" y="240"/>
                    <a:pt x="259" y="241"/>
                  </a:cubicBezTo>
                  <a:cubicBezTo>
                    <a:pt x="256" y="243"/>
                    <a:pt x="260" y="246"/>
                    <a:pt x="260" y="244"/>
                  </a:cubicBezTo>
                  <a:cubicBezTo>
                    <a:pt x="260" y="241"/>
                    <a:pt x="262" y="239"/>
                    <a:pt x="262" y="242"/>
                  </a:cubicBezTo>
                  <a:cubicBezTo>
                    <a:pt x="263" y="245"/>
                    <a:pt x="267" y="245"/>
                    <a:pt x="268" y="247"/>
                  </a:cubicBezTo>
                  <a:cubicBezTo>
                    <a:pt x="269" y="249"/>
                    <a:pt x="270" y="251"/>
                    <a:pt x="270" y="249"/>
                  </a:cubicBezTo>
                  <a:cubicBezTo>
                    <a:pt x="270" y="247"/>
                    <a:pt x="271" y="245"/>
                    <a:pt x="274" y="244"/>
                  </a:cubicBezTo>
                  <a:cubicBezTo>
                    <a:pt x="277" y="243"/>
                    <a:pt x="279" y="241"/>
                    <a:pt x="282" y="239"/>
                  </a:cubicBezTo>
                  <a:cubicBezTo>
                    <a:pt x="285" y="236"/>
                    <a:pt x="297" y="236"/>
                    <a:pt x="298" y="236"/>
                  </a:cubicBezTo>
                  <a:cubicBezTo>
                    <a:pt x="300" y="236"/>
                    <a:pt x="300" y="225"/>
                    <a:pt x="301" y="220"/>
                  </a:cubicBezTo>
                  <a:cubicBezTo>
                    <a:pt x="302" y="214"/>
                    <a:pt x="306" y="213"/>
                    <a:pt x="307" y="207"/>
                  </a:cubicBezTo>
                  <a:cubicBezTo>
                    <a:pt x="308" y="201"/>
                    <a:pt x="314" y="190"/>
                    <a:pt x="316" y="190"/>
                  </a:cubicBezTo>
                  <a:cubicBezTo>
                    <a:pt x="317" y="189"/>
                    <a:pt x="320" y="188"/>
                    <a:pt x="321" y="184"/>
                  </a:cubicBezTo>
                  <a:cubicBezTo>
                    <a:pt x="321" y="181"/>
                    <a:pt x="325" y="177"/>
                    <a:pt x="325" y="173"/>
                  </a:cubicBezTo>
                  <a:cubicBezTo>
                    <a:pt x="325" y="169"/>
                    <a:pt x="327" y="164"/>
                    <a:pt x="327" y="163"/>
                  </a:cubicBezTo>
                  <a:cubicBezTo>
                    <a:pt x="326" y="162"/>
                    <a:pt x="325" y="158"/>
                    <a:pt x="328" y="155"/>
                  </a:cubicBezTo>
                  <a:cubicBezTo>
                    <a:pt x="330" y="152"/>
                    <a:pt x="327" y="149"/>
                    <a:pt x="328" y="148"/>
                  </a:cubicBezTo>
                  <a:close/>
                  <a:moveTo>
                    <a:pt x="149" y="8"/>
                  </a:moveTo>
                  <a:cubicBezTo>
                    <a:pt x="149" y="6"/>
                    <a:pt x="136" y="8"/>
                    <a:pt x="139" y="11"/>
                  </a:cubicBezTo>
                  <a:cubicBezTo>
                    <a:pt x="141" y="12"/>
                    <a:pt x="150" y="10"/>
                    <a:pt x="149" y="8"/>
                  </a:cubicBezTo>
                  <a:close/>
                  <a:moveTo>
                    <a:pt x="189" y="219"/>
                  </a:moveTo>
                  <a:cubicBezTo>
                    <a:pt x="191" y="221"/>
                    <a:pt x="198" y="220"/>
                    <a:pt x="199" y="218"/>
                  </a:cubicBezTo>
                  <a:cubicBezTo>
                    <a:pt x="200" y="215"/>
                    <a:pt x="188" y="218"/>
                    <a:pt x="189" y="219"/>
                  </a:cubicBezTo>
                  <a:close/>
                  <a:moveTo>
                    <a:pt x="270" y="269"/>
                  </a:moveTo>
                  <a:cubicBezTo>
                    <a:pt x="265" y="269"/>
                    <a:pt x="258" y="264"/>
                    <a:pt x="256" y="265"/>
                  </a:cubicBezTo>
                  <a:cubicBezTo>
                    <a:pt x="254" y="265"/>
                    <a:pt x="263" y="278"/>
                    <a:pt x="260" y="281"/>
                  </a:cubicBezTo>
                  <a:cubicBezTo>
                    <a:pt x="258" y="284"/>
                    <a:pt x="267" y="293"/>
                    <a:pt x="271" y="293"/>
                  </a:cubicBezTo>
                  <a:cubicBezTo>
                    <a:pt x="274" y="294"/>
                    <a:pt x="273" y="290"/>
                    <a:pt x="275" y="290"/>
                  </a:cubicBezTo>
                  <a:cubicBezTo>
                    <a:pt x="278" y="290"/>
                    <a:pt x="277" y="288"/>
                    <a:pt x="277" y="286"/>
                  </a:cubicBezTo>
                  <a:cubicBezTo>
                    <a:pt x="277" y="284"/>
                    <a:pt x="280" y="288"/>
                    <a:pt x="282" y="287"/>
                  </a:cubicBezTo>
                  <a:cubicBezTo>
                    <a:pt x="284" y="286"/>
                    <a:pt x="281" y="278"/>
                    <a:pt x="284" y="278"/>
                  </a:cubicBezTo>
                  <a:cubicBezTo>
                    <a:pt x="287" y="278"/>
                    <a:pt x="285" y="269"/>
                    <a:pt x="284" y="266"/>
                  </a:cubicBezTo>
                  <a:cubicBezTo>
                    <a:pt x="283" y="263"/>
                    <a:pt x="275" y="268"/>
                    <a:pt x="270" y="269"/>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216" name="Freeform 159">
              <a:extLst>
                <a:ext uri="{FF2B5EF4-FFF2-40B4-BE49-F238E27FC236}">
                  <a16:creationId xmlns:a16="http://schemas.microsoft.com/office/drawing/2014/main" xmlns="" id="{3AED65F1-C769-4FAD-A8FB-8B54E4C35269}"/>
                </a:ext>
              </a:extLst>
            </p:cNvPr>
            <p:cNvSpPr>
              <a:spLocks noEditPoints="1"/>
            </p:cNvSpPr>
            <p:nvPr/>
          </p:nvSpPr>
          <p:spPr bwMode="auto">
            <a:xfrm>
              <a:off x="19797934" y="4763166"/>
              <a:ext cx="263525" cy="312737"/>
            </a:xfrm>
            <a:custGeom>
              <a:avLst/>
              <a:gdLst>
                <a:gd name="T0" fmla="*/ 62 w 101"/>
                <a:gd name="T1" fmla="*/ 58 h 120"/>
                <a:gd name="T2" fmla="*/ 56 w 101"/>
                <a:gd name="T3" fmla="*/ 60 h 120"/>
                <a:gd name="T4" fmla="*/ 48 w 101"/>
                <a:gd name="T5" fmla="*/ 57 h 120"/>
                <a:gd name="T6" fmla="*/ 44 w 101"/>
                <a:gd name="T7" fmla="*/ 64 h 120"/>
                <a:gd name="T8" fmla="*/ 37 w 101"/>
                <a:gd name="T9" fmla="*/ 75 h 120"/>
                <a:gd name="T10" fmla="*/ 15 w 101"/>
                <a:gd name="T11" fmla="*/ 90 h 120"/>
                <a:gd name="T12" fmla="*/ 5 w 101"/>
                <a:gd name="T13" fmla="*/ 99 h 120"/>
                <a:gd name="T14" fmla="*/ 3 w 101"/>
                <a:gd name="T15" fmla="*/ 108 h 120"/>
                <a:gd name="T16" fmla="*/ 10 w 101"/>
                <a:gd name="T17" fmla="*/ 111 h 120"/>
                <a:gd name="T18" fmla="*/ 16 w 101"/>
                <a:gd name="T19" fmla="*/ 114 h 120"/>
                <a:gd name="T20" fmla="*/ 31 w 101"/>
                <a:gd name="T21" fmla="*/ 110 h 120"/>
                <a:gd name="T22" fmla="*/ 36 w 101"/>
                <a:gd name="T23" fmla="*/ 101 h 120"/>
                <a:gd name="T24" fmla="*/ 40 w 101"/>
                <a:gd name="T25" fmla="*/ 93 h 120"/>
                <a:gd name="T26" fmla="*/ 49 w 101"/>
                <a:gd name="T27" fmla="*/ 87 h 120"/>
                <a:gd name="T28" fmla="*/ 52 w 101"/>
                <a:gd name="T29" fmla="*/ 83 h 120"/>
                <a:gd name="T30" fmla="*/ 57 w 101"/>
                <a:gd name="T31" fmla="*/ 75 h 120"/>
                <a:gd name="T32" fmla="*/ 63 w 101"/>
                <a:gd name="T33" fmla="*/ 65 h 120"/>
                <a:gd name="T34" fmla="*/ 62 w 101"/>
                <a:gd name="T35" fmla="*/ 58 h 120"/>
                <a:gd name="T36" fmla="*/ 11 w 101"/>
                <a:gd name="T37" fmla="*/ 120 h 120"/>
                <a:gd name="T38" fmla="*/ 14 w 101"/>
                <a:gd name="T39" fmla="*/ 116 h 120"/>
                <a:gd name="T40" fmla="*/ 11 w 101"/>
                <a:gd name="T41" fmla="*/ 120 h 120"/>
                <a:gd name="T42" fmla="*/ 91 w 101"/>
                <a:gd name="T43" fmla="*/ 29 h 120"/>
                <a:gd name="T44" fmla="*/ 83 w 101"/>
                <a:gd name="T45" fmla="*/ 29 h 120"/>
                <a:gd name="T46" fmla="*/ 79 w 101"/>
                <a:gd name="T47" fmla="*/ 24 h 120"/>
                <a:gd name="T48" fmla="*/ 75 w 101"/>
                <a:gd name="T49" fmla="*/ 17 h 120"/>
                <a:gd name="T50" fmla="*/ 75 w 101"/>
                <a:gd name="T51" fmla="*/ 22 h 120"/>
                <a:gd name="T52" fmla="*/ 72 w 101"/>
                <a:gd name="T53" fmla="*/ 20 h 120"/>
                <a:gd name="T54" fmla="*/ 69 w 101"/>
                <a:gd name="T55" fmla="*/ 15 h 120"/>
                <a:gd name="T56" fmla="*/ 66 w 101"/>
                <a:gd name="T57" fmla="*/ 8 h 120"/>
                <a:gd name="T58" fmla="*/ 56 w 101"/>
                <a:gd name="T59" fmla="*/ 0 h 120"/>
                <a:gd name="T60" fmla="*/ 58 w 101"/>
                <a:gd name="T61" fmla="*/ 9 h 120"/>
                <a:gd name="T62" fmla="*/ 64 w 101"/>
                <a:gd name="T63" fmla="*/ 14 h 120"/>
                <a:gd name="T64" fmla="*/ 68 w 101"/>
                <a:gd name="T65" fmla="*/ 21 h 120"/>
                <a:gd name="T66" fmla="*/ 67 w 101"/>
                <a:gd name="T67" fmla="*/ 33 h 120"/>
                <a:gd name="T68" fmla="*/ 61 w 101"/>
                <a:gd name="T69" fmla="*/ 40 h 120"/>
                <a:gd name="T70" fmla="*/ 71 w 101"/>
                <a:gd name="T71" fmla="*/ 50 h 120"/>
                <a:gd name="T72" fmla="*/ 69 w 101"/>
                <a:gd name="T73" fmla="*/ 63 h 120"/>
                <a:gd name="T74" fmla="*/ 76 w 101"/>
                <a:gd name="T75" fmla="*/ 64 h 120"/>
                <a:gd name="T76" fmla="*/ 85 w 101"/>
                <a:gd name="T77" fmla="*/ 51 h 120"/>
                <a:gd name="T78" fmla="*/ 88 w 101"/>
                <a:gd name="T79" fmla="*/ 43 h 120"/>
                <a:gd name="T80" fmla="*/ 93 w 101"/>
                <a:gd name="T81" fmla="*/ 41 h 120"/>
                <a:gd name="T82" fmla="*/ 96 w 101"/>
                <a:gd name="T83" fmla="*/ 36 h 120"/>
                <a:gd name="T84" fmla="*/ 99 w 101"/>
                <a:gd name="T85" fmla="*/ 29 h 120"/>
                <a:gd name="T86" fmla="*/ 91 w 101"/>
                <a:gd name="T87" fmla="*/ 29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 h="120">
                  <a:moveTo>
                    <a:pt x="62" y="58"/>
                  </a:moveTo>
                  <a:cubicBezTo>
                    <a:pt x="60" y="56"/>
                    <a:pt x="59" y="59"/>
                    <a:pt x="56" y="60"/>
                  </a:cubicBezTo>
                  <a:cubicBezTo>
                    <a:pt x="53" y="61"/>
                    <a:pt x="51" y="54"/>
                    <a:pt x="48" y="57"/>
                  </a:cubicBezTo>
                  <a:cubicBezTo>
                    <a:pt x="45" y="60"/>
                    <a:pt x="48" y="61"/>
                    <a:pt x="44" y="64"/>
                  </a:cubicBezTo>
                  <a:cubicBezTo>
                    <a:pt x="40" y="67"/>
                    <a:pt x="42" y="68"/>
                    <a:pt x="37" y="75"/>
                  </a:cubicBezTo>
                  <a:cubicBezTo>
                    <a:pt x="33" y="82"/>
                    <a:pt x="17" y="86"/>
                    <a:pt x="15" y="90"/>
                  </a:cubicBezTo>
                  <a:cubicBezTo>
                    <a:pt x="13" y="93"/>
                    <a:pt x="5" y="97"/>
                    <a:pt x="5" y="99"/>
                  </a:cubicBezTo>
                  <a:cubicBezTo>
                    <a:pt x="5" y="102"/>
                    <a:pt x="0" y="104"/>
                    <a:pt x="3" y="108"/>
                  </a:cubicBezTo>
                  <a:cubicBezTo>
                    <a:pt x="5" y="111"/>
                    <a:pt x="8" y="109"/>
                    <a:pt x="10" y="111"/>
                  </a:cubicBezTo>
                  <a:cubicBezTo>
                    <a:pt x="12" y="114"/>
                    <a:pt x="15" y="112"/>
                    <a:pt x="16" y="114"/>
                  </a:cubicBezTo>
                  <a:cubicBezTo>
                    <a:pt x="17" y="116"/>
                    <a:pt x="25" y="116"/>
                    <a:pt x="31" y="110"/>
                  </a:cubicBezTo>
                  <a:cubicBezTo>
                    <a:pt x="37" y="105"/>
                    <a:pt x="34" y="102"/>
                    <a:pt x="36" y="101"/>
                  </a:cubicBezTo>
                  <a:cubicBezTo>
                    <a:pt x="38" y="100"/>
                    <a:pt x="39" y="95"/>
                    <a:pt x="40" y="93"/>
                  </a:cubicBezTo>
                  <a:cubicBezTo>
                    <a:pt x="42" y="90"/>
                    <a:pt x="43" y="87"/>
                    <a:pt x="49" y="87"/>
                  </a:cubicBezTo>
                  <a:cubicBezTo>
                    <a:pt x="55" y="87"/>
                    <a:pt x="52" y="86"/>
                    <a:pt x="52" y="83"/>
                  </a:cubicBezTo>
                  <a:cubicBezTo>
                    <a:pt x="51" y="80"/>
                    <a:pt x="57" y="79"/>
                    <a:pt x="57" y="75"/>
                  </a:cubicBezTo>
                  <a:cubicBezTo>
                    <a:pt x="57" y="71"/>
                    <a:pt x="65" y="68"/>
                    <a:pt x="63" y="65"/>
                  </a:cubicBezTo>
                  <a:cubicBezTo>
                    <a:pt x="62" y="62"/>
                    <a:pt x="65" y="60"/>
                    <a:pt x="62" y="58"/>
                  </a:cubicBezTo>
                  <a:close/>
                  <a:moveTo>
                    <a:pt x="11" y="120"/>
                  </a:moveTo>
                  <a:cubicBezTo>
                    <a:pt x="12" y="120"/>
                    <a:pt x="16" y="119"/>
                    <a:pt x="14" y="116"/>
                  </a:cubicBezTo>
                  <a:cubicBezTo>
                    <a:pt x="11" y="113"/>
                    <a:pt x="8" y="119"/>
                    <a:pt x="11" y="120"/>
                  </a:cubicBezTo>
                  <a:close/>
                  <a:moveTo>
                    <a:pt x="91" y="29"/>
                  </a:moveTo>
                  <a:cubicBezTo>
                    <a:pt x="90" y="32"/>
                    <a:pt x="87" y="29"/>
                    <a:pt x="83" y="29"/>
                  </a:cubicBezTo>
                  <a:cubicBezTo>
                    <a:pt x="80" y="29"/>
                    <a:pt x="79" y="27"/>
                    <a:pt x="79" y="24"/>
                  </a:cubicBezTo>
                  <a:cubicBezTo>
                    <a:pt x="79" y="21"/>
                    <a:pt x="78" y="17"/>
                    <a:pt x="75" y="17"/>
                  </a:cubicBezTo>
                  <a:cubicBezTo>
                    <a:pt x="72" y="18"/>
                    <a:pt x="76" y="21"/>
                    <a:pt x="75" y="22"/>
                  </a:cubicBezTo>
                  <a:cubicBezTo>
                    <a:pt x="74" y="23"/>
                    <a:pt x="73" y="20"/>
                    <a:pt x="72" y="20"/>
                  </a:cubicBezTo>
                  <a:cubicBezTo>
                    <a:pt x="70" y="20"/>
                    <a:pt x="69" y="18"/>
                    <a:pt x="69" y="15"/>
                  </a:cubicBezTo>
                  <a:cubicBezTo>
                    <a:pt x="69" y="11"/>
                    <a:pt x="66" y="12"/>
                    <a:pt x="66" y="8"/>
                  </a:cubicBezTo>
                  <a:cubicBezTo>
                    <a:pt x="66" y="3"/>
                    <a:pt x="59" y="0"/>
                    <a:pt x="56" y="0"/>
                  </a:cubicBezTo>
                  <a:cubicBezTo>
                    <a:pt x="52" y="0"/>
                    <a:pt x="56" y="7"/>
                    <a:pt x="58" y="9"/>
                  </a:cubicBezTo>
                  <a:cubicBezTo>
                    <a:pt x="60" y="11"/>
                    <a:pt x="64" y="13"/>
                    <a:pt x="64" y="14"/>
                  </a:cubicBezTo>
                  <a:cubicBezTo>
                    <a:pt x="64" y="16"/>
                    <a:pt x="66" y="20"/>
                    <a:pt x="68" y="21"/>
                  </a:cubicBezTo>
                  <a:cubicBezTo>
                    <a:pt x="71" y="22"/>
                    <a:pt x="67" y="28"/>
                    <a:pt x="67" y="33"/>
                  </a:cubicBezTo>
                  <a:cubicBezTo>
                    <a:pt x="67" y="38"/>
                    <a:pt x="63" y="37"/>
                    <a:pt x="61" y="40"/>
                  </a:cubicBezTo>
                  <a:cubicBezTo>
                    <a:pt x="58" y="43"/>
                    <a:pt x="67" y="47"/>
                    <a:pt x="71" y="50"/>
                  </a:cubicBezTo>
                  <a:cubicBezTo>
                    <a:pt x="75" y="53"/>
                    <a:pt x="68" y="61"/>
                    <a:pt x="69" y="63"/>
                  </a:cubicBezTo>
                  <a:cubicBezTo>
                    <a:pt x="70" y="64"/>
                    <a:pt x="72" y="65"/>
                    <a:pt x="76" y="64"/>
                  </a:cubicBezTo>
                  <a:cubicBezTo>
                    <a:pt x="80" y="63"/>
                    <a:pt x="82" y="54"/>
                    <a:pt x="85" y="51"/>
                  </a:cubicBezTo>
                  <a:cubicBezTo>
                    <a:pt x="88" y="49"/>
                    <a:pt x="86" y="45"/>
                    <a:pt x="88" y="43"/>
                  </a:cubicBezTo>
                  <a:cubicBezTo>
                    <a:pt x="89" y="41"/>
                    <a:pt x="91" y="41"/>
                    <a:pt x="93" y="41"/>
                  </a:cubicBezTo>
                  <a:cubicBezTo>
                    <a:pt x="95" y="41"/>
                    <a:pt x="94" y="36"/>
                    <a:pt x="96" y="36"/>
                  </a:cubicBezTo>
                  <a:cubicBezTo>
                    <a:pt x="99" y="36"/>
                    <a:pt x="98" y="33"/>
                    <a:pt x="99" y="29"/>
                  </a:cubicBezTo>
                  <a:cubicBezTo>
                    <a:pt x="101" y="25"/>
                    <a:pt x="93" y="27"/>
                    <a:pt x="91" y="29"/>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217" name="Freeform 160">
              <a:extLst>
                <a:ext uri="{FF2B5EF4-FFF2-40B4-BE49-F238E27FC236}">
                  <a16:creationId xmlns:a16="http://schemas.microsoft.com/office/drawing/2014/main" xmlns="" id="{DAE8939C-82A8-4287-ACCB-49A94EC84FB9}"/>
                </a:ext>
              </a:extLst>
            </p:cNvPr>
            <p:cNvSpPr>
              <a:spLocks noEditPoints="1"/>
            </p:cNvSpPr>
            <p:nvPr/>
          </p:nvSpPr>
          <p:spPr bwMode="auto">
            <a:xfrm>
              <a:off x="20026534" y="4339304"/>
              <a:ext cx="58738" cy="49212"/>
            </a:xfrm>
            <a:custGeom>
              <a:avLst/>
              <a:gdLst>
                <a:gd name="T0" fmla="*/ 3 w 22"/>
                <a:gd name="T1" fmla="*/ 16 h 19"/>
                <a:gd name="T2" fmla="*/ 12 w 22"/>
                <a:gd name="T3" fmla="*/ 14 h 19"/>
                <a:gd name="T4" fmla="*/ 3 w 22"/>
                <a:gd name="T5" fmla="*/ 16 h 19"/>
                <a:gd name="T6" fmla="*/ 14 w 22"/>
                <a:gd name="T7" fmla="*/ 7 h 19"/>
                <a:gd name="T8" fmla="*/ 22 w 22"/>
                <a:gd name="T9" fmla="*/ 3 h 19"/>
                <a:gd name="T10" fmla="*/ 14 w 22"/>
                <a:gd name="T11" fmla="*/ 7 h 19"/>
              </a:gdLst>
              <a:ahLst/>
              <a:cxnLst>
                <a:cxn ang="0">
                  <a:pos x="T0" y="T1"/>
                </a:cxn>
                <a:cxn ang="0">
                  <a:pos x="T2" y="T3"/>
                </a:cxn>
                <a:cxn ang="0">
                  <a:pos x="T4" y="T5"/>
                </a:cxn>
                <a:cxn ang="0">
                  <a:pos x="T6" y="T7"/>
                </a:cxn>
                <a:cxn ang="0">
                  <a:pos x="T8" y="T9"/>
                </a:cxn>
                <a:cxn ang="0">
                  <a:pos x="T10" y="T11"/>
                </a:cxn>
              </a:cxnLst>
              <a:rect l="0" t="0" r="r" b="b"/>
              <a:pathLst>
                <a:path w="22" h="19">
                  <a:moveTo>
                    <a:pt x="3" y="16"/>
                  </a:moveTo>
                  <a:cubicBezTo>
                    <a:pt x="6" y="19"/>
                    <a:pt x="12" y="19"/>
                    <a:pt x="12" y="14"/>
                  </a:cubicBezTo>
                  <a:cubicBezTo>
                    <a:pt x="12" y="9"/>
                    <a:pt x="0" y="14"/>
                    <a:pt x="3" y="16"/>
                  </a:cubicBezTo>
                  <a:close/>
                  <a:moveTo>
                    <a:pt x="14" y="7"/>
                  </a:moveTo>
                  <a:cubicBezTo>
                    <a:pt x="16" y="8"/>
                    <a:pt x="22" y="6"/>
                    <a:pt x="22" y="3"/>
                  </a:cubicBezTo>
                  <a:cubicBezTo>
                    <a:pt x="22" y="0"/>
                    <a:pt x="11" y="6"/>
                    <a:pt x="14" y="7"/>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218" name="Freeform 161">
              <a:extLst>
                <a:ext uri="{FF2B5EF4-FFF2-40B4-BE49-F238E27FC236}">
                  <a16:creationId xmlns:a16="http://schemas.microsoft.com/office/drawing/2014/main" xmlns="" id="{3BA98BDF-871C-449F-9EAE-402AAE098D7D}"/>
                </a:ext>
              </a:extLst>
            </p:cNvPr>
            <p:cNvSpPr>
              <a:spLocks/>
            </p:cNvSpPr>
            <p:nvPr/>
          </p:nvSpPr>
          <p:spPr bwMode="auto">
            <a:xfrm>
              <a:off x="17427797" y="3021679"/>
              <a:ext cx="300038" cy="192087"/>
            </a:xfrm>
            <a:custGeom>
              <a:avLst/>
              <a:gdLst>
                <a:gd name="T0" fmla="*/ 114 w 115"/>
                <a:gd name="T1" fmla="*/ 46 h 73"/>
                <a:gd name="T2" fmla="*/ 107 w 115"/>
                <a:gd name="T3" fmla="*/ 44 h 73"/>
                <a:gd name="T4" fmla="*/ 99 w 115"/>
                <a:gd name="T5" fmla="*/ 38 h 73"/>
                <a:gd name="T6" fmla="*/ 90 w 115"/>
                <a:gd name="T7" fmla="*/ 33 h 73"/>
                <a:gd name="T8" fmla="*/ 82 w 115"/>
                <a:gd name="T9" fmla="*/ 27 h 73"/>
                <a:gd name="T10" fmla="*/ 78 w 115"/>
                <a:gd name="T11" fmla="*/ 20 h 73"/>
                <a:gd name="T12" fmla="*/ 75 w 115"/>
                <a:gd name="T13" fmla="*/ 15 h 73"/>
                <a:gd name="T14" fmla="*/ 63 w 115"/>
                <a:gd name="T15" fmla="*/ 14 h 73"/>
                <a:gd name="T16" fmla="*/ 60 w 115"/>
                <a:gd name="T17" fmla="*/ 5 h 73"/>
                <a:gd name="T18" fmla="*/ 54 w 115"/>
                <a:gd name="T19" fmla="*/ 3 h 73"/>
                <a:gd name="T20" fmla="*/ 48 w 115"/>
                <a:gd name="T21" fmla="*/ 2 h 73"/>
                <a:gd name="T22" fmla="*/ 45 w 115"/>
                <a:gd name="T23" fmla="*/ 3 h 73"/>
                <a:gd name="T24" fmla="*/ 42 w 115"/>
                <a:gd name="T25" fmla="*/ 6 h 73"/>
                <a:gd name="T26" fmla="*/ 36 w 115"/>
                <a:gd name="T27" fmla="*/ 11 h 73"/>
                <a:gd name="T28" fmla="*/ 33 w 115"/>
                <a:gd name="T29" fmla="*/ 14 h 73"/>
                <a:gd name="T30" fmla="*/ 28 w 115"/>
                <a:gd name="T31" fmla="*/ 13 h 73"/>
                <a:gd name="T32" fmla="*/ 22 w 115"/>
                <a:gd name="T33" fmla="*/ 12 h 73"/>
                <a:gd name="T34" fmla="*/ 12 w 115"/>
                <a:gd name="T35" fmla="*/ 4 h 73"/>
                <a:gd name="T36" fmla="*/ 4 w 115"/>
                <a:gd name="T37" fmla="*/ 9 h 73"/>
                <a:gd name="T38" fmla="*/ 8 w 115"/>
                <a:gd name="T39" fmla="*/ 7 h 73"/>
                <a:gd name="T40" fmla="*/ 14 w 115"/>
                <a:gd name="T41" fmla="*/ 14 h 73"/>
                <a:gd name="T42" fmla="*/ 18 w 115"/>
                <a:gd name="T43" fmla="*/ 19 h 73"/>
                <a:gd name="T44" fmla="*/ 10 w 115"/>
                <a:gd name="T45" fmla="*/ 21 h 73"/>
                <a:gd name="T46" fmla="*/ 2 w 115"/>
                <a:gd name="T47" fmla="*/ 21 h 73"/>
                <a:gd name="T48" fmla="*/ 4 w 115"/>
                <a:gd name="T49" fmla="*/ 28 h 73"/>
                <a:gd name="T50" fmla="*/ 4 w 115"/>
                <a:gd name="T51" fmla="*/ 33 h 73"/>
                <a:gd name="T52" fmla="*/ 9 w 115"/>
                <a:gd name="T53" fmla="*/ 34 h 73"/>
                <a:gd name="T54" fmla="*/ 11 w 115"/>
                <a:gd name="T55" fmla="*/ 41 h 73"/>
                <a:gd name="T56" fmla="*/ 11 w 115"/>
                <a:gd name="T57" fmla="*/ 52 h 73"/>
                <a:gd name="T58" fmla="*/ 17 w 115"/>
                <a:gd name="T59" fmla="*/ 50 h 73"/>
                <a:gd name="T60" fmla="*/ 24 w 115"/>
                <a:gd name="T61" fmla="*/ 45 h 73"/>
                <a:gd name="T62" fmla="*/ 30 w 115"/>
                <a:gd name="T63" fmla="*/ 45 h 73"/>
                <a:gd name="T64" fmla="*/ 39 w 115"/>
                <a:gd name="T65" fmla="*/ 45 h 73"/>
                <a:gd name="T66" fmla="*/ 45 w 115"/>
                <a:gd name="T67" fmla="*/ 48 h 73"/>
                <a:gd name="T68" fmla="*/ 49 w 115"/>
                <a:gd name="T69" fmla="*/ 49 h 73"/>
                <a:gd name="T70" fmla="*/ 56 w 115"/>
                <a:gd name="T71" fmla="*/ 52 h 73"/>
                <a:gd name="T72" fmla="*/ 60 w 115"/>
                <a:gd name="T73" fmla="*/ 54 h 73"/>
                <a:gd name="T74" fmla="*/ 65 w 115"/>
                <a:gd name="T75" fmla="*/ 59 h 73"/>
                <a:gd name="T76" fmla="*/ 71 w 115"/>
                <a:gd name="T77" fmla="*/ 60 h 73"/>
                <a:gd name="T78" fmla="*/ 72 w 115"/>
                <a:gd name="T79" fmla="*/ 70 h 73"/>
                <a:gd name="T80" fmla="*/ 74 w 115"/>
                <a:gd name="T81" fmla="*/ 70 h 73"/>
                <a:gd name="T82" fmla="*/ 80 w 115"/>
                <a:gd name="T83" fmla="*/ 71 h 73"/>
                <a:gd name="T84" fmla="*/ 87 w 115"/>
                <a:gd name="T85" fmla="*/ 69 h 73"/>
                <a:gd name="T86" fmla="*/ 98 w 115"/>
                <a:gd name="T87" fmla="*/ 62 h 73"/>
                <a:gd name="T88" fmla="*/ 103 w 115"/>
                <a:gd name="T89" fmla="*/ 54 h 73"/>
                <a:gd name="T90" fmla="*/ 109 w 115"/>
                <a:gd name="T91" fmla="*/ 50 h 73"/>
                <a:gd name="T92" fmla="*/ 115 w 115"/>
                <a:gd name="T93" fmla="*/ 52 h 73"/>
                <a:gd name="T94" fmla="*/ 114 w 115"/>
                <a:gd name="T95" fmla="*/ 4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5" h="73">
                  <a:moveTo>
                    <a:pt x="114" y="46"/>
                  </a:moveTo>
                  <a:cubicBezTo>
                    <a:pt x="114" y="46"/>
                    <a:pt x="109" y="44"/>
                    <a:pt x="107" y="44"/>
                  </a:cubicBezTo>
                  <a:cubicBezTo>
                    <a:pt x="105" y="44"/>
                    <a:pt x="102" y="40"/>
                    <a:pt x="99" y="38"/>
                  </a:cubicBezTo>
                  <a:cubicBezTo>
                    <a:pt x="96" y="37"/>
                    <a:pt x="91" y="35"/>
                    <a:pt x="90" y="33"/>
                  </a:cubicBezTo>
                  <a:cubicBezTo>
                    <a:pt x="88" y="31"/>
                    <a:pt x="82" y="29"/>
                    <a:pt x="82" y="27"/>
                  </a:cubicBezTo>
                  <a:cubicBezTo>
                    <a:pt x="81" y="25"/>
                    <a:pt x="80" y="23"/>
                    <a:pt x="78" y="20"/>
                  </a:cubicBezTo>
                  <a:cubicBezTo>
                    <a:pt x="76" y="18"/>
                    <a:pt x="76" y="15"/>
                    <a:pt x="75" y="15"/>
                  </a:cubicBezTo>
                  <a:cubicBezTo>
                    <a:pt x="73" y="15"/>
                    <a:pt x="63" y="15"/>
                    <a:pt x="63" y="14"/>
                  </a:cubicBezTo>
                  <a:cubicBezTo>
                    <a:pt x="63" y="12"/>
                    <a:pt x="62" y="6"/>
                    <a:pt x="60" y="5"/>
                  </a:cubicBezTo>
                  <a:cubicBezTo>
                    <a:pt x="58" y="5"/>
                    <a:pt x="55" y="4"/>
                    <a:pt x="54" y="3"/>
                  </a:cubicBezTo>
                  <a:cubicBezTo>
                    <a:pt x="53" y="2"/>
                    <a:pt x="49" y="0"/>
                    <a:pt x="48" y="2"/>
                  </a:cubicBezTo>
                  <a:cubicBezTo>
                    <a:pt x="47" y="3"/>
                    <a:pt x="46" y="3"/>
                    <a:pt x="45" y="3"/>
                  </a:cubicBezTo>
                  <a:cubicBezTo>
                    <a:pt x="44" y="3"/>
                    <a:pt x="44" y="7"/>
                    <a:pt x="42" y="6"/>
                  </a:cubicBezTo>
                  <a:cubicBezTo>
                    <a:pt x="40" y="6"/>
                    <a:pt x="36" y="9"/>
                    <a:pt x="36" y="11"/>
                  </a:cubicBezTo>
                  <a:cubicBezTo>
                    <a:pt x="36" y="12"/>
                    <a:pt x="36" y="15"/>
                    <a:pt x="33" y="14"/>
                  </a:cubicBezTo>
                  <a:cubicBezTo>
                    <a:pt x="32" y="14"/>
                    <a:pt x="30" y="14"/>
                    <a:pt x="28" y="13"/>
                  </a:cubicBezTo>
                  <a:cubicBezTo>
                    <a:pt x="27" y="13"/>
                    <a:pt x="25" y="15"/>
                    <a:pt x="22" y="12"/>
                  </a:cubicBezTo>
                  <a:cubicBezTo>
                    <a:pt x="19" y="8"/>
                    <a:pt x="15" y="4"/>
                    <a:pt x="12" y="4"/>
                  </a:cubicBezTo>
                  <a:cubicBezTo>
                    <a:pt x="10" y="4"/>
                    <a:pt x="2" y="4"/>
                    <a:pt x="4" y="9"/>
                  </a:cubicBezTo>
                  <a:cubicBezTo>
                    <a:pt x="5" y="8"/>
                    <a:pt x="6" y="7"/>
                    <a:pt x="8" y="7"/>
                  </a:cubicBezTo>
                  <a:cubicBezTo>
                    <a:pt x="13" y="8"/>
                    <a:pt x="11" y="14"/>
                    <a:pt x="14" y="14"/>
                  </a:cubicBezTo>
                  <a:cubicBezTo>
                    <a:pt x="17" y="15"/>
                    <a:pt x="21" y="19"/>
                    <a:pt x="18" y="19"/>
                  </a:cubicBezTo>
                  <a:cubicBezTo>
                    <a:pt x="15" y="19"/>
                    <a:pt x="12" y="22"/>
                    <a:pt x="10" y="21"/>
                  </a:cubicBezTo>
                  <a:cubicBezTo>
                    <a:pt x="7" y="20"/>
                    <a:pt x="3" y="18"/>
                    <a:pt x="2" y="21"/>
                  </a:cubicBezTo>
                  <a:cubicBezTo>
                    <a:pt x="1" y="24"/>
                    <a:pt x="0" y="28"/>
                    <a:pt x="4" y="28"/>
                  </a:cubicBezTo>
                  <a:cubicBezTo>
                    <a:pt x="8" y="27"/>
                    <a:pt x="7" y="30"/>
                    <a:pt x="4" y="33"/>
                  </a:cubicBezTo>
                  <a:cubicBezTo>
                    <a:pt x="2" y="35"/>
                    <a:pt x="8" y="32"/>
                    <a:pt x="9" y="34"/>
                  </a:cubicBezTo>
                  <a:cubicBezTo>
                    <a:pt x="9" y="37"/>
                    <a:pt x="12" y="37"/>
                    <a:pt x="11" y="41"/>
                  </a:cubicBezTo>
                  <a:cubicBezTo>
                    <a:pt x="10" y="43"/>
                    <a:pt x="10" y="48"/>
                    <a:pt x="11" y="52"/>
                  </a:cubicBezTo>
                  <a:cubicBezTo>
                    <a:pt x="13" y="52"/>
                    <a:pt x="16" y="51"/>
                    <a:pt x="17" y="50"/>
                  </a:cubicBezTo>
                  <a:cubicBezTo>
                    <a:pt x="18" y="49"/>
                    <a:pt x="22" y="45"/>
                    <a:pt x="24" y="45"/>
                  </a:cubicBezTo>
                  <a:cubicBezTo>
                    <a:pt x="26" y="45"/>
                    <a:pt x="29" y="46"/>
                    <a:pt x="30" y="45"/>
                  </a:cubicBezTo>
                  <a:cubicBezTo>
                    <a:pt x="31" y="43"/>
                    <a:pt x="38" y="43"/>
                    <a:pt x="39" y="45"/>
                  </a:cubicBezTo>
                  <a:cubicBezTo>
                    <a:pt x="41" y="46"/>
                    <a:pt x="44" y="48"/>
                    <a:pt x="45" y="48"/>
                  </a:cubicBezTo>
                  <a:cubicBezTo>
                    <a:pt x="46" y="48"/>
                    <a:pt x="47" y="50"/>
                    <a:pt x="49" y="49"/>
                  </a:cubicBezTo>
                  <a:cubicBezTo>
                    <a:pt x="51" y="49"/>
                    <a:pt x="56" y="50"/>
                    <a:pt x="56" y="52"/>
                  </a:cubicBezTo>
                  <a:cubicBezTo>
                    <a:pt x="56" y="53"/>
                    <a:pt x="58" y="54"/>
                    <a:pt x="60" y="54"/>
                  </a:cubicBezTo>
                  <a:cubicBezTo>
                    <a:pt x="61" y="54"/>
                    <a:pt x="63" y="59"/>
                    <a:pt x="65" y="59"/>
                  </a:cubicBezTo>
                  <a:cubicBezTo>
                    <a:pt x="67" y="59"/>
                    <a:pt x="71" y="59"/>
                    <a:pt x="71" y="60"/>
                  </a:cubicBezTo>
                  <a:cubicBezTo>
                    <a:pt x="71" y="61"/>
                    <a:pt x="71" y="67"/>
                    <a:pt x="72" y="70"/>
                  </a:cubicBezTo>
                  <a:cubicBezTo>
                    <a:pt x="73" y="69"/>
                    <a:pt x="73" y="69"/>
                    <a:pt x="74" y="70"/>
                  </a:cubicBezTo>
                  <a:cubicBezTo>
                    <a:pt x="75" y="70"/>
                    <a:pt x="79" y="69"/>
                    <a:pt x="80" y="71"/>
                  </a:cubicBezTo>
                  <a:cubicBezTo>
                    <a:pt x="80" y="73"/>
                    <a:pt x="87" y="72"/>
                    <a:pt x="87" y="69"/>
                  </a:cubicBezTo>
                  <a:cubicBezTo>
                    <a:pt x="86" y="65"/>
                    <a:pt x="97" y="65"/>
                    <a:pt x="98" y="62"/>
                  </a:cubicBezTo>
                  <a:cubicBezTo>
                    <a:pt x="99" y="59"/>
                    <a:pt x="100" y="53"/>
                    <a:pt x="103" y="54"/>
                  </a:cubicBezTo>
                  <a:cubicBezTo>
                    <a:pt x="105" y="55"/>
                    <a:pt x="107" y="50"/>
                    <a:pt x="109" y="50"/>
                  </a:cubicBezTo>
                  <a:cubicBezTo>
                    <a:pt x="111" y="50"/>
                    <a:pt x="113" y="52"/>
                    <a:pt x="115" y="52"/>
                  </a:cubicBezTo>
                  <a:lnTo>
                    <a:pt x="114" y="46"/>
                  </a:ln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219" name="Freeform 162">
              <a:extLst>
                <a:ext uri="{FF2B5EF4-FFF2-40B4-BE49-F238E27FC236}">
                  <a16:creationId xmlns:a16="http://schemas.microsoft.com/office/drawing/2014/main" xmlns="" id="{220E601D-CC0B-4137-9116-415147ACFBD8}"/>
                </a:ext>
              </a:extLst>
            </p:cNvPr>
            <p:cNvSpPr>
              <a:spLocks/>
            </p:cNvSpPr>
            <p:nvPr/>
          </p:nvSpPr>
          <p:spPr bwMode="auto">
            <a:xfrm>
              <a:off x="17245234" y="3093116"/>
              <a:ext cx="414338" cy="349250"/>
            </a:xfrm>
            <a:custGeom>
              <a:avLst/>
              <a:gdLst>
                <a:gd name="T0" fmla="*/ 155 w 159"/>
                <a:gd name="T1" fmla="*/ 116 h 134"/>
                <a:gd name="T2" fmla="*/ 151 w 159"/>
                <a:gd name="T3" fmla="*/ 107 h 134"/>
                <a:gd name="T4" fmla="*/ 143 w 159"/>
                <a:gd name="T5" fmla="*/ 100 h 134"/>
                <a:gd name="T6" fmla="*/ 137 w 159"/>
                <a:gd name="T7" fmla="*/ 93 h 134"/>
                <a:gd name="T8" fmla="*/ 145 w 159"/>
                <a:gd name="T9" fmla="*/ 82 h 134"/>
                <a:gd name="T10" fmla="*/ 138 w 159"/>
                <a:gd name="T11" fmla="*/ 77 h 134"/>
                <a:gd name="T12" fmla="*/ 136 w 159"/>
                <a:gd name="T13" fmla="*/ 68 h 134"/>
                <a:gd name="T14" fmla="*/ 136 w 159"/>
                <a:gd name="T15" fmla="*/ 60 h 134"/>
                <a:gd name="T16" fmla="*/ 137 w 159"/>
                <a:gd name="T17" fmla="*/ 53 h 134"/>
                <a:gd name="T18" fmla="*/ 140 w 159"/>
                <a:gd name="T19" fmla="*/ 46 h 134"/>
                <a:gd name="T20" fmla="*/ 142 w 159"/>
                <a:gd name="T21" fmla="*/ 43 h 134"/>
                <a:gd name="T22" fmla="*/ 141 w 159"/>
                <a:gd name="T23" fmla="*/ 33 h 134"/>
                <a:gd name="T24" fmla="*/ 135 w 159"/>
                <a:gd name="T25" fmla="*/ 32 h 134"/>
                <a:gd name="T26" fmla="*/ 130 w 159"/>
                <a:gd name="T27" fmla="*/ 27 h 134"/>
                <a:gd name="T28" fmla="*/ 126 w 159"/>
                <a:gd name="T29" fmla="*/ 25 h 134"/>
                <a:gd name="T30" fmla="*/ 119 w 159"/>
                <a:gd name="T31" fmla="*/ 22 h 134"/>
                <a:gd name="T32" fmla="*/ 115 w 159"/>
                <a:gd name="T33" fmla="*/ 21 h 134"/>
                <a:gd name="T34" fmla="*/ 109 w 159"/>
                <a:gd name="T35" fmla="*/ 18 h 134"/>
                <a:gd name="T36" fmla="*/ 100 w 159"/>
                <a:gd name="T37" fmla="*/ 18 h 134"/>
                <a:gd name="T38" fmla="*/ 94 w 159"/>
                <a:gd name="T39" fmla="*/ 18 h 134"/>
                <a:gd name="T40" fmla="*/ 87 w 159"/>
                <a:gd name="T41" fmla="*/ 23 h 134"/>
                <a:gd name="T42" fmla="*/ 81 w 159"/>
                <a:gd name="T43" fmla="*/ 25 h 134"/>
                <a:gd name="T44" fmla="*/ 80 w 159"/>
                <a:gd name="T45" fmla="*/ 29 h 134"/>
                <a:gd name="T46" fmla="*/ 63 w 159"/>
                <a:gd name="T47" fmla="*/ 33 h 134"/>
                <a:gd name="T48" fmla="*/ 48 w 159"/>
                <a:gd name="T49" fmla="*/ 24 h 134"/>
                <a:gd name="T50" fmla="*/ 38 w 159"/>
                <a:gd name="T51" fmla="*/ 14 h 134"/>
                <a:gd name="T52" fmla="*/ 33 w 159"/>
                <a:gd name="T53" fmla="*/ 10 h 134"/>
                <a:gd name="T54" fmla="*/ 31 w 159"/>
                <a:gd name="T55" fmla="*/ 3 h 134"/>
                <a:gd name="T56" fmla="*/ 15 w 159"/>
                <a:gd name="T57" fmla="*/ 10 h 134"/>
                <a:gd name="T58" fmla="*/ 10 w 159"/>
                <a:gd name="T59" fmla="*/ 7 h 134"/>
                <a:gd name="T60" fmla="*/ 5 w 159"/>
                <a:gd name="T61" fmla="*/ 1 h 134"/>
                <a:gd name="T62" fmla="*/ 2 w 159"/>
                <a:gd name="T63" fmla="*/ 5 h 134"/>
                <a:gd name="T64" fmla="*/ 2 w 159"/>
                <a:gd name="T65" fmla="*/ 11 h 134"/>
                <a:gd name="T66" fmla="*/ 2 w 159"/>
                <a:gd name="T67" fmla="*/ 20 h 134"/>
                <a:gd name="T68" fmla="*/ 6 w 159"/>
                <a:gd name="T69" fmla="*/ 26 h 134"/>
                <a:gd name="T70" fmla="*/ 9 w 159"/>
                <a:gd name="T71" fmla="*/ 33 h 134"/>
                <a:gd name="T72" fmla="*/ 13 w 159"/>
                <a:gd name="T73" fmla="*/ 37 h 134"/>
                <a:gd name="T74" fmla="*/ 17 w 159"/>
                <a:gd name="T75" fmla="*/ 40 h 134"/>
                <a:gd name="T76" fmla="*/ 16 w 159"/>
                <a:gd name="T77" fmla="*/ 45 h 134"/>
                <a:gd name="T78" fmla="*/ 12 w 159"/>
                <a:gd name="T79" fmla="*/ 51 h 134"/>
                <a:gd name="T80" fmla="*/ 13 w 159"/>
                <a:gd name="T81" fmla="*/ 59 h 134"/>
                <a:gd name="T82" fmla="*/ 17 w 159"/>
                <a:gd name="T83" fmla="*/ 63 h 134"/>
                <a:gd name="T84" fmla="*/ 26 w 159"/>
                <a:gd name="T85" fmla="*/ 69 h 134"/>
                <a:gd name="T86" fmla="*/ 30 w 159"/>
                <a:gd name="T87" fmla="*/ 74 h 134"/>
                <a:gd name="T88" fmla="*/ 29 w 159"/>
                <a:gd name="T89" fmla="*/ 79 h 134"/>
                <a:gd name="T90" fmla="*/ 32 w 159"/>
                <a:gd name="T91" fmla="*/ 85 h 134"/>
                <a:gd name="T92" fmla="*/ 37 w 159"/>
                <a:gd name="T93" fmla="*/ 91 h 134"/>
                <a:gd name="T94" fmla="*/ 39 w 159"/>
                <a:gd name="T95" fmla="*/ 91 h 134"/>
                <a:gd name="T96" fmla="*/ 42 w 159"/>
                <a:gd name="T97" fmla="*/ 90 h 134"/>
                <a:gd name="T98" fmla="*/ 48 w 159"/>
                <a:gd name="T99" fmla="*/ 90 h 134"/>
                <a:gd name="T100" fmla="*/ 56 w 159"/>
                <a:gd name="T101" fmla="*/ 102 h 134"/>
                <a:gd name="T102" fmla="*/ 61 w 159"/>
                <a:gd name="T103" fmla="*/ 110 h 134"/>
                <a:gd name="T104" fmla="*/ 70 w 159"/>
                <a:gd name="T105" fmla="*/ 114 h 134"/>
                <a:gd name="T106" fmla="*/ 89 w 159"/>
                <a:gd name="T107" fmla="*/ 121 h 134"/>
                <a:gd name="T108" fmla="*/ 102 w 159"/>
                <a:gd name="T109" fmla="*/ 118 h 134"/>
                <a:gd name="T110" fmla="*/ 108 w 159"/>
                <a:gd name="T111" fmla="*/ 128 h 134"/>
                <a:gd name="T112" fmla="*/ 136 w 159"/>
                <a:gd name="T113" fmla="*/ 134 h 134"/>
                <a:gd name="T114" fmla="*/ 144 w 159"/>
                <a:gd name="T115" fmla="*/ 134 h 134"/>
                <a:gd name="T116" fmla="*/ 144 w 159"/>
                <a:gd name="T117" fmla="*/ 132 h 134"/>
                <a:gd name="T118" fmla="*/ 149 w 159"/>
                <a:gd name="T119" fmla="*/ 124 h 134"/>
                <a:gd name="T120" fmla="*/ 157 w 159"/>
                <a:gd name="T121" fmla="*/ 122 h 134"/>
                <a:gd name="T122" fmla="*/ 155 w 159"/>
                <a:gd name="T123" fmla="*/ 116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 h="134">
                  <a:moveTo>
                    <a:pt x="155" y="116"/>
                  </a:moveTo>
                  <a:cubicBezTo>
                    <a:pt x="153" y="115"/>
                    <a:pt x="155" y="109"/>
                    <a:pt x="151" y="107"/>
                  </a:cubicBezTo>
                  <a:cubicBezTo>
                    <a:pt x="147" y="105"/>
                    <a:pt x="144" y="103"/>
                    <a:pt x="143" y="100"/>
                  </a:cubicBezTo>
                  <a:cubicBezTo>
                    <a:pt x="142" y="98"/>
                    <a:pt x="137" y="95"/>
                    <a:pt x="137" y="93"/>
                  </a:cubicBezTo>
                  <a:cubicBezTo>
                    <a:pt x="138" y="91"/>
                    <a:pt x="147" y="85"/>
                    <a:pt x="145" y="82"/>
                  </a:cubicBezTo>
                  <a:cubicBezTo>
                    <a:pt x="144" y="78"/>
                    <a:pt x="138" y="79"/>
                    <a:pt x="138" y="77"/>
                  </a:cubicBezTo>
                  <a:cubicBezTo>
                    <a:pt x="137" y="76"/>
                    <a:pt x="138" y="72"/>
                    <a:pt x="136" y="68"/>
                  </a:cubicBezTo>
                  <a:cubicBezTo>
                    <a:pt x="135" y="65"/>
                    <a:pt x="138" y="62"/>
                    <a:pt x="136" y="60"/>
                  </a:cubicBezTo>
                  <a:cubicBezTo>
                    <a:pt x="135" y="58"/>
                    <a:pt x="137" y="54"/>
                    <a:pt x="137" y="53"/>
                  </a:cubicBezTo>
                  <a:cubicBezTo>
                    <a:pt x="138" y="51"/>
                    <a:pt x="141" y="50"/>
                    <a:pt x="140" y="46"/>
                  </a:cubicBezTo>
                  <a:cubicBezTo>
                    <a:pt x="140" y="44"/>
                    <a:pt x="141" y="43"/>
                    <a:pt x="142" y="43"/>
                  </a:cubicBezTo>
                  <a:cubicBezTo>
                    <a:pt x="141" y="40"/>
                    <a:pt x="141" y="34"/>
                    <a:pt x="141" y="33"/>
                  </a:cubicBezTo>
                  <a:cubicBezTo>
                    <a:pt x="141" y="32"/>
                    <a:pt x="137" y="32"/>
                    <a:pt x="135" y="32"/>
                  </a:cubicBezTo>
                  <a:cubicBezTo>
                    <a:pt x="133" y="32"/>
                    <a:pt x="131" y="27"/>
                    <a:pt x="130" y="27"/>
                  </a:cubicBezTo>
                  <a:cubicBezTo>
                    <a:pt x="128" y="27"/>
                    <a:pt x="126" y="26"/>
                    <a:pt x="126" y="25"/>
                  </a:cubicBezTo>
                  <a:cubicBezTo>
                    <a:pt x="126" y="23"/>
                    <a:pt x="121" y="22"/>
                    <a:pt x="119" y="22"/>
                  </a:cubicBezTo>
                  <a:cubicBezTo>
                    <a:pt x="117" y="23"/>
                    <a:pt x="116" y="21"/>
                    <a:pt x="115" y="21"/>
                  </a:cubicBezTo>
                  <a:cubicBezTo>
                    <a:pt x="114" y="21"/>
                    <a:pt x="111" y="19"/>
                    <a:pt x="109" y="18"/>
                  </a:cubicBezTo>
                  <a:cubicBezTo>
                    <a:pt x="108" y="16"/>
                    <a:pt x="101" y="16"/>
                    <a:pt x="100" y="18"/>
                  </a:cubicBezTo>
                  <a:cubicBezTo>
                    <a:pt x="99" y="19"/>
                    <a:pt x="96" y="18"/>
                    <a:pt x="94" y="18"/>
                  </a:cubicBezTo>
                  <a:cubicBezTo>
                    <a:pt x="92" y="18"/>
                    <a:pt x="88" y="22"/>
                    <a:pt x="87" y="23"/>
                  </a:cubicBezTo>
                  <a:cubicBezTo>
                    <a:pt x="86" y="24"/>
                    <a:pt x="83" y="25"/>
                    <a:pt x="81" y="25"/>
                  </a:cubicBezTo>
                  <a:cubicBezTo>
                    <a:pt x="81" y="27"/>
                    <a:pt x="81" y="28"/>
                    <a:pt x="80" y="29"/>
                  </a:cubicBezTo>
                  <a:cubicBezTo>
                    <a:pt x="79" y="31"/>
                    <a:pt x="70" y="32"/>
                    <a:pt x="63" y="33"/>
                  </a:cubicBezTo>
                  <a:cubicBezTo>
                    <a:pt x="56" y="33"/>
                    <a:pt x="56" y="24"/>
                    <a:pt x="48" y="24"/>
                  </a:cubicBezTo>
                  <a:cubicBezTo>
                    <a:pt x="43" y="24"/>
                    <a:pt x="39" y="19"/>
                    <a:pt x="38" y="14"/>
                  </a:cubicBezTo>
                  <a:cubicBezTo>
                    <a:pt x="35" y="13"/>
                    <a:pt x="32" y="11"/>
                    <a:pt x="33" y="10"/>
                  </a:cubicBezTo>
                  <a:cubicBezTo>
                    <a:pt x="33" y="9"/>
                    <a:pt x="35" y="1"/>
                    <a:pt x="31" y="3"/>
                  </a:cubicBezTo>
                  <a:cubicBezTo>
                    <a:pt x="27" y="5"/>
                    <a:pt x="22" y="11"/>
                    <a:pt x="15" y="10"/>
                  </a:cubicBezTo>
                  <a:cubicBezTo>
                    <a:pt x="8" y="9"/>
                    <a:pt x="13" y="8"/>
                    <a:pt x="10" y="7"/>
                  </a:cubicBezTo>
                  <a:cubicBezTo>
                    <a:pt x="6" y="5"/>
                    <a:pt x="8" y="1"/>
                    <a:pt x="5" y="1"/>
                  </a:cubicBezTo>
                  <a:cubicBezTo>
                    <a:pt x="1" y="0"/>
                    <a:pt x="4" y="5"/>
                    <a:pt x="2" y="5"/>
                  </a:cubicBezTo>
                  <a:cubicBezTo>
                    <a:pt x="0" y="5"/>
                    <a:pt x="2" y="10"/>
                    <a:pt x="2" y="11"/>
                  </a:cubicBezTo>
                  <a:cubicBezTo>
                    <a:pt x="3" y="13"/>
                    <a:pt x="1" y="20"/>
                    <a:pt x="2" y="20"/>
                  </a:cubicBezTo>
                  <a:cubicBezTo>
                    <a:pt x="4" y="20"/>
                    <a:pt x="6" y="25"/>
                    <a:pt x="6" y="26"/>
                  </a:cubicBezTo>
                  <a:cubicBezTo>
                    <a:pt x="6" y="27"/>
                    <a:pt x="9" y="31"/>
                    <a:pt x="9" y="33"/>
                  </a:cubicBezTo>
                  <a:cubicBezTo>
                    <a:pt x="9" y="35"/>
                    <a:pt x="12" y="37"/>
                    <a:pt x="13" y="37"/>
                  </a:cubicBezTo>
                  <a:cubicBezTo>
                    <a:pt x="15" y="37"/>
                    <a:pt x="17" y="38"/>
                    <a:pt x="17" y="40"/>
                  </a:cubicBezTo>
                  <a:cubicBezTo>
                    <a:pt x="16" y="42"/>
                    <a:pt x="17" y="45"/>
                    <a:pt x="16" y="45"/>
                  </a:cubicBezTo>
                  <a:cubicBezTo>
                    <a:pt x="14" y="45"/>
                    <a:pt x="14" y="51"/>
                    <a:pt x="12" y="51"/>
                  </a:cubicBezTo>
                  <a:cubicBezTo>
                    <a:pt x="11" y="52"/>
                    <a:pt x="12" y="58"/>
                    <a:pt x="13" y="59"/>
                  </a:cubicBezTo>
                  <a:cubicBezTo>
                    <a:pt x="15" y="59"/>
                    <a:pt x="17" y="61"/>
                    <a:pt x="17" y="63"/>
                  </a:cubicBezTo>
                  <a:cubicBezTo>
                    <a:pt x="17" y="65"/>
                    <a:pt x="24" y="69"/>
                    <a:pt x="26" y="69"/>
                  </a:cubicBezTo>
                  <a:cubicBezTo>
                    <a:pt x="28" y="70"/>
                    <a:pt x="29" y="73"/>
                    <a:pt x="30" y="74"/>
                  </a:cubicBezTo>
                  <a:cubicBezTo>
                    <a:pt x="31" y="75"/>
                    <a:pt x="29" y="78"/>
                    <a:pt x="29" y="79"/>
                  </a:cubicBezTo>
                  <a:cubicBezTo>
                    <a:pt x="30" y="81"/>
                    <a:pt x="32" y="82"/>
                    <a:pt x="32" y="85"/>
                  </a:cubicBezTo>
                  <a:cubicBezTo>
                    <a:pt x="32" y="86"/>
                    <a:pt x="34" y="89"/>
                    <a:pt x="37" y="91"/>
                  </a:cubicBezTo>
                  <a:cubicBezTo>
                    <a:pt x="37" y="91"/>
                    <a:pt x="38" y="91"/>
                    <a:pt x="39" y="91"/>
                  </a:cubicBezTo>
                  <a:cubicBezTo>
                    <a:pt x="41" y="91"/>
                    <a:pt x="41" y="88"/>
                    <a:pt x="42" y="90"/>
                  </a:cubicBezTo>
                  <a:cubicBezTo>
                    <a:pt x="44" y="91"/>
                    <a:pt x="46" y="90"/>
                    <a:pt x="48" y="90"/>
                  </a:cubicBezTo>
                  <a:cubicBezTo>
                    <a:pt x="50" y="89"/>
                    <a:pt x="54" y="98"/>
                    <a:pt x="56" y="102"/>
                  </a:cubicBezTo>
                  <a:cubicBezTo>
                    <a:pt x="58" y="106"/>
                    <a:pt x="58" y="108"/>
                    <a:pt x="61" y="110"/>
                  </a:cubicBezTo>
                  <a:cubicBezTo>
                    <a:pt x="63" y="111"/>
                    <a:pt x="67" y="110"/>
                    <a:pt x="70" y="114"/>
                  </a:cubicBezTo>
                  <a:cubicBezTo>
                    <a:pt x="74" y="118"/>
                    <a:pt x="84" y="121"/>
                    <a:pt x="89" y="121"/>
                  </a:cubicBezTo>
                  <a:cubicBezTo>
                    <a:pt x="93" y="122"/>
                    <a:pt x="96" y="117"/>
                    <a:pt x="102" y="118"/>
                  </a:cubicBezTo>
                  <a:cubicBezTo>
                    <a:pt x="107" y="119"/>
                    <a:pt x="106" y="126"/>
                    <a:pt x="108" y="128"/>
                  </a:cubicBezTo>
                  <a:cubicBezTo>
                    <a:pt x="110" y="131"/>
                    <a:pt x="132" y="133"/>
                    <a:pt x="136" y="134"/>
                  </a:cubicBezTo>
                  <a:cubicBezTo>
                    <a:pt x="137" y="134"/>
                    <a:pt x="141" y="134"/>
                    <a:pt x="144" y="134"/>
                  </a:cubicBezTo>
                  <a:cubicBezTo>
                    <a:pt x="144" y="134"/>
                    <a:pt x="144" y="133"/>
                    <a:pt x="144" y="132"/>
                  </a:cubicBezTo>
                  <a:cubicBezTo>
                    <a:pt x="144" y="129"/>
                    <a:pt x="147" y="125"/>
                    <a:pt x="149" y="124"/>
                  </a:cubicBezTo>
                  <a:cubicBezTo>
                    <a:pt x="152" y="123"/>
                    <a:pt x="154" y="122"/>
                    <a:pt x="157" y="122"/>
                  </a:cubicBezTo>
                  <a:cubicBezTo>
                    <a:pt x="159" y="122"/>
                    <a:pt x="157" y="117"/>
                    <a:pt x="155" y="116"/>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220" name="Freeform 163">
              <a:extLst>
                <a:ext uri="{FF2B5EF4-FFF2-40B4-BE49-F238E27FC236}">
                  <a16:creationId xmlns:a16="http://schemas.microsoft.com/office/drawing/2014/main" xmlns="" id="{15FABC13-4173-4A80-835B-278F5D280358}"/>
                </a:ext>
              </a:extLst>
            </p:cNvPr>
            <p:cNvSpPr>
              <a:spLocks noEditPoints="1"/>
            </p:cNvSpPr>
            <p:nvPr/>
          </p:nvSpPr>
          <p:spPr bwMode="auto">
            <a:xfrm>
              <a:off x="17300797" y="2677191"/>
              <a:ext cx="850900" cy="403225"/>
            </a:xfrm>
            <a:custGeom>
              <a:avLst/>
              <a:gdLst>
                <a:gd name="T0" fmla="*/ 316 w 327"/>
                <a:gd name="T1" fmla="*/ 64 h 154"/>
                <a:gd name="T2" fmla="*/ 305 w 327"/>
                <a:gd name="T3" fmla="*/ 53 h 154"/>
                <a:gd name="T4" fmla="*/ 284 w 327"/>
                <a:gd name="T5" fmla="*/ 50 h 154"/>
                <a:gd name="T6" fmla="*/ 265 w 327"/>
                <a:gd name="T7" fmla="*/ 36 h 154"/>
                <a:gd name="T8" fmla="*/ 243 w 327"/>
                <a:gd name="T9" fmla="*/ 12 h 154"/>
                <a:gd name="T10" fmla="*/ 220 w 327"/>
                <a:gd name="T11" fmla="*/ 21 h 154"/>
                <a:gd name="T12" fmla="*/ 215 w 327"/>
                <a:gd name="T13" fmla="*/ 15 h 154"/>
                <a:gd name="T14" fmla="*/ 203 w 327"/>
                <a:gd name="T15" fmla="*/ 14 h 154"/>
                <a:gd name="T16" fmla="*/ 197 w 327"/>
                <a:gd name="T17" fmla="*/ 2 h 154"/>
                <a:gd name="T18" fmla="*/ 169 w 327"/>
                <a:gd name="T19" fmla="*/ 7 h 154"/>
                <a:gd name="T20" fmla="*/ 137 w 327"/>
                <a:gd name="T21" fmla="*/ 14 h 154"/>
                <a:gd name="T22" fmla="*/ 121 w 327"/>
                <a:gd name="T23" fmla="*/ 22 h 154"/>
                <a:gd name="T24" fmla="*/ 118 w 327"/>
                <a:gd name="T25" fmla="*/ 33 h 154"/>
                <a:gd name="T26" fmla="*/ 121 w 327"/>
                <a:gd name="T27" fmla="*/ 43 h 154"/>
                <a:gd name="T28" fmla="*/ 112 w 327"/>
                <a:gd name="T29" fmla="*/ 49 h 154"/>
                <a:gd name="T30" fmla="*/ 100 w 327"/>
                <a:gd name="T31" fmla="*/ 48 h 154"/>
                <a:gd name="T32" fmla="*/ 80 w 327"/>
                <a:gd name="T33" fmla="*/ 50 h 154"/>
                <a:gd name="T34" fmla="*/ 65 w 327"/>
                <a:gd name="T35" fmla="*/ 50 h 154"/>
                <a:gd name="T36" fmla="*/ 44 w 327"/>
                <a:gd name="T37" fmla="*/ 41 h 154"/>
                <a:gd name="T38" fmla="*/ 25 w 327"/>
                <a:gd name="T39" fmla="*/ 47 h 154"/>
                <a:gd name="T40" fmla="*/ 18 w 327"/>
                <a:gd name="T41" fmla="*/ 60 h 154"/>
                <a:gd name="T42" fmla="*/ 2 w 327"/>
                <a:gd name="T43" fmla="*/ 63 h 154"/>
                <a:gd name="T44" fmla="*/ 0 w 327"/>
                <a:gd name="T45" fmla="*/ 74 h 154"/>
                <a:gd name="T46" fmla="*/ 12 w 327"/>
                <a:gd name="T47" fmla="*/ 81 h 154"/>
                <a:gd name="T48" fmla="*/ 20 w 327"/>
                <a:gd name="T49" fmla="*/ 95 h 154"/>
                <a:gd name="T50" fmla="*/ 41 w 327"/>
                <a:gd name="T51" fmla="*/ 90 h 154"/>
                <a:gd name="T52" fmla="*/ 46 w 327"/>
                <a:gd name="T53" fmla="*/ 107 h 154"/>
                <a:gd name="T54" fmla="*/ 31 w 327"/>
                <a:gd name="T55" fmla="*/ 117 h 154"/>
                <a:gd name="T56" fmla="*/ 46 w 327"/>
                <a:gd name="T57" fmla="*/ 132 h 154"/>
                <a:gd name="T58" fmla="*/ 53 w 327"/>
                <a:gd name="T59" fmla="*/ 141 h 154"/>
                <a:gd name="T60" fmla="*/ 77 w 327"/>
                <a:gd name="T61" fmla="*/ 145 h 154"/>
                <a:gd name="T62" fmla="*/ 99 w 327"/>
                <a:gd name="T63" fmla="*/ 103 h 154"/>
                <a:gd name="T64" fmla="*/ 111 w 327"/>
                <a:gd name="T65" fmla="*/ 104 h 154"/>
                <a:gd name="T66" fmla="*/ 136 w 327"/>
                <a:gd name="T67" fmla="*/ 124 h 154"/>
                <a:gd name="T68" fmla="*/ 160 w 327"/>
                <a:gd name="T69" fmla="*/ 137 h 154"/>
                <a:gd name="T70" fmla="*/ 178 w 327"/>
                <a:gd name="T71" fmla="*/ 151 h 154"/>
                <a:gd name="T72" fmla="*/ 195 w 327"/>
                <a:gd name="T73" fmla="*/ 143 h 154"/>
                <a:gd name="T74" fmla="*/ 213 w 327"/>
                <a:gd name="T75" fmla="*/ 133 h 154"/>
                <a:gd name="T76" fmla="*/ 239 w 327"/>
                <a:gd name="T77" fmla="*/ 132 h 154"/>
                <a:gd name="T78" fmla="*/ 274 w 327"/>
                <a:gd name="T79" fmla="*/ 138 h 154"/>
                <a:gd name="T80" fmla="*/ 275 w 327"/>
                <a:gd name="T81" fmla="*/ 119 h 154"/>
                <a:gd name="T82" fmla="*/ 286 w 327"/>
                <a:gd name="T83" fmla="*/ 108 h 154"/>
                <a:gd name="T84" fmla="*/ 296 w 327"/>
                <a:gd name="T85" fmla="*/ 90 h 154"/>
                <a:gd name="T86" fmla="*/ 317 w 327"/>
                <a:gd name="T87" fmla="*/ 88 h 154"/>
                <a:gd name="T88" fmla="*/ 324 w 327"/>
                <a:gd name="T89" fmla="*/ 71 h 154"/>
                <a:gd name="T90" fmla="*/ 122 w 327"/>
                <a:gd name="T91" fmla="*/ 98 h 154"/>
                <a:gd name="T92" fmla="*/ 257 w 327"/>
                <a:gd name="T93" fmla="*/ 97 h 154"/>
                <a:gd name="T94" fmla="*/ 224 w 327"/>
                <a:gd name="T95" fmla="*/ 97 h 154"/>
                <a:gd name="T96" fmla="*/ 257 w 327"/>
                <a:gd name="T97" fmla="*/ 97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7" h="154">
                  <a:moveTo>
                    <a:pt x="325" y="63"/>
                  </a:moveTo>
                  <a:cubicBezTo>
                    <a:pt x="325" y="61"/>
                    <a:pt x="324" y="62"/>
                    <a:pt x="323" y="63"/>
                  </a:cubicBezTo>
                  <a:cubicBezTo>
                    <a:pt x="321" y="63"/>
                    <a:pt x="318" y="64"/>
                    <a:pt x="316" y="64"/>
                  </a:cubicBezTo>
                  <a:cubicBezTo>
                    <a:pt x="315" y="64"/>
                    <a:pt x="312" y="62"/>
                    <a:pt x="312" y="60"/>
                  </a:cubicBezTo>
                  <a:cubicBezTo>
                    <a:pt x="312" y="59"/>
                    <a:pt x="312" y="57"/>
                    <a:pt x="310" y="57"/>
                  </a:cubicBezTo>
                  <a:cubicBezTo>
                    <a:pt x="309" y="57"/>
                    <a:pt x="307" y="57"/>
                    <a:pt x="305" y="53"/>
                  </a:cubicBezTo>
                  <a:cubicBezTo>
                    <a:pt x="304" y="50"/>
                    <a:pt x="302" y="50"/>
                    <a:pt x="300" y="49"/>
                  </a:cubicBezTo>
                  <a:cubicBezTo>
                    <a:pt x="299" y="48"/>
                    <a:pt x="294" y="51"/>
                    <a:pt x="292" y="51"/>
                  </a:cubicBezTo>
                  <a:cubicBezTo>
                    <a:pt x="290" y="52"/>
                    <a:pt x="287" y="51"/>
                    <a:pt x="284" y="50"/>
                  </a:cubicBezTo>
                  <a:cubicBezTo>
                    <a:pt x="282" y="50"/>
                    <a:pt x="280" y="45"/>
                    <a:pt x="278" y="46"/>
                  </a:cubicBezTo>
                  <a:cubicBezTo>
                    <a:pt x="276" y="46"/>
                    <a:pt x="275" y="51"/>
                    <a:pt x="273" y="51"/>
                  </a:cubicBezTo>
                  <a:cubicBezTo>
                    <a:pt x="272" y="51"/>
                    <a:pt x="268" y="41"/>
                    <a:pt x="265" y="36"/>
                  </a:cubicBezTo>
                  <a:cubicBezTo>
                    <a:pt x="262" y="31"/>
                    <a:pt x="256" y="21"/>
                    <a:pt x="250" y="19"/>
                  </a:cubicBezTo>
                  <a:cubicBezTo>
                    <a:pt x="245" y="17"/>
                    <a:pt x="247" y="14"/>
                    <a:pt x="248" y="13"/>
                  </a:cubicBezTo>
                  <a:cubicBezTo>
                    <a:pt x="249" y="11"/>
                    <a:pt x="245" y="11"/>
                    <a:pt x="243" y="12"/>
                  </a:cubicBezTo>
                  <a:cubicBezTo>
                    <a:pt x="240" y="13"/>
                    <a:pt x="238" y="16"/>
                    <a:pt x="235" y="16"/>
                  </a:cubicBezTo>
                  <a:cubicBezTo>
                    <a:pt x="233" y="17"/>
                    <a:pt x="229" y="21"/>
                    <a:pt x="227" y="20"/>
                  </a:cubicBezTo>
                  <a:cubicBezTo>
                    <a:pt x="224" y="19"/>
                    <a:pt x="223" y="23"/>
                    <a:pt x="220" y="21"/>
                  </a:cubicBezTo>
                  <a:cubicBezTo>
                    <a:pt x="218" y="19"/>
                    <a:pt x="223" y="18"/>
                    <a:pt x="223" y="16"/>
                  </a:cubicBezTo>
                  <a:cubicBezTo>
                    <a:pt x="223" y="14"/>
                    <a:pt x="220" y="17"/>
                    <a:pt x="219" y="16"/>
                  </a:cubicBezTo>
                  <a:cubicBezTo>
                    <a:pt x="218" y="15"/>
                    <a:pt x="215" y="13"/>
                    <a:pt x="215" y="15"/>
                  </a:cubicBezTo>
                  <a:cubicBezTo>
                    <a:pt x="215" y="17"/>
                    <a:pt x="213" y="16"/>
                    <a:pt x="213" y="15"/>
                  </a:cubicBezTo>
                  <a:cubicBezTo>
                    <a:pt x="213" y="13"/>
                    <a:pt x="211" y="11"/>
                    <a:pt x="210" y="13"/>
                  </a:cubicBezTo>
                  <a:cubicBezTo>
                    <a:pt x="209" y="14"/>
                    <a:pt x="204" y="15"/>
                    <a:pt x="203" y="14"/>
                  </a:cubicBezTo>
                  <a:cubicBezTo>
                    <a:pt x="202" y="13"/>
                    <a:pt x="203" y="12"/>
                    <a:pt x="204" y="10"/>
                  </a:cubicBezTo>
                  <a:cubicBezTo>
                    <a:pt x="204" y="9"/>
                    <a:pt x="202" y="7"/>
                    <a:pt x="202" y="5"/>
                  </a:cubicBezTo>
                  <a:cubicBezTo>
                    <a:pt x="202" y="3"/>
                    <a:pt x="199" y="1"/>
                    <a:pt x="197" y="2"/>
                  </a:cubicBezTo>
                  <a:cubicBezTo>
                    <a:pt x="195" y="2"/>
                    <a:pt x="193" y="2"/>
                    <a:pt x="191" y="1"/>
                  </a:cubicBezTo>
                  <a:cubicBezTo>
                    <a:pt x="189" y="0"/>
                    <a:pt x="181" y="1"/>
                    <a:pt x="181" y="3"/>
                  </a:cubicBezTo>
                  <a:cubicBezTo>
                    <a:pt x="180" y="5"/>
                    <a:pt x="171" y="6"/>
                    <a:pt x="169" y="7"/>
                  </a:cubicBezTo>
                  <a:cubicBezTo>
                    <a:pt x="167" y="8"/>
                    <a:pt x="160" y="9"/>
                    <a:pt x="158" y="9"/>
                  </a:cubicBezTo>
                  <a:cubicBezTo>
                    <a:pt x="155" y="9"/>
                    <a:pt x="153" y="12"/>
                    <a:pt x="149" y="12"/>
                  </a:cubicBezTo>
                  <a:cubicBezTo>
                    <a:pt x="146" y="12"/>
                    <a:pt x="140" y="12"/>
                    <a:pt x="137" y="14"/>
                  </a:cubicBezTo>
                  <a:cubicBezTo>
                    <a:pt x="134" y="16"/>
                    <a:pt x="130" y="14"/>
                    <a:pt x="128" y="15"/>
                  </a:cubicBezTo>
                  <a:cubicBezTo>
                    <a:pt x="125" y="16"/>
                    <a:pt x="122" y="15"/>
                    <a:pt x="121" y="15"/>
                  </a:cubicBezTo>
                  <a:cubicBezTo>
                    <a:pt x="120" y="16"/>
                    <a:pt x="120" y="20"/>
                    <a:pt x="121" y="22"/>
                  </a:cubicBezTo>
                  <a:cubicBezTo>
                    <a:pt x="122" y="24"/>
                    <a:pt x="128" y="25"/>
                    <a:pt x="128" y="26"/>
                  </a:cubicBezTo>
                  <a:cubicBezTo>
                    <a:pt x="129" y="27"/>
                    <a:pt x="123" y="27"/>
                    <a:pt x="120" y="27"/>
                  </a:cubicBezTo>
                  <a:cubicBezTo>
                    <a:pt x="117" y="28"/>
                    <a:pt x="118" y="31"/>
                    <a:pt x="118" y="33"/>
                  </a:cubicBezTo>
                  <a:cubicBezTo>
                    <a:pt x="119" y="35"/>
                    <a:pt x="115" y="36"/>
                    <a:pt x="113" y="37"/>
                  </a:cubicBezTo>
                  <a:cubicBezTo>
                    <a:pt x="111" y="38"/>
                    <a:pt x="113" y="41"/>
                    <a:pt x="115" y="41"/>
                  </a:cubicBezTo>
                  <a:cubicBezTo>
                    <a:pt x="118" y="41"/>
                    <a:pt x="119" y="43"/>
                    <a:pt x="121" y="43"/>
                  </a:cubicBezTo>
                  <a:cubicBezTo>
                    <a:pt x="123" y="43"/>
                    <a:pt x="123" y="47"/>
                    <a:pt x="123" y="49"/>
                  </a:cubicBezTo>
                  <a:cubicBezTo>
                    <a:pt x="123" y="51"/>
                    <a:pt x="121" y="52"/>
                    <a:pt x="118" y="52"/>
                  </a:cubicBezTo>
                  <a:cubicBezTo>
                    <a:pt x="115" y="52"/>
                    <a:pt x="114" y="50"/>
                    <a:pt x="112" y="49"/>
                  </a:cubicBezTo>
                  <a:cubicBezTo>
                    <a:pt x="110" y="49"/>
                    <a:pt x="111" y="53"/>
                    <a:pt x="109" y="53"/>
                  </a:cubicBezTo>
                  <a:cubicBezTo>
                    <a:pt x="108" y="54"/>
                    <a:pt x="108" y="51"/>
                    <a:pt x="105" y="51"/>
                  </a:cubicBezTo>
                  <a:cubicBezTo>
                    <a:pt x="103" y="51"/>
                    <a:pt x="101" y="50"/>
                    <a:pt x="100" y="48"/>
                  </a:cubicBezTo>
                  <a:cubicBezTo>
                    <a:pt x="99" y="46"/>
                    <a:pt x="94" y="46"/>
                    <a:pt x="92" y="48"/>
                  </a:cubicBezTo>
                  <a:cubicBezTo>
                    <a:pt x="90" y="50"/>
                    <a:pt x="89" y="49"/>
                    <a:pt x="88" y="48"/>
                  </a:cubicBezTo>
                  <a:cubicBezTo>
                    <a:pt x="86" y="46"/>
                    <a:pt x="80" y="48"/>
                    <a:pt x="80" y="50"/>
                  </a:cubicBezTo>
                  <a:cubicBezTo>
                    <a:pt x="79" y="52"/>
                    <a:pt x="75" y="53"/>
                    <a:pt x="72" y="51"/>
                  </a:cubicBezTo>
                  <a:cubicBezTo>
                    <a:pt x="69" y="49"/>
                    <a:pt x="68" y="48"/>
                    <a:pt x="68" y="51"/>
                  </a:cubicBezTo>
                  <a:cubicBezTo>
                    <a:pt x="68" y="53"/>
                    <a:pt x="65" y="51"/>
                    <a:pt x="65" y="50"/>
                  </a:cubicBezTo>
                  <a:cubicBezTo>
                    <a:pt x="65" y="48"/>
                    <a:pt x="61" y="45"/>
                    <a:pt x="59" y="44"/>
                  </a:cubicBezTo>
                  <a:cubicBezTo>
                    <a:pt x="57" y="43"/>
                    <a:pt x="50" y="43"/>
                    <a:pt x="49" y="41"/>
                  </a:cubicBezTo>
                  <a:cubicBezTo>
                    <a:pt x="49" y="40"/>
                    <a:pt x="45" y="39"/>
                    <a:pt x="44" y="41"/>
                  </a:cubicBezTo>
                  <a:cubicBezTo>
                    <a:pt x="43" y="44"/>
                    <a:pt x="41" y="42"/>
                    <a:pt x="39" y="41"/>
                  </a:cubicBezTo>
                  <a:cubicBezTo>
                    <a:pt x="38" y="40"/>
                    <a:pt x="35" y="42"/>
                    <a:pt x="33" y="43"/>
                  </a:cubicBezTo>
                  <a:cubicBezTo>
                    <a:pt x="32" y="44"/>
                    <a:pt x="27" y="47"/>
                    <a:pt x="25" y="47"/>
                  </a:cubicBezTo>
                  <a:cubicBezTo>
                    <a:pt x="22" y="47"/>
                    <a:pt x="24" y="50"/>
                    <a:pt x="21" y="51"/>
                  </a:cubicBezTo>
                  <a:cubicBezTo>
                    <a:pt x="17" y="51"/>
                    <a:pt x="18" y="54"/>
                    <a:pt x="18" y="55"/>
                  </a:cubicBezTo>
                  <a:cubicBezTo>
                    <a:pt x="19" y="56"/>
                    <a:pt x="21" y="59"/>
                    <a:pt x="18" y="60"/>
                  </a:cubicBezTo>
                  <a:cubicBezTo>
                    <a:pt x="15" y="61"/>
                    <a:pt x="14" y="56"/>
                    <a:pt x="11" y="55"/>
                  </a:cubicBezTo>
                  <a:cubicBezTo>
                    <a:pt x="9" y="53"/>
                    <a:pt x="7" y="55"/>
                    <a:pt x="7" y="58"/>
                  </a:cubicBezTo>
                  <a:cubicBezTo>
                    <a:pt x="7" y="60"/>
                    <a:pt x="4" y="60"/>
                    <a:pt x="2" y="63"/>
                  </a:cubicBezTo>
                  <a:cubicBezTo>
                    <a:pt x="1" y="65"/>
                    <a:pt x="5" y="65"/>
                    <a:pt x="5" y="66"/>
                  </a:cubicBezTo>
                  <a:cubicBezTo>
                    <a:pt x="5" y="68"/>
                    <a:pt x="3" y="69"/>
                    <a:pt x="2" y="69"/>
                  </a:cubicBezTo>
                  <a:cubicBezTo>
                    <a:pt x="1" y="69"/>
                    <a:pt x="0" y="73"/>
                    <a:pt x="0" y="74"/>
                  </a:cubicBezTo>
                  <a:cubicBezTo>
                    <a:pt x="1" y="75"/>
                    <a:pt x="5" y="75"/>
                    <a:pt x="5" y="77"/>
                  </a:cubicBezTo>
                  <a:cubicBezTo>
                    <a:pt x="5" y="80"/>
                    <a:pt x="4" y="82"/>
                    <a:pt x="6" y="81"/>
                  </a:cubicBezTo>
                  <a:cubicBezTo>
                    <a:pt x="8" y="81"/>
                    <a:pt x="11" y="81"/>
                    <a:pt x="12" y="81"/>
                  </a:cubicBezTo>
                  <a:cubicBezTo>
                    <a:pt x="13" y="81"/>
                    <a:pt x="14" y="84"/>
                    <a:pt x="17" y="87"/>
                  </a:cubicBezTo>
                  <a:cubicBezTo>
                    <a:pt x="19" y="90"/>
                    <a:pt x="21" y="91"/>
                    <a:pt x="18" y="92"/>
                  </a:cubicBezTo>
                  <a:cubicBezTo>
                    <a:pt x="16" y="92"/>
                    <a:pt x="17" y="94"/>
                    <a:pt x="20" y="95"/>
                  </a:cubicBezTo>
                  <a:cubicBezTo>
                    <a:pt x="21" y="96"/>
                    <a:pt x="22" y="96"/>
                    <a:pt x="22" y="97"/>
                  </a:cubicBezTo>
                  <a:cubicBezTo>
                    <a:pt x="23" y="97"/>
                    <a:pt x="23" y="96"/>
                    <a:pt x="24" y="96"/>
                  </a:cubicBezTo>
                  <a:cubicBezTo>
                    <a:pt x="28" y="92"/>
                    <a:pt x="35" y="89"/>
                    <a:pt x="41" y="90"/>
                  </a:cubicBezTo>
                  <a:cubicBezTo>
                    <a:pt x="46" y="92"/>
                    <a:pt x="51" y="89"/>
                    <a:pt x="53" y="93"/>
                  </a:cubicBezTo>
                  <a:cubicBezTo>
                    <a:pt x="56" y="96"/>
                    <a:pt x="53" y="102"/>
                    <a:pt x="54" y="105"/>
                  </a:cubicBezTo>
                  <a:cubicBezTo>
                    <a:pt x="55" y="107"/>
                    <a:pt x="50" y="107"/>
                    <a:pt x="46" y="107"/>
                  </a:cubicBezTo>
                  <a:cubicBezTo>
                    <a:pt x="43" y="106"/>
                    <a:pt x="35" y="108"/>
                    <a:pt x="36" y="110"/>
                  </a:cubicBezTo>
                  <a:cubicBezTo>
                    <a:pt x="37" y="112"/>
                    <a:pt x="40" y="117"/>
                    <a:pt x="35" y="115"/>
                  </a:cubicBezTo>
                  <a:cubicBezTo>
                    <a:pt x="30" y="112"/>
                    <a:pt x="28" y="117"/>
                    <a:pt x="31" y="117"/>
                  </a:cubicBezTo>
                  <a:cubicBezTo>
                    <a:pt x="34" y="117"/>
                    <a:pt x="37" y="121"/>
                    <a:pt x="37" y="123"/>
                  </a:cubicBezTo>
                  <a:cubicBezTo>
                    <a:pt x="37" y="125"/>
                    <a:pt x="37" y="130"/>
                    <a:pt x="40" y="129"/>
                  </a:cubicBezTo>
                  <a:cubicBezTo>
                    <a:pt x="42" y="128"/>
                    <a:pt x="42" y="132"/>
                    <a:pt x="46" y="132"/>
                  </a:cubicBezTo>
                  <a:cubicBezTo>
                    <a:pt x="49" y="132"/>
                    <a:pt x="52" y="133"/>
                    <a:pt x="49" y="136"/>
                  </a:cubicBezTo>
                  <a:cubicBezTo>
                    <a:pt x="47" y="139"/>
                    <a:pt x="51" y="148"/>
                    <a:pt x="52" y="146"/>
                  </a:cubicBezTo>
                  <a:cubicBezTo>
                    <a:pt x="53" y="145"/>
                    <a:pt x="52" y="142"/>
                    <a:pt x="53" y="141"/>
                  </a:cubicBezTo>
                  <a:cubicBezTo>
                    <a:pt x="51" y="136"/>
                    <a:pt x="59" y="136"/>
                    <a:pt x="61" y="136"/>
                  </a:cubicBezTo>
                  <a:cubicBezTo>
                    <a:pt x="64" y="136"/>
                    <a:pt x="68" y="140"/>
                    <a:pt x="71" y="144"/>
                  </a:cubicBezTo>
                  <a:cubicBezTo>
                    <a:pt x="74" y="148"/>
                    <a:pt x="77" y="145"/>
                    <a:pt x="77" y="145"/>
                  </a:cubicBezTo>
                  <a:cubicBezTo>
                    <a:pt x="78" y="109"/>
                    <a:pt x="78" y="109"/>
                    <a:pt x="78" y="109"/>
                  </a:cubicBezTo>
                  <a:cubicBezTo>
                    <a:pt x="98" y="104"/>
                    <a:pt x="98" y="104"/>
                    <a:pt x="98" y="104"/>
                  </a:cubicBezTo>
                  <a:cubicBezTo>
                    <a:pt x="98" y="104"/>
                    <a:pt x="99" y="103"/>
                    <a:pt x="99" y="103"/>
                  </a:cubicBezTo>
                  <a:cubicBezTo>
                    <a:pt x="101" y="99"/>
                    <a:pt x="105" y="102"/>
                    <a:pt x="106" y="103"/>
                  </a:cubicBezTo>
                  <a:cubicBezTo>
                    <a:pt x="107" y="104"/>
                    <a:pt x="107" y="99"/>
                    <a:pt x="109" y="99"/>
                  </a:cubicBezTo>
                  <a:cubicBezTo>
                    <a:pt x="112" y="99"/>
                    <a:pt x="109" y="104"/>
                    <a:pt x="111" y="104"/>
                  </a:cubicBezTo>
                  <a:cubicBezTo>
                    <a:pt x="113" y="104"/>
                    <a:pt x="117" y="110"/>
                    <a:pt x="116" y="114"/>
                  </a:cubicBezTo>
                  <a:cubicBezTo>
                    <a:pt x="119" y="117"/>
                    <a:pt x="125" y="123"/>
                    <a:pt x="125" y="125"/>
                  </a:cubicBezTo>
                  <a:cubicBezTo>
                    <a:pt x="126" y="127"/>
                    <a:pt x="134" y="123"/>
                    <a:pt x="136" y="124"/>
                  </a:cubicBezTo>
                  <a:cubicBezTo>
                    <a:pt x="137" y="125"/>
                    <a:pt x="150" y="125"/>
                    <a:pt x="152" y="125"/>
                  </a:cubicBezTo>
                  <a:cubicBezTo>
                    <a:pt x="154" y="125"/>
                    <a:pt x="156" y="129"/>
                    <a:pt x="158" y="129"/>
                  </a:cubicBezTo>
                  <a:cubicBezTo>
                    <a:pt x="161" y="130"/>
                    <a:pt x="160" y="134"/>
                    <a:pt x="160" y="137"/>
                  </a:cubicBezTo>
                  <a:cubicBezTo>
                    <a:pt x="160" y="140"/>
                    <a:pt x="164" y="143"/>
                    <a:pt x="164" y="145"/>
                  </a:cubicBezTo>
                  <a:cubicBezTo>
                    <a:pt x="165" y="148"/>
                    <a:pt x="169" y="147"/>
                    <a:pt x="171" y="147"/>
                  </a:cubicBezTo>
                  <a:cubicBezTo>
                    <a:pt x="174" y="148"/>
                    <a:pt x="178" y="149"/>
                    <a:pt x="178" y="151"/>
                  </a:cubicBezTo>
                  <a:cubicBezTo>
                    <a:pt x="178" y="154"/>
                    <a:pt x="182" y="152"/>
                    <a:pt x="182" y="150"/>
                  </a:cubicBezTo>
                  <a:cubicBezTo>
                    <a:pt x="182" y="148"/>
                    <a:pt x="185" y="146"/>
                    <a:pt x="190" y="144"/>
                  </a:cubicBezTo>
                  <a:cubicBezTo>
                    <a:pt x="192" y="143"/>
                    <a:pt x="194" y="143"/>
                    <a:pt x="195" y="143"/>
                  </a:cubicBezTo>
                  <a:cubicBezTo>
                    <a:pt x="196" y="141"/>
                    <a:pt x="197" y="139"/>
                    <a:pt x="197" y="139"/>
                  </a:cubicBezTo>
                  <a:cubicBezTo>
                    <a:pt x="199" y="138"/>
                    <a:pt x="202" y="136"/>
                    <a:pt x="202" y="133"/>
                  </a:cubicBezTo>
                  <a:cubicBezTo>
                    <a:pt x="202" y="131"/>
                    <a:pt x="209" y="131"/>
                    <a:pt x="213" y="133"/>
                  </a:cubicBezTo>
                  <a:cubicBezTo>
                    <a:pt x="217" y="135"/>
                    <a:pt x="220" y="135"/>
                    <a:pt x="220" y="132"/>
                  </a:cubicBezTo>
                  <a:cubicBezTo>
                    <a:pt x="221" y="129"/>
                    <a:pt x="227" y="128"/>
                    <a:pt x="229" y="129"/>
                  </a:cubicBezTo>
                  <a:cubicBezTo>
                    <a:pt x="231" y="130"/>
                    <a:pt x="236" y="133"/>
                    <a:pt x="239" y="132"/>
                  </a:cubicBezTo>
                  <a:cubicBezTo>
                    <a:pt x="242" y="131"/>
                    <a:pt x="256" y="132"/>
                    <a:pt x="260" y="133"/>
                  </a:cubicBezTo>
                  <a:cubicBezTo>
                    <a:pt x="264" y="134"/>
                    <a:pt x="265" y="131"/>
                    <a:pt x="268" y="135"/>
                  </a:cubicBezTo>
                  <a:cubicBezTo>
                    <a:pt x="270" y="138"/>
                    <a:pt x="271" y="135"/>
                    <a:pt x="274" y="138"/>
                  </a:cubicBezTo>
                  <a:cubicBezTo>
                    <a:pt x="274" y="137"/>
                    <a:pt x="274" y="136"/>
                    <a:pt x="274" y="134"/>
                  </a:cubicBezTo>
                  <a:cubicBezTo>
                    <a:pt x="274" y="132"/>
                    <a:pt x="278" y="130"/>
                    <a:pt x="278" y="128"/>
                  </a:cubicBezTo>
                  <a:cubicBezTo>
                    <a:pt x="279" y="127"/>
                    <a:pt x="275" y="121"/>
                    <a:pt x="275" y="119"/>
                  </a:cubicBezTo>
                  <a:cubicBezTo>
                    <a:pt x="275" y="118"/>
                    <a:pt x="275" y="113"/>
                    <a:pt x="273" y="112"/>
                  </a:cubicBezTo>
                  <a:cubicBezTo>
                    <a:pt x="272" y="112"/>
                    <a:pt x="277" y="109"/>
                    <a:pt x="278" y="109"/>
                  </a:cubicBezTo>
                  <a:cubicBezTo>
                    <a:pt x="281" y="109"/>
                    <a:pt x="284" y="107"/>
                    <a:pt x="286" y="108"/>
                  </a:cubicBezTo>
                  <a:cubicBezTo>
                    <a:pt x="287" y="109"/>
                    <a:pt x="289" y="109"/>
                    <a:pt x="291" y="109"/>
                  </a:cubicBezTo>
                  <a:cubicBezTo>
                    <a:pt x="294" y="109"/>
                    <a:pt x="293" y="107"/>
                    <a:pt x="291" y="106"/>
                  </a:cubicBezTo>
                  <a:cubicBezTo>
                    <a:pt x="290" y="104"/>
                    <a:pt x="296" y="94"/>
                    <a:pt x="296" y="90"/>
                  </a:cubicBezTo>
                  <a:cubicBezTo>
                    <a:pt x="297" y="86"/>
                    <a:pt x="299" y="90"/>
                    <a:pt x="302" y="90"/>
                  </a:cubicBezTo>
                  <a:cubicBezTo>
                    <a:pt x="304" y="90"/>
                    <a:pt x="308" y="90"/>
                    <a:pt x="309" y="91"/>
                  </a:cubicBezTo>
                  <a:cubicBezTo>
                    <a:pt x="311" y="92"/>
                    <a:pt x="316" y="90"/>
                    <a:pt x="317" y="88"/>
                  </a:cubicBezTo>
                  <a:cubicBezTo>
                    <a:pt x="318" y="86"/>
                    <a:pt x="315" y="86"/>
                    <a:pt x="316" y="81"/>
                  </a:cubicBezTo>
                  <a:cubicBezTo>
                    <a:pt x="316" y="77"/>
                    <a:pt x="318" y="75"/>
                    <a:pt x="321" y="75"/>
                  </a:cubicBezTo>
                  <a:cubicBezTo>
                    <a:pt x="323" y="75"/>
                    <a:pt x="324" y="73"/>
                    <a:pt x="324" y="71"/>
                  </a:cubicBezTo>
                  <a:cubicBezTo>
                    <a:pt x="324" y="69"/>
                    <a:pt x="326" y="68"/>
                    <a:pt x="327" y="66"/>
                  </a:cubicBezTo>
                  <a:cubicBezTo>
                    <a:pt x="326" y="65"/>
                    <a:pt x="326" y="64"/>
                    <a:pt x="325" y="63"/>
                  </a:cubicBezTo>
                  <a:close/>
                  <a:moveTo>
                    <a:pt x="122" y="98"/>
                  </a:moveTo>
                  <a:cubicBezTo>
                    <a:pt x="121" y="99"/>
                    <a:pt x="112" y="96"/>
                    <a:pt x="111" y="95"/>
                  </a:cubicBezTo>
                  <a:cubicBezTo>
                    <a:pt x="110" y="93"/>
                    <a:pt x="124" y="95"/>
                    <a:pt x="122" y="98"/>
                  </a:cubicBezTo>
                  <a:close/>
                  <a:moveTo>
                    <a:pt x="257" y="97"/>
                  </a:moveTo>
                  <a:cubicBezTo>
                    <a:pt x="250" y="97"/>
                    <a:pt x="236" y="93"/>
                    <a:pt x="230" y="100"/>
                  </a:cubicBezTo>
                  <a:cubicBezTo>
                    <a:pt x="224" y="106"/>
                    <a:pt x="228" y="110"/>
                    <a:pt x="225" y="110"/>
                  </a:cubicBezTo>
                  <a:cubicBezTo>
                    <a:pt x="222" y="111"/>
                    <a:pt x="221" y="100"/>
                    <a:pt x="224" y="97"/>
                  </a:cubicBezTo>
                  <a:cubicBezTo>
                    <a:pt x="228" y="94"/>
                    <a:pt x="238" y="92"/>
                    <a:pt x="245" y="94"/>
                  </a:cubicBezTo>
                  <a:cubicBezTo>
                    <a:pt x="252" y="96"/>
                    <a:pt x="264" y="92"/>
                    <a:pt x="265" y="93"/>
                  </a:cubicBezTo>
                  <a:cubicBezTo>
                    <a:pt x="267" y="93"/>
                    <a:pt x="264" y="97"/>
                    <a:pt x="257" y="97"/>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221" name="Freeform 164">
              <a:extLst>
                <a:ext uri="{FF2B5EF4-FFF2-40B4-BE49-F238E27FC236}">
                  <a16:creationId xmlns:a16="http://schemas.microsoft.com/office/drawing/2014/main" xmlns="" id="{7B66BF69-6888-46DB-A7FC-0C91EA651222}"/>
                </a:ext>
              </a:extLst>
            </p:cNvPr>
            <p:cNvSpPr>
              <a:spLocks noEditPoints="1"/>
            </p:cNvSpPr>
            <p:nvPr/>
          </p:nvSpPr>
          <p:spPr bwMode="auto">
            <a:xfrm>
              <a:off x="16738822" y="1686591"/>
              <a:ext cx="3578225" cy="1377950"/>
            </a:xfrm>
            <a:custGeom>
              <a:avLst/>
              <a:gdLst>
                <a:gd name="T0" fmla="*/ 361 w 1374"/>
                <a:gd name="T1" fmla="*/ 10 h 527"/>
                <a:gd name="T2" fmla="*/ 611 w 1374"/>
                <a:gd name="T3" fmla="*/ 5 h 527"/>
                <a:gd name="T4" fmla="*/ 481 w 1374"/>
                <a:gd name="T5" fmla="*/ 150 h 527"/>
                <a:gd name="T6" fmla="*/ 663 w 1374"/>
                <a:gd name="T7" fmla="*/ 49 h 527"/>
                <a:gd name="T8" fmla="*/ 1003 w 1374"/>
                <a:gd name="T9" fmla="*/ 110 h 527"/>
                <a:gd name="T10" fmla="*/ 1054 w 1374"/>
                <a:gd name="T11" fmla="*/ 117 h 527"/>
                <a:gd name="T12" fmla="*/ 982 w 1374"/>
                <a:gd name="T13" fmla="*/ 426 h 527"/>
                <a:gd name="T14" fmla="*/ 244 w 1374"/>
                <a:gd name="T15" fmla="*/ 22 h 527"/>
                <a:gd name="T16" fmla="*/ 1332 w 1374"/>
                <a:gd name="T17" fmla="*/ 242 h 527"/>
                <a:gd name="T18" fmla="*/ 1194 w 1374"/>
                <a:gd name="T19" fmla="*/ 202 h 527"/>
                <a:gd name="T20" fmla="*/ 1063 w 1374"/>
                <a:gd name="T21" fmla="*/ 177 h 527"/>
                <a:gd name="T22" fmla="*/ 974 w 1374"/>
                <a:gd name="T23" fmla="*/ 150 h 527"/>
                <a:gd name="T24" fmla="*/ 903 w 1374"/>
                <a:gd name="T25" fmla="*/ 167 h 527"/>
                <a:gd name="T26" fmla="*/ 845 w 1374"/>
                <a:gd name="T27" fmla="*/ 138 h 527"/>
                <a:gd name="T28" fmla="*/ 748 w 1374"/>
                <a:gd name="T29" fmla="*/ 136 h 527"/>
                <a:gd name="T30" fmla="*/ 738 w 1374"/>
                <a:gd name="T31" fmla="*/ 118 h 527"/>
                <a:gd name="T32" fmla="*/ 699 w 1374"/>
                <a:gd name="T33" fmla="*/ 83 h 527"/>
                <a:gd name="T34" fmla="*/ 631 w 1374"/>
                <a:gd name="T35" fmla="*/ 96 h 527"/>
                <a:gd name="T36" fmla="*/ 547 w 1374"/>
                <a:gd name="T37" fmla="*/ 114 h 527"/>
                <a:gd name="T38" fmla="*/ 519 w 1374"/>
                <a:gd name="T39" fmla="*/ 137 h 527"/>
                <a:gd name="T40" fmla="*/ 479 w 1374"/>
                <a:gd name="T41" fmla="*/ 177 h 527"/>
                <a:gd name="T42" fmla="*/ 456 w 1374"/>
                <a:gd name="T43" fmla="*/ 204 h 527"/>
                <a:gd name="T44" fmla="*/ 422 w 1374"/>
                <a:gd name="T45" fmla="*/ 243 h 527"/>
                <a:gd name="T46" fmla="*/ 438 w 1374"/>
                <a:gd name="T47" fmla="*/ 213 h 527"/>
                <a:gd name="T48" fmla="*/ 387 w 1374"/>
                <a:gd name="T49" fmla="*/ 187 h 527"/>
                <a:gd name="T50" fmla="*/ 326 w 1374"/>
                <a:gd name="T51" fmla="*/ 196 h 527"/>
                <a:gd name="T52" fmla="*/ 269 w 1374"/>
                <a:gd name="T53" fmla="*/ 210 h 527"/>
                <a:gd name="T54" fmla="*/ 196 w 1374"/>
                <a:gd name="T55" fmla="*/ 214 h 527"/>
                <a:gd name="T56" fmla="*/ 150 w 1374"/>
                <a:gd name="T57" fmla="*/ 262 h 527"/>
                <a:gd name="T58" fmla="*/ 103 w 1374"/>
                <a:gd name="T59" fmla="*/ 233 h 527"/>
                <a:gd name="T60" fmla="*/ 107 w 1374"/>
                <a:gd name="T61" fmla="*/ 200 h 527"/>
                <a:gd name="T62" fmla="*/ 79 w 1374"/>
                <a:gd name="T63" fmla="*/ 230 h 527"/>
                <a:gd name="T64" fmla="*/ 70 w 1374"/>
                <a:gd name="T65" fmla="*/ 315 h 527"/>
                <a:gd name="T66" fmla="*/ 74 w 1374"/>
                <a:gd name="T67" fmla="*/ 370 h 527"/>
                <a:gd name="T68" fmla="*/ 115 w 1374"/>
                <a:gd name="T69" fmla="*/ 412 h 527"/>
                <a:gd name="T70" fmla="*/ 161 w 1374"/>
                <a:gd name="T71" fmla="*/ 450 h 527"/>
                <a:gd name="T72" fmla="*/ 165 w 1374"/>
                <a:gd name="T73" fmla="*/ 503 h 527"/>
                <a:gd name="T74" fmla="*/ 238 w 1374"/>
                <a:gd name="T75" fmla="*/ 476 h 527"/>
                <a:gd name="T76" fmla="*/ 237 w 1374"/>
                <a:gd name="T77" fmla="*/ 430 h 527"/>
                <a:gd name="T78" fmla="*/ 325 w 1374"/>
                <a:gd name="T79" fmla="*/ 432 h 527"/>
                <a:gd name="T80" fmla="*/ 374 w 1374"/>
                <a:gd name="T81" fmla="*/ 388 h 527"/>
                <a:gd name="T82" fmla="*/ 451 w 1374"/>
                <a:gd name="T83" fmla="*/ 395 h 527"/>
                <a:gd name="T84" fmla="*/ 541 w 1374"/>
                <a:gd name="T85" fmla="*/ 442 h 527"/>
                <a:gd name="T86" fmla="*/ 625 w 1374"/>
                <a:gd name="T87" fmla="*/ 432 h 527"/>
                <a:gd name="T88" fmla="*/ 697 w 1374"/>
                <a:gd name="T89" fmla="*/ 437 h 527"/>
                <a:gd name="T90" fmla="*/ 804 w 1374"/>
                <a:gd name="T91" fmla="*/ 419 h 527"/>
                <a:gd name="T92" fmla="*/ 888 w 1374"/>
                <a:gd name="T93" fmla="*/ 453 h 527"/>
                <a:gd name="T94" fmla="*/ 899 w 1374"/>
                <a:gd name="T95" fmla="*/ 508 h 527"/>
                <a:gd name="T96" fmla="*/ 961 w 1374"/>
                <a:gd name="T97" fmla="*/ 393 h 527"/>
                <a:gd name="T98" fmla="*/ 970 w 1374"/>
                <a:gd name="T99" fmla="*/ 348 h 527"/>
                <a:gd name="T100" fmla="*/ 1078 w 1374"/>
                <a:gd name="T101" fmla="*/ 337 h 527"/>
                <a:gd name="T102" fmla="*/ 1152 w 1374"/>
                <a:gd name="T103" fmla="*/ 299 h 527"/>
                <a:gd name="T104" fmla="*/ 1098 w 1374"/>
                <a:gd name="T105" fmla="*/ 424 h 527"/>
                <a:gd name="T106" fmla="*/ 1151 w 1374"/>
                <a:gd name="T107" fmla="*/ 352 h 527"/>
                <a:gd name="T108" fmla="*/ 1235 w 1374"/>
                <a:gd name="T109" fmla="*/ 309 h 527"/>
                <a:gd name="T110" fmla="*/ 1292 w 1374"/>
                <a:gd name="T111" fmla="*/ 262 h 527"/>
                <a:gd name="T112" fmla="*/ 1347 w 1374"/>
                <a:gd name="T113" fmla="*/ 267 h 527"/>
                <a:gd name="T114" fmla="*/ 707 w 1374"/>
                <a:gd name="T115" fmla="*/ 392 h 527"/>
                <a:gd name="T116" fmla="*/ 277 w 1374"/>
                <a:gd name="T117" fmla="*/ 23 h 527"/>
                <a:gd name="T118" fmla="*/ 282 w 1374"/>
                <a:gd name="T119" fmla="*/ 14 h 527"/>
                <a:gd name="T120" fmla="*/ 300 w 1374"/>
                <a:gd name="T121" fmla="*/ 145 h 527"/>
                <a:gd name="T122" fmla="*/ 301 w 1374"/>
                <a:gd name="T123" fmla="*/ 111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4" h="527">
                  <a:moveTo>
                    <a:pt x="21" y="381"/>
                  </a:moveTo>
                  <a:cubicBezTo>
                    <a:pt x="20" y="381"/>
                    <a:pt x="17" y="380"/>
                    <a:pt x="16" y="379"/>
                  </a:cubicBezTo>
                  <a:cubicBezTo>
                    <a:pt x="16" y="378"/>
                    <a:pt x="13" y="378"/>
                    <a:pt x="11" y="378"/>
                  </a:cubicBezTo>
                  <a:cubicBezTo>
                    <a:pt x="12" y="379"/>
                    <a:pt x="12" y="379"/>
                    <a:pt x="13" y="380"/>
                  </a:cubicBezTo>
                  <a:cubicBezTo>
                    <a:pt x="14" y="382"/>
                    <a:pt x="8" y="382"/>
                    <a:pt x="10" y="384"/>
                  </a:cubicBezTo>
                  <a:cubicBezTo>
                    <a:pt x="12" y="386"/>
                    <a:pt x="6" y="386"/>
                    <a:pt x="6" y="384"/>
                  </a:cubicBezTo>
                  <a:cubicBezTo>
                    <a:pt x="6" y="382"/>
                    <a:pt x="1" y="383"/>
                    <a:pt x="1" y="384"/>
                  </a:cubicBezTo>
                  <a:cubicBezTo>
                    <a:pt x="1" y="385"/>
                    <a:pt x="1" y="386"/>
                    <a:pt x="0" y="386"/>
                  </a:cubicBezTo>
                  <a:cubicBezTo>
                    <a:pt x="2" y="387"/>
                    <a:pt x="4" y="388"/>
                    <a:pt x="4" y="388"/>
                  </a:cubicBezTo>
                  <a:cubicBezTo>
                    <a:pt x="5" y="388"/>
                    <a:pt x="20" y="390"/>
                    <a:pt x="25" y="389"/>
                  </a:cubicBezTo>
                  <a:cubicBezTo>
                    <a:pt x="25" y="388"/>
                    <a:pt x="26" y="385"/>
                    <a:pt x="26" y="383"/>
                  </a:cubicBezTo>
                  <a:cubicBezTo>
                    <a:pt x="26" y="382"/>
                    <a:pt x="22" y="380"/>
                    <a:pt x="21" y="381"/>
                  </a:cubicBezTo>
                  <a:close/>
                  <a:moveTo>
                    <a:pt x="365" y="14"/>
                  </a:moveTo>
                  <a:cubicBezTo>
                    <a:pt x="374" y="13"/>
                    <a:pt x="374" y="8"/>
                    <a:pt x="369" y="8"/>
                  </a:cubicBezTo>
                  <a:cubicBezTo>
                    <a:pt x="364" y="7"/>
                    <a:pt x="364" y="10"/>
                    <a:pt x="361" y="10"/>
                  </a:cubicBezTo>
                  <a:cubicBezTo>
                    <a:pt x="359" y="10"/>
                    <a:pt x="350" y="12"/>
                    <a:pt x="352" y="14"/>
                  </a:cubicBezTo>
                  <a:cubicBezTo>
                    <a:pt x="354" y="16"/>
                    <a:pt x="361" y="15"/>
                    <a:pt x="365" y="14"/>
                  </a:cubicBezTo>
                  <a:close/>
                  <a:moveTo>
                    <a:pt x="411" y="147"/>
                  </a:moveTo>
                  <a:cubicBezTo>
                    <a:pt x="414" y="147"/>
                    <a:pt x="423" y="145"/>
                    <a:pt x="423" y="144"/>
                  </a:cubicBezTo>
                  <a:cubicBezTo>
                    <a:pt x="424" y="142"/>
                    <a:pt x="420" y="140"/>
                    <a:pt x="415" y="140"/>
                  </a:cubicBezTo>
                  <a:cubicBezTo>
                    <a:pt x="409" y="140"/>
                    <a:pt x="408" y="146"/>
                    <a:pt x="411" y="147"/>
                  </a:cubicBezTo>
                  <a:close/>
                  <a:moveTo>
                    <a:pt x="587" y="25"/>
                  </a:moveTo>
                  <a:cubicBezTo>
                    <a:pt x="591" y="27"/>
                    <a:pt x="590" y="28"/>
                    <a:pt x="585" y="28"/>
                  </a:cubicBezTo>
                  <a:cubicBezTo>
                    <a:pt x="580" y="28"/>
                    <a:pt x="576" y="30"/>
                    <a:pt x="579" y="31"/>
                  </a:cubicBezTo>
                  <a:cubicBezTo>
                    <a:pt x="582" y="32"/>
                    <a:pt x="581" y="35"/>
                    <a:pt x="586" y="36"/>
                  </a:cubicBezTo>
                  <a:cubicBezTo>
                    <a:pt x="591" y="37"/>
                    <a:pt x="596" y="33"/>
                    <a:pt x="596" y="30"/>
                  </a:cubicBezTo>
                  <a:cubicBezTo>
                    <a:pt x="595" y="27"/>
                    <a:pt x="613" y="25"/>
                    <a:pt x="618" y="23"/>
                  </a:cubicBezTo>
                  <a:cubicBezTo>
                    <a:pt x="623" y="22"/>
                    <a:pt x="615" y="17"/>
                    <a:pt x="620" y="17"/>
                  </a:cubicBezTo>
                  <a:cubicBezTo>
                    <a:pt x="625" y="16"/>
                    <a:pt x="623" y="14"/>
                    <a:pt x="617" y="13"/>
                  </a:cubicBezTo>
                  <a:cubicBezTo>
                    <a:pt x="610" y="12"/>
                    <a:pt x="613" y="7"/>
                    <a:pt x="611" y="5"/>
                  </a:cubicBezTo>
                  <a:cubicBezTo>
                    <a:pt x="609" y="3"/>
                    <a:pt x="608" y="7"/>
                    <a:pt x="599" y="9"/>
                  </a:cubicBezTo>
                  <a:cubicBezTo>
                    <a:pt x="591" y="10"/>
                    <a:pt x="587" y="13"/>
                    <a:pt x="590" y="14"/>
                  </a:cubicBezTo>
                  <a:cubicBezTo>
                    <a:pt x="593" y="16"/>
                    <a:pt x="590" y="20"/>
                    <a:pt x="587" y="20"/>
                  </a:cubicBezTo>
                  <a:cubicBezTo>
                    <a:pt x="583" y="19"/>
                    <a:pt x="582" y="23"/>
                    <a:pt x="587" y="25"/>
                  </a:cubicBezTo>
                  <a:close/>
                  <a:moveTo>
                    <a:pt x="599" y="32"/>
                  </a:moveTo>
                  <a:cubicBezTo>
                    <a:pt x="599" y="34"/>
                    <a:pt x="592" y="37"/>
                    <a:pt x="594" y="39"/>
                  </a:cubicBezTo>
                  <a:cubicBezTo>
                    <a:pt x="596" y="41"/>
                    <a:pt x="598" y="40"/>
                    <a:pt x="600" y="41"/>
                  </a:cubicBezTo>
                  <a:cubicBezTo>
                    <a:pt x="602" y="41"/>
                    <a:pt x="603" y="47"/>
                    <a:pt x="608" y="46"/>
                  </a:cubicBezTo>
                  <a:cubicBezTo>
                    <a:pt x="612" y="45"/>
                    <a:pt x="624" y="51"/>
                    <a:pt x="631" y="51"/>
                  </a:cubicBezTo>
                  <a:cubicBezTo>
                    <a:pt x="637" y="51"/>
                    <a:pt x="638" y="45"/>
                    <a:pt x="636" y="45"/>
                  </a:cubicBezTo>
                  <a:cubicBezTo>
                    <a:pt x="634" y="45"/>
                    <a:pt x="636" y="41"/>
                    <a:pt x="640" y="36"/>
                  </a:cubicBezTo>
                  <a:cubicBezTo>
                    <a:pt x="643" y="30"/>
                    <a:pt x="628" y="26"/>
                    <a:pt x="628" y="31"/>
                  </a:cubicBezTo>
                  <a:cubicBezTo>
                    <a:pt x="628" y="35"/>
                    <a:pt x="623" y="30"/>
                    <a:pt x="622" y="27"/>
                  </a:cubicBezTo>
                  <a:cubicBezTo>
                    <a:pt x="620" y="24"/>
                    <a:pt x="599" y="29"/>
                    <a:pt x="599" y="32"/>
                  </a:cubicBezTo>
                  <a:close/>
                  <a:moveTo>
                    <a:pt x="481" y="150"/>
                  </a:moveTo>
                  <a:cubicBezTo>
                    <a:pt x="484" y="152"/>
                    <a:pt x="487" y="151"/>
                    <a:pt x="487" y="148"/>
                  </a:cubicBezTo>
                  <a:cubicBezTo>
                    <a:pt x="486" y="144"/>
                    <a:pt x="478" y="149"/>
                    <a:pt x="481" y="150"/>
                  </a:cubicBezTo>
                  <a:close/>
                  <a:moveTo>
                    <a:pt x="581" y="8"/>
                  </a:moveTo>
                  <a:cubicBezTo>
                    <a:pt x="582" y="5"/>
                    <a:pt x="566" y="6"/>
                    <a:pt x="570" y="10"/>
                  </a:cubicBezTo>
                  <a:cubicBezTo>
                    <a:pt x="571" y="11"/>
                    <a:pt x="580" y="12"/>
                    <a:pt x="581" y="8"/>
                  </a:cubicBezTo>
                  <a:close/>
                  <a:moveTo>
                    <a:pt x="1280" y="181"/>
                  </a:moveTo>
                  <a:cubicBezTo>
                    <a:pt x="1285" y="183"/>
                    <a:pt x="1288" y="178"/>
                    <a:pt x="1292" y="180"/>
                  </a:cubicBezTo>
                  <a:cubicBezTo>
                    <a:pt x="1296" y="183"/>
                    <a:pt x="1305" y="179"/>
                    <a:pt x="1309" y="179"/>
                  </a:cubicBezTo>
                  <a:cubicBezTo>
                    <a:pt x="1313" y="178"/>
                    <a:pt x="1311" y="173"/>
                    <a:pt x="1300" y="172"/>
                  </a:cubicBezTo>
                  <a:cubicBezTo>
                    <a:pt x="1289" y="170"/>
                    <a:pt x="1275" y="178"/>
                    <a:pt x="1280" y="181"/>
                  </a:cubicBezTo>
                  <a:close/>
                  <a:moveTo>
                    <a:pt x="636" y="65"/>
                  </a:moveTo>
                  <a:cubicBezTo>
                    <a:pt x="640" y="67"/>
                    <a:pt x="650" y="63"/>
                    <a:pt x="657" y="63"/>
                  </a:cubicBezTo>
                  <a:cubicBezTo>
                    <a:pt x="665" y="63"/>
                    <a:pt x="685" y="58"/>
                    <a:pt x="685" y="54"/>
                  </a:cubicBezTo>
                  <a:cubicBezTo>
                    <a:pt x="686" y="50"/>
                    <a:pt x="678" y="50"/>
                    <a:pt x="675" y="47"/>
                  </a:cubicBezTo>
                  <a:cubicBezTo>
                    <a:pt x="672" y="44"/>
                    <a:pt x="665" y="47"/>
                    <a:pt x="663" y="49"/>
                  </a:cubicBezTo>
                  <a:cubicBezTo>
                    <a:pt x="661" y="52"/>
                    <a:pt x="660" y="50"/>
                    <a:pt x="664" y="45"/>
                  </a:cubicBezTo>
                  <a:cubicBezTo>
                    <a:pt x="669" y="41"/>
                    <a:pt x="660" y="37"/>
                    <a:pt x="659" y="40"/>
                  </a:cubicBezTo>
                  <a:cubicBezTo>
                    <a:pt x="659" y="43"/>
                    <a:pt x="651" y="40"/>
                    <a:pt x="651" y="43"/>
                  </a:cubicBezTo>
                  <a:cubicBezTo>
                    <a:pt x="651" y="46"/>
                    <a:pt x="648" y="47"/>
                    <a:pt x="648" y="49"/>
                  </a:cubicBezTo>
                  <a:cubicBezTo>
                    <a:pt x="648" y="52"/>
                    <a:pt x="642" y="48"/>
                    <a:pt x="642" y="54"/>
                  </a:cubicBezTo>
                  <a:cubicBezTo>
                    <a:pt x="642" y="60"/>
                    <a:pt x="633" y="63"/>
                    <a:pt x="636" y="65"/>
                  </a:cubicBezTo>
                  <a:close/>
                  <a:moveTo>
                    <a:pt x="943" y="114"/>
                  </a:moveTo>
                  <a:cubicBezTo>
                    <a:pt x="946" y="116"/>
                    <a:pt x="948" y="118"/>
                    <a:pt x="949" y="120"/>
                  </a:cubicBezTo>
                  <a:cubicBezTo>
                    <a:pt x="951" y="121"/>
                    <a:pt x="958" y="119"/>
                    <a:pt x="961" y="118"/>
                  </a:cubicBezTo>
                  <a:cubicBezTo>
                    <a:pt x="964" y="117"/>
                    <a:pt x="964" y="122"/>
                    <a:pt x="969" y="119"/>
                  </a:cubicBezTo>
                  <a:cubicBezTo>
                    <a:pt x="973" y="116"/>
                    <a:pt x="978" y="118"/>
                    <a:pt x="983" y="118"/>
                  </a:cubicBezTo>
                  <a:cubicBezTo>
                    <a:pt x="988" y="118"/>
                    <a:pt x="982" y="111"/>
                    <a:pt x="983" y="108"/>
                  </a:cubicBezTo>
                  <a:cubicBezTo>
                    <a:pt x="983" y="106"/>
                    <a:pt x="989" y="107"/>
                    <a:pt x="987" y="110"/>
                  </a:cubicBezTo>
                  <a:cubicBezTo>
                    <a:pt x="985" y="112"/>
                    <a:pt x="990" y="118"/>
                    <a:pt x="997" y="117"/>
                  </a:cubicBezTo>
                  <a:cubicBezTo>
                    <a:pt x="1005" y="117"/>
                    <a:pt x="999" y="112"/>
                    <a:pt x="1003" y="110"/>
                  </a:cubicBezTo>
                  <a:cubicBezTo>
                    <a:pt x="1007" y="109"/>
                    <a:pt x="1006" y="107"/>
                    <a:pt x="1001" y="103"/>
                  </a:cubicBezTo>
                  <a:cubicBezTo>
                    <a:pt x="995" y="100"/>
                    <a:pt x="988" y="102"/>
                    <a:pt x="983" y="100"/>
                  </a:cubicBezTo>
                  <a:cubicBezTo>
                    <a:pt x="978" y="98"/>
                    <a:pt x="972" y="98"/>
                    <a:pt x="972" y="103"/>
                  </a:cubicBezTo>
                  <a:cubicBezTo>
                    <a:pt x="972" y="108"/>
                    <a:pt x="962" y="97"/>
                    <a:pt x="957" y="96"/>
                  </a:cubicBezTo>
                  <a:cubicBezTo>
                    <a:pt x="951" y="94"/>
                    <a:pt x="935" y="110"/>
                    <a:pt x="943" y="114"/>
                  </a:cubicBezTo>
                  <a:close/>
                  <a:moveTo>
                    <a:pt x="993" y="145"/>
                  </a:moveTo>
                  <a:cubicBezTo>
                    <a:pt x="997" y="144"/>
                    <a:pt x="990" y="136"/>
                    <a:pt x="982" y="135"/>
                  </a:cubicBezTo>
                  <a:cubicBezTo>
                    <a:pt x="975" y="134"/>
                    <a:pt x="968" y="140"/>
                    <a:pt x="969" y="141"/>
                  </a:cubicBezTo>
                  <a:cubicBezTo>
                    <a:pt x="971" y="144"/>
                    <a:pt x="988" y="146"/>
                    <a:pt x="993" y="145"/>
                  </a:cubicBezTo>
                  <a:close/>
                  <a:moveTo>
                    <a:pt x="974" y="129"/>
                  </a:moveTo>
                  <a:cubicBezTo>
                    <a:pt x="974" y="125"/>
                    <a:pt x="961" y="130"/>
                    <a:pt x="966" y="132"/>
                  </a:cubicBezTo>
                  <a:cubicBezTo>
                    <a:pt x="969" y="133"/>
                    <a:pt x="974" y="133"/>
                    <a:pt x="974" y="129"/>
                  </a:cubicBezTo>
                  <a:close/>
                  <a:moveTo>
                    <a:pt x="1015" y="114"/>
                  </a:moveTo>
                  <a:cubicBezTo>
                    <a:pt x="1021" y="115"/>
                    <a:pt x="1024" y="120"/>
                    <a:pt x="1035" y="121"/>
                  </a:cubicBezTo>
                  <a:cubicBezTo>
                    <a:pt x="1046" y="121"/>
                    <a:pt x="1054" y="119"/>
                    <a:pt x="1054" y="117"/>
                  </a:cubicBezTo>
                  <a:cubicBezTo>
                    <a:pt x="1054" y="115"/>
                    <a:pt x="1044" y="111"/>
                    <a:pt x="1041" y="113"/>
                  </a:cubicBezTo>
                  <a:cubicBezTo>
                    <a:pt x="1038" y="115"/>
                    <a:pt x="1035" y="110"/>
                    <a:pt x="1032" y="111"/>
                  </a:cubicBezTo>
                  <a:cubicBezTo>
                    <a:pt x="1028" y="112"/>
                    <a:pt x="1022" y="112"/>
                    <a:pt x="1021" y="109"/>
                  </a:cubicBezTo>
                  <a:cubicBezTo>
                    <a:pt x="1019" y="105"/>
                    <a:pt x="1012" y="114"/>
                    <a:pt x="1015" y="114"/>
                  </a:cubicBezTo>
                  <a:close/>
                  <a:moveTo>
                    <a:pt x="221" y="18"/>
                  </a:moveTo>
                  <a:cubicBezTo>
                    <a:pt x="226" y="13"/>
                    <a:pt x="233" y="17"/>
                    <a:pt x="234" y="15"/>
                  </a:cubicBezTo>
                  <a:cubicBezTo>
                    <a:pt x="235" y="13"/>
                    <a:pt x="224" y="12"/>
                    <a:pt x="220" y="14"/>
                  </a:cubicBezTo>
                  <a:cubicBezTo>
                    <a:pt x="216" y="16"/>
                    <a:pt x="206" y="14"/>
                    <a:pt x="208" y="17"/>
                  </a:cubicBezTo>
                  <a:cubicBezTo>
                    <a:pt x="208" y="19"/>
                    <a:pt x="215" y="23"/>
                    <a:pt x="221" y="18"/>
                  </a:cubicBezTo>
                  <a:close/>
                  <a:moveTo>
                    <a:pt x="991" y="419"/>
                  </a:moveTo>
                  <a:cubicBezTo>
                    <a:pt x="988" y="413"/>
                    <a:pt x="995" y="406"/>
                    <a:pt x="990" y="402"/>
                  </a:cubicBezTo>
                  <a:cubicBezTo>
                    <a:pt x="985" y="399"/>
                    <a:pt x="987" y="391"/>
                    <a:pt x="985" y="393"/>
                  </a:cubicBezTo>
                  <a:cubicBezTo>
                    <a:pt x="982" y="394"/>
                    <a:pt x="985" y="401"/>
                    <a:pt x="981" y="401"/>
                  </a:cubicBezTo>
                  <a:cubicBezTo>
                    <a:pt x="977" y="402"/>
                    <a:pt x="981" y="405"/>
                    <a:pt x="979" y="410"/>
                  </a:cubicBezTo>
                  <a:cubicBezTo>
                    <a:pt x="978" y="415"/>
                    <a:pt x="980" y="422"/>
                    <a:pt x="982" y="426"/>
                  </a:cubicBezTo>
                  <a:cubicBezTo>
                    <a:pt x="984" y="430"/>
                    <a:pt x="979" y="453"/>
                    <a:pt x="981" y="457"/>
                  </a:cubicBezTo>
                  <a:cubicBezTo>
                    <a:pt x="983" y="461"/>
                    <a:pt x="978" y="477"/>
                    <a:pt x="980" y="479"/>
                  </a:cubicBezTo>
                  <a:cubicBezTo>
                    <a:pt x="983" y="483"/>
                    <a:pt x="981" y="475"/>
                    <a:pt x="985" y="474"/>
                  </a:cubicBezTo>
                  <a:cubicBezTo>
                    <a:pt x="989" y="473"/>
                    <a:pt x="989" y="479"/>
                    <a:pt x="992" y="480"/>
                  </a:cubicBezTo>
                  <a:cubicBezTo>
                    <a:pt x="994" y="481"/>
                    <a:pt x="993" y="472"/>
                    <a:pt x="990" y="473"/>
                  </a:cubicBezTo>
                  <a:cubicBezTo>
                    <a:pt x="988" y="473"/>
                    <a:pt x="986" y="467"/>
                    <a:pt x="985" y="463"/>
                  </a:cubicBezTo>
                  <a:cubicBezTo>
                    <a:pt x="984" y="460"/>
                    <a:pt x="987" y="455"/>
                    <a:pt x="987" y="450"/>
                  </a:cubicBezTo>
                  <a:cubicBezTo>
                    <a:pt x="987" y="446"/>
                    <a:pt x="993" y="446"/>
                    <a:pt x="997" y="449"/>
                  </a:cubicBezTo>
                  <a:cubicBezTo>
                    <a:pt x="1000" y="453"/>
                    <a:pt x="1001" y="451"/>
                    <a:pt x="999" y="448"/>
                  </a:cubicBezTo>
                  <a:cubicBezTo>
                    <a:pt x="998" y="445"/>
                    <a:pt x="993" y="426"/>
                    <a:pt x="991" y="419"/>
                  </a:cubicBezTo>
                  <a:close/>
                  <a:moveTo>
                    <a:pt x="243" y="15"/>
                  </a:moveTo>
                  <a:cubicBezTo>
                    <a:pt x="246" y="18"/>
                    <a:pt x="234" y="17"/>
                    <a:pt x="232" y="19"/>
                  </a:cubicBezTo>
                  <a:cubicBezTo>
                    <a:pt x="230" y="22"/>
                    <a:pt x="223" y="21"/>
                    <a:pt x="224" y="24"/>
                  </a:cubicBezTo>
                  <a:cubicBezTo>
                    <a:pt x="226" y="27"/>
                    <a:pt x="238" y="27"/>
                    <a:pt x="238" y="24"/>
                  </a:cubicBezTo>
                  <a:cubicBezTo>
                    <a:pt x="238" y="22"/>
                    <a:pt x="244" y="24"/>
                    <a:pt x="244" y="22"/>
                  </a:cubicBezTo>
                  <a:cubicBezTo>
                    <a:pt x="244" y="20"/>
                    <a:pt x="247" y="18"/>
                    <a:pt x="254" y="17"/>
                  </a:cubicBezTo>
                  <a:cubicBezTo>
                    <a:pt x="260" y="17"/>
                    <a:pt x="260" y="14"/>
                    <a:pt x="254" y="11"/>
                  </a:cubicBezTo>
                  <a:cubicBezTo>
                    <a:pt x="248" y="8"/>
                    <a:pt x="240" y="13"/>
                    <a:pt x="243" y="15"/>
                  </a:cubicBezTo>
                  <a:close/>
                  <a:moveTo>
                    <a:pt x="233" y="208"/>
                  </a:moveTo>
                  <a:cubicBezTo>
                    <a:pt x="239" y="213"/>
                    <a:pt x="245" y="205"/>
                    <a:pt x="248" y="204"/>
                  </a:cubicBezTo>
                  <a:cubicBezTo>
                    <a:pt x="251" y="204"/>
                    <a:pt x="246" y="201"/>
                    <a:pt x="241" y="199"/>
                  </a:cubicBezTo>
                  <a:cubicBezTo>
                    <a:pt x="235" y="198"/>
                    <a:pt x="228" y="203"/>
                    <a:pt x="233" y="208"/>
                  </a:cubicBezTo>
                  <a:close/>
                  <a:moveTo>
                    <a:pt x="1372" y="248"/>
                  </a:moveTo>
                  <a:cubicBezTo>
                    <a:pt x="1370" y="247"/>
                    <a:pt x="1362" y="242"/>
                    <a:pt x="1360" y="240"/>
                  </a:cubicBezTo>
                  <a:cubicBezTo>
                    <a:pt x="1358" y="237"/>
                    <a:pt x="1349" y="236"/>
                    <a:pt x="1349" y="237"/>
                  </a:cubicBezTo>
                  <a:cubicBezTo>
                    <a:pt x="1349" y="238"/>
                    <a:pt x="1346" y="237"/>
                    <a:pt x="1345" y="235"/>
                  </a:cubicBezTo>
                  <a:cubicBezTo>
                    <a:pt x="1345" y="234"/>
                    <a:pt x="1335" y="233"/>
                    <a:pt x="1335" y="235"/>
                  </a:cubicBezTo>
                  <a:cubicBezTo>
                    <a:pt x="1335" y="237"/>
                    <a:pt x="1337" y="237"/>
                    <a:pt x="1338" y="239"/>
                  </a:cubicBezTo>
                  <a:cubicBezTo>
                    <a:pt x="1340" y="241"/>
                    <a:pt x="1337" y="242"/>
                    <a:pt x="1337" y="244"/>
                  </a:cubicBezTo>
                  <a:cubicBezTo>
                    <a:pt x="1338" y="246"/>
                    <a:pt x="1334" y="243"/>
                    <a:pt x="1332" y="242"/>
                  </a:cubicBezTo>
                  <a:cubicBezTo>
                    <a:pt x="1331" y="240"/>
                    <a:pt x="1331" y="236"/>
                    <a:pt x="1332" y="233"/>
                  </a:cubicBezTo>
                  <a:cubicBezTo>
                    <a:pt x="1332" y="231"/>
                    <a:pt x="1329" y="231"/>
                    <a:pt x="1329" y="229"/>
                  </a:cubicBezTo>
                  <a:cubicBezTo>
                    <a:pt x="1328" y="227"/>
                    <a:pt x="1318" y="222"/>
                    <a:pt x="1313" y="220"/>
                  </a:cubicBezTo>
                  <a:cubicBezTo>
                    <a:pt x="1309" y="218"/>
                    <a:pt x="1303" y="216"/>
                    <a:pt x="1301" y="214"/>
                  </a:cubicBezTo>
                  <a:cubicBezTo>
                    <a:pt x="1300" y="212"/>
                    <a:pt x="1292" y="211"/>
                    <a:pt x="1289" y="208"/>
                  </a:cubicBezTo>
                  <a:cubicBezTo>
                    <a:pt x="1285" y="205"/>
                    <a:pt x="1272" y="199"/>
                    <a:pt x="1266" y="199"/>
                  </a:cubicBezTo>
                  <a:cubicBezTo>
                    <a:pt x="1260" y="198"/>
                    <a:pt x="1262" y="195"/>
                    <a:pt x="1259" y="196"/>
                  </a:cubicBezTo>
                  <a:cubicBezTo>
                    <a:pt x="1256" y="196"/>
                    <a:pt x="1244" y="196"/>
                    <a:pt x="1240" y="195"/>
                  </a:cubicBezTo>
                  <a:cubicBezTo>
                    <a:pt x="1236" y="194"/>
                    <a:pt x="1235" y="197"/>
                    <a:pt x="1232" y="196"/>
                  </a:cubicBezTo>
                  <a:cubicBezTo>
                    <a:pt x="1230" y="195"/>
                    <a:pt x="1216" y="190"/>
                    <a:pt x="1214" y="192"/>
                  </a:cubicBezTo>
                  <a:cubicBezTo>
                    <a:pt x="1212" y="194"/>
                    <a:pt x="1213" y="197"/>
                    <a:pt x="1211" y="197"/>
                  </a:cubicBezTo>
                  <a:cubicBezTo>
                    <a:pt x="1210" y="198"/>
                    <a:pt x="1211" y="200"/>
                    <a:pt x="1215" y="203"/>
                  </a:cubicBezTo>
                  <a:cubicBezTo>
                    <a:pt x="1219" y="207"/>
                    <a:pt x="1217" y="210"/>
                    <a:pt x="1213" y="211"/>
                  </a:cubicBezTo>
                  <a:cubicBezTo>
                    <a:pt x="1210" y="213"/>
                    <a:pt x="1204" y="210"/>
                    <a:pt x="1202" y="207"/>
                  </a:cubicBezTo>
                  <a:cubicBezTo>
                    <a:pt x="1200" y="204"/>
                    <a:pt x="1195" y="206"/>
                    <a:pt x="1194" y="202"/>
                  </a:cubicBezTo>
                  <a:cubicBezTo>
                    <a:pt x="1193" y="198"/>
                    <a:pt x="1196" y="198"/>
                    <a:pt x="1198" y="200"/>
                  </a:cubicBezTo>
                  <a:cubicBezTo>
                    <a:pt x="1200" y="202"/>
                    <a:pt x="1204" y="200"/>
                    <a:pt x="1204" y="198"/>
                  </a:cubicBezTo>
                  <a:cubicBezTo>
                    <a:pt x="1204" y="195"/>
                    <a:pt x="1198" y="193"/>
                    <a:pt x="1194" y="194"/>
                  </a:cubicBezTo>
                  <a:cubicBezTo>
                    <a:pt x="1190" y="194"/>
                    <a:pt x="1188" y="199"/>
                    <a:pt x="1184" y="201"/>
                  </a:cubicBezTo>
                  <a:cubicBezTo>
                    <a:pt x="1181" y="203"/>
                    <a:pt x="1166" y="200"/>
                    <a:pt x="1164" y="199"/>
                  </a:cubicBezTo>
                  <a:cubicBezTo>
                    <a:pt x="1163" y="197"/>
                    <a:pt x="1142" y="199"/>
                    <a:pt x="1140" y="200"/>
                  </a:cubicBezTo>
                  <a:cubicBezTo>
                    <a:pt x="1138" y="202"/>
                    <a:pt x="1139" y="207"/>
                    <a:pt x="1138" y="208"/>
                  </a:cubicBezTo>
                  <a:cubicBezTo>
                    <a:pt x="1137" y="208"/>
                    <a:pt x="1136" y="201"/>
                    <a:pt x="1136" y="200"/>
                  </a:cubicBezTo>
                  <a:cubicBezTo>
                    <a:pt x="1136" y="199"/>
                    <a:pt x="1134" y="198"/>
                    <a:pt x="1130" y="198"/>
                  </a:cubicBezTo>
                  <a:cubicBezTo>
                    <a:pt x="1126" y="198"/>
                    <a:pt x="1124" y="198"/>
                    <a:pt x="1126" y="196"/>
                  </a:cubicBezTo>
                  <a:cubicBezTo>
                    <a:pt x="1127" y="194"/>
                    <a:pt x="1124" y="193"/>
                    <a:pt x="1127" y="191"/>
                  </a:cubicBezTo>
                  <a:cubicBezTo>
                    <a:pt x="1130" y="189"/>
                    <a:pt x="1122" y="183"/>
                    <a:pt x="1114" y="179"/>
                  </a:cubicBezTo>
                  <a:cubicBezTo>
                    <a:pt x="1106" y="176"/>
                    <a:pt x="1088" y="178"/>
                    <a:pt x="1084" y="180"/>
                  </a:cubicBezTo>
                  <a:cubicBezTo>
                    <a:pt x="1079" y="181"/>
                    <a:pt x="1069" y="181"/>
                    <a:pt x="1065" y="181"/>
                  </a:cubicBezTo>
                  <a:cubicBezTo>
                    <a:pt x="1060" y="181"/>
                    <a:pt x="1064" y="179"/>
                    <a:pt x="1063" y="177"/>
                  </a:cubicBezTo>
                  <a:cubicBezTo>
                    <a:pt x="1061" y="175"/>
                    <a:pt x="1054" y="172"/>
                    <a:pt x="1053" y="174"/>
                  </a:cubicBezTo>
                  <a:cubicBezTo>
                    <a:pt x="1052" y="176"/>
                    <a:pt x="1050" y="174"/>
                    <a:pt x="1050" y="172"/>
                  </a:cubicBezTo>
                  <a:cubicBezTo>
                    <a:pt x="1050" y="171"/>
                    <a:pt x="1042" y="169"/>
                    <a:pt x="1039" y="169"/>
                  </a:cubicBezTo>
                  <a:cubicBezTo>
                    <a:pt x="1037" y="170"/>
                    <a:pt x="1035" y="167"/>
                    <a:pt x="1039" y="167"/>
                  </a:cubicBezTo>
                  <a:cubicBezTo>
                    <a:pt x="1042" y="167"/>
                    <a:pt x="1048" y="167"/>
                    <a:pt x="1045" y="163"/>
                  </a:cubicBezTo>
                  <a:cubicBezTo>
                    <a:pt x="1043" y="160"/>
                    <a:pt x="1021" y="158"/>
                    <a:pt x="1019" y="159"/>
                  </a:cubicBezTo>
                  <a:cubicBezTo>
                    <a:pt x="1017" y="160"/>
                    <a:pt x="1019" y="163"/>
                    <a:pt x="1015" y="167"/>
                  </a:cubicBezTo>
                  <a:cubicBezTo>
                    <a:pt x="1010" y="171"/>
                    <a:pt x="1005" y="168"/>
                    <a:pt x="1006" y="166"/>
                  </a:cubicBezTo>
                  <a:cubicBezTo>
                    <a:pt x="1007" y="164"/>
                    <a:pt x="1012" y="164"/>
                    <a:pt x="1012" y="162"/>
                  </a:cubicBezTo>
                  <a:cubicBezTo>
                    <a:pt x="1012" y="160"/>
                    <a:pt x="1004" y="161"/>
                    <a:pt x="1003" y="160"/>
                  </a:cubicBezTo>
                  <a:cubicBezTo>
                    <a:pt x="1002" y="158"/>
                    <a:pt x="1005" y="157"/>
                    <a:pt x="1008" y="157"/>
                  </a:cubicBezTo>
                  <a:cubicBezTo>
                    <a:pt x="1011" y="158"/>
                    <a:pt x="1016" y="159"/>
                    <a:pt x="1016" y="157"/>
                  </a:cubicBezTo>
                  <a:cubicBezTo>
                    <a:pt x="1016" y="156"/>
                    <a:pt x="1013" y="156"/>
                    <a:pt x="1008" y="155"/>
                  </a:cubicBezTo>
                  <a:cubicBezTo>
                    <a:pt x="1003" y="154"/>
                    <a:pt x="992" y="152"/>
                    <a:pt x="986" y="152"/>
                  </a:cubicBezTo>
                  <a:cubicBezTo>
                    <a:pt x="980" y="153"/>
                    <a:pt x="977" y="150"/>
                    <a:pt x="974" y="150"/>
                  </a:cubicBezTo>
                  <a:cubicBezTo>
                    <a:pt x="970" y="149"/>
                    <a:pt x="970" y="151"/>
                    <a:pt x="972" y="153"/>
                  </a:cubicBezTo>
                  <a:cubicBezTo>
                    <a:pt x="973" y="155"/>
                    <a:pt x="969" y="156"/>
                    <a:pt x="965" y="156"/>
                  </a:cubicBezTo>
                  <a:cubicBezTo>
                    <a:pt x="961" y="155"/>
                    <a:pt x="955" y="158"/>
                    <a:pt x="957" y="161"/>
                  </a:cubicBezTo>
                  <a:cubicBezTo>
                    <a:pt x="960" y="164"/>
                    <a:pt x="962" y="160"/>
                    <a:pt x="964" y="161"/>
                  </a:cubicBezTo>
                  <a:cubicBezTo>
                    <a:pt x="966" y="162"/>
                    <a:pt x="959" y="164"/>
                    <a:pt x="962" y="165"/>
                  </a:cubicBezTo>
                  <a:cubicBezTo>
                    <a:pt x="964" y="167"/>
                    <a:pt x="964" y="169"/>
                    <a:pt x="964" y="171"/>
                  </a:cubicBezTo>
                  <a:cubicBezTo>
                    <a:pt x="964" y="172"/>
                    <a:pt x="959" y="173"/>
                    <a:pt x="958" y="171"/>
                  </a:cubicBezTo>
                  <a:cubicBezTo>
                    <a:pt x="956" y="169"/>
                    <a:pt x="953" y="170"/>
                    <a:pt x="950" y="170"/>
                  </a:cubicBezTo>
                  <a:cubicBezTo>
                    <a:pt x="947" y="170"/>
                    <a:pt x="944" y="172"/>
                    <a:pt x="948" y="172"/>
                  </a:cubicBezTo>
                  <a:cubicBezTo>
                    <a:pt x="951" y="172"/>
                    <a:pt x="952" y="175"/>
                    <a:pt x="948" y="175"/>
                  </a:cubicBezTo>
                  <a:cubicBezTo>
                    <a:pt x="943" y="176"/>
                    <a:pt x="944" y="171"/>
                    <a:pt x="941" y="171"/>
                  </a:cubicBezTo>
                  <a:cubicBezTo>
                    <a:pt x="938" y="172"/>
                    <a:pt x="932" y="169"/>
                    <a:pt x="929" y="169"/>
                  </a:cubicBezTo>
                  <a:cubicBezTo>
                    <a:pt x="926" y="169"/>
                    <a:pt x="924" y="172"/>
                    <a:pt x="920" y="172"/>
                  </a:cubicBezTo>
                  <a:cubicBezTo>
                    <a:pt x="915" y="173"/>
                    <a:pt x="909" y="170"/>
                    <a:pt x="907" y="168"/>
                  </a:cubicBezTo>
                  <a:cubicBezTo>
                    <a:pt x="906" y="165"/>
                    <a:pt x="905" y="165"/>
                    <a:pt x="903" y="167"/>
                  </a:cubicBezTo>
                  <a:cubicBezTo>
                    <a:pt x="901" y="170"/>
                    <a:pt x="901" y="175"/>
                    <a:pt x="899" y="176"/>
                  </a:cubicBezTo>
                  <a:cubicBezTo>
                    <a:pt x="896" y="176"/>
                    <a:pt x="896" y="181"/>
                    <a:pt x="893" y="182"/>
                  </a:cubicBezTo>
                  <a:cubicBezTo>
                    <a:pt x="891" y="183"/>
                    <a:pt x="891" y="180"/>
                    <a:pt x="888" y="180"/>
                  </a:cubicBezTo>
                  <a:cubicBezTo>
                    <a:pt x="886" y="181"/>
                    <a:pt x="877" y="172"/>
                    <a:pt x="876" y="169"/>
                  </a:cubicBezTo>
                  <a:cubicBezTo>
                    <a:pt x="876" y="167"/>
                    <a:pt x="871" y="162"/>
                    <a:pt x="869" y="161"/>
                  </a:cubicBezTo>
                  <a:cubicBezTo>
                    <a:pt x="868" y="160"/>
                    <a:pt x="871" y="160"/>
                    <a:pt x="872" y="161"/>
                  </a:cubicBezTo>
                  <a:cubicBezTo>
                    <a:pt x="874" y="163"/>
                    <a:pt x="876" y="163"/>
                    <a:pt x="878" y="162"/>
                  </a:cubicBezTo>
                  <a:cubicBezTo>
                    <a:pt x="880" y="161"/>
                    <a:pt x="880" y="157"/>
                    <a:pt x="877" y="157"/>
                  </a:cubicBezTo>
                  <a:cubicBezTo>
                    <a:pt x="873" y="156"/>
                    <a:pt x="875" y="154"/>
                    <a:pt x="876" y="153"/>
                  </a:cubicBezTo>
                  <a:cubicBezTo>
                    <a:pt x="878" y="153"/>
                    <a:pt x="873" y="148"/>
                    <a:pt x="875" y="148"/>
                  </a:cubicBezTo>
                  <a:cubicBezTo>
                    <a:pt x="876" y="147"/>
                    <a:pt x="876" y="145"/>
                    <a:pt x="873" y="145"/>
                  </a:cubicBezTo>
                  <a:cubicBezTo>
                    <a:pt x="870" y="145"/>
                    <a:pt x="868" y="142"/>
                    <a:pt x="868" y="141"/>
                  </a:cubicBezTo>
                  <a:cubicBezTo>
                    <a:pt x="867" y="140"/>
                    <a:pt x="856" y="139"/>
                    <a:pt x="857" y="141"/>
                  </a:cubicBezTo>
                  <a:cubicBezTo>
                    <a:pt x="857" y="143"/>
                    <a:pt x="853" y="142"/>
                    <a:pt x="854" y="141"/>
                  </a:cubicBezTo>
                  <a:cubicBezTo>
                    <a:pt x="854" y="139"/>
                    <a:pt x="850" y="140"/>
                    <a:pt x="845" y="138"/>
                  </a:cubicBezTo>
                  <a:cubicBezTo>
                    <a:pt x="839" y="137"/>
                    <a:pt x="839" y="133"/>
                    <a:pt x="838" y="133"/>
                  </a:cubicBezTo>
                  <a:cubicBezTo>
                    <a:pt x="836" y="133"/>
                    <a:pt x="836" y="138"/>
                    <a:pt x="834" y="137"/>
                  </a:cubicBezTo>
                  <a:cubicBezTo>
                    <a:pt x="831" y="136"/>
                    <a:pt x="828" y="138"/>
                    <a:pt x="830" y="141"/>
                  </a:cubicBezTo>
                  <a:cubicBezTo>
                    <a:pt x="831" y="144"/>
                    <a:pt x="830" y="145"/>
                    <a:pt x="830" y="147"/>
                  </a:cubicBezTo>
                  <a:cubicBezTo>
                    <a:pt x="829" y="150"/>
                    <a:pt x="828" y="149"/>
                    <a:pt x="825" y="148"/>
                  </a:cubicBezTo>
                  <a:cubicBezTo>
                    <a:pt x="822" y="147"/>
                    <a:pt x="822" y="150"/>
                    <a:pt x="815" y="149"/>
                  </a:cubicBezTo>
                  <a:cubicBezTo>
                    <a:pt x="808" y="147"/>
                    <a:pt x="805" y="149"/>
                    <a:pt x="804" y="147"/>
                  </a:cubicBezTo>
                  <a:cubicBezTo>
                    <a:pt x="803" y="144"/>
                    <a:pt x="801" y="144"/>
                    <a:pt x="801" y="146"/>
                  </a:cubicBezTo>
                  <a:cubicBezTo>
                    <a:pt x="801" y="148"/>
                    <a:pt x="790" y="147"/>
                    <a:pt x="790" y="144"/>
                  </a:cubicBezTo>
                  <a:cubicBezTo>
                    <a:pt x="789" y="142"/>
                    <a:pt x="791" y="141"/>
                    <a:pt x="793" y="141"/>
                  </a:cubicBezTo>
                  <a:cubicBezTo>
                    <a:pt x="794" y="140"/>
                    <a:pt x="791" y="139"/>
                    <a:pt x="786" y="139"/>
                  </a:cubicBezTo>
                  <a:cubicBezTo>
                    <a:pt x="780" y="140"/>
                    <a:pt x="776" y="136"/>
                    <a:pt x="771" y="137"/>
                  </a:cubicBezTo>
                  <a:cubicBezTo>
                    <a:pt x="765" y="138"/>
                    <a:pt x="752" y="139"/>
                    <a:pt x="751" y="140"/>
                  </a:cubicBezTo>
                  <a:cubicBezTo>
                    <a:pt x="749" y="140"/>
                    <a:pt x="752" y="144"/>
                    <a:pt x="749" y="144"/>
                  </a:cubicBezTo>
                  <a:cubicBezTo>
                    <a:pt x="747" y="144"/>
                    <a:pt x="749" y="139"/>
                    <a:pt x="748" y="136"/>
                  </a:cubicBezTo>
                  <a:cubicBezTo>
                    <a:pt x="748" y="133"/>
                    <a:pt x="744" y="133"/>
                    <a:pt x="744" y="135"/>
                  </a:cubicBezTo>
                  <a:cubicBezTo>
                    <a:pt x="745" y="137"/>
                    <a:pt x="738" y="138"/>
                    <a:pt x="736" y="136"/>
                  </a:cubicBezTo>
                  <a:cubicBezTo>
                    <a:pt x="734" y="135"/>
                    <a:pt x="731" y="133"/>
                    <a:pt x="727" y="131"/>
                  </a:cubicBezTo>
                  <a:cubicBezTo>
                    <a:pt x="722" y="130"/>
                    <a:pt x="716" y="135"/>
                    <a:pt x="717" y="137"/>
                  </a:cubicBezTo>
                  <a:cubicBezTo>
                    <a:pt x="719" y="138"/>
                    <a:pt x="722" y="137"/>
                    <a:pt x="722" y="138"/>
                  </a:cubicBezTo>
                  <a:cubicBezTo>
                    <a:pt x="723" y="140"/>
                    <a:pt x="713" y="139"/>
                    <a:pt x="713" y="141"/>
                  </a:cubicBezTo>
                  <a:cubicBezTo>
                    <a:pt x="713" y="142"/>
                    <a:pt x="703" y="145"/>
                    <a:pt x="700" y="145"/>
                  </a:cubicBezTo>
                  <a:cubicBezTo>
                    <a:pt x="692" y="146"/>
                    <a:pt x="691" y="146"/>
                    <a:pt x="687" y="149"/>
                  </a:cubicBezTo>
                  <a:cubicBezTo>
                    <a:pt x="683" y="152"/>
                    <a:pt x="686" y="146"/>
                    <a:pt x="689" y="144"/>
                  </a:cubicBezTo>
                  <a:cubicBezTo>
                    <a:pt x="692" y="141"/>
                    <a:pt x="695" y="142"/>
                    <a:pt x="697" y="140"/>
                  </a:cubicBezTo>
                  <a:cubicBezTo>
                    <a:pt x="698" y="137"/>
                    <a:pt x="701" y="138"/>
                    <a:pt x="705" y="137"/>
                  </a:cubicBezTo>
                  <a:cubicBezTo>
                    <a:pt x="710" y="136"/>
                    <a:pt x="710" y="134"/>
                    <a:pt x="712" y="133"/>
                  </a:cubicBezTo>
                  <a:cubicBezTo>
                    <a:pt x="714" y="132"/>
                    <a:pt x="719" y="130"/>
                    <a:pt x="720" y="128"/>
                  </a:cubicBezTo>
                  <a:cubicBezTo>
                    <a:pt x="721" y="125"/>
                    <a:pt x="732" y="122"/>
                    <a:pt x="734" y="122"/>
                  </a:cubicBezTo>
                  <a:cubicBezTo>
                    <a:pt x="736" y="122"/>
                    <a:pt x="737" y="118"/>
                    <a:pt x="738" y="118"/>
                  </a:cubicBezTo>
                  <a:cubicBezTo>
                    <a:pt x="739" y="118"/>
                    <a:pt x="745" y="115"/>
                    <a:pt x="747" y="114"/>
                  </a:cubicBezTo>
                  <a:cubicBezTo>
                    <a:pt x="750" y="113"/>
                    <a:pt x="751" y="111"/>
                    <a:pt x="751" y="109"/>
                  </a:cubicBezTo>
                  <a:cubicBezTo>
                    <a:pt x="751" y="107"/>
                    <a:pt x="748" y="108"/>
                    <a:pt x="748" y="106"/>
                  </a:cubicBezTo>
                  <a:cubicBezTo>
                    <a:pt x="747" y="105"/>
                    <a:pt x="749" y="106"/>
                    <a:pt x="752" y="105"/>
                  </a:cubicBezTo>
                  <a:cubicBezTo>
                    <a:pt x="754" y="104"/>
                    <a:pt x="752" y="101"/>
                    <a:pt x="750" y="101"/>
                  </a:cubicBezTo>
                  <a:cubicBezTo>
                    <a:pt x="748" y="102"/>
                    <a:pt x="751" y="99"/>
                    <a:pt x="749" y="97"/>
                  </a:cubicBezTo>
                  <a:cubicBezTo>
                    <a:pt x="747" y="95"/>
                    <a:pt x="744" y="99"/>
                    <a:pt x="744" y="96"/>
                  </a:cubicBezTo>
                  <a:cubicBezTo>
                    <a:pt x="744" y="94"/>
                    <a:pt x="743" y="91"/>
                    <a:pt x="742" y="90"/>
                  </a:cubicBezTo>
                  <a:cubicBezTo>
                    <a:pt x="741" y="88"/>
                    <a:pt x="738" y="92"/>
                    <a:pt x="735" y="90"/>
                  </a:cubicBezTo>
                  <a:cubicBezTo>
                    <a:pt x="732" y="88"/>
                    <a:pt x="723" y="86"/>
                    <a:pt x="723" y="87"/>
                  </a:cubicBezTo>
                  <a:cubicBezTo>
                    <a:pt x="723" y="88"/>
                    <a:pt x="719" y="86"/>
                    <a:pt x="718" y="87"/>
                  </a:cubicBezTo>
                  <a:cubicBezTo>
                    <a:pt x="717" y="88"/>
                    <a:pt x="711" y="88"/>
                    <a:pt x="708" y="87"/>
                  </a:cubicBezTo>
                  <a:cubicBezTo>
                    <a:pt x="706" y="86"/>
                    <a:pt x="703" y="88"/>
                    <a:pt x="703" y="90"/>
                  </a:cubicBezTo>
                  <a:cubicBezTo>
                    <a:pt x="703" y="92"/>
                    <a:pt x="695" y="91"/>
                    <a:pt x="693" y="91"/>
                  </a:cubicBezTo>
                  <a:cubicBezTo>
                    <a:pt x="692" y="91"/>
                    <a:pt x="699" y="84"/>
                    <a:pt x="699" y="83"/>
                  </a:cubicBezTo>
                  <a:cubicBezTo>
                    <a:pt x="699" y="82"/>
                    <a:pt x="686" y="84"/>
                    <a:pt x="686" y="82"/>
                  </a:cubicBezTo>
                  <a:cubicBezTo>
                    <a:pt x="685" y="81"/>
                    <a:pt x="679" y="81"/>
                    <a:pt x="676" y="81"/>
                  </a:cubicBezTo>
                  <a:cubicBezTo>
                    <a:pt x="674" y="81"/>
                    <a:pt x="676" y="80"/>
                    <a:pt x="679" y="80"/>
                  </a:cubicBezTo>
                  <a:cubicBezTo>
                    <a:pt x="681" y="80"/>
                    <a:pt x="683" y="78"/>
                    <a:pt x="686" y="77"/>
                  </a:cubicBezTo>
                  <a:cubicBezTo>
                    <a:pt x="689" y="77"/>
                    <a:pt x="688" y="76"/>
                    <a:pt x="687" y="74"/>
                  </a:cubicBezTo>
                  <a:cubicBezTo>
                    <a:pt x="686" y="72"/>
                    <a:pt x="683" y="73"/>
                    <a:pt x="680" y="72"/>
                  </a:cubicBezTo>
                  <a:cubicBezTo>
                    <a:pt x="678" y="72"/>
                    <a:pt x="674" y="70"/>
                    <a:pt x="672" y="70"/>
                  </a:cubicBezTo>
                  <a:cubicBezTo>
                    <a:pt x="669" y="70"/>
                    <a:pt x="667" y="72"/>
                    <a:pt x="661" y="73"/>
                  </a:cubicBezTo>
                  <a:cubicBezTo>
                    <a:pt x="656" y="74"/>
                    <a:pt x="655" y="78"/>
                    <a:pt x="652" y="79"/>
                  </a:cubicBezTo>
                  <a:cubicBezTo>
                    <a:pt x="649" y="81"/>
                    <a:pt x="644" y="86"/>
                    <a:pt x="647" y="86"/>
                  </a:cubicBezTo>
                  <a:cubicBezTo>
                    <a:pt x="649" y="87"/>
                    <a:pt x="648" y="88"/>
                    <a:pt x="648" y="90"/>
                  </a:cubicBezTo>
                  <a:cubicBezTo>
                    <a:pt x="649" y="91"/>
                    <a:pt x="647" y="92"/>
                    <a:pt x="644" y="91"/>
                  </a:cubicBezTo>
                  <a:cubicBezTo>
                    <a:pt x="641" y="91"/>
                    <a:pt x="632" y="91"/>
                    <a:pt x="632" y="93"/>
                  </a:cubicBezTo>
                  <a:cubicBezTo>
                    <a:pt x="632" y="95"/>
                    <a:pt x="637" y="96"/>
                    <a:pt x="637" y="97"/>
                  </a:cubicBezTo>
                  <a:cubicBezTo>
                    <a:pt x="637" y="98"/>
                    <a:pt x="633" y="97"/>
                    <a:pt x="631" y="96"/>
                  </a:cubicBezTo>
                  <a:cubicBezTo>
                    <a:pt x="629" y="95"/>
                    <a:pt x="625" y="95"/>
                    <a:pt x="624" y="97"/>
                  </a:cubicBezTo>
                  <a:cubicBezTo>
                    <a:pt x="623" y="99"/>
                    <a:pt x="620" y="99"/>
                    <a:pt x="619" y="98"/>
                  </a:cubicBezTo>
                  <a:cubicBezTo>
                    <a:pt x="618" y="98"/>
                    <a:pt x="615" y="99"/>
                    <a:pt x="613" y="99"/>
                  </a:cubicBezTo>
                  <a:cubicBezTo>
                    <a:pt x="612" y="98"/>
                    <a:pt x="617" y="95"/>
                    <a:pt x="616" y="94"/>
                  </a:cubicBezTo>
                  <a:cubicBezTo>
                    <a:pt x="614" y="93"/>
                    <a:pt x="609" y="94"/>
                    <a:pt x="608" y="96"/>
                  </a:cubicBezTo>
                  <a:cubicBezTo>
                    <a:pt x="607" y="98"/>
                    <a:pt x="604" y="95"/>
                    <a:pt x="603" y="95"/>
                  </a:cubicBezTo>
                  <a:cubicBezTo>
                    <a:pt x="601" y="96"/>
                    <a:pt x="600" y="97"/>
                    <a:pt x="597" y="98"/>
                  </a:cubicBezTo>
                  <a:cubicBezTo>
                    <a:pt x="595" y="99"/>
                    <a:pt x="591" y="97"/>
                    <a:pt x="590" y="99"/>
                  </a:cubicBezTo>
                  <a:cubicBezTo>
                    <a:pt x="589" y="101"/>
                    <a:pt x="594" y="101"/>
                    <a:pt x="595" y="102"/>
                  </a:cubicBezTo>
                  <a:cubicBezTo>
                    <a:pt x="595" y="103"/>
                    <a:pt x="582" y="103"/>
                    <a:pt x="581" y="104"/>
                  </a:cubicBezTo>
                  <a:cubicBezTo>
                    <a:pt x="581" y="105"/>
                    <a:pt x="576" y="105"/>
                    <a:pt x="571" y="105"/>
                  </a:cubicBezTo>
                  <a:cubicBezTo>
                    <a:pt x="566" y="106"/>
                    <a:pt x="568" y="108"/>
                    <a:pt x="564" y="109"/>
                  </a:cubicBezTo>
                  <a:cubicBezTo>
                    <a:pt x="559" y="110"/>
                    <a:pt x="557" y="110"/>
                    <a:pt x="556" y="112"/>
                  </a:cubicBezTo>
                  <a:cubicBezTo>
                    <a:pt x="555" y="114"/>
                    <a:pt x="551" y="115"/>
                    <a:pt x="550" y="113"/>
                  </a:cubicBezTo>
                  <a:cubicBezTo>
                    <a:pt x="548" y="111"/>
                    <a:pt x="544" y="114"/>
                    <a:pt x="547" y="114"/>
                  </a:cubicBezTo>
                  <a:cubicBezTo>
                    <a:pt x="549" y="114"/>
                    <a:pt x="547" y="116"/>
                    <a:pt x="545" y="116"/>
                  </a:cubicBezTo>
                  <a:cubicBezTo>
                    <a:pt x="544" y="115"/>
                    <a:pt x="540" y="118"/>
                    <a:pt x="542" y="118"/>
                  </a:cubicBezTo>
                  <a:cubicBezTo>
                    <a:pt x="545" y="118"/>
                    <a:pt x="546" y="119"/>
                    <a:pt x="545" y="121"/>
                  </a:cubicBezTo>
                  <a:cubicBezTo>
                    <a:pt x="544" y="122"/>
                    <a:pt x="539" y="119"/>
                    <a:pt x="538" y="120"/>
                  </a:cubicBezTo>
                  <a:cubicBezTo>
                    <a:pt x="537" y="122"/>
                    <a:pt x="540" y="123"/>
                    <a:pt x="542" y="123"/>
                  </a:cubicBezTo>
                  <a:cubicBezTo>
                    <a:pt x="544" y="123"/>
                    <a:pt x="545" y="124"/>
                    <a:pt x="546" y="126"/>
                  </a:cubicBezTo>
                  <a:cubicBezTo>
                    <a:pt x="546" y="127"/>
                    <a:pt x="541" y="125"/>
                    <a:pt x="540" y="126"/>
                  </a:cubicBezTo>
                  <a:cubicBezTo>
                    <a:pt x="539" y="127"/>
                    <a:pt x="540" y="128"/>
                    <a:pt x="543" y="128"/>
                  </a:cubicBezTo>
                  <a:cubicBezTo>
                    <a:pt x="545" y="128"/>
                    <a:pt x="543" y="129"/>
                    <a:pt x="545" y="131"/>
                  </a:cubicBezTo>
                  <a:cubicBezTo>
                    <a:pt x="545" y="131"/>
                    <a:pt x="546" y="131"/>
                    <a:pt x="546" y="131"/>
                  </a:cubicBezTo>
                  <a:cubicBezTo>
                    <a:pt x="547" y="133"/>
                    <a:pt x="545" y="133"/>
                    <a:pt x="545" y="135"/>
                  </a:cubicBezTo>
                  <a:cubicBezTo>
                    <a:pt x="545" y="136"/>
                    <a:pt x="543" y="137"/>
                    <a:pt x="543" y="135"/>
                  </a:cubicBezTo>
                  <a:cubicBezTo>
                    <a:pt x="543" y="134"/>
                    <a:pt x="536" y="134"/>
                    <a:pt x="535" y="135"/>
                  </a:cubicBezTo>
                  <a:cubicBezTo>
                    <a:pt x="534" y="137"/>
                    <a:pt x="533" y="138"/>
                    <a:pt x="531" y="136"/>
                  </a:cubicBezTo>
                  <a:cubicBezTo>
                    <a:pt x="530" y="135"/>
                    <a:pt x="525" y="137"/>
                    <a:pt x="519" y="137"/>
                  </a:cubicBezTo>
                  <a:cubicBezTo>
                    <a:pt x="513" y="137"/>
                    <a:pt x="501" y="138"/>
                    <a:pt x="498" y="139"/>
                  </a:cubicBezTo>
                  <a:cubicBezTo>
                    <a:pt x="496" y="140"/>
                    <a:pt x="493" y="144"/>
                    <a:pt x="496" y="147"/>
                  </a:cubicBezTo>
                  <a:cubicBezTo>
                    <a:pt x="498" y="150"/>
                    <a:pt x="496" y="151"/>
                    <a:pt x="496" y="152"/>
                  </a:cubicBezTo>
                  <a:cubicBezTo>
                    <a:pt x="496" y="154"/>
                    <a:pt x="503" y="158"/>
                    <a:pt x="507" y="158"/>
                  </a:cubicBezTo>
                  <a:cubicBezTo>
                    <a:pt x="511" y="159"/>
                    <a:pt x="514" y="163"/>
                    <a:pt x="511" y="166"/>
                  </a:cubicBezTo>
                  <a:cubicBezTo>
                    <a:pt x="509" y="169"/>
                    <a:pt x="502" y="165"/>
                    <a:pt x="498" y="162"/>
                  </a:cubicBezTo>
                  <a:cubicBezTo>
                    <a:pt x="493" y="158"/>
                    <a:pt x="483" y="157"/>
                    <a:pt x="479" y="157"/>
                  </a:cubicBezTo>
                  <a:cubicBezTo>
                    <a:pt x="476" y="157"/>
                    <a:pt x="478" y="154"/>
                    <a:pt x="474" y="154"/>
                  </a:cubicBezTo>
                  <a:cubicBezTo>
                    <a:pt x="469" y="154"/>
                    <a:pt x="465" y="158"/>
                    <a:pt x="468" y="158"/>
                  </a:cubicBezTo>
                  <a:cubicBezTo>
                    <a:pt x="471" y="158"/>
                    <a:pt x="473" y="158"/>
                    <a:pt x="472" y="159"/>
                  </a:cubicBezTo>
                  <a:cubicBezTo>
                    <a:pt x="470" y="161"/>
                    <a:pt x="473" y="160"/>
                    <a:pt x="476" y="162"/>
                  </a:cubicBezTo>
                  <a:cubicBezTo>
                    <a:pt x="480" y="163"/>
                    <a:pt x="473" y="166"/>
                    <a:pt x="469" y="163"/>
                  </a:cubicBezTo>
                  <a:cubicBezTo>
                    <a:pt x="466" y="161"/>
                    <a:pt x="462" y="163"/>
                    <a:pt x="461" y="165"/>
                  </a:cubicBezTo>
                  <a:cubicBezTo>
                    <a:pt x="460" y="167"/>
                    <a:pt x="465" y="172"/>
                    <a:pt x="471" y="173"/>
                  </a:cubicBezTo>
                  <a:cubicBezTo>
                    <a:pt x="478" y="174"/>
                    <a:pt x="476" y="176"/>
                    <a:pt x="479" y="177"/>
                  </a:cubicBezTo>
                  <a:cubicBezTo>
                    <a:pt x="482" y="178"/>
                    <a:pt x="480" y="179"/>
                    <a:pt x="478" y="180"/>
                  </a:cubicBezTo>
                  <a:cubicBezTo>
                    <a:pt x="476" y="180"/>
                    <a:pt x="471" y="177"/>
                    <a:pt x="468" y="175"/>
                  </a:cubicBezTo>
                  <a:cubicBezTo>
                    <a:pt x="465" y="173"/>
                    <a:pt x="456" y="176"/>
                    <a:pt x="455" y="174"/>
                  </a:cubicBezTo>
                  <a:cubicBezTo>
                    <a:pt x="453" y="172"/>
                    <a:pt x="456" y="170"/>
                    <a:pt x="454" y="168"/>
                  </a:cubicBezTo>
                  <a:cubicBezTo>
                    <a:pt x="452" y="167"/>
                    <a:pt x="454" y="164"/>
                    <a:pt x="456" y="160"/>
                  </a:cubicBezTo>
                  <a:cubicBezTo>
                    <a:pt x="458" y="157"/>
                    <a:pt x="456" y="151"/>
                    <a:pt x="453" y="150"/>
                  </a:cubicBezTo>
                  <a:cubicBezTo>
                    <a:pt x="450" y="150"/>
                    <a:pt x="450" y="153"/>
                    <a:pt x="450" y="154"/>
                  </a:cubicBezTo>
                  <a:cubicBezTo>
                    <a:pt x="451" y="155"/>
                    <a:pt x="451" y="159"/>
                    <a:pt x="448" y="162"/>
                  </a:cubicBezTo>
                  <a:cubicBezTo>
                    <a:pt x="446" y="165"/>
                    <a:pt x="439" y="165"/>
                    <a:pt x="439" y="167"/>
                  </a:cubicBezTo>
                  <a:cubicBezTo>
                    <a:pt x="439" y="169"/>
                    <a:pt x="434" y="171"/>
                    <a:pt x="436" y="172"/>
                  </a:cubicBezTo>
                  <a:cubicBezTo>
                    <a:pt x="437" y="174"/>
                    <a:pt x="444" y="181"/>
                    <a:pt x="445" y="183"/>
                  </a:cubicBezTo>
                  <a:cubicBezTo>
                    <a:pt x="446" y="185"/>
                    <a:pt x="439" y="193"/>
                    <a:pt x="440" y="197"/>
                  </a:cubicBezTo>
                  <a:cubicBezTo>
                    <a:pt x="441" y="201"/>
                    <a:pt x="439" y="203"/>
                    <a:pt x="440" y="205"/>
                  </a:cubicBezTo>
                  <a:cubicBezTo>
                    <a:pt x="442" y="207"/>
                    <a:pt x="445" y="205"/>
                    <a:pt x="447" y="206"/>
                  </a:cubicBezTo>
                  <a:cubicBezTo>
                    <a:pt x="448" y="207"/>
                    <a:pt x="452" y="205"/>
                    <a:pt x="456" y="204"/>
                  </a:cubicBezTo>
                  <a:cubicBezTo>
                    <a:pt x="460" y="203"/>
                    <a:pt x="468" y="208"/>
                    <a:pt x="471" y="209"/>
                  </a:cubicBezTo>
                  <a:cubicBezTo>
                    <a:pt x="474" y="211"/>
                    <a:pt x="473" y="213"/>
                    <a:pt x="474" y="215"/>
                  </a:cubicBezTo>
                  <a:cubicBezTo>
                    <a:pt x="476" y="218"/>
                    <a:pt x="471" y="218"/>
                    <a:pt x="471" y="221"/>
                  </a:cubicBezTo>
                  <a:cubicBezTo>
                    <a:pt x="471" y="225"/>
                    <a:pt x="480" y="226"/>
                    <a:pt x="480" y="227"/>
                  </a:cubicBezTo>
                  <a:cubicBezTo>
                    <a:pt x="480" y="228"/>
                    <a:pt x="474" y="228"/>
                    <a:pt x="471" y="227"/>
                  </a:cubicBezTo>
                  <a:cubicBezTo>
                    <a:pt x="468" y="226"/>
                    <a:pt x="468" y="222"/>
                    <a:pt x="467" y="222"/>
                  </a:cubicBezTo>
                  <a:cubicBezTo>
                    <a:pt x="466" y="221"/>
                    <a:pt x="469" y="218"/>
                    <a:pt x="469" y="216"/>
                  </a:cubicBezTo>
                  <a:cubicBezTo>
                    <a:pt x="469" y="213"/>
                    <a:pt x="466" y="212"/>
                    <a:pt x="465" y="211"/>
                  </a:cubicBezTo>
                  <a:cubicBezTo>
                    <a:pt x="464" y="209"/>
                    <a:pt x="462" y="207"/>
                    <a:pt x="460" y="207"/>
                  </a:cubicBezTo>
                  <a:cubicBezTo>
                    <a:pt x="458" y="208"/>
                    <a:pt x="450" y="208"/>
                    <a:pt x="448" y="211"/>
                  </a:cubicBezTo>
                  <a:cubicBezTo>
                    <a:pt x="445" y="213"/>
                    <a:pt x="448" y="219"/>
                    <a:pt x="449" y="222"/>
                  </a:cubicBezTo>
                  <a:cubicBezTo>
                    <a:pt x="451" y="225"/>
                    <a:pt x="442" y="229"/>
                    <a:pt x="443" y="231"/>
                  </a:cubicBezTo>
                  <a:cubicBezTo>
                    <a:pt x="443" y="234"/>
                    <a:pt x="440" y="235"/>
                    <a:pt x="437" y="237"/>
                  </a:cubicBezTo>
                  <a:cubicBezTo>
                    <a:pt x="433" y="239"/>
                    <a:pt x="429" y="240"/>
                    <a:pt x="429" y="243"/>
                  </a:cubicBezTo>
                  <a:cubicBezTo>
                    <a:pt x="429" y="246"/>
                    <a:pt x="425" y="245"/>
                    <a:pt x="422" y="243"/>
                  </a:cubicBezTo>
                  <a:cubicBezTo>
                    <a:pt x="420" y="242"/>
                    <a:pt x="416" y="244"/>
                    <a:pt x="413" y="244"/>
                  </a:cubicBezTo>
                  <a:cubicBezTo>
                    <a:pt x="409" y="244"/>
                    <a:pt x="409" y="241"/>
                    <a:pt x="406" y="242"/>
                  </a:cubicBezTo>
                  <a:cubicBezTo>
                    <a:pt x="403" y="243"/>
                    <a:pt x="402" y="240"/>
                    <a:pt x="402" y="238"/>
                  </a:cubicBezTo>
                  <a:cubicBezTo>
                    <a:pt x="403" y="236"/>
                    <a:pt x="406" y="238"/>
                    <a:pt x="407" y="239"/>
                  </a:cubicBezTo>
                  <a:cubicBezTo>
                    <a:pt x="407" y="241"/>
                    <a:pt x="409" y="240"/>
                    <a:pt x="411" y="239"/>
                  </a:cubicBezTo>
                  <a:cubicBezTo>
                    <a:pt x="414" y="238"/>
                    <a:pt x="413" y="241"/>
                    <a:pt x="416" y="241"/>
                  </a:cubicBezTo>
                  <a:cubicBezTo>
                    <a:pt x="419" y="241"/>
                    <a:pt x="418" y="239"/>
                    <a:pt x="420" y="239"/>
                  </a:cubicBezTo>
                  <a:cubicBezTo>
                    <a:pt x="423" y="240"/>
                    <a:pt x="423" y="239"/>
                    <a:pt x="422" y="237"/>
                  </a:cubicBezTo>
                  <a:cubicBezTo>
                    <a:pt x="421" y="236"/>
                    <a:pt x="424" y="235"/>
                    <a:pt x="426" y="234"/>
                  </a:cubicBezTo>
                  <a:cubicBezTo>
                    <a:pt x="427" y="234"/>
                    <a:pt x="427" y="231"/>
                    <a:pt x="428" y="230"/>
                  </a:cubicBezTo>
                  <a:cubicBezTo>
                    <a:pt x="430" y="229"/>
                    <a:pt x="429" y="228"/>
                    <a:pt x="430" y="228"/>
                  </a:cubicBezTo>
                  <a:cubicBezTo>
                    <a:pt x="432" y="227"/>
                    <a:pt x="433" y="225"/>
                    <a:pt x="434" y="225"/>
                  </a:cubicBezTo>
                  <a:cubicBezTo>
                    <a:pt x="436" y="225"/>
                    <a:pt x="437" y="222"/>
                    <a:pt x="436" y="221"/>
                  </a:cubicBezTo>
                  <a:cubicBezTo>
                    <a:pt x="435" y="220"/>
                    <a:pt x="436" y="216"/>
                    <a:pt x="438" y="216"/>
                  </a:cubicBezTo>
                  <a:cubicBezTo>
                    <a:pt x="439" y="215"/>
                    <a:pt x="439" y="214"/>
                    <a:pt x="438" y="213"/>
                  </a:cubicBezTo>
                  <a:cubicBezTo>
                    <a:pt x="437" y="212"/>
                    <a:pt x="431" y="208"/>
                    <a:pt x="432" y="206"/>
                  </a:cubicBezTo>
                  <a:cubicBezTo>
                    <a:pt x="432" y="204"/>
                    <a:pt x="431" y="199"/>
                    <a:pt x="431" y="198"/>
                  </a:cubicBezTo>
                  <a:cubicBezTo>
                    <a:pt x="432" y="196"/>
                    <a:pt x="432" y="192"/>
                    <a:pt x="431" y="190"/>
                  </a:cubicBezTo>
                  <a:cubicBezTo>
                    <a:pt x="431" y="188"/>
                    <a:pt x="433" y="186"/>
                    <a:pt x="433" y="182"/>
                  </a:cubicBezTo>
                  <a:cubicBezTo>
                    <a:pt x="434" y="178"/>
                    <a:pt x="429" y="174"/>
                    <a:pt x="427" y="172"/>
                  </a:cubicBezTo>
                  <a:cubicBezTo>
                    <a:pt x="424" y="171"/>
                    <a:pt x="426" y="169"/>
                    <a:pt x="429" y="166"/>
                  </a:cubicBezTo>
                  <a:cubicBezTo>
                    <a:pt x="433" y="164"/>
                    <a:pt x="433" y="155"/>
                    <a:pt x="433" y="153"/>
                  </a:cubicBezTo>
                  <a:cubicBezTo>
                    <a:pt x="433" y="151"/>
                    <a:pt x="426" y="149"/>
                    <a:pt x="423" y="149"/>
                  </a:cubicBezTo>
                  <a:cubicBezTo>
                    <a:pt x="420" y="150"/>
                    <a:pt x="410" y="149"/>
                    <a:pt x="408" y="149"/>
                  </a:cubicBezTo>
                  <a:cubicBezTo>
                    <a:pt x="405" y="148"/>
                    <a:pt x="404" y="151"/>
                    <a:pt x="403" y="153"/>
                  </a:cubicBezTo>
                  <a:cubicBezTo>
                    <a:pt x="402" y="156"/>
                    <a:pt x="399" y="159"/>
                    <a:pt x="398" y="165"/>
                  </a:cubicBezTo>
                  <a:cubicBezTo>
                    <a:pt x="396" y="170"/>
                    <a:pt x="390" y="172"/>
                    <a:pt x="387" y="173"/>
                  </a:cubicBezTo>
                  <a:cubicBezTo>
                    <a:pt x="384" y="174"/>
                    <a:pt x="382" y="178"/>
                    <a:pt x="384" y="180"/>
                  </a:cubicBezTo>
                  <a:cubicBezTo>
                    <a:pt x="385" y="182"/>
                    <a:pt x="387" y="180"/>
                    <a:pt x="388" y="181"/>
                  </a:cubicBezTo>
                  <a:cubicBezTo>
                    <a:pt x="389" y="182"/>
                    <a:pt x="388" y="187"/>
                    <a:pt x="387" y="187"/>
                  </a:cubicBezTo>
                  <a:cubicBezTo>
                    <a:pt x="386" y="188"/>
                    <a:pt x="389" y="190"/>
                    <a:pt x="387" y="191"/>
                  </a:cubicBezTo>
                  <a:cubicBezTo>
                    <a:pt x="385" y="192"/>
                    <a:pt x="383" y="195"/>
                    <a:pt x="384" y="197"/>
                  </a:cubicBezTo>
                  <a:cubicBezTo>
                    <a:pt x="385" y="198"/>
                    <a:pt x="391" y="199"/>
                    <a:pt x="393" y="200"/>
                  </a:cubicBezTo>
                  <a:cubicBezTo>
                    <a:pt x="396" y="202"/>
                    <a:pt x="395" y="204"/>
                    <a:pt x="397" y="207"/>
                  </a:cubicBezTo>
                  <a:cubicBezTo>
                    <a:pt x="399" y="209"/>
                    <a:pt x="401" y="208"/>
                    <a:pt x="402" y="209"/>
                  </a:cubicBezTo>
                  <a:cubicBezTo>
                    <a:pt x="403" y="211"/>
                    <a:pt x="398" y="217"/>
                    <a:pt x="397" y="217"/>
                  </a:cubicBezTo>
                  <a:cubicBezTo>
                    <a:pt x="395" y="217"/>
                    <a:pt x="389" y="211"/>
                    <a:pt x="387" y="209"/>
                  </a:cubicBezTo>
                  <a:cubicBezTo>
                    <a:pt x="385" y="208"/>
                    <a:pt x="378" y="206"/>
                    <a:pt x="374" y="204"/>
                  </a:cubicBezTo>
                  <a:cubicBezTo>
                    <a:pt x="370" y="202"/>
                    <a:pt x="367" y="202"/>
                    <a:pt x="363" y="199"/>
                  </a:cubicBezTo>
                  <a:cubicBezTo>
                    <a:pt x="359" y="197"/>
                    <a:pt x="356" y="195"/>
                    <a:pt x="349" y="196"/>
                  </a:cubicBezTo>
                  <a:cubicBezTo>
                    <a:pt x="341" y="196"/>
                    <a:pt x="336" y="194"/>
                    <a:pt x="334" y="194"/>
                  </a:cubicBezTo>
                  <a:cubicBezTo>
                    <a:pt x="331" y="195"/>
                    <a:pt x="332" y="192"/>
                    <a:pt x="328" y="190"/>
                  </a:cubicBezTo>
                  <a:cubicBezTo>
                    <a:pt x="324" y="188"/>
                    <a:pt x="321" y="185"/>
                    <a:pt x="318" y="187"/>
                  </a:cubicBezTo>
                  <a:cubicBezTo>
                    <a:pt x="316" y="188"/>
                    <a:pt x="317" y="193"/>
                    <a:pt x="321" y="193"/>
                  </a:cubicBezTo>
                  <a:cubicBezTo>
                    <a:pt x="324" y="194"/>
                    <a:pt x="322" y="196"/>
                    <a:pt x="326" y="196"/>
                  </a:cubicBezTo>
                  <a:cubicBezTo>
                    <a:pt x="330" y="195"/>
                    <a:pt x="332" y="197"/>
                    <a:pt x="332" y="199"/>
                  </a:cubicBezTo>
                  <a:cubicBezTo>
                    <a:pt x="331" y="202"/>
                    <a:pt x="333" y="204"/>
                    <a:pt x="335" y="206"/>
                  </a:cubicBezTo>
                  <a:cubicBezTo>
                    <a:pt x="337" y="208"/>
                    <a:pt x="336" y="210"/>
                    <a:pt x="333" y="210"/>
                  </a:cubicBezTo>
                  <a:cubicBezTo>
                    <a:pt x="330" y="210"/>
                    <a:pt x="326" y="211"/>
                    <a:pt x="327" y="213"/>
                  </a:cubicBezTo>
                  <a:cubicBezTo>
                    <a:pt x="329" y="215"/>
                    <a:pt x="326" y="216"/>
                    <a:pt x="323" y="215"/>
                  </a:cubicBezTo>
                  <a:cubicBezTo>
                    <a:pt x="320" y="214"/>
                    <a:pt x="322" y="211"/>
                    <a:pt x="323" y="210"/>
                  </a:cubicBezTo>
                  <a:cubicBezTo>
                    <a:pt x="324" y="209"/>
                    <a:pt x="320" y="207"/>
                    <a:pt x="318" y="206"/>
                  </a:cubicBezTo>
                  <a:cubicBezTo>
                    <a:pt x="316" y="206"/>
                    <a:pt x="308" y="212"/>
                    <a:pt x="306" y="213"/>
                  </a:cubicBezTo>
                  <a:cubicBezTo>
                    <a:pt x="304" y="213"/>
                    <a:pt x="298" y="211"/>
                    <a:pt x="292" y="213"/>
                  </a:cubicBezTo>
                  <a:cubicBezTo>
                    <a:pt x="287" y="214"/>
                    <a:pt x="287" y="218"/>
                    <a:pt x="285" y="218"/>
                  </a:cubicBezTo>
                  <a:cubicBezTo>
                    <a:pt x="283" y="218"/>
                    <a:pt x="276" y="219"/>
                    <a:pt x="274" y="217"/>
                  </a:cubicBezTo>
                  <a:cubicBezTo>
                    <a:pt x="272" y="216"/>
                    <a:pt x="274" y="215"/>
                    <a:pt x="276" y="215"/>
                  </a:cubicBezTo>
                  <a:cubicBezTo>
                    <a:pt x="279" y="215"/>
                    <a:pt x="279" y="214"/>
                    <a:pt x="278" y="213"/>
                  </a:cubicBezTo>
                  <a:cubicBezTo>
                    <a:pt x="277" y="211"/>
                    <a:pt x="280" y="208"/>
                    <a:pt x="280" y="207"/>
                  </a:cubicBezTo>
                  <a:cubicBezTo>
                    <a:pt x="280" y="206"/>
                    <a:pt x="270" y="209"/>
                    <a:pt x="269" y="210"/>
                  </a:cubicBezTo>
                  <a:cubicBezTo>
                    <a:pt x="267" y="212"/>
                    <a:pt x="269" y="214"/>
                    <a:pt x="267" y="215"/>
                  </a:cubicBezTo>
                  <a:cubicBezTo>
                    <a:pt x="266" y="216"/>
                    <a:pt x="266" y="213"/>
                    <a:pt x="264" y="213"/>
                  </a:cubicBezTo>
                  <a:cubicBezTo>
                    <a:pt x="262" y="212"/>
                    <a:pt x="248" y="215"/>
                    <a:pt x="245" y="218"/>
                  </a:cubicBezTo>
                  <a:cubicBezTo>
                    <a:pt x="243" y="221"/>
                    <a:pt x="238" y="221"/>
                    <a:pt x="238" y="223"/>
                  </a:cubicBezTo>
                  <a:cubicBezTo>
                    <a:pt x="238" y="225"/>
                    <a:pt x="231" y="225"/>
                    <a:pt x="229" y="226"/>
                  </a:cubicBezTo>
                  <a:cubicBezTo>
                    <a:pt x="226" y="227"/>
                    <a:pt x="228" y="232"/>
                    <a:pt x="227" y="234"/>
                  </a:cubicBezTo>
                  <a:cubicBezTo>
                    <a:pt x="226" y="237"/>
                    <a:pt x="216" y="236"/>
                    <a:pt x="213" y="236"/>
                  </a:cubicBezTo>
                  <a:cubicBezTo>
                    <a:pt x="210" y="236"/>
                    <a:pt x="209" y="230"/>
                    <a:pt x="207" y="230"/>
                  </a:cubicBezTo>
                  <a:cubicBezTo>
                    <a:pt x="204" y="230"/>
                    <a:pt x="206" y="226"/>
                    <a:pt x="207" y="225"/>
                  </a:cubicBezTo>
                  <a:cubicBezTo>
                    <a:pt x="207" y="223"/>
                    <a:pt x="209" y="225"/>
                    <a:pt x="212" y="223"/>
                  </a:cubicBezTo>
                  <a:cubicBezTo>
                    <a:pt x="215" y="221"/>
                    <a:pt x="218" y="224"/>
                    <a:pt x="219" y="222"/>
                  </a:cubicBezTo>
                  <a:cubicBezTo>
                    <a:pt x="221" y="221"/>
                    <a:pt x="215" y="218"/>
                    <a:pt x="214" y="215"/>
                  </a:cubicBezTo>
                  <a:cubicBezTo>
                    <a:pt x="214" y="212"/>
                    <a:pt x="208" y="211"/>
                    <a:pt x="204" y="212"/>
                  </a:cubicBezTo>
                  <a:cubicBezTo>
                    <a:pt x="201" y="213"/>
                    <a:pt x="197" y="212"/>
                    <a:pt x="194" y="211"/>
                  </a:cubicBezTo>
                  <a:cubicBezTo>
                    <a:pt x="192" y="209"/>
                    <a:pt x="192" y="213"/>
                    <a:pt x="196" y="214"/>
                  </a:cubicBezTo>
                  <a:cubicBezTo>
                    <a:pt x="199" y="215"/>
                    <a:pt x="197" y="218"/>
                    <a:pt x="198" y="219"/>
                  </a:cubicBezTo>
                  <a:cubicBezTo>
                    <a:pt x="199" y="221"/>
                    <a:pt x="197" y="225"/>
                    <a:pt x="195" y="228"/>
                  </a:cubicBezTo>
                  <a:cubicBezTo>
                    <a:pt x="193" y="231"/>
                    <a:pt x="194" y="231"/>
                    <a:pt x="198" y="231"/>
                  </a:cubicBezTo>
                  <a:cubicBezTo>
                    <a:pt x="201" y="231"/>
                    <a:pt x="201" y="235"/>
                    <a:pt x="201" y="238"/>
                  </a:cubicBezTo>
                  <a:cubicBezTo>
                    <a:pt x="201" y="241"/>
                    <a:pt x="198" y="242"/>
                    <a:pt x="198" y="244"/>
                  </a:cubicBezTo>
                  <a:cubicBezTo>
                    <a:pt x="198" y="247"/>
                    <a:pt x="195" y="243"/>
                    <a:pt x="195" y="244"/>
                  </a:cubicBezTo>
                  <a:cubicBezTo>
                    <a:pt x="194" y="245"/>
                    <a:pt x="193" y="244"/>
                    <a:pt x="192" y="242"/>
                  </a:cubicBezTo>
                  <a:cubicBezTo>
                    <a:pt x="192" y="240"/>
                    <a:pt x="187" y="241"/>
                    <a:pt x="184" y="240"/>
                  </a:cubicBezTo>
                  <a:cubicBezTo>
                    <a:pt x="181" y="240"/>
                    <a:pt x="180" y="241"/>
                    <a:pt x="179" y="243"/>
                  </a:cubicBezTo>
                  <a:cubicBezTo>
                    <a:pt x="178" y="245"/>
                    <a:pt x="174" y="246"/>
                    <a:pt x="172" y="246"/>
                  </a:cubicBezTo>
                  <a:cubicBezTo>
                    <a:pt x="170" y="246"/>
                    <a:pt x="166" y="250"/>
                    <a:pt x="164" y="252"/>
                  </a:cubicBezTo>
                  <a:cubicBezTo>
                    <a:pt x="162" y="253"/>
                    <a:pt x="162" y="256"/>
                    <a:pt x="165" y="259"/>
                  </a:cubicBezTo>
                  <a:cubicBezTo>
                    <a:pt x="168" y="261"/>
                    <a:pt x="168" y="263"/>
                    <a:pt x="168" y="265"/>
                  </a:cubicBezTo>
                  <a:cubicBezTo>
                    <a:pt x="168" y="266"/>
                    <a:pt x="160" y="266"/>
                    <a:pt x="158" y="264"/>
                  </a:cubicBezTo>
                  <a:cubicBezTo>
                    <a:pt x="157" y="263"/>
                    <a:pt x="152" y="262"/>
                    <a:pt x="150" y="262"/>
                  </a:cubicBezTo>
                  <a:cubicBezTo>
                    <a:pt x="148" y="263"/>
                    <a:pt x="143" y="257"/>
                    <a:pt x="141" y="257"/>
                  </a:cubicBezTo>
                  <a:cubicBezTo>
                    <a:pt x="138" y="257"/>
                    <a:pt x="137" y="260"/>
                    <a:pt x="136" y="261"/>
                  </a:cubicBezTo>
                  <a:cubicBezTo>
                    <a:pt x="135" y="263"/>
                    <a:pt x="137" y="263"/>
                    <a:pt x="138" y="266"/>
                  </a:cubicBezTo>
                  <a:cubicBezTo>
                    <a:pt x="140" y="269"/>
                    <a:pt x="144" y="269"/>
                    <a:pt x="146" y="269"/>
                  </a:cubicBezTo>
                  <a:cubicBezTo>
                    <a:pt x="148" y="269"/>
                    <a:pt x="148" y="272"/>
                    <a:pt x="147" y="274"/>
                  </a:cubicBezTo>
                  <a:cubicBezTo>
                    <a:pt x="146" y="275"/>
                    <a:pt x="142" y="276"/>
                    <a:pt x="141" y="275"/>
                  </a:cubicBezTo>
                  <a:cubicBezTo>
                    <a:pt x="140" y="273"/>
                    <a:pt x="135" y="275"/>
                    <a:pt x="135" y="273"/>
                  </a:cubicBezTo>
                  <a:cubicBezTo>
                    <a:pt x="134" y="271"/>
                    <a:pt x="131" y="268"/>
                    <a:pt x="127" y="269"/>
                  </a:cubicBezTo>
                  <a:cubicBezTo>
                    <a:pt x="123" y="269"/>
                    <a:pt x="123" y="267"/>
                    <a:pt x="123" y="264"/>
                  </a:cubicBezTo>
                  <a:cubicBezTo>
                    <a:pt x="123" y="261"/>
                    <a:pt x="121" y="259"/>
                    <a:pt x="121" y="258"/>
                  </a:cubicBezTo>
                  <a:cubicBezTo>
                    <a:pt x="121" y="257"/>
                    <a:pt x="119" y="254"/>
                    <a:pt x="121" y="253"/>
                  </a:cubicBezTo>
                  <a:cubicBezTo>
                    <a:pt x="123" y="252"/>
                    <a:pt x="122" y="250"/>
                    <a:pt x="122" y="248"/>
                  </a:cubicBezTo>
                  <a:cubicBezTo>
                    <a:pt x="122" y="246"/>
                    <a:pt x="119" y="243"/>
                    <a:pt x="116" y="243"/>
                  </a:cubicBezTo>
                  <a:cubicBezTo>
                    <a:pt x="113" y="243"/>
                    <a:pt x="113" y="240"/>
                    <a:pt x="111" y="240"/>
                  </a:cubicBezTo>
                  <a:cubicBezTo>
                    <a:pt x="108" y="239"/>
                    <a:pt x="103" y="235"/>
                    <a:pt x="103" y="233"/>
                  </a:cubicBezTo>
                  <a:cubicBezTo>
                    <a:pt x="103" y="231"/>
                    <a:pt x="99" y="231"/>
                    <a:pt x="100" y="230"/>
                  </a:cubicBezTo>
                  <a:cubicBezTo>
                    <a:pt x="101" y="230"/>
                    <a:pt x="104" y="231"/>
                    <a:pt x="107" y="233"/>
                  </a:cubicBezTo>
                  <a:cubicBezTo>
                    <a:pt x="109" y="235"/>
                    <a:pt x="112" y="237"/>
                    <a:pt x="118" y="238"/>
                  </a:cubicBezTo>
                  <a:cubicBezTo>
                    <a:pt x="123" y="238"/>
                    <a:pt x="126" y="241"/>
                    <a:pt x="132" y="242"/>
                  </a:cubicBezTo>
                  <a:cubicBezTo>
                    <a:pt x="138" y="243"/>
                    <a:pt x="142" y="244"/>
                    <a:pt x="151" y="245"/>
                  </a:cubicBezTo>
                  <a:cubicBezTo>
                    <a:pt x="160" y="246"/>
                    <a:pt x="171" y="237"/>
                    <a:pt x="174" y="235"/>
                  </a:cubicBezTo>
                  <a:cubicBezTo>
                    <a:pt x="176" y="232"/>
                    <a:pt x="173" y="227"/>
                    <a:pt x="173" y="225"/>
                  </a:cubicBezTo>
                  <a:cubicBezTo>
                    <a:pt x="173" y="223"/>
                    <a:pt x="169" y="223"/>
                    <a:pt x="169" y="222"/>
                  </a:cubicBezTo>
                  <a:cubicBezTo>
                    <a:pt x="168" y="220"/>
                    <a:pt x="165" y="218"/>
                    <a:pt x="162" y="218"/>
                  </a:cubicBezTo>
                  <a:cubicBezTo>
                    <a:pt x="158" y="218"/>
                    <a:pt x="158" y="214"/>
                    <a:pt x="155" y="214"/>
                  </a:cubicBezTo>
                  <a:cubicBezTo>
                    <a:pt x="152" y="214"/>
                    <a:pt x="151" y="213"/>
                    <a:pt x="143" y="208"/>
                  </a:cubicBezTo>
                  <a:cubicBezTo>
                    <a:pt x="136" y="203"/>
                    <a:pt x="126" y="200"/>
                    <a:pt x="125" y="201"/>
                  </a:cubicBezTo>
                  <a:cubicBezTo>
                    <a:pt x="123" y="202"/>
                    <a:pt x="122" y="202"/>
                    <a:pt x="121" y="200"/>
                  </a:cubicBezTo>
                  <a:cubicBezTo>
                    <a:pt x="119" y="198"/>
                    <a:pt x="117" y="199"/>
                    <a:pt x="115" y="200"/>
                  </a:cubicBezTo>
                  <a:cubicBezTo>
                    <a:pt x="113" y="202"/>
                    <a:pt x="111" y="199"/>
                    <a:pt x="107" y="200"/>
                  </a:cubicBezTo>
                  <a:cubicBezTo>
                    <a:pt x="104" y="201"/>
                    <a:pt x="102" y="198"/>
                    <a:pt x="103" y="197"/>
                  </a:cubicBezTo>
                  <a:cubicBezTo>
                    <a:pt x="104" y="196"/>
                    <a:pt x="109" y="197"/>
                    <a:pt x="109" y="195"/>
                  </a:cubicBezTo>
                  <a:cubicBezTo>
                    <a:pt x="109" y="193"/>
                    <a:pt x="107" y="195"/>
                    <a:pt x="103" y="193"/>
                  </a:cubicBezTo>
                  <a:cubicBezTo>
                    <a:pt x="100" y="191"/>
                    <a:pt x="98" y="192"/>
                    <a:pt x="98" y="194"/>
                  </a:cubicBezTo>
                  <a:cubicBezTo>
                    <a:pt x="97" y="196"/>
                    <a:pt x="94" y="195"/>
                    <a:pt x="93" y="194"/>
                  </a:cubicBezTo>
                  <a:cubicBezTo>
                    <a:pt x="93" y="194"/>
                    <a:pt x="92" y="194"/>
                    <a:pt x="92" y="193"/>
                  </a:cubicBezTo>
                  <a:cubicBezTo>
                    <a:pt x="92" y="196"/>
                    <a:pt x="90" y="197"/>
                    <a:pt x="88" y="196"/>
                  </a:cubicBezTo>
                  <a:cubicBezTo>
                    <a:pt x="86" y="196"/>
                    <a:pt x="84" y="199"/>
                    <a:pt x="82" y="199"/>
                  </a:cubicBezTo>
                  <a:cubicBezTo>
                    <a:pt x="79" y="199"/>
                    <a:pt x="77" y="202"/>
                    <a:pt x="76" y="204"/>
                  </a:cubicBezTo>
                  <a:cubicBezTo>
                    <a:pt x="76" y="206"/>
                    <a:pt x="73" y="205"/>
                    <a:pt x="73" y="207"/>
                  </a:cubicBezTo>
                  <a:cubicBezTo>
                    <a:pt x="73" y="208"/>
                    <a:pt x="73" y="209"/>
                    <a:pt x="72" y="211"/>
                  </a:cubicBezTo>
                  <a:cubicBezTo>
                    <a:pt x="71" y="212"/>
                    <a:pt x="72" y="213"/>
                    <a:pt x="73" y="215"/>
                  </a:cubicBezTo>
                  <a:cubicBezTo>
                    <a:pt x="74" y="218"/>
                    <a:pt x="77" y="218"/>
                    <a:pt x="78" y="218"/>
                  </a:cubicBezTo>
                  <a:cubicBezTo>
                    <a:pt x="79" y="219"/>
                    <a:pt x="84" y="223"/>
                    <a:pt x="84" y="224"/>
                  </a:cubicBezTo>
                  <a:cubicBezTo>
                    <a:pt x="84" y="226"/>
                    <a:pt x="80" y="229"/>
                    <a:pt x="79" y="230"/>
                  </a:cubicBezTo>
                  <a:cubicBezTo>
                    <a:pt x="77" y="231"/>
                    <a:pt x="75" y="233"/>
                    <a:pt x="76" y="235"/>
                  </a:cubicBezTo>
                  <a:cubicBezTo>
                    <a:pt x="77" y="236"/>
                    <a:pt x="81" y="242"/>
                    <a:pt x="84" y="247"/>
                  </a:cubicBezTo>
                  <a:cubicBezTo>
                    <a:pt x="87" y="252"/>
                    <a:pt x="83" y="250"/>
                    <a:pt x="81" y="252"/>
                  </a:cubicBezTo>
                  <a:cubicBezTo>
                    <a:pt x="80" y="254"/>
                    <a:pt x="82" y="257"/>
                    <a:pt x="82" y="258"/>
                  </a:cubicBezTo>
                  <a:cubicBezTo>
                    <a:pt x="83" y="259"/>
                    <a:pt x="80" y="259"/>
                    <a:pt x="81" y="260"/>
                  </a:cubicBezTo>
                  <a:cubicBezTo>
                    <a:pt x="81" y="262"/>
                    <a:pt x="84" y="262"/>
                    <a:pt x="85" y="263"/>
                  </a:cubicBezTo>
                  <a:cubicBezTo>
                    <a:pt x="85" y="264"/>
                    <a:pt x="82" y="265"/>
                    <a:pt x="83" y="267"/>
                  </a:cubicBezTo>
                  <a:cubicBezTo>
                    <a:pt x="85" y="269"/>
                    <a:pt x="87" y="269"/>
                    <a:pt x="88" y="271"/>
                  </a:cubicBezTo>
                  <a:cubicBezTo>
                    <a:pt x="88" y="274"/>
                    <a:pt x="82" y="274"/>
                    <a:pt x="83" y="276"/>
                  </a:cubicBezTo>
                  <a:cubicBezTo>
                    <a:pt x="83" y="278"/>
                    <a:pt x="90" y="280"/>
                    <a:pt x="93" y="284"/>
                  </a:cubicBezTo>
                  <a:cubicBezTo>
                    <a:pt x="96" y="287"/>
                    <a:pt x="96" y="288"/>
                    <a:pt x="95" y="290"/>
                  </a:cubicBezTo>
                  <a:cubicBezTo>
                    <a:pt x="94" y="294"/>
                    <a:pt x="85" y="297"/>
                    <a:pt x="83" y="301"/>
                  </a:cubicBezTo>
                  <a:cubicBezTo>
                    <a:pt x="81" y="306"/>
                    <a:pt x="74" y="308"/>
                    <a:pt x="71" y="311"/>
                  </a:cubicBezTo>
                  <a:cubicBezTo>
                    <a:pt x="69" y="313"/>
                    <a:pt x="68" y="315"/>
                    <a:pt x="67" y="316"/>
                  </a:cubicBezTo>
                  <a:cubicBezTo>
                    <a:pt x="68" y="316"/>
                    <a:pt x="70" y="316"/>
                    <a:pt x="70" y="315"/>
                  </a:cubicBezTo>
                  <a:cubicBezTo>
                    <a:pt x="72" y="314"/>
                    <a:pt x="74" y="319"/>
                    <a:pt x="75" y="320"/>
                  </a:cubicBezTo>
                  <a:cubicBezTo>
                    <a:pt x="77" y="322"/>
                    <a:pt x="81" y="320"/>
                    <a:pt x="82" y="322"/>
                  </a:cubicBezTo>
                  <a:cubicBezTo>
                    <a:pt x="84" y="323"/>
                    <a:pt x="81" y="323"/>
                    <a:pt x="79" y="323"/>
                  </a:cubicBezTo>
                  <a:cubicBezTo>
                    <a:pt x="76" y="323"/>
                    <a:pt x="75" y="324"/>
                    <a:pt x="71" y="326"/>
                  </a:cubicBezTo>
                  <a:cubicBezTo>
                    <a:pt x="68" y="327"/>
                    <a:pt x="68" y="328"/>
                    <a:pt x="67" y="329"/>
                  </a:cubicBezTo>
                  <a:cubicBezTo>
                    <a:pt x="69" y="331"/>
                    <a:pt x="66" y="332"/>
                    <a:pt x="65" y="334"/>
                  </a:cubicBezTo>
                  <a:cubicBezTo>
                    <a:pt x="64" y="336"/>
                    <a:pt x="63" y="337"/>
                    <a:pt x="63" y="338"/>
                  </a:cubicBezTo>
                  <a:cubicBezTo>
                    <a:pt x="62" y="340"/>
                    <a:pt x="63" y="341"/>
                    <a:pt x="63" y="343"/>
                  </a:cubicBezTo>
                  <a:cubicBezTo>
                    <a:pt x="63" y="345"/>
                    <a:pt x="64" y="345"/>
                    <a:pt x="65" y="347"/>
                  </a:cubicBezTo>
                  <a:cubicBezTo>
                    <a:pt x="66" y="349"/>
                    <a:pt x="64" y="349"/>
                    <a:pt x="63" y="350"/>
                  </a:cubicBezTo>
                  <a:cubicBezTo>
                    <a:pt x="62" y="351"/>
                    <a:pt x="62" y="353"/>
                    <a:pt x="64" y="354"/>
                  </a:cubicBezTo>
                  <a:cubicBezTo>
                    <a:pt x="65" y="355"/>
                    <a:pt x="65" y="357"/>
                    <a:pt x="65" y="358"/>
                  </a:cubicBezTo>
                  <a:cubicBezTo>
                    <a:pt x="64" y="360"/>
                    <a:pt x="66" y="362"/>
                    <a:pt x="67" y="363"/>
                  </a:cubicBezTo>
                  <a:cubicBezTo>
                    <a:pt x="69" y="364"/>
                    <a:pt x="68" y="368"/>
                    <a:pt x="69" y="369"/>
                  </a:cubicBezTo>
                  <a:cubicBezTo>
                    <a:pt x="71" y="369"/>
                    <a:pt x="72" y="370"/>
                    <a:pt x="74" y="370"/>
                  </a:cubicBezTo>
                  <a:cubicBezTo>
                    <a:pt x="76" y="369"/>
                    <a:pt x="77" y="370"/>
                    <a:pt x="78" y="372"/>
                  </a:cubicBezTo>
                  <a:cubicBezTo>
                    <a:pt x="79" y="373"/>
                    <a:pt x="80" y="373"/>
                    <a:pt x="82" y="372"/>
                  </a:cubicBezTo>
                  <a:cubicBezTo>
                    <a:pt x="84" y="371"/>
                    <a:pt x="89" y="373"/>
                    <a:pt x="90" y="374"/>
                  </a:cubicBezTo>
                  <a:cubicBezTo>
                    <a:pt x="91" y="374"/>
                    <a:pt x="90" y="377"/>
                    <a:pt x="90" y="379"/>
                  </a:cubicBezTo>
                  <a:cubicBezTo>
                    <a:pt x="90" y="381"/>
                    <a:pt x="89" y="384"/>
                    <a:pt x="91" y="385"/>
                  </a:cubicBezTo>
                  <a:cubicBezTo>
                    <a:pt x="93" y="386"/>
                    <a:pt x="93" y="389"/>
                    <a:pt x="95" y="390"/>
                  </a:cubicBezTo>
                  <a:cubicBezTo>
                    <a:pt x="97" y="391"/>
                    <a:pt x="98" y="394"/>
                    <a:pt x="100" y="395"/>
                  </a:cubicBezTo>
                  <a:cubicBezTo>
                    <a:pt x="101" y="395"/>
                    <a:pt x="104" y="397"/>
                    <a:pt x="104" y="399"/>
                  </a:cubicBezTo>
                  <a:cubicBezTo>
                    <a:pt x="104" y="400"/>
                    <a:pt x="102" y="402"/>
                    <a:pt x="100" y="402"/>
                  </a:cubicBezTo>
                  <a:cubicBezTo>
                    <a:pt x="98" y="403"/>
                    <a:pt x="95" y="400"/>
                    <a:pt x="94" y="402"/>
                  </a:cubicBezTo>
                  <a:cubicBezTo>
                    <a:pt x="93" y="403"/>
                    <a:pt x="95" y="405"/>
                    <a:pt x="95" y="409"/>
                  </a:cubicBezTo>
                  <a:cubicBezTo>
                    <a:pt x="96" y="413"/>
                    <a:pt x="97" y="413"/>
                    <a:pt x="99" y="413"/>
                  </a:cubicBezTo>
                  <a:cubicBezTo>
                    <a:pt x="101" y="413"/>
                    <a:pt x="101" y="412"/>
                    <a:pt x="103" y="411"/>
                  </a:cubicBezTo>
                  <a:cubicBezTo>
                    <a:pt x="104" y="411"/>
                    <a:pt x="107" y="412"/>
                    <a:pt x="108" y="411"/>
                  </a:cubicBezTo>
                  <a:cubicBezTo>
                    <a:pt x="109" y="411"/>
                    <a:pt x="114" y="410"/>
                    <a:pt x="115" y="412"/>
                  </a:cubicBezTo>
                  <a:cubicBezTo>
                    <a:pt x="115" y="413"/>
                    <a:pt x="116" y="417"/>
                    <a:pt x="116" y="418"/>
                  </a:cubicBezTo>
                  <a:cubicBezTo>
                    <a:pt x="115" y="419"/>
                    <a:pt x="117" y="421"/>
                    <a:pt x="117" y="422"/>
                  </a:cubicBezTo>
                  <a:cubicBezTo>
                    <a:pt x="118" y="424"/>
                    <a:pt x="122" y="423"/>
                    <a:pt x="123" y="424"/>
                  </a:cubicBezTo>
                  <a:cubicBezTo>
                    <a:pt x="125" y="424"/>
                    <a:pt x="127" y="428"/>
                    <a:pt x="127" y="430"/>
                  </a:cubicBezTo>
                  <a:cubicBezTo>
                    <a:pt x="126" y="432"/>
                    <a:pt x="129" y="432"/>
                    <a:pt x="130" y="432"/>
                  </a:cubicBezTo>
                  <a:cubicBezTo>
                    <a:pt x="131" y="431"/>
                    <a:pt x="132" y="433"/>
                    <a:pt x="134" y="433"/>
                  </a:cubicBezTo>
                  <a:cubicBezTo>
                    <a:pt x="135" y="434"/>
                    <a:pt x="137" y="434"/>
                    <a:pt x="138" y="433"/>
                  </a:cubicBezTo>
                  <a:cubicBezTo>
                    <a:pt x="139" y="432"/>
                    <a:pt x="142" y="432"/>
                    <a:pt x="142" y="433"/>
                  </a:cubicBezTo>
                  <a:cubicBezTo>
                    <a:pt x="143" y="434"/>
                    <a:pt x="146" y="436"/>
                    <a:pt x="146" y="437"/>
                  </a:cubicBezTo>
                  <a:cubicBezTo>
                    <a:pt x="146" y="438"/>
                    <a:pt x="150" y="437"/>
                    <a:pt x="153" y="438"/>
                  </a:cubicBezTo>
                  <a:cubicBezTo>
                    <a:pt x="155" y="439"/>
                    <a:pt x="157" y="439"/>
                    <a:pt x="159" y="440"/>
                  </a:cubicBezTo>
                  <a:cubicBezTo>
                    <a:pt x="162" y="441"/>
                    <a:pt x="164" y="441"/>
                    <a:pt x="164" y="443"/>
                  </a:cubicBezTo>
                  <a:cubicBezTo>
                    <a:pt x="164" y="444"/>
                    <a:pt x="162" y="445"/>
                    <a:pt x="162" y="446"/>
                  </a:cubicBezTo>
                  <a:cubicBezTo>
                    <a:pt x="162" y="447"/>
                    <a:pt x="164" y="447"/>
                    <a:pt x="164" y="448"/>
                  </a:cubicBezTo>
                  <a:cubicBezTo>
                    <a:pt x="164" y="450"/>
                    <a:pt x="161" y="450"/>
                    <a:pt x="161" y="450"/>
                  </a:cubicBezTo>
                  <a:cubicBezTo>
                    <a:pt x="160" y="451"/>
                    <a:pt x="162" y="453"/>
                    <a:pt x="163" y="453"/>
                  </a:cubicBezTo>
                  <a:cubicBezTo>
                    <a:pt x="163" y="454"/>
                    <a:pt x="161" y="457"/>
                    <a:pt x="161" y="458"/>
                  </a:cubicBezTo>
                  <a:cubicBezTo>
                    <a:pt x="161" y="459"/>
                    <a:pt x="156" y="458"/>
                    <a:pt x="155" y="458"/>
                  </a:cubicBezTo>
                  <a:cubicBezTo>
                    <a:pt x="153" y="458"/>
                    <a:pt x="150" y="462"/>
                    <a:pt x="148" y="462"/>
                  </a:cubicBezTo>
                  <a:cubicBezTo>
                    <a:pt x="147" y="463"/>
                    <a:pt x="148" y="465"/>
                    <a:pt x="148" y="466"/>
                  </a:cubicBezTo>
                  <a:cubicBezTo>
                    <a:pt x="152" y="465"/>
                    <a:pt x="156" y="465"/>
                    <a:pt x="156" y="466"/>
                  </a:cubicBezTo>
                  <a:cubicBezTo>
                    <a:pt x="157" y="467"/>
                    <a:pt x="148" y="471"/>
                    <a:pt x="146" y="472"/>
                  </a:cubicBezTo>
                  <a:cubicBezTo>
                    <a:pt x="145" y="472"/>
                    <a:pt x="150" y="475"/>
                    <a:pt x="149" y="476"/>
                  </a:cubicBezTo>
                  <a:cubicBezTo>
                    <a:pt x="149" y="478"/>
                    <a:pt x="144" y="478"/>
                    <a:pt x="145" y="481"/>
                  </a:cubicBezTo>
                  <a:cubicBezTo>
                    <a:pt x="145" y="484"/>
                    <a:pt x="143" y="484"/>
                    <a:pt x="140" y="484"/>
                  </a:cubicBezTo>
                  <a:cubicBezTo>
                    <a:pt x="138" y="484"/>
                    <a:pt x="137" y="486"/>
                    <a:pt x="138" y="486"/>
                  </a:cubicBezTo>
                  <a:cubicBezTo>
                    <a:pt x="139" y="487"/>
                    <a:pt x="139" y="490"/>
                    <a:pt x="144" y="491"/>
                  </a:cubicBezTo>
                  <a:cubicBezTo>
                    <a:pt x="150" y="493"/>
                    <a:pt x="155" y="498"/>
                    <a:pt x="159" y="502"/>
                  </a:cubicBezTo>
                  <a:cubicBezTo>
                    <a:pt x="160" y="503"/>
                    <a:pt x="161" y="503"/>
                    <a:pt x="161" y="504"/>
                  </a:cubicBezTo>
                  <a:cubicBezTo>
                    <a:pt x="163" y="503"/>
                    <a:pt x="164" y="503"/>
                    <a:pt x="165" y="503"/>
                  </a:cubicBezTo>
                  <a:cubicBezTo>
                    <a:pt x="167" y="502"/>
                    <a:pt x="172" y="504"/>
                    <a:pt x="174" y="505"/>
                  </a:cubicBezTo>
                  <a:cubicBezTo>
                    <a:pt x="177" y="507"/>
                    <a:pt x="186" y="505"/>
                    <a:pt x="187" y="506"/>
                  </a:cubicBezTo>
                  <a:cubicBezTo>
                    <a:pt x="188" y="508"/>
                    <a:pt x="190" y="510"/>
                    <a:pt x="192" y="510"/>
                  </a:cubicBezTo>
                  <a:cubicBezTo>
                    <a:pt x="193" y="510"/>
                    <a:pt x="195" y="513"/>
                    <a:pt x="197" y="512"/>
                  </a:cubicBezTo>
                  <a:cubicBezTo>
                    <a:pt x="198" y="511"/>
                    <a:pt x="203" y="511"/>
                    <a:pt x="205" y="511"/>
                  </a:cubicBezTo>
                  <a:cubicBezTo>
                    <a:pt x="206" y="511"/>
                    <a:pt x="206" y="512"/>
                    <a:pt x="208" y="512"/>
                  </a:cubicBezTo>
                  <a:cubicBezTo>
                    <a:pt x="209" y="512"/>
                    <a:pt x="209" y="517"/>
                    <a:pt x="210" y="517"/>
                  </a:cubicBezTo>
                  <a:cubicBezTo>
                    <a:pt x="211" y="517"/>
                    <a:pt x="215" y="520"/>
                    <a:pt x="218" y="521"/>
                  </a:cubicBezTo>
                  <a:cubicBezTo>
                    <a:pt x="220" y="521"/>
                    <a:pt x="223" y="525"/>
                    <a:pt x="224" y="525"/>
                  </a:cubicBezTo>
                  <a:cubicBezTo>
                    <a:pt x="225" y="525"/>
                    <a:pt x="227" y="527"/>
                    <a:pt x="227" y="525"/>
                  </a:cubicBezTo>
                  <a:cubicBezTo>
                    <a:pt x="228" y="523"/>
                    <a:pt x="231" y="524"/>
                    <a:pt x="232" y="521"/>
                  </a:cubicBezTo>
                  <a:cubicBezTo>
                    <a:pt x="228" y="516"/>
                    <a:pt x="223" y="510"/>
                    <a:pt x="223" y="507"/>
                  </a:cubicBezTo>
                  <a:cubicBezTo>
                    <a:pt x="223" y="503"/>
                    <a:pt x="225" y="500"/>
                    <a:pt x="220" y="496"/>
                  </a:cubicBezTo>
                  <a:cubicBezTo>
                    <a:pt x="215" y="492"/>
                    <a:pt x="221" y="489"/>
                    <a:pt x="224" y="485"/>
                  </a:cubicBezTo>
                  <a:cubicBezTo>
                    <a:pt x="227" y="481"/>
                    <a:pt x="234" y="479"/>
                    <a:pt x="238" y="476"/>
                  </a:cubicBezTo>
                  <a:cubicBezTo>
                    <a:pt x="238" y="475"/>
                    <a:pt x="237" y="475"/>
                    <a:pt x="236" y="474"/>
                  </a:cubicBezTo>
                  <a:cubicBezTo>
                    <a:pt x="233" y="473"/>
                    <a:pt x="232" y="471"/>
                    <a:pt x="234" y="471"/>
                  </a:cubicBezTo>
                  <a:cubicBezTo>
                    <a:pt x="237" y="470"/>
                    <a:pt x="235" y="469"/>
                    <a:pt x="233" y="466"/>
                  </a:cubicBezTo>
                  <a:cubicBezTo>
                    <a:pt x="230" y="463"/>
                    <a:pt x="229" y="460"/>
                    <a:pt x="228" y="460"/>
                  </a:cubicBezTo>
                  <a:cubicBezTo>
                    <a:pt x="227" y="460"/>
                    <a:pt x="224" y="460"/>
                    <a:pt x="222" y="460"/>
                  </a:cubicBezTo>
                  <a:cubicBezTo>
                    <a:pt x="220" y="461"/>
                    <a:pt x="221" y="459"/>
                    <a:pt x="221" y="456"/>
                  </a:cubicBezTo>
                  <a:cubicBezTo>
                    <a:pt x="221" y="454"/>
                    <a:pt x="217" y="454"/>
                    <a:pt x="216" y="453"/>
                  </a:cubicBezTo>
                  <a:cubicBezTo>
                    <a:pt x="216" y="452"/>
                    <a:pt x="217" y="448"/>
                    <a:pt x="218" y="448"/>
                  </a:cubicBezTo>
                  <a:cubicBezTo>
                    <a:pt x="219" y="448"/>
                    <a:pt x="221" y="447"/>
                    <a:pt x="221" y="445"/>
                  </a:cubicBezTo>
                  <a:cubicBezTo>
                    <a:pt x="221" y="444"/>
                    <a:pt x="217" y="444"/>
                    <a:pt x="218" y="442"/>
                  </a:cubicBezTo>
                  <a:cubicBezTo>
                    <a:pt x="220" y="439"/>
                    <a:pt x="223" y="439"/>
                    <a:pt x="223" y="437"/>
                  </a:cubicBezTo>
                  <a:cubicBezTo>
                    <a:pt x="223" y="434"/>
                    <a:pt x="225" y="432"/>
                    <a:pt x="227" y="434"/>
                  </a:cubicBezTo>
                  <a:cubicBezTo>
                    <a:pt x="230" y="435"/>
                    <a:pt x="231" y="440"/>
                    <a:pt x="234" y="439"/>
                  </a:cubicBezTo>
                  <a:cubicBezTo>
                    <a:pt x="237" y="438"/>
                    <a:pt x="235" y="435"/>
                    <a:pt x="234" y="434"/>
                  </a:cubicBezTo>
                  <a:cubicBezTo>
                    <a:pt x="234" y="433"/>
                    <a:pt x="233" y="430"/>
                    <a:pt x="237" y="430"/>
                  </a:cubicBezTo>
                  <a:cubicBezTo>
                    <a:pt x="240" y="429"/>
                    <a:pt x="238" y="426"/>
                    <a:pt x="241" y="426"/>
                  </a:cubicBezTo>
                  <a:cubicBezTo>
                    <a:pt x="243" y="426"/>
                    <a:pt x="248" y="423"/>
                    <a:pt x="249" y="422"/>
                  </a:cubicBezTo>
                  <a:cubicBezTo>
                    <a:pt x="251" y="421"/>
                    <a:pt x="254" y="419"/>
                    <a:pt x="255" y="420"/>
                  </a:cubicBezTo>
                  <a:cubicBezTo>
                    <a:pt x="257" y="421"/>
                    <a:pt x="259" y="423"/>
                    <a:pt x="260" y="420"/>
                  </a:cubicBezTo>
                  <a:cubicBezTo>
                    <a:pt x="261" y="418"/>
                    <a:pt x="265" y="419"/>
                    <a:pt x="265" y="420"/>
                  </a:cubicBezTo>
                  <a:cubicBezTo>
                    <a:pt x="266" y="422"/>
                    <a:pt x="273" y="422"/>
                    <a:pt x="275" y="423"/>
                  </a:cubicBezTo>
                  <a:cubicBezTo>
                    <a:pt x="277" y="424"/>
                    <a:pt x="281" y="427"/>
                    <a:pt x="281" y="429"/>
                  </a:cubicBezTo>
                  <a:cubicBezTo>
                    <a:pt x="281" y="430"/>
                    <a:pt x="284" y="432"/>
                    <a:pt x="284" y="430"/>
                  </a:cubicBezTo>
                  <a:cubicBezTo>
                    <a:pt x="284" y="427"/>
                    <a:pt x="285" y="428"/>
                    <a:pt x="288" y="430"/>
                  </a:cubicBezTo>
                  <a:cubicBezTo>
                    <a:pt x="291" y="432"/>
                    <a:pt x="295" y="431"/>
                    <a:pt x="296" y="429"/>
                  </a:cubicBezTo>
                  <a:cubicBezTo>
                    <a:pt x="296" y="427"/>
                    <a:pt x="302" y="425"/>
                    <a:pt x="304" y="427"/>
                  </a:cubicBezTo>
                  <a:cubicBezTo>
                    <a:pt x="305" y="428"/>
                    <a:pt x="306" y="429"/>
                    <a:pt x="308" y="427"/>
                  </a:cubicBezTo>
                  <a:cubicBezTo>
                    <a:pt x="310" y="425"/>
                    <a:pt x="315" y="425"/>
                    <a:pt x="316" y="427"/>
                  </a:cubicBezTo>
                  <a:cubicBezTo>
                    <a:pt x="317" y="429"/>
                    <a:pt x="319" y="430"/>
                    <a:pt x="321" y="430"/>
                  </a:cubicBezTo>
                  <a:cubicBezTo>
                    <a:pt x="324" y="430"/>
                    <a:pt x="324" y="433"/>
                    <a:pt x="325" y="432"/>
                  </a:cubicBezTo>
                  <a:cubicBezTo>
                    <a:pt x="327" y="432"/>
                    <a:pt x="326" y="428"/>
                    <a:pt x="328" y="428"/>
                  </a:cubicBezTo>
                  <a:cubicBezTo>
                    <a:pt x="330" y="429"/>
                    <a:pt x="331" y="431"/>
                    <a:pt x="334" y="431"/>
                  </a:cubicBezTo>
                  <a:cubicBezTo>
                    <a:pt x="337" y="431"/>
                    <a:pt x="339" y="430"/>
                    <a:pt x="339" y="428"/>
                  </a:cubicBezTo>
                  <a:cubicBezTo>
                    <a:pt x="339" y="426"/>
                    <a:pt x="339" y="422"/>
                    <a:pt x="337" y="422"/>
                  </a:cubicBezTo>
                  <a:cubicBezTo>
                    <a:pt x="335" y="422"/>
                    <a:pt x="334" y="420"/>
                    <a:pt x="331" y="420"/>
                  </a:cubicBezTo>
                  <a:cubicBezTo>
                    <a:pt x="329" y="420"/>
                    <a:pt x="327" y="417"/>
                    <a:pt x="329" y="416"/>
                  </a:cubicBezTo>
                  <a:cubicBezTo>
                    <a:pt x="331" y="415"/>
                    <a:pt x="335" y="414"/>
                    <a:pt x="334" y="412"/>
                  </a:cubicBezTo>
                  <a:cubicBezTo>
                    <a:pt x="334" y="410"/>
                    <a:pt x="333" y="407"/>
                    <a:pt x="336" y="406"/>
                  </a:cubicBezTo>
                  <a:cubicBezTo>
                    <a:pt x="339" y="406"/>
                    <a:pt x="345" y="406"/>
                    <a:pt x="344" y="405"/>
                  </a:cubicBezTo>
                  <a:cubicBezTo>
                    <a:pt x="344" y="404"/>
                    <a:pt x="338" y="403"/>
                    <a:pt x="337" y="401"/>
                  </a:cubicBezTo>
                  <a:cubicBezTo>
                    <a:pt x="336" y="399"/>
                    <a:pt x="336" y="395"/>
                    <a:pt x="337" y="394"/>
                  </a:cubicBezTo>
                  <a:cubicBezTo>
                    <a:pt x="338" y="394"/>
                    <a:pt x="341" y="395"/>
                    <a:pt x="344" y="394"/>
                  </a:cubicBezTo>
                  <a:cubicBezTo>
                    <a:pt x="346" y="393"/>
                    <a:pt x="350" y="395"/>
                    <a:pt x="353" y="393"/>
                  </a:cubicBezTo>
                  <a:cubicBezTo>
                    <a:pt x="356" y="391"/>
                    <a:pt x="362" y="391"/>
                    <a:pt x="365" y="391"/>
                  </a:cubicBezTo>
                  <a:cubicBezTo>
                    <a:pt x="369" y="391"/>
                    <a:pt x="371" y="388"/>
                    <a:pt x="374" y="388"/>
                  </a:cubicBezTo>
                  <a:cubicBezTo>
                    <a:pt x="376" y="388"/>
                    <a:pt x="383" y="387"/>
                    <a:pt x="385" y="386"/>
                  </a:cubicBezTo>
                  <a:cubicBezTo>
                    <a:pt x="387" y="385"/>
                    <a:pt x="396" y="384"/>
                    <a:pt x="397" y="382"/>
                  </a:cubicBezTo>
                  <a:cubicBezTo>
                    <a:pt x="397" y="380"/>
                    <a:pt x="405" y="379"/>
                    <a:pt x="407" y="380"/>
                  </a:cubicBezTo>
                  <a:cubicBezTo>
                    <a:pt x="409" y="381"/>
                    <a:pt x="411" y="381"/>
                    <a:pt x="413" y="381"/>
                  </a:cubicBezTo>
                  <a:cubicBezTo>
                    <a:pt x="415" y="380"/>
                    <a:pt x="418" y="382"/>
                    <a:pt x="418" y="384"/>
                  </a:cubicBezTo>
                  <a:cubicBezTo>
                    <a:pt x="418" y="386"/>
                    <a:pt x="420" y="388"/>
                    <a:pt x="420" y="389"/>
                  </a:cubicBezTo>
                  <a:cubicBezTo>
                    <a:pt x="419" y="391"/>
                    <a:pt x="418" y="392"/>
                    <a:pt x="419" y="393"/>
                  </a:cubicBezTo>
                  <a:cubicBezTo>
                    <a:pt x="420" y="394"/>
                    <a:pt x="425" y="393"/>
                    <a:pt x="426" y="392"/>
                  </a:cubicBezTo>
                  <a:cubicBezTo>
                    <a:pt x="427" y="390"/>
                    <a:pt x="429" y="392"/>
                    <a:pt x="429" y="394"/>
                  </a:cubicBezTo>
                  <a:cubicBezTo>
                    <a:pt x="429" y="395"/>
                    <a:pt x="431" y="396"/>
                    <a:pt x="431" y="394"/>
                  </a:cubicBezTo>
                  <a:cubicBezTo>
                    <a:pt x="431" y="392"/>
                    <a:pt x="434" y="394"/>
                    <a:pt x="435" y="395"/>
                  </a:cubicBezTo>
                  <a:cubicBezTo>
                    <a:pt x="436" y="396"/>
                    <a:pt x="439" y="393"/>
                    <a:pt x="439" y="395"/>
                  </a:cubicBezTo>
                  <a:cubicBezTo>
                    <a:pt x="439" y="397"/>
                    <a:pt x="434" y="398"/>
                    <a:pt x="436" y="400"/>
                  </a:cubicBezTo>
                  <a:cubicBezTo>
                    <a:pt x="439" y="402"/>
                    <a:pt x="440" y="398"/>
                    <a:pt x="443" y="399"/>
                  </a:cubicBezTo>
                  <a:cubicBezTo>
                    <a:pt x="445" y="400"/>
                    <a:pt x="449" y="396"/>
                    <a:pt x="451" y="395"/>
                  </a:cubicBezTo>
                  <a:cubicBezTo>
                    <a:pt x="454" y="395"/>
                    <a:pt x="456" y="392"/>
                    <a:pt x="459" y="391"/>
                  </a:cubicBezTo>
                  <a:cubicBezTo>
                    <a:pt x="461" y="390"/>
                    <a:pt x="465" y="390"/>
                    <a:pt x="464" y="392"/>
                  </a:cubicBezTo>
                  <a:cubicBezTo>
                    <a:pt x="463" y="393"/>
                    <a:pt x="461" y="396"/>
                    <a:pt x="466" y="398"/>
                  </a:cubicBezTo>
                  <a:cubicBezTo>
                    <a:pt x="472" y="400"/>
                    <a:pt x="478" y="410"/>
                    <a:pt x="481" y="415"/>
                  </a:cubicBezTo>
                  <a:cubicBezTo>
                    <a:pt x="484" y="420"/>
                    <a:pt x="488" y="430"/>
                    <a:pt x="489" y="430"/>
                  </a:cubicBezTo>
                  <a:cubicBezTo>
                    <a:pt x="491" y="430"/>
                    <a:pt x="492" y="425"/>
                    <a:pt x="494" y="425"/>
                  </a:cubicBezTo>
                  <a:cubicBezTo>
                    <a:pt x="496" y="424"/>
                    <a:pt x="498" y="429"/>
                    <a:pt x="500" y="429"/>
                  </a:cubicBezTo>
                  <a:cubicBezTo>
                    <a:pt x="503" y="430"/>
                    <a:pt x="506" y="431"/>
                    <a:pt x="508" y="430"/>
                  </a:cubicBezTo>
                  <a:cubicBezTo>
                    <a:pt x="510" y="430"/>
                    <a:pt x="515" y="427"/>
                    <a:pt x="516" y="428"/>
                  </a:cubicBezTo>
                  <a:cubicBezTo>
                    <a:pt x="518" y="429"/>
                    <a:pt x="520" y="429"/>
                    <a:pt x="521" y="432"/>
                  </a:cubicBezTo>
                  <a:cubicBezTo>
                    <a:pt x="523" y="436"/>
                    <a:pt x="525" y="436"/>
                    <a:pt x="526" y="436"/>
                  </a:cubicBezTo>
                  <a:cubicBezTo>
                    <a:pt x="528" y="436"/>
                    <a:pt x="528" y="438"/>
                    <a:pt x="528" y="439"/>
                  </a:cubicBezTo>
                  <a:cubicBezTo>
                    <a:pt x="528" y="441"/>
                    <a:pt x="531" y="443"/>
                    <a:pt x="532" y="443"/>
                  </a:cubicBezTo>
                  <a:cubicBezTo>
                    <a:pt x="534" y="443"/>
                    <a:pt x="537" y="442"/>
                    <a:pt x="539" y="442"/>
                  </a:cubicBezTo>
                  <a:cubicBezTo>
                    <a:pt x="540" y="441"/>
                    <a:pt x="541" y="440"/>
                    <a:pt x="541" y="442"/>
                  </a:cubicBezTo>
                  <a:cubicBezTo>
                    <a:pt x="542" y="443"/>
                    <a:pt x="544" y="446"/>
                    <a:pt x="545" y="446"/>
                  </a:cubicBezTo>
                  <a:cubicBezTo>
                    <a:pt x="547" y="446"/>
                    <a:pt x="549" y="447"/>
                    <a:pt x="550" y="446"/>
                  </a:cubicBezTo>
                  <a:cubicBezTo>
                    <a:pt x="550" y="445"/>
                    <a:pt x="554" y="444"/>
                    <a:pt x="555" y="444"/>
                  </a:cubicBezTo>
                  <a:cubicBezTo>
                    <a:pt x="557" y="444"/>
                    <a:pt x="562" y="443"/>
                    <a:pt x="563" y="441"/>
                  </a:cubicBezTo>
                  <a:cubicBezTo>
                    <a:pt x="564" y="438"/>
                    <a:pt x="568" y="438"/>
                    <a:pt x="569" y="437"/>
                  </a:cubicBezTo>
                  <a:cubicBezTo>
                    <a:pt x="570" y="436"/>
                    <a:pt x="573" y="435"/>
                    <a:pt x="574" y="433"/>
                  </a:cubicBezTo>
                  <a:cubicBezTo>
                    <a:pt x="575" y="432"/>
                    <a:pt x="579" y="432"/>
                    <a:pt x="579" y="431"/>
                  </a:cubicBezTo>
                  <a:cubicBezTo>
                    <a:pt x="580" y="430"/>
                    <a:pt x="583" y="430"/>
                    <a:pt x="585" y="430"/>
                  </a:cubicBezTo>
                  <a:cubicBezTo>
                    <a:pt x="587" y="431"/>
                    <a:pt x="595" y="432"/>
                    <a:pt x="596" y="432"/>
                  </a:cubicBezTo>
                  <a:cubicBezTo>
                    <a:pt x="598" y="432"/>
                    <a:pt x="598" y="436"/>
                    <a:pt x="599" y="437"/>
                  </a:cubicBezTo>
                  <a:cubicBezTo>
                    <a:pt x="600" y="437"/>
                    <a:pt x="604" y="440"/>
                    <a:pt x="606" y="439"/>
                  </a:cubicBezTo>
                  <a:cubicBezTo>
                    <a:pt x="607" y="438"/>
                    <a:pt x="610" y="437"/>
                    <a:pt x="612" y="439"/>
                  </a:cubicBezTo>
                  <a:cubicBezTo>
                    <a:pt x="614" y="440"/>
                    <a:pt x="617" y="442"/>
                    <a:pt x="618" y="440"/>
                  </a:cubicBezTo>
                  <a:cubicBezTo>
                    <a:pt x="619" y="439"/>
                    <a:pt x="624" y="438"/>
                    <a:pt x="624" y="437"/>
                  </a:cubicBezTo>
                  <a:cubicBezTo>
                    <a:pt x="625" y="436"/>
                    <a:pt x="626" y="433"/>
                    <a:pt x="625" y="432"/>
                  </a:cubicBezTo>
                  <a:cubicBezTo>
                    <a:pt x="623" y="431"/>
                    <a:pt x="622" y="427"/>
                    <a:pt x="622" y="426"/>
                  </a:cubicBezTo>
                  <a:cubicBezTo>
                    <a:pt x="621" y="424"/>
                    <a:pt x="625" y="423"/>
                    <a:pt x="625" y="422"/>
                  </a:cubicBezTo>
                  <a:cubicBezTo>
                    <a:pt x="626" y="420"/>
                    <a:pt x="628" y="420"/>
                    <a:pt x="629" y="419"/>
                  </a:cubicBezTo>
                  <a:cubicBezTo>
                    <a:pt x="630" y="418"/>
                    <a:pt x="631" y="416"/>
                    <a:pt x="632" y="416"/>
                  </a:cubicBezTo>
                  <a:cubicBezTo>
                    <a:pt x="634" y="417"/>
                    <a:pt x="637" y="418"/>
                    <a:pt x="638" y="418"/>
                  </a:cubicBezTo>
                  <a:cubicBezTo>
                    <a:pt x="639" y="419"/>
                    <a:pt x="642" y="420"/>
                    <a:pt x="643" y="420"/>
                  </a:cubicBezTo>
                  <a:cubicBezTo>
                    <a:pt x="645" y="420"/>
                    <a:pt x="647" y="421"/>
                    <a:pt x="649" y="422"/>
                  </a:cubicBezTo>
                  <a:cubicBezTo>
                    <a:pt x="651" y="423"/>
                    <a:pt x="656" y="423"/>
                    <a:pt x="657" y="424"/>
                  </a:cubicBezTo>
                  <a:cubicBezTo>
                    <a:pt x="658" y="426"/>
                    <a:pt x="657" y="430"/>
                    <a:pt x="658" y="431"/>
                  </a:cubicBezTo>
                  <a:cubicBezTo>
                    <a:pt x="659" y="433"/>
                    <a:pt x="662" y="436"/>
                    <a:pt x="663" y="435"/>
                  </a:cubicBezTo>
                  <a:cubicBezTo>
                    <a:pt x="664" y="434"/>
                    <a:pt x="668" y="437"/>
                    <a:pt x="670" y="437"/>
                  </a:cubicBezTo>
                  <a:cubicBezTo>
                    <a:pt x="672" y="437"/>
                    <a:pt x="674" y="434"/>
                    <a:pt x="676" y="434"/>
                  </a:cubicBezTo>
                  <a:cubicBezTo>
                    <a:pt x="677" y="434"/>
                    <a:pt x="682" y="433"/>
                    <a:pt x="683" y="433"/>
                  </a:cubicBezTo>
                  <a:cubicBezTo>
                    <a:pt x="685" y="434"/>
                    <a:pt x="690" y="436"/>
                    <a:pt x="691" y="435"/>
                  </a:cubicBezTo>
                  <a:cubicBezTo>
                    <a:pt x="691" y="435"/>
                    <a:pt x="696" y="435"/>
                    <a:pt x="697" y="437"/>
                  </a:cubicBezTo>
                  <a:cubicBezTo>
                    <a:pt x="697" y="438"/>
                    <a:pt x="703" y="438"/>
                    <a:pt x="703" y="440"/>
                  </a:cubicBezTo>
                  <a:cubicBezTo>
                    <a:pt x="703" y="442"/>
                    <a:pt x="707" y="442"/>
                    <a:pt x="708" y="444"/>
                  </a:cubicBezTo>
                  <a:cubicBezTo>
                    <a:pt x="709" y="446"/>
                    <a:pt x="716" y="445"/>
                    <a:pt x="718" y="446"/>
                  </a:cubicBezTo>
                  <a:cubicBezTo>
                    <a:pt x="719" y="447"/>
                    <a:pt x="728" y="447"/>
                    <a:pt x="729" y="446"/>
                  </a:cubicBezTo>
                  <a:cubicBezTo>
                    <a:pt x="729" y="445"/>
                    <a:pt x="737" y="445"/>
                    <a:pt x="739" y="444"/>
                  </a:cubicBezTo>
                  <a:cubicBezTo>
                    <a:pt x="741" y="442"/>
                    <a:pt x="745" y="443"/>
                    <a:pt x="745" y="441"/>
                  </a:cubicBezTo>
                  <a:cubicBezTo>
                    <a:pt x="746" y="440"/>
                    <a:pt x="750" y="438"/>
                    <a:pt x="752" y="437"/>
                  </a:cubicBezTo>
                  <a:cubicBezTo>
                    <a:pt x="754" y="436"/>
                    <a:pt x="761" y="436"/>
                    <a:pt x="762" y="437"/>
                  </a:cubicBezTo>
                  <a:cubicBezTo>
                    <a:pt x="762" y="439"/>
                    <a:pt x="767" y="440"/>
                    <a:pt x="769" y="439"/>
                  </a:cubicBezTo>
                  <a:cubicBezTo>
                    <a:pt x="771" y="438"/>
                    <a:pt x="776" y="439"/>
                    <a:pt x="776" y="441"/>
                  </a:cubicBezTo>
                  <a:cubicBezTo>
                    <a:pt x="777" y="442"/>
                    <a:pt x="783" y="443"/>
                    <a:pt x="784" y="443"/>
                  </a:cubicBezTo>
                  <a:cubicBezTo>
                    <a:pt x="786" y="442"/>
                    <a:pt x="790" y="439"/>
                    <a:pt x="792" y="439"/>
                  </a:cubicBezTo>
                  <a:cubicBezTo>
                    <a:pt x="793" y="439"/>
                    <a:pt x="796" y="437"/>
                    <a:pt x="795" y="435"/>
                  </a:cubicBezTo>
                  <a:cubicBezTo>
                    <a:pt x="795" y="434"/>
                    <a:pt x="799" y="429"/>
                    <a:pt x="799" y="427"/>
                  </a:cubicBezTo>
                  <a:cubicBezTo>
                    <a:pt x="800" y="425"/>
                    <a:pt x="803" y="420"/>
                    <a:pt x="804" y="419"/>
                  </a:cubicBezTo>
                  <a:cubicBezTo>
                    <a:pt x="805" y="419"/>
                    <a:pt x="808" y="417"/>
                    <a:pt x="808" y="415"/>
                  </a:cubicBezTo>
                  <a:cubicBezTo>
                    <a:pt x="808" y="414"/>
                    <a:pt x="807" y="410"/>
                    <a:pt x="805" y="410"/>
                  </a:cubicBezTo>
                  <a:cubicBezTo>
                    <a:pt x="804" y="410"/>
                    <a:pt x="801" y="410"/>
                    <a:pt x="805" y="405"/>
                  </a:cubicBezTo>
                  <a:cubicBezTo>
                    <a:pt x="808" y="401"/>
                    <a:pt x="814" y="402"/>
                    <a:pt x="815" y="402"/>
                  </a:cubicBezTo>
                  <a:cubicBezTo>
                    <a:pt x="816" y="402"/>
                    <a:pt x="823" y="400"/>
                    <a:pt x="827" y="401"/>
                  </a:cubicBezTo>
                  <a:cubicBezTo>
                    <a:pt x="830" y="402"/>
                    <a:pt x="832" y="401"/>
                    <a:pt x="836" y="403"/>
                  </a:cubicBezTo>
                  <a:cubicBezTo>
                    <a:pt x="839" y="404"/>
                    <a:pt x="844" y="404"/>
                    <a:pt x="846" y="405"/>
                  </a:cubicBezTo>
                  <a:cubicBezTo>
                    <a:pt x="847" y="407"/>
                    <a:pt x="851" y="408"/>
                    <a:pt x="851" y="411"/>
                  </a:cubicBezTo>
                  <a:cubicBezTo>
                    <a:pt x="850" y="414"/>
                    <a:pt x="853" y="413"/>
                    <a:pt x="855" y="419"/>
                  </a:cubicBezTo>
                  <a:cubicBezTo>
                    <a:pt x="856" y="425"/>
                    <a:pt x="859" y="425"/>
                    <a:pt x="859" y="428"/>
                  </a:cubicBezTo>
                  <a:cubicBezTo>
                    <a:pt x="860" y="431"/>
                    <a:pt x="864" y="436"/>
                    <a:pt x="863" y="438"/>
                  </a:cubicBezTo>
                  <a:cubicBezTo>
                    <a:pt x="863" y="440"/>
                    <a:pt x="862" y="442"/>
                    <a:pt x="866" y="442"/>
                  </a:cubicBezTo>
                  <a:cubicBezTo>
                    <a:pt x="871" y="443"/>
                    <a:pt x="873" y="446"/>
                    <a:pt x="874" y="445"/>
                  </a:cubicBezTo>
                  <a:cubicBezTo>
                    <a:pt x="875" y="445"/>
                    <a:pt x="880" y="447"/>
                    <a:pt x="882" y="449"/>
                  </a:cubicBezTo>
                  <a:cubicBezTo>
                    <a:pt x="885" y="451"/>
                    <a:pt x="888" y="450"/>
                    <a:pt x="888" y="453"/>
                  </a:cubicBezTo>
                  <a:cubicBezTo>
                    <a:pt x="888" y="455"/>
                    <a:pt x="890" y="457"/>
                    <a:pt x="890" y="460"/>
                  </a:cubicBezTo>
                  <a:cubicBezTo>
                    <a:pt x="890" y="462"/>
                    <a:pt x="894" y="463"/>
                    <a:pt x="898" y="463"/>
                  </a:cubicBezTo>
                  <a:cubicBezTo>
                    <a:pt x="901" y="462"/>
                    <a:pt x="903" y="464"/>
                    <a:pt x="905" y="461"/>
                  </a:cubicBezTo>
                  <a:cubicBezTo>
                    <a:pt x="906" y="458"/>
                    <a:pt x="911" y="459"/>
                    <a:pt x="913" y="458"/>
                  </a:cubicBezTo>
                  <a:cubicBezTo>
                    <a:pt x="914" y="457"/>
                    <a:pt x="919" y="456"/>
                    <a:pt x="919" y="460"/>
                  </a:cubicBezTo>
                  <a:cubicBezTo>
                    <a:pt x="919" y="464"/>
                    <a:pt x="922" y="465"/>
                    <a:pt x="919" y="466"/>
                  </a:cubicBezTo>
                  <a:cubicBezTo>
                    <a:pt x="917" y="468"/>
                    <a:pt x="916" y="474"/>
                    <a:pt x="915" y="477"/>
                  </a:cubicBezTo>
                  <a:cubicBezTo>
                    <a:pt x="914" y="479"/>
                    <a:pt x="911" y="480"/>
                    <a:pt x="910" y="483"/>
                  </a:cubicBezTo>
                  <a:cubicBezTo>
                    <a:pt x="910" y="486"/>
                    <a:pt x="906" y="486"/>
                    <a:pt x="906" y="488"/>
                  </a:cubicBezTo>
                  <a:cubicBezTo>
                    <a:pt x="906" y="490"/>
                    <a:pt x="902" y="490"/>
                    <a:pt x="899" y="488"/>
                  </a:cubicBezTo>
                  <a:cubicBezTo>
                    <a:pt x="897" y="486"/>
                    <a:pt x="895" y="491"/>
                    <a:pt x="893" y="491"/>
                  </a:cubicBezTo>
                  <a:cubicBezTo>
                    <a:pt x="891" y="491"/>
                    <a:pt x="891" y="495"/>
                    <a:pt x="891" y="497"/>
                  </a:cubicBezTo>
                  <a:cubicBezTo>
                    <a:pt x="892" y="499"/>
                    <a:pt x="891" y="501"/>
                    <a:pt x="892" y="504"/>
                  </a:cubicBezTo>
                  <a:cubicBezTo>
                    <a:pt x="893" y="505"/>
                    <a:pt x="892" y="508"/>
                    <a:pt x="892" y="511"/>
                  </a:cubicBezTo>
                  <a:cubicBezTo>
                    <a:pt x="895" y="509"/>
                    <a:pt x="898" y="508"/>
                    <a:pt x="899" y="508"/>
                  </a:cubicBezTo>
                  <a:cubicBezTo>
                    <a:pt x="902" y="508"/>
                    <a:pt x="905" y="513"/>
                    <a:pt x="908" y="513"/>
                  </a:cubicBezTo>
                  <a:cubicBezTo>
                    <a:pt x="912" y="513"/>
                    <a:pt x="927" y="503"/>
                    <a:pt x="927" y="501"/>
                  </a:cubicBezTo>
                  <a:cubicBezTo>
                    <a:pt x="927" y="500"/>
                    <a:pt x="936" y="491"/>
                    <a:pt x="940" y="487"/>
                  </a:cubicBezTo>
                  <a:cubicBezTo>
                    <a:pt x="944" y="482"/>
                    <a:pt x="950" y="476"/>
                    <a:pt x="952" y="471"/>
                  </a:cubicBezTo>
                  <a:cubicBezTo>
                    <a:pt x="953" y="468"/>
                    <a:pt x="959" y="462"/>
                    <a:pt x="960" y="459"/>
                  </a:cubicBezTo>
                  <a:cubicBezTo>
                    <a:pt x="962" y="457"/>
                    <a:pt x="963" y="457"/>
                    <a:pt x="965" y="451"/>
                  </a:cubicBezTo>
                  <a:cubicBezTo>
                    <a:pt x="968" y="446"/>
                    <a:pt x="968" y="431"/>
                    <a:pt x="969" y="430"/>
                  </a:cubicBezTo>
                  <a:cubicBezTo>
                    <a:pt x="970" y="429"/>
                    <a:pt x="969" y="427"/>
                    <a:pt x="970" y="425"/>
                  </a:cubicBezTo>
                  <a:cubicBezTo>
                    <a:pt x="972" y="424"/>
                    <a:pt x="971" y="421"/>
                    <a:pt x="973" y="419"/>
                  </a:cubicBezTo>
                  <a:cubicBezTo>
                    <a:pt x="976" y="417"/>
                    <a:pt x="975" y="416"/>
                    <a:pt x="975" y="414"/>
                  </a:cubicBezTo>
                  <a:cubicBezTo>
                    <a:pt x="974" y="413"/>
                    <a:pt x="975" y="409"/>
                    <a:pt x="974" y="408"/>
                  </a:cubicBezTo>
                  <a:cubicBezTo>
                    <a:pt x="974" y="407"/>
                    <a:pt x="974" y="406"/>
                    <a:pt x="975" y="406"/>
                  </a:cubicBezTo>
                  <a:cubicBezTo>
                    <a:pt x="977" y="405"/>
                    <a:pt x="974" y="403"/>
                    <a:pt x="972" y="402"/>
                  </a:cubicBezTo>
                  <a:cubicBezTo>
                    <a:pt x="970" y="401"/>
                    <a:pt x="968" y="400"/>
                    <a:pt x="967" y="398"/>
                  </a:cubicBezTo>
                  <a:cubicBezTo>
                    <a:pt x="967" y="395"/>
                    <a:pt x="964" y="393"/>
                    <a:pt x="961" y="393"/>
                  </a:cubicBezTo>
                  <a:cubicBezTo>
                    <a:pt x="958" y="393"/>
                    <a:pt x="954" y="391"/>
                    <a:pt x="954" y="393"/>
                  </a:cubicBezTo>
                  <a:cubicBezTo>
                    <a:pt x="955" y="395"/>
                    <a:pt x="954" y="396"/>
                    <a:pt x="953" y="396"/>
                  </a:cubicBezTo>
                  <a:cubicBezTo>
                    <a:pt x="951" y="396"/>
                    <a:pt x="951" y="397"/>
                    <a:pt x="949" y="399"/>
                  </a:cubicBezTo>
                  <a:cubicBezTo>
                    <a:pt x="948" y="401"/>
                    <a:pt x="942" y="402"/>
                    <a:pt x="945" y="399"/>
                  </a:cubicBezTo>
                  <a:cubicBezTo>
                    <a:pt x="947" y="397"/>
                    <a:pt x="944" y="397"/>
                    <a:pt x="944" y="395"/>
                  </a:cubicBezTo>
                  <a:cubicBezTo>
                    <a:pt x="945" y="392"/>
                    <a:pt x="947" y="390"/>
                    <a:pt x="944" y="391"/>
                  </a:cubicBezTo>
                  <a:cubicBezTo>
                    <a:pt x="941" y="393"/>
                    <a:pt x="941" y="397"/>
                    <a:pt x="939" y="397"/>
                  </a:cubicBezTo>
                  <a:cubicBezTo>
                    <a:pt x="937" y="398"/>
                    <a:pt x="937" y="391"/>
                    <a:pt x="938" y="389"/>
                  </a:cubicBezTo>
                  <a:cubicBezTo>
                    <a:pt x="939" y="387"/>
                    <a:pt x="934" y="389"/>
                    <a:pt x="929" y="389"/>
                  </a:cubicBezTo>
                  <a:cubicBezTo>
                    <a:pt x="924" y="388"/>
                    <a:pt x="925" y="385"/>
                    <a:pt x="929" y="383"/>
                  </a:cubicBezTo>
                  <a:cubicBezTo>
                    <a:pt x="933" y="381"/>
                    <a:pt x="933" y="379"/>
                    <a:pt x="935" y="378"/>
                  </a:cubicBezTo>
                  <a:cubicBezTo>
                    <a:pt x="937" y="377"/>
                    <a:pt x="942" y="373"/>
                    <a:pt x="945" y="372"/>
                  </a:cubicBezTo>
                  <a:cubicBezTo>
                    <a:pt x="948" y="370"/>
                    <a:pt x="949" y="368"/>
                    <a:pt x="949" y="366"/>
                  </a:cubicBezTo>
                  <a:cubicBezTo>
                    <a:pt x="950" y="364"/>
                    <a:pt x="956" y="361"/>
                    <a:pt x="961" y="357"/>
                  </a:cubicBezTo>
                  <a:cubicBezTo>
                    <a:pt x="966" y="353"/>
                    <a:pt x="968" y="351"/>
                    <a:pt x="970" y="348"/>
                  </a:cubicBezTo>
                  <a:cubicBezTo>
                    <a:pt x="971" y="346"/>
                    <a:pt x="978" y="342"/>
                    <a:pt x="979" y="341"/>
                  </a:cubicBezTo>
                  <a:cubicBezTo>
                    <a:pt x="979" y="339"/>
                    <a:pt x="988" y="334"/>
                    <a:pt x="994" y="333"/>
                  </a:cubicBezTo>
                  <a:cubicBezTo>
                    <a:pt x="1000" y="332"/>
                    <a:pt x="1009" y="333"/>
                    <a:pt x="1011" y="335"/>
                  </a:cubicBezTo>
                  <a:cubicBezTo>
                    <a:pt x="1013" y="337"/>
                    <a:pt x="1014" y="336"/>
                    <a:pt x="1015" y="335"/>
                  </a:cubicBezTo>
                  <a:cubicBezTo>
                    <a:pt x="1016" y="334"/>
                    <a:pt x="1019" y="334"/>
                    <a:pt x="1023" y="335"/>
                  </a:cubicBezTo>
                  <a:cubicBezTo>
                    <a:pt x="1027" y="335"/>
                    <a:pt x="1028" y="333"/>
                    <a:pt x="1031" y="334"/>
                  </a:cubicBezTo>
                  <a:cubicBezTo>
                    <a:pt x="1033" y="334"/>
                    <a:pt x="1036" y="335"/>
                    <a:pt x="1037" y="332"/>
                  </a:cubicBezTo>
                  <a:cubicBezTo>
                    <a:pt x="1039" y="328"/>
                    <a:pt x="1047" y="329"/>
                    <a:pt x="1049" y="330"/>
                  </a:cubicBezTo>
                  <a:cubicBezTo>
                    <a:pt x="1050" y="332"/>
                    <a:pt x="1052" y="333"/>
                    <a:pt x="1055" y="332"/>
                  </a:cubicBezTo>
                  <a:cubicBezTo>
                    <a:pt x="1057" y="330"/>
                    <a:pt x="1057" y="334"/>
                    <a:pt x="1060" y="334"/>
                  </a:cubicBezTo>
                  <a:cubicBezTo>
                    <a:pt x="1063" y="335"/>
                    <a:pt x="1061" y="337"/>
                    <a:pt x="1059" y="337"/>
                  </a:cubicBezTo>
                  <a:cubicBezTo>
                    <a:pt x="1056" y="337"/>
                    <a:pt x="1053" y="338"/>
                    <a:pt x="1056" y="340"/>
                  </a:cubicBezTo>
                  <a:cubicBezTo>
                    <a:pt x="1059" y="341"/>
                    <a:pt x="1062" y="338"/>
                    <a:pt x="1064" y="338"/>
                  </a:cubicBezTo>
                  <a:cubicBezTo>
                    <a:pt x="1066" y="339"/>
                    <a:pt x="1070" y="339"/>
                    <a:pt x="1073" y="337"/>
                  </a:cubicBezTo>
                  <a:cubicBezTo>
                    <a:pt x="1076" y="335"/>
                    <a:pt x="1076" y="339"/>
                    <a:pt x="1078" y="337"/>
                  </a:cubicBezTo>
                  <a:cubicBezTo>
                    <a:pt x="1080" y="335"/>
                    <a:pt x="1085" y="335"/>
                    <a:pt x="1087" y="335"/>
                  </a:cubicBezTo>
                  <a:cubicBezTo>
                    <a:pt x="1089" y="335"/>
                    <a:pt x="1087" y="332"/>
                    <a:pt x="1083" y="332"/>
                  </a:cubicBezTo>
                  <a:cubicBezTo>
                    <a:pt x="1080" y="332"/>
                    <a:pt x="1080" y="330"/>
                    <a:pt x="1083" y="326"/>
                  </a:cubicBezTo>
                  <a:cubicBezTo>
                    <a:pt x="1086" y="321"/>
                    <a:pt x="1091" y="318"/>
                    <a:pt x="1095" y="315"/>
                  </a:cubicBezTo>
                  <a:cubicBezTo>
                    <a:pt x="1098" y="312"/>
                    <a:pt x="1101" y="314"/>
                    <a:pt x="1101" y="312"/>
                  </a:cubicBezTo>
                  <a:cubicBezTo>
                    <a:pt x="1101" y="310"/>
                    <a:pt x="1102" y="304"/>
                    <a:pt x="1105" y="304"/>
                  </a:cubicBezTo>
                  <a:cubicBezTo>
                    <a:pt x="1107" y="304"/>
                    <a:pt x="1114" y="305"/>
                    <a:pt x="1118" y="303"/>
                  </a:cubicBezTo>
                  <a:cubicBezTo>
                    <a:pt x="1122" y="301"/>
                    <a:pt x="1122" y="305"/>
                    <a:pt x="1123" y="305"/>
                  </a:cubicBezTo>
                  <a:cubicBezTo>
                    <a:pt x="1125" y="306"/>
                    <a:pt x="1127" y="302"/>
                    <a:pt x="1129" y="303"/>
                  </a:cubicBezTo>
                  <a:cubicBezTo>
                    <a:pt x="1131" y="304"/>
                    <a:pt x="1126" y="307"/>
                    <a:pt x="1125" y="311"/>
                  </a:cubicBezTo>
                  <a:cubicBezTo>
                    <a:pt x="1124" y="314"/>
                    <a:pt x="1128" y="313"/>
                    <a:pt x="1130" y="314"/>
                  </a:cubicBezTo>
                  <a:cubicBezTo>
                    <a:pt x="1132" y="315"/>
                    <a:pt x="1127" y="316"/>
                    <a:pt x="1128" y="317"/>
                  </a:cubicBezTo>
                  <a:cubicBezTo>
                    <a:pt x="1128" y="318"/>
                    <a:pt x="1132" y="318"/>
                    <a:pt x="1137" y="313"/>
                  </a:cubicBezTo>
                  <a:cubicBezTo>
                    <a:pt x="1143" y="308"/>
                    <a:pt x="1147" y="306"/>
                    <a:pt x="1151" y="306"/>
                  </a:cubicBezTo>
                  <a:cubicBezTo>
                    <a:pt x="1154" y="307"/>
                    <a:pt x="1152" y="303"/>
                    <a:pt x="1152" y="299"/>
                  </a:cubicBezTo>
                  <a:cubicBezTo>
                    <a:pt x="1153" y="294"/>
                    <a:pt x="1163" y="292"/>
                    <a:pt x="1166" y="294"/>
                  </a:cubicBezTo>
                  <a:cubicBezTo>
                    <a:pt x="1170" y="295"/>
                    <a:pt x="1169" y="296"/>
                    <a:pt x="1166" y="296"/>
                  </a:cubicBezTo>
                  <a:cubicBezTo>
                    <a:pt x="1163" y="295"/>
                    <a:pt x="1160" y="298"/>
                    <a:pt x="1160" y="302"/>
                  </a:cubicBezTo>
                  <a:cubicBezTo>
                    <a:pt x="1160" y="306"/>
                    <a:pt x="1157" y="307"/>
                    <a:pt x="1159" y="309"/>
                  </a:cubicBezTo>
                  <a:cubicBezTo>
                    <a:pt x="1160" y="310"/>
                    <a:pt x="1156" y="311"/>
                    <a:pt x="1156" y="312"/>
                  </a:cubicBezTo>
                  <a:cubicBezTo>
                    <a:pt x="1156" y="314"/>
                    <a:pt x="1156" y="315"/>
                    <a:pt x="1154" y="316"/>
                  </a:cubicBezTo>
                  <a:cubicBezTo>
                    <a:pt x="1152" y="317"/>
                    <a:pt x="1144" y="317"/>
                    <a:pt x="1143" y="320"/>
                  </a:cubicBezTo>
                  <a:cubicBezTo>
                    <a:pt x="1143" y="324"/>
                    <a:pt x="1139" y="324"/>
                    <a:pt x="1137" y="328"/>
                  </a:cubicBezTo>
                  <a:cubicBezTo>
                    <a:pt x="1135" y="332"/>
                    <a:pt x="1127" y="334"/>
                    <a:pt x="1122" y="341"/>
                  </a:cubicBezTo>
                  <a:cubicBezTo>
                    <a:pt x="1117" y="349"/>
                    <a:pt x="1109" y="349"/>
                    <a:pt x="1109" y="350"/>
                  </a:cubicBezTo>
                  <a:cubicBezTo>
                    <a:pt x="1109" y="352"/>
                    <a:pt x="1103" y="352"/>
                    <a:pt x="1101" y="352"/>
                  </a:cubicBezTo>
                  <a:cubicBezTo>
                    <a:pt x="1099" y="352"/>
                    <a:pt x="1103" y="357"/>
                    <a:pt x="1099" y="362"/>
                  </a:cubicBezTo>
                  <a:cubicBezTo>
                    <a:pt x="1094" y="367"/>
                    <a:pt x="1091" y="373"/>
                    <a:pt x="1091" y="380"/>
                  </a:cubicBezTo>
                  <a:cubicBezTo>
                    <a:pt x="1091" y="387"/>
                    <a:pt x="1094" y="406"/>
                    <a:pt x="1096" y="410"/>
                  </a:cubicBezTo>
                  <a:cubicBezTo>
                    <a:pt x="1098" y="413"/>
                    <a:pt x="1096" y="422"/>
                    <a:pt x="1098" y="424"/>
                  </a:cubicBezTo>
                  <a:cubicBezTo>
                    <a:pt x="1100" y="425"/>
                    <a:pt x="1099" y="428"/>
                    <a:pt x="1100" y="429"/>
                  </a:cubicBezTo>
                  <a:cubicBezTo>
                    <a:pt x="1101" y="430"/>
                    <a:pt x="1106" y="425"/>
                    <a:pt x="1109" y="422"/>
                  </a:cubicBezTo>
                  <a:cubicBezTo>
                    <a:pt x="1112" y="420"/>
                    <a:pt x="1111" y="419"/>
                    <a:pt x="1113" y="418"/>
                  </a:cubicBezTo>
                  <a:cubicBezTo>
                    <a:pt x="1115" y="416"/>
                    <a:pt x="1114" y="411"/>
                    <a:pt x="1114" y="409"/>
                  </a:cubicBezTo>
                  <a:cubicBezTo>
                    <a:pt x="1115" y="408"/>
                    <a:pt x="1119" y="407"/>
                    <a:pt x="1120" y="406"/>
                  </a:cubicBezTo>
                  <a:cubicBezTo>
                    <a:pt x="1121" y="404"/>
                    <a:pt x="1124" y="405"/>
                    <a:pt x="1126" y="404"/>
                  </a:cubicBezTo>
                  <a:cubicBezTo>
                    <a:pt x="1128" y="404"/>
                    <a:pt x="1126" y="400"/>
                    <a:pt x="1125" y="398"/>
                  </a:cubicBezTo>
                  <a:cubicBezTo>
                    <a:pt x="1125" y="395"/>
                    <a:pt x="1130" y="392"/>
                    <a:pt x="1133" y="390"/>
                  </a:cubicBezTo>
                  <a:cubicBezTo>
                    <a:pt x="1136" y="388"/>
                    <a:pt x="1139" y="392"/>
                    <a:pt x="1143" y="389"/>
                  </a:cubicBezTo>
                  <a:cubicBezTo>
                    <a:pt x="1146" y="386"/>
                    <a:pt x="1142" y="382"/>
                    <a:pt x="1141" y="381"/>
                  </a:cubicBezTo>
                  <a:cubicBezTo>
                    <a:pt x="1140" y="379"/>
                    <a:pt x="1144" y="372"/>
                    <a:pt x="1147" y="371"/>
                  </a:cubicBezTo>
                  <a:cubicBezTo>
                    <a:pt x="1149" y="370"/>
                    <a:pt x="1151" y="373"/>
                    <a:pt x="1153" y="371"/>
                  </a:cubicBezTo>
                  <a:cubicBezTo>
                    <a:pt x="1155" y="368"/>
                    <a:pt x="1151" y="365"/>
                    <a:pt x="1149" y="365"/>
                  </a:cubicBezTo>
                  <a:cubicBezTo>
                    <a:pt x="1148" y="365"/>
                    <a:pt x="1147" y="359"/>
                    <a:pt x="1151" y="356"/>
                  </a:cubicBezTo>
                  <a:cubicBezTo>
                    <a:pt x="1155" y="353"/>
                    <a:pt x="1153" y="353"/>
                    <a:pt x="1151" y="352"/>
                  </a:cubicBezTo>
                  <a:cubicBezTo>
                    <a:pt x="1148" y="351"/>
                    <a:pt x="1148" y="352"/>
                    <a:pt x="1146" y="352"/>
                  </a:cubicBezTo>
                  <a:cubicBezTo>
                    <a:pt x="1144" y="352"/>
                    <a:pt x="1141" y="348"/>
                    <a:pt x="1145" y="344"/>
                  </a:cubicBezTo>
                  <a:cubicBezTo>
                    <a:pt x="1148" y="340"/>
                    <a:pt x="1151" y="340"/>
                    <a:pt x="1151" y="337"/>
                  </a:cubicBezTo>
                  <a:cubicBezTo>
                    <a:pt x="1152" y="333"/>
                    <a:pt x="1156" y="328"/>
                    <a:pt x="1157" y="327"/>
                  </a:cubicBezTo>
                  <a:cubicBezTo>
                    <a:pt x="1158" y="325"/>
                    <a:pt x="1163" y="327"/>
                    <a:pt x="1164" y="326"/>
                  </a:cubicBezTo>
                  <a:cubicBezTo>
                    <a:pt x="1166" y="326"/>
                    <a:pt x="1166" y="330"/>
                    <a:pt x="1168" y="328"/>
                  </a:cubicBezTo>
                  <a:cubicBezTo>
                    <a:pt x="1170" y="326"/>
                    <a:pt x="1173" y="320"/>
                    <a:pt x="1176" y="320"/>
                  </a:cubicBezTo>
                  <a:cubicBezTo>
                    <a:pt x="1178" y="320"/>
                    <a:pt x="1177" y="324"/>
                    <a:pt x="1177" y="327"/>
                  </a:cubicBezTo>
                  <a:cubicBezTo>
                    <a:pt x="1178" y="330"/>
                    <a:pt x="1180" y="326"/>
                    <a:pt x="1185" y="323"/>
                  </a:cubicBezTo>
                  <a:cubicBezTo>
                    <a:pt x="1190" y="319"/>
                    <a:pt x="1201" y="320"/>
                    <a:pt x="1205" y="321"/>
                  </a:cubicBezTo>
                  <a:cubicBezTo>
                    <a:pt x="1208" y="323"/>
                    <a:pt x="1209" y="327"/>
                    <a:pt x="1211" y="326"/>
                  </a:cubicBezTo>
                  <a:cubicBezTo>
                    <a:pt x="1214" y="326"/>
                    <a:pt x="1211" y="322"/>
                    <a:pt x="1214" y="322"/>
                  </a:cubicBezTo>
                  <a:cubicBezTo>
                    <a:pt x="1217" y="321"/>
                    <a:pt x="1222" y="318"/>
                    <a:pt x="1226" y="315"/>
                  </a:cubicBezTo>
                  <a:cubicBezTo>
                    <a:pt x="1230" y="312"/>
                    <a:pt x="1229" y="314"/>
                    <a:pt x="1231" y="312"/>
                  </a:cubicBezTo>
                  <a:cubicBezTo>
                    <a:pt x="1233" y="309"/>
                    <a:pt x="1235" y="310"/>
                    <a:pt x="1235" y="309"/>
                  </a:cubicBezTo>
                  <a:cubicBezTo>
                    <a:pt x="1236" y="307"/>
                    <a:pt x="1241" y="304"/>
                    <a:pt x="1249" y="303"/>
                  </a:cubicBezTo>
                  <a:cubicBezTo>
                    <a:pt x="1256" y="301"/>
                    <a:pt x="1266" y="296"/>
                    <a:pt x="1265" y="294"/>
                  </a:cubicBezTo>
                  <a:cubicBezTo>
                    <a:pt x="1265" y="293"/>
                    <a:pt x="1268" y="292"/>
                    <a:pt x="1269" y="294"/>
                  </a:cubicBezTo>
                  <a:cubicBezTo>
                    <a:pt x="1269" y="295"/>
                    <a:pt x="1272" y="295"/>
                    <a:pt x="1276" y="296"/>
                  </a:cubicBezTo>
                  <a:cubicBezTo>
                    <a:pt x="1280" y="296"/>
                    <a:pt x="1282" y="298"/>
                    <a:pt x="1285" y="295"/>
                  </a:cubicBezTo>
                  <a:cubicBezTo>
                    <a:pt x="1288" y="292"/>
                    <a:pt x="1284" y="291"/>
                    <a:pt x="1284" y="288"/>
                  </a:cubicBezTo>
                  <a:cubicBezTo>
                    <a:pt x="1285" y="286"/>
                    <a:pt x="1279" y="283"/>
                    <a:pt x="1280" y="281"/>
                  </a:cubicBezTo>
                  <a:cubicBezTo>
                    <a:pt x="1280" y="278"/>
                    <a:pt x="1276" y="272"/>
                    <a:pt x="1274" y="273"/>
                  </a:cubicBezTo>
                  <a:cubicBezTo>
                    <a:pt x="1273" y="274"/>
                    <a:pt x="1270" y="272"/>
                    <a:pt x="1270" y="270"/>
                  </a:cubicBezTo>
                  <a:cubicBezTo>
                    <a:pt x="1270" y="268"/>
                    <a:pt x="1269" y="266"/>
                    <a:pt x="1267" y="267"/>
                  </a:cubicBezTo>
                  <a:cubicBezTo>
                    <a:pt x="1265" y="269"/>
                    <a:pt x="1261" y="268"/>
                    <a:pt x="1260" y="266"/>
                  </a:cubicBezTo>
                  <a:cubicBezTo>
                    <a:pt x="1260" y="264"/>
                    <a:pt x="1265" y="262"/>
                    <a:pt x="1268" y="264"/>
                  </a:cubicBezTo>
                  <a:cubicBezTo>
                    <a:pt x="1272" y="265"/>
                    <a:pt x="1271" y="267"/>
                    <a:pt x="1273" y="268"/>
                  </a:cubicBezTo>
                  <a:cubicBezTo>
                    <a:pt x="1274" y="269"/>
                    <a:pt x="1279" y="268"/>
                    <a:pt x="1282" y="267"/>
                  </a:cubicBezTo>
                  <a:cubicBezTo>
                    <a:pt x="1284" y="266"/>
                    <a:pt x="1291" y="264"/>
                    <a:pt x="1292" y="262"/>
                  </a:cubicBezTo>
                  <a:cubicBezTo>
                    <a:pt x="1294" y="259"/>
                    <a:pt x="1292" y="259"/>
                    <a:pt x="1295" y="257"/>
                  </a:cubicBezTo>
                  <a:cubicBezTo>
                    <a:pt x="1297" y="256"/>
                    <a:pt x="1295" y="254"/>
                    <a:pt x="1293" y="253"/>
                  </a:cubicBezTo>
                  <a:cubicBezTo>
                    <a:pt x="1291" y="252"/>
                    <a:pt x="1292" y="249"/>
                    <a:pt x="1294" y="249"/>
                  </a:cubicBezTo>
                  <a:cubicBezTo>
                    <a:pt x="1296" y="249"/>
                    <a:pt x="1295" y="246"/>
                    <a:pt x="1297" y="246"/>
                  </a:cubicBezTo>
                  <a:cubicBezTo>
                    <a:pt x="1298" y="246"/>
                    <a:pt x="1298" y="247"/>
                    <a:pt x="1301" y="246"/>
                  </a:cubicBezTo>
                  <a:cubicBezTo>
                    <a:pt x="1304" y="245"/>
                    <a:pt x="1301" y="248"/>
                    <a:pt x="1300" y="250"/>
                  </a:cubicBezTo>
                  <a:cubicBezTo>
                    <a:pt x="1299" y="252"/>
                    <a:pt x="1302" y="254"/>
                    <a:pt x="1303" y="256"/>
                  </a:cubicBezTo>
                  <a:cubicBezTo>
                    <a:pt x="1303" y="257"/>
                    <a:pt x="1308" y="257"/>
                    <a:pt x="1311" y="256"/>
                  </a:cubicBezTo>
                  <a:cubicBezTo>
                    <a:pt x="1314" y="254"/>
                    <a:pt x="1323" y="258"/>
                    <a:pt x="1324" y="260"/>
                  </a:cubicBezTo>
                  <a:cubicBezTo>
                    <a:pt x="1324" y="262"/>
                    <a:pt x="1326" y="265"/>
                    <a:pt x="1329" y="267"/>
                  </a:cubicBezTo>
                  <a:cubicBezTo>
                    <a:pt x="1333" y="269"/>
                    <a:pt x="1337" y="268"/>
                    <a:pt x="1337" y="270"/>
                  </a:cubicBezTo>
                  <a:cubicBezTo>
                    <a:pt x="1338" y="272"/>
                    <a:pt x="1340" y="272"/>
                    <a:pt x="1342" y="272"/>
                  </a:cubicBezTo>
                  <a:cubicBezTo>
                    <a:pt x="1344" y="272"/>
                    <a:pt x="1345" y="274"/>
                    <a:pt x="1347" y="272"/>
                  </a:cubicBezTo>
                  <a:cubicBezTo>
                    <a:pt x="1348" y="271"/>
                    <a:pt x="1349" y="273"/>
                    <a:pt x="1351" y="272"/>
                  </a:cubicBezTo>
                  <a:cubicBezTo>
                    <a:pt x="1353" y="270"/>
                    <a:pt x="1347" y="269"/>
                    <a:pt x="1347" y="267"/>
                  </a:cubicBezTo>
                  <a:cubicBezTo>
                    <a:pt x="1348" y="266"/>
                    <a:pt x="1350" y="268"/>
                    <a:pt x="1351" y="268"/>
                  </a:cubicBezTo>
                  <a:cubicBezTo>
                    <a:pt x="1353" y="268"/>
                    <a:pt x="1351" y="264"/>
                    <a:pt x="1352" y="264"/>
                  </a:cubicBezTo>
                  <a:cubicBezTo>
                    <a:pt x="1353" y="264"/>
                    <a:pt x="1352" y="257"/>
                    <a:pt x="1351" y="256"/>
                  </a:cubicBezTo>
                  <a:cubicBezTo>
                    <a:pt x="1350" y="256"/>
                    <a:pt x="1351" y="253"/>
                    <a:pt x="1353" y="255"/>
                  </a:cubicBezTo>
                  <a:cubicBezTo>
                    <a:pt x="1356" y="257"/>
                    <a:pt x="1360" y="257"/>
                    <a:pt x="1363" y="257"/>
                  </a:cubicBezTo>
                  <a:cubicBezTo>
                    <a:pt x="1365" y="257"/>
                    <a:pt x="1363" y="255"/>
                    <a:pt x="1361" y="255"/>
                  </a:cubicBezTo>
                  <a:cubicBezTo>
                    <a:pt x="1359" y="255"/>
                    <a:pt x="1361" y="253"/>
                    <a:pt x="1362" y="254"/>
                  </a:cubicBezTo>
                  <a:cubicBezTo>
                    <a:pt x="1364" y="255"/>
                    <a:pt x="1367" y="256"/>
                    <a:pt x="1367" y="255"/>
                  </a:cubicBezTo>
                  <a:cubicBezTo>
                    <a:pt x="1367" y="253"/>
                    <a:pt x="1368" y="250"/>
                    <a:pt x="1371" y="250"/>
                  </a:cubicBezTo>
                  <a:cubicBezTo>
                    <a:pt x="1373" y="250"/>
                    <a:pt x="1374" y="249"/>
                    <a:pt x="1372" y="248"/>
                  </a:cubicBezTo>
                  <a:close/>
                  <a:moveTo>
                    <a:pt x="709" y="404"/>
                  </a:moveTo>
                  <a:cubicBezTo>
                    <a:pt x="702" y="410"/>
                    <a:pt x="688" y="412"/>
                    <a:pt x="688" y="417"/>
                  </a:cubicBezTo>
                  <a:cubicBezTo>
                    <a:pt x="688" y="422"/>
                    <a:pt x="672" y="424"/>
                    <a:pt x="671" y="422"/>
                  </a:cubicBezTo>
                  <a:cubicBezTo>
                    <a:pt x="669" y="420"/>
                    <a:pt x="683" y="419"/>
                    <a:pt x="686" y="412"/>
                  </a:cubicBezTo>
                  <a:cubicBezTo>
                    <a:pt x="689" y="405"/>
                    <a:pt x="701" y="401"/>
                    <a:pt x="707" y="392"/>
                  </a:cubicBezTo>
                  <a:cubicBezTo>
                    <a:pt x="712" y="385"/>
                    <a:pt x="715" y="375"/>
                    <a:pt x="718" y="376"/>
                  </a:cubicBezTo>
                  <a:cubicBezTo>
                    <a:pt x="720" y="376"/>
                    <a:pt x="716" y="398"/>
                    <a:pt x="709" y="404"/>
                  </a:cubicBezTo>
                  <a:close/>
                  <a:moveTo>
                    <a:pt x="739" y="125"/>
                  </a:moveTo>
                  <a:cubicBezTo>
                    <a:pt x="738" y="127"/>
                    <a:pt x="733" y="127"/>
                    <a:pt x="734" y="129"/>
                  </a:cubicBezTo>
                  <a:cubicBezTo>
                    <a:pt x="737" y="132"/>
                    <a:pt x="749" y="130"/>
                    <a:pt x="749" y="126"/>
                  </a:cubicBezTo>
                  <a:cubicBezTo>
                    <a:pt x="749" y="122"/>
                    <a:pt x="740" y="123"/>
                    <a:pt x="739" y="125"/>
                  </a:cubicBezTo>
                  <a:close/>
                  <a:moveTo>
                    <a:pt x="306" y="7"/>
                  </a:moveTo>
                  <a:cubicBezTo>
                    <a:pt x="312" y="7"/>
                    <a:pt x="310" y="4"/>
                    <a:pt x="314" y="4"/>
                  </a:cubicBezTo>
                  <a:cubicBezTo>
                    <a:pt x="318" y="5"/>
                    <a:pt x="323" y="4"/>
                    <a:pt x="321" y="2"/>
                  </a:cubicBezTo>
                  <a:cubicBezTo>
                    <a:pt x="319" y="0"/>
                    <a:pt x="305" y="1"/>
                    <a:pt x="306" y="3"/>
                  </a:cubicBezTo>
                  <a:cubicBezTo>
                    <a:pt x="308" y="4"/>
                    <a:pt x="295" y="4"/>
                    <a:pt x="296" y="4"/>
                  </a:cubicBezTo>
                  <a:cubicBezTo>
                    <a:pt x="296" y="6"/>
                    <a:pt x="300" y="7"/>
                    <a:pt x="306" y="7"/>
                  </a:cubicBezTo>
                  <a:close/>
                  <a:moveTo>
                    <a:pt x="277" y="23"/>
                  </a:moveTo>
                  <a:cubicBezTo>
                    <a:pt x="277" y="19"/>
                    <a:pt x="264" y="24"/>
                    <a:pt x="267" y="24"/>
                  </a:cubicBezTo>
                  <a:cubicBezTo>
                    <a:pt x="269" y="25"/>
                    <a:pt x="277" y="27"/>
                    <a:pt x="277" y="23"/>
                  </a:cubicBezTo>
                  <a:close/>
                  <a:moveTo>
                    <a:pt x="307" y="20"/>
                  </a:moveTo>
                  <a:cubicBezTo>
                    <a:pt x="308" y="22"/>
                    <a:pt x="306" y="22"/>
                    <a:pt x="301" y="22"/>
                  </a:cubicBezTo>
                  <a:cubicBezTo>
                    <a:pt x="296" y="22"/>
                    <a:pt x="294" y="25"/>
                    <a:pt x="296" y="27"/>
                  </a:cubicBezTo>
                  <a:cubicBezTo>
                    <a:pt x="299" y="29"/>
                    <a:pt x="312" y="28"/>
                    <a:pt x="314" y="26"/>
                  </a:cubicBezTo>
                  <a:cubicBezTo>
                    <a:pt x="316" y="23"/>
                    <a:pt x="322" y="25"/>
                    <a:pt x="323" y="22"/>
                  </a:cubicBezTo>
                  <a:cubicBezTo>
                    <a:pt x="324" y="19"/>
                    <a:pt x="306" y="18"/>
                    <a:pt x="307" y="20"/>
                  </a:cubicBezTo>
                  <a:close/>
                  <a:moveTo>
                    <a:pt x="348" y="16"/>
                  </a:moveTo>
                  <a:cubicBezTo>
                    <a:pt x="350" y="13"/>
                    <a:pt x="345" y="13"/>
                    <a:pt x="344" y="11"/>
                  </a:cubicBezTo>
                  <a:cubicBezTo>
                    <a:pt x="344" y="9"/>
                    <a:pt x="330" y="9"/>
                    <a:pt x="331" y="11"/>
                  </a:cubicBezTo>
                  <a:cubicBezTo>
                    <a:pt x="332" y="13"/>
                    <a:pt x="322" y="16"/>
                    <a:pt x="325" y="18"/>
                  </a:cubicBezTo>
                  <a:cubicBezTo>
                    <a:pt x="331" y="23"/>
                    <a:pt x="346" y="18"/>
                    <a:pt x="348" y="16"/>
                  </a:cubicBezTo>
                  <a:close/>
                  <a:moveTo>
                    <a:pt x="310" y="12"/>
                  </a:moveTo>
                  <a:cubicBezTo>
                    <a:pt x="311" y="7"/>
                    <a:pt x="302" y="11"/>
                    <a:pt x="296" y="8"/>
                  </a:cubicBezTo>
                  <a:cubicBezTo>
                    <a:pt x="290" y="6"/>
                    <a:pt x="286" y="6"/>
                    <a:pt x="291" y="9"/>
                  </a:cubicBezTo>
                  <a:cubicBezTo>
                    <a:pt x="292" y="11"/>
                    <a:pt x="280" y="12"/>
                    <a:pt x="282" y="14"/>
                  </a:cubicBezTo>
                  <a:cubicBezTo>
                    <a:pt x="286" y="19"/>
                    <a:pt x="309" y="17"/>
                    <a:pt x="310" y="12"/>
                  </a:cubicBezTo>
                  <a:close/>
                  <a:moveTo>
                    <a:pt x="275" y="144"/>
                  </a:moveTo>
                  <a:cubicBezTo>
                    <a:pt x="275" y="146"/>
                    <a:pt x="273" y="148"/>
                    <a:pt x="269" y="148"/>
                  </a:cubicBezTo>
                  <a:cubicBezTo>
                    <a:pt x="264" y="148"/>
                    <a:pt x="271" y="151"/>
                    <a:pt x="272" y="153"/>
                  </a:cubicBezTo>
                  <a:cubicBezTo>
                    <a:pt x="272" y="156"/>
                    <a:pt x="267" y="154"/>
                    <a:pt x="267" y="158"/>
                  </a:cubicBezTo>
                  <a:cubicBezTo>
                    <a:pt x="267" y="162"/>
                    <a:pt x="258" y="158"/>
                    <a:pt x="257" y="163"/>
                  </a:cubicBezTo>
                  <a:cubicBezTo>
                    <a:pt x="256" y="169"/>
                    <a:pt x="261" y="168"/>
                    <a:pt x="265" y="168"/>
                  </a:cubicBezTo>
                  <a:cubicBezTo>
                    <a:pt x="269" y="168"/>
                    <a:pt x="263" y="172"/>
                    <a:pt x="266" y="174"/>
                  </a:cubicBezTo>
                  <a:cubicBezTo>
                    <a:pt x="269" y="176"/>
                    <a:pt x="271" y="175"/>
                    <a:pt x="269" y="171"/>
                  </a:cubicBezTo>
                  <a:cubicBezTo>
                    <a:pt x="267" y="167"/>
                    <a:pt x="279" y="173"/>
                    <a:pt x="276" y="176"/>
                  </a:cubicBezTo>
                  <a:cubicBezTo>
                    <a:pt x="272" y="179"/>
                    <a:pt x="281" y="181"/>
                    <a:pt x="286" y="182"/>
                  </a:cubicBezTo>
                  <a:cubicBezTo>
                    <a:pt x="291" y="182"/>
                    <a:pt x="307" y="185"/>
                    <a:pt x="307" y="182"/>
                  </a:cubicBezTo>
                  <a:cubicBezTo>
                    <a:pt x="307" y="179"/>
                    <a:pt x="301" y="177"/>
                    <a:pt x="296" y="172"/>
                  </a:cubicBezTo>
                  <a:cubicBezTo>
                    <a:pt x="291" y="167"/>
                    <a:pt x="287" y="158"/>
                    <a:pt x="293" y="155"/>
                  </a:cubicBezTo>
                  <a:cubicBezTo>
                    <a:pt x="299" y="151"/>
                    <a:pt x="294" y="149"/>
                    <a:pt x="300" y="145"/>
                  </a:cubicBezTo>
                  <a:cubicBezTo>
                    <a:pt x="305" y="141"/>
                    <a:pt x="302" y="137"/>
                    <a:pt x="307" y="137"/>
                  </a:cubicBezTo>
                  <a:cubicBezTo>
                    <a:pt x="311" y="136"/>
                    <a:pt x="306" y="132"/>
                    <a:pt x="311" y="131"/>
                  </a:cubicBezTo>
                  <a:cubicBezTo>
                    <a:pt x="316" y="131"/>
                    <a:pt x="317" y="125"/>
                    <a:pt x="316" y="124"/>
                  </a:cubicBezTo>
                  <a:cubicBezTo>
                    <a:pt x="315" y="122"/>
                    <a:pt x="321" y="124"/>
                    <a:pt x="324" y="121"/>
                  </a:cubicBezTo>
                  <a:cubicBezTo>
                    <a:pt x="326" y="118"/>
                    <a:pt x="332" y="120"/>
                    <a:pt x="334" y="116"/>
                  </a:cubicBezTo>
                  <a:cubicBezTo>
                    <a:pt x="336" y="112"/>
                    <a:pt x="364" y="103"/>
                    <a:pt x="379" y="99"/>
                  </a:cubicBezTo>
                  <a:cubicBezTo>
                    <a:pt x="394" y="96"/>
                    <a:pt x="405" y="89"/>
                    <a:pt x="400" y="85"/>
                  </a:cubicBezTo>
                  <a:cubicBezTo>
                    <a:pt x="394" y="81"/>
                    <a:pt x="379" y="86"/>
                    <a:pt x="375" y="90"/>
                  </a:cubicBezTo>
                  <a:cubicBezTo>
                    <a:pt x="371" y="93"/>
                    <a:pt x="366" y="91"/>
                    <a:pt x="362" y="93"/>
                  </a:cubicBezTo>
                  <a:cubicBezTo>
                    <a:pt x="358" y="95"/>
                    <a:pt x="350" y="97"/>
                    <a:pt x="346" y="94"/>
                  </a:cubicBezTo>
                  <a:cubicBezTo>
                    <a:pt x="342" y="91"/>
                    <a:pt x="337" y="97"/>
                    <a:pt x="334" y="97"/>
                  </a:cubicBezTo>
                  <a:cubicBezTo>
                    <a:pt x="331" y="97"/>
                    <a:pt x="327" y="100"/>
                    <a:pt x="324" y="100"/>
                  </a:cubicBezTo>
                  <a:cubicBezTo>
                    <a:pt x="321" y="100"/>
                    <a:pt x="314" y="102"/>
                    <a:pt x="314" y="104"/>
                  </a:cubicBezTo>
                  <a:cubicBezTo>
                    <a:pt x="313" y="106"/>
                    <a:pt x="307" y="106"/>
                    <a:pt x="307" y="108"/>
                  </a:cubicBezTo>
                  <a:cubicBezTo>
                    <a:pt x="307" y="111"/>
                    <a:pt x="303" y="113"/>
                    <a:pt x="301" y="111"/>
                  </a:cubicBezTo>
                  <a:cubicBezTo>
                    <a:pt x="298" y="108"/>
                    <a:pt x="295" y="113"/>
                    <a:pt x="299" y="116"/>
                  </a:cubicBezTo>
                  <a:cubicBezTo>
                    <a:pt x="302" y="119"/>
                    <a:pt x="292" y="119"/>
                    <a:pt x="294" y="121"/>
                  </a:cubicBezTo>
                  <a:cubicBezTo>
                    <a:pt x="296" y="123"/>
                    <a:pt x="291" y="124"/>
                    <a:pt x="292" y="126"/>
                  </a:cubicBezTo>
                  <a:cubicBezTo>
                    <a:pt x="293" y="129"/>
                    <a:pt x="288" y="129"/>
                    <a:pt x="285" y="130"/>
                  </a:cubicBezTo>
                  <a:cubicBezTo>
                    <a:pt x="281" y="131"/>
                    <a:pt x="279" y="135"/>
                    <a:pt x="284" y="136"/>
                  </a:cubicBezTo>
                  <a:cubicBezTo>
                    <a:pt x="288" y="136"/>
                    <a:pt x="281" y="137"/>
                    <a:pt x="282" y="140"/>
                  </a:cubicBezTo>
                  <a:cubicBezTo>
                    <a:pt x="282" y="144"/>
                    <a:pt x="274" y="141"/>
                    <a:pt x="275" y="144"/>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222" name="Freeform 165">
              <a:extLst>
                <a:ext uri="{FF2B5EF4-FFF2-40B4-BE49-F238E27FC236}">
                  <a16:creationId xmlns:a16="http://schemas.microsoft.com/office/drawing/2014/main" xmlns="" id="{B70E4C2D-6599-41C7-91C4-01751630CF64}"/>
                </a:ext>
              </a:extLst>
            </p:cNvPr>
            <p:cNvSpPr>
              <a:spLocks noEditPoints="1"/>
            </p:cNvSpPr>
            <p:nvPr/>
          </p:nvSpPr>
          <p:spPr bwMode="auto">
            <a:xfrm>
              <a:off x="16738822" y="1686591"/>
              <a:ext cx="3578225" cy="1377950"/>
            </a:xfrm>
            <a:custGeom>
              <a:avLst/>
              <a:gdLst>
                <a:gd name="T0" fmla="*/ 361 w 1374"/>
                <a:gd name="T1" fmla="*/ 10 h 527"/>
                <a:gd name="T2" fmla="*/ 611 w 1374"/>
                <a:gd name="T3" fmla="*/ 5 h 527"/>
                <a:gd name="T4" fmla="*/ 481 w 1374"/>
                <a:gd name="T5" fmla="*/ 150 h 527"/>
                <a:gd name="T6" fmla="*/ 663 w 1374"/>
                <a:gd name="T7" fmla="*/ 49 h 527"/>
                <a:gd name="T8" fmla="*/ 1003 w 1374"/>
                <a:gd name="T9" fmla="*/ 110 h 527"/>
                <a:gd name="T10" fmla="*/ 1054 w 1374"/>
                <a:gd name="T11" fmla="*/ 117 h 527"/>
                <a:gd name="T12" fmla="*/ 982 w 1374"/>
                <a:gd name="T13" fmla="*/ 426 h 527"/>
                <a:gd name="T14" fmla="*/ 244 w 1374"/>
                <a:gd name="T15" fmla="*/ 22 h 527"/>
                <a:gd name="T16" fmla="*/ 1332 w 1374"/>
                <a:gd name="T17" fmla="*/ 242 h 527"/>
                <a:gd name="T18" fmla="*/ 1194 w 1374"/>
                <a:gd name="T19" fmla="*/ 202 h 527"/>
                <a:gd name="T20" fmla="*/ 1063 w 1374"/>
                <a:gd name="T21" fmla="*/ 177 h 527"/>
                <a:gd name="T22" fmla="*/ 974 w 1374"/>
                <a:gd name="T23" fmla="*/ 150 h 527"/>
                <a:gd name="T24" fmla="*/ 903 w 1374"/>
                <a:gd name="T25" fmla="*/ 167 h 527"/>
                <a:gd name="T26" fmla="*/ 845 w 1374"/>
                <a:gd name="T27" fmla="*/ 138 h 527"/>
                <a:gd name="T28" fmla="*/ 748 w 1374"/>
                <a:gd name="T29" fmla="*/ 136 h 527"/>
                <a:gd name="T30" fmla="*/ 738 w 1374"/>
                <a:gd name="T31" fmla="*/ 118 h 527"/>
                <a:gd name="T32" fmla="*/ 699 w 1374"/>
                <a:gd name="T33" fmla="*/ 83 h 527"/>
                <a:gd name="T34" fmla="*/ 631 w 1374"/>
                <a:gd name="T35" fmla="*/ 96 h 527"/>
                <a:gd name="T36" fmla="*/ 547 w 1374"/>
                <a:gd name="T37" fmla="*/ 114 h 527"/>
                <a:gd name="T38" fmla="*/ 519 w 1374"/>
                <a:gd name="T39" fmla="*/ 137 h 527"/>
                <a:gd name="T40" fmla="*/ 479 w 1374"/>
                <a:gd name="T41" fmla="*/ 177 h 527"/>
                <a:gd name="T42" fmla="*/ 456 w 1374"/>
                <a:gd name="T43" fmla="*/ 204 h 527"/>
                <a:gd name="T44" fmla="*/ 422 w 1374"/>
                <a:gd name="T45" fmla="*/ 243 h 527"/>
                <a:gd name="T46" fmla="*/ 438 w 1374"/>
                <a:gd name="T47" fmla="*/ 213 h 527"/>
                <a:gd name="T48" fmla="*/ 387 w 1374"/>
                <a:gd name="T49" fmla="*/ 187 h 527"/>
                <a:gd name="T50" fmla="*/ 326 w 1374"/>
                <a:gd name="T51" fmla="*/ 196 h 527"/>
                <a:gd name="T52" fmla="*/ 269 w 1374"/>
                <a:gd name="T53" fmla="*/ 210 h 527"/>
                <a:gd name="T54" fmla="*/ 196 w 1374"/>
                <a:gd name="T55" fmla="*/ 214 h 527"/>
                <a:gd name="T56" fmla="*/ 150 w 1374"/>
                <a:gd name="T57" fmla="*/ 262 h 527"/>
                <a:gd name="T58" fmla="*/ 103 w 1374"/>
                <a:gd name="T59" fmla="*/ 233 h 527"/>
                <a:gd name="T60" fmla="*/ 107 w 1374"/>
                <a:gd name="T61" fmla="*/ 200 h 527"/>
                <a:gd name="T62" fmla="*/ 79 w 1374"/>
                <a:gd name="T63" fmla="*/ 230 h 527"/>
                <a:gd name="T64" fmla="*/ 70 w 1374"/>
                <a:gd name="T65" fmla="*/ 315 h 527"/>
                <a:gd name="T66" fmla="*/ 74 w 1374"/>
                <a:gd name="T67" fmla="*/ 370 h 527"/>
                <a:gd name="T68" fmla="*/ 115 w 1374"/>
                <a:gd name="T69" fmla="*/ 412 h 527"/>
                <a:gd name="T70" fmla="*/ 161 w 1374"/>
                <a:gd name="T71" fmla="*/ 450 h 527"/>
                <a:gd name="T72" fmla="*/ 165 w 1374"/>
                <a:gd name="T73" fmla="*/ 503 h 527"/>
                <a:gd name="T74" fmla="*/ 238 w 1374"/>
                <a:gd name="T75" fmla="*/ 476 h 527"/>
                <a:gd name="T76" fmla="*/ 237 w 1374"/>
                <a:gd name="T77" fmla="*/ 430 h 527"/>
                <a:gd name="T78" fmla="*/ 325 w 1374"/>
                <a:gd name="T79" fmla="*/ 432 h 527"/>
                <a:gd name="T80" fmla="*/ 374 w 1374"/>
                <a:gd name="T81" fmla="*/ 388 h 527"/>
                <a:gd name="T82" fmla="*/ 451 w 1374"/>
                <a:gd name="T83" fmla="*/ 395 h 527"/>
                <a:gd name="T84" fmla="*/ 541 w 1374"/>
                <a:gd name="T85" fmla="*/ 442 h 527"/>
                <a:gd name="T86" fmla="*/ 625 w 1374"/>
                <a:gd name="T87" fmla="*/ 432 h 527"/>
                <a:gd name="T88" fmla="*/ 697 w 1374"/>
                <a:gd name="T89" fmla="*/ 437 h 527"/>
                <a:gd name="T90" fmla="*/ 804 w 1374"/>
                <a:gd name="T91" fmla="*/ 419 h 527"/>
                <a:gd name="T92" fmla="*/ 888 w 1374"/>
                <a:gd name="T93" fmla="*/ 453 h 527"/>
                <a:gd name="T94" fmla="*/ 899 w 1374"/>
                <a:gd name="T95" fmla="*/ 508 h 527"/>
                <a:gd name="T96" fmla="*/ 961 w 1374"/>
                <a:gd name="T97" fmla="*/ 393 h 527"/>
                <a:gd name="T98" fmla="*/ 970 w 1374"/>
                <a:gd name="T99" fmla="*/ 348 h 527"/>
                <a:gd name="T100" fmla="*/ 1078 w 1374"/>
                <a:gd name="T101" fmla="*/ 337 h 527"/>
                <a:gd name="T102" fmla="*/ 1152 w 1374"/>
                <a:gd name="T103" fmla="*/ 299 h 527"/>
                <a:gd name="T104" fmla="*/ 1098 w 1374"/>
                <a:gd name="T105" fmla="*/ 424 h 527"/>
                <a:gd name="T106" fmla="*/ 1151 w 1374"/>
                <a:gd name="T107" fmla="*/ 352 h 527"/>
                <a:gd name="T108" fmla="*/ 1235 w 1374"/>
                <a:gd name="T109" fmla="*/ 309 h 527"/>
                <a:gd name="T110" fmla="*/ 1292 w 1374"/>
                <a:gd name="T111" fmla="*/ 262 h 527"/>
                <a:gd name="T112" fmla="*/ 1347 w 1374"/>
                <a:gd name="T113" fmla="*/ 267 h 527"/>
                <a:gd name="T114" fmla="*/ 707 w 1374"/>
                <a:gd name="T115" fmla="*/ 392 h 527"/>
                <a:gd name="T116" fmla="*/ 277 w 1374"/>
                <a:gd name="T117" fmla="*/ 23 h 527"/>
                <a:gd name="T118" fmla="*/ 282 w 1374"/>
                <a:gd name="T119" fmla="*/ 14 h 527"/>
                <a:gd name="T120" fmla="*/ 300 w 1374"/>
                <a:gd name="T121" fmla="*/ 145 h 527"/>
                <a:gd name="T122" fmla="*/ 301 w 1374"/>
                <a:gd name="T123" fmla="*/ 111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4" h="527">
                  <a:moveTo>
                    <a:pt x="21" y="381"/>
                  </a:moveTo>
                  <a:cubicBezTo>
                    <a:pt x="20" y="381"/>
                    <a:pt x="17" y="380"/>
                    <a:pt x="16" y="379"/>
                  </a:cubicBezTo>
                  <a:cubicBezTo>
                    <a:pt x="16" y="378"/>
                    <a:pt x="13" y="378"/>
                    <a:pt x="11" y="378"/>
                  </a:cubicBezTo>
                  <a:cubicBezTo>
                    <a:pt x="12" y="379"/>
                    <a:pt x="12" y="379"/>
                    <a:pt x="13" y="380"/>
                  </a:cubicBezTo>
                  <a:cubicBezTo>
                    <a:pt x="14" y="382"/>
                    <a:pt x="8" y="382"/>
                    <a:pt x="10" y="384"/>
                  </a:cubicBezTo>
                  <a:cubicBezTo>
                    <a:pt x="12" y="386"/>
                    <a:pt x="6" y="386"/>
                    <a:pt x="6" y="384"/>
                  </a:cubicBezTo>
                  <a:cubicBezTo>
                    <a:pt x="6" y="382"/>
                    <a:pt x="1" y="383"/>
                    <a:pt x="1" y="384"/>
                  </a:cubicBezTo>
                  <a:cubicBezTo>
                    <a:pt x="1" y="385"/>
                    <a:pt x="1" y="386"/>
                    <a:pt x="0" y="386"/>
                  </a:cubicBezTo>
                  <a:cubicBezTo>
                    <a:pt x="2" y="387"/>
                    <a:pt x="4" y="388"/>
                    <a:pt x="4" y="388"/>
                  </a:cubicBezTo>
                  <a:cubicBezTo>
                    <a:pt x="5" y="388"/>
                    <a:pt x="20" y="390"/>
                    <a:pt x="25" y="389"/>
                  </a:cubicBezTo>
                  <a:cubicBezTo>
                    <a:pt x="25" y="388"/>
                    <a:pt x="26" y="385"/>
                    <a:pt x="26" y="383"/>
                  </a:cubicBezTo>
                  <a:cubicBezTo>
                    <a:pt x="26" y="382"/>
                    <a:pt x="22" y="380"/>
                    <a:pt x="21" y="381"/>
                  </a:cubicBezTo>
                  <a:close/>
                  <a:moveTo>
                    <a:pt x="365" y="14"/>
                  </a:moveTo>
                  <a:cubicBezTo>
                    <a:pt x="374" y="13"/>
                    <a:pt x="374" y="8"/>
                    <a:pt x="369" y="8"/>
                  </a:cubicBezTo>
                  <a:cubicBezTo>
                    <a:pt x="364" y="7"/>
                    <a:pt x="364" y="10"/>
                    <a:pt x="361" y="10"/>
                  </a:cubicBezTo>
                  <a:cubicBezTo>
                    <a:pt x="359" y="10"/>
                    <a:pt x="350" y="12"/>
                    <a:pt x="352" y="14"/>
                  </a:cubicBezTo>
                  <a:cubicBezTo>
                    <a:pt x="354" y="16"/>
                    <a:pt x="361" y="15"/>
                    <a:pt x="365" y="14"/>
                  </a:cubicBezTo>
                  <a:close/>
                  <a:moveTo>
                    <a:pt x="411" y="147"/>
                  </a:moveTo>
                  <a:cubicBezTo>
                    <a:pt x="414" y="147"/>
                    <a:pt x="423" y="145"/>
                    <a:pt x="423" y="144"/>
                  </a:cubicBezTo>
                  <a:cubicBezTo>
                    <a:pt x="424" y="142"/>
                    <a:pt x="420" y="140"/>
                    <a:pt x="415" y="140"/>
                  </a:cubicBezTo>
                  <a:cubicBezTo>
                    <a:pt x="409" y="140"/>
                    <a:pt x="408" y="146"/>
                    <a:pt x="411" y="147"/>
                  </a:cubicBezTo>
                  <a:close/>
                  <a:moveTo>
                    <a:pt x="587" y="25"/>
                  </a:moveTo>
                  <a:cubicBezTo>
                    <a:pt x="591" y="27"/>
                    <a:pt x="590" y="28"/>
                    <a:pt x="585" y="28"/>
                  </a:cubicBezTo>
                  <a:cubicBezTo>
                    <a:pt x="580" y="28"/>
                    <a:pt x="576" y="30"/>
                    <a:pt x="579" y="31"/>
                  </a:cubicBezTo>
                  <a:cubicBezTo>
                    <a:pt x="582" y="32"/>
                    <a:pt x="581" y="35"/>
                    <a:pt x="586" y="36"/>
                  </a:cubicBezTo>
                  <a:cubicBezTo>
                    <a:pt x="591" y="37"/>
                    <a:pt x="596" y="33"/>
                    <a:pt x="596" y="30"/>
                  </a:cubicBezTo>
                  <a:cubicBezTo>
                    <a:pt x="595" y="27"/>
                    <a:pt x="613" y="25"/>
                    <a:pt x="618" y="23"/>
                  </a:cubicBezTo>
                  <a:cubicBezTo>
                    <a:pt x="623" y="22"/>
                    <a:pt x="615" y="17"/>
                    <a:pt x="620" y="17"/>
                  </a:cubicBezTo>
                  <a:cubicBezTo>
                    <a:pt x="625" y="16"/>
                    <a:pt x="623" y="14"/>
                    <a:pt x="617" y="13"/>
                  </a:cubicBezTo>
                  <a:cubicBezTo>
                    <a:pt x="610" y="12"/>
                    <a:pt x="613" y="7"/>
                    <a:pt x="611" y="5"/>
                  </a:cubicBezTo>
                  <a:cubicBezTo>
                    <a:pt x="609" y="3"/>
                    <a:pt x="608" y="7"/>
                    <a:pt x="599" y="9"/>
                  </a:cubicBezTo>
                  <a:cubicBezTo>
                    <a:pt x="591" y="10"/>
                    <a:pt x="587" y="13"/>
                    <a:pt x="590" y="14"/>
                  </a:cubicBezTo>
                  <a:cubicBezTo>
                    <a:pt x="593" y="16"/>
                    <a:pt x="590" y="20"/>
                    <a:pt x="587" y="20"/>
                  </a:cubicBezTo>
                  <a:cubicBezTo>
                    <a:pt x="583" y="19"/>
                    <a:pt x="582" y="23"/>
                    <a:pt x="587" y="25"/>
                  </a:cubicBezTo>
                  <a:close/>
                  <a:moveTo>
                    <a:pt x="599" y="32"/>
                  </a:moveTo>
                  <a:cubicBezTo>
                    <a:pt x="599" y="34"/>
                    <a:pt x="592" y="37"/>
                    <a:pt x="594" y="39"/>
                  </a:cubicBezTo>
                  <a:cubicBezTo>
                    <a:pt x="596" y="41"/>
                    <a:pt x="598" y="40"/>
                    <a:pt x="600" y="41"/>
                  </a:cubicBezTo>
                  <a:cubicBezTo>
                    <a:pt x="602" y="41"/>
                    <a:pt x="603" y="47"/>
                    <a:pt x="608" y="46"/>
                  </a:cubicBezTo>
                  <a:cubicBezTo>
                    <a:pt x="612" y="45"/>
                    <a:pt x="624" y="51"/>
                    <a:pt x="631" y="51"/>
                  </a:cubicBezTo>
                  <a:cubicBezTo>
                    <a:pt x="637" y="51"/>
                    <a:pt x="638" y="45"/>
                    <a:pt x="636" y="45"/>
                  </a:cubicBezTo>
                  <a:cubicBezTo>
                    <a:pt x="634" y="45"/>
                    <a:pt x="636" y="41"/>
                    <a:pt x="640" y="36"/>
                  </a:cubicBezTo>
                  <a:cubicBezTo>
                    <a:pt x="643" y="30"/>
                    <a:pt x="628" y="26"/>
                    <a:pt x="628" y="31"/>
                  </a:cubicBezTo>
                  <a:cubicBezTo>
                    <a:pt x="628" y="35"/>
                    <a:pt x="623" y="30"/>
                    <a:pt x="622" y="27"/>
                  </a:cubicBezTo>
                  <a:cubicBezTo>
                    <a:pt x="620" y="24"/>
                    <a:pt x="599" y="29"/>
                    <a:pt x="599" y="32"/>
                  </a:cubicBezTo>
                  <a:close/>
                  <a:moveTo>
                    <a:pt x="481" y="150"/>
                  </a:moveTo>
                  <a:cubicBezTo>
                    <a:pt x="484" y="152"/>
                    <a:pt x="487" y="151"/>
                    <a:pt x="487" y="148"/>
                  </a:cubicBezTo>
                  <a:cubicBezTo>
                    <a:pt x="486" y="144"/>
                    <a:pt x="478" y="149"/>
                    <a:pt x="481" y="150"/>
                  </a:cubicBezTo>
                  <a:close/>
                  <a:moveTo>
                    <a:pt x="581" y="8"/>
                  </a:moveTo>
                  <a:cubicBezTo>
                    <a:pt x="582" y="5"/>
                    <a:pt x="566" y="6"/>
                    <a:pt x="570" y="10"/>
                  </a:cubicBezTo>
                  <a:cubicBezTo>
                    <a:pt x="571" y="11"/>
                    <a:pt x="580" y="12"/>
                    <a:pt x="581" y="8"/>
                  </a:cubicBezTo>
                  <a:close/>
                  <a:moveTo>
                    <a:pt x="1280" y="181"/>
                  </a:moveTo>
                  <a:cubicBezTo>
                    <a:pt x="1285" y="183"/>
                    <a:pt x="1288" y="178"/>
                    <a:pt x="1292" y="180"/>
                  </a:cubicBezTo>
                  <a:cubicBezTo>
                    <a:pt x="1296" y="183"/>
                    <a:pt x="1305" y="179"/>
                    <a:pt x="1309" y="179"/>
                  </a:cubicBezTo>
                  <a:cubicBezTo>
                    <a:pt x="1313" y="178"/>
                    <a:pt x="1311" y="173"/>
                    <a:pt x="1300" y="172"/>
                  </a:cubicBezTo>
                  <a:cubicBezTo>
                    <a:pt x="1289" y="170"/>
                    <a:pt x="1275" y="178"/>
                    <a:pt x="1280" y="181"/>
                  </a:cubicBezTo>
                  <a:close/>
                  <a:moveTo>
                    <a:pt x="636" y="65"/>
                  </a:moveTo>
                  <a:cubicBezTo>
                    <a:pt x="640" y="67"/>
                    <a:pt x="650" y="63"/>
                    <a:pt x="657" y="63"/>
                  </a:cubicBezTo>
                  <a:cubicBezTo>
                    <a:pt x="665" y="63"/>
                    <a:pt x="685" y="58"/>
                    <a:pt x="685" y="54"/>
                  </a:cubicBezTo>
                  <a:cubicBezTo>
                    <a:pt x="686" y="50"/>
                    <a:pt x="678" y="50"/>
                    <a:pt x="675" y="47"/>
                  </a:cubicBezTo>
                  <a:cubicBezTo>
                    <a:pt x="672" y="44"/>
                    <a:pt x="665" y="47"/>
                    <a:pt x="663" y="49"/>
                  </a:cubicBezTo>
                  <a:cubicBezTo>
                    <a:pt x="661" y="52"/>
                    <a:pt x="660" y="50"/>
                    <a:pt x="664" y="45"/>
                  </a:cubicBezTo>
                  <a:cubicBezTo>
                    <a:pt x="669" y="41"/>
                    <a:pt x="660" y="37"/>
                    <a:pt x="659" y="40"/>
                  </a:cubicBezTo>
                  <a:cubicBezTo>
                    <a:pt x="659" y="43"/>
                    <a:pt x="651" y="40"/>
                    <a:pt x="651" y="43"/>
                  </a:cubicBezTo>
                  <a:cubicBezTo>
                    <a:pt x="651" y="46"/>
                    <a:pt x="648" y="47"/>
                    <a:pt x="648" y="49"/>
                  </a:cubicBezTo>
                  <a:cubicBezTo>
                    <a:pt x="648" y="52"/>
                    <a:pt x="642" y="48"/>
                    <a:pt x="642" y="54"/>
                  </a:cubicBezTo>
                  <a:cubicBezTo>
                    <a:pt x="642" y="60"/>
                    <a:pt x="633" y="63"/>
                    <a:pt x="636" y="65"/>
                  </a:cubicBezTo>
                  <a:close/>
                  <a:moveTo>
                    <a:pt x="943" y="114"/>
                  </a:moveTo>
                  <a:cubicBezTo>
                    <a:pt x="946" y="116"/>
                    <a:pt x="948" y="118"/>
                    <a:pt x="949" y="120"/>
                  </a:cubicBezTo>
                  <a:cubicBezTo>
                    <a:pt x="951" y="121"/>
                    <a:pt x="958" y="119"/>
                    <a:pt x="961" y="118"/>
                  </a:cubicBezTo>
                  <a:cubicBezTo>
                    <a:pt x="964" y="117"/>
                    <a:pt x="964" y="122"/>
                    <a:pt x="969" y="119"/>
                  </a:cubicBezTo>
                  <a:cubicBezTo>
                    <a:pt x="973" y="116"/>
                    <a:pt x="978" y="118"/>
                    <a:pt x="983" y="118"/>
                  </a:cubicBezTo>
                  <a:cubicBezTo>
                    <a:pt x="988" y="118"/>
                    <a:pt x="982" y="111"/>
                    <a:pt x="983" y="108"/>
                  </a:cubicBezTo>
                  <a:cubicBezTo>
                    <a:pt x="983" y="106"/>
                    <a:pt x="989" y="107"/>
                    <a:pt x="987" y="110"/>
                  </a:cubicBezTo>
                  <a:cubicBezTo>
                    <a:pt x="985" y="112"/>
                    <a:pt x="990" y="118"/>
                    <a:pt x="997" y="117"/>
                  </a:cubicBezTo>
                  <a:cubicBezTo>
                    <a:pt x="1005" y="117"/>
                    <a:pt x="999" y="112"/>
                    <a:pt x="1003" y="110"/>
                  </a:cubicBezTo>
                  <a:cubicBezTo>
                    <a:pt x="1007" y="109"/>
                    <a:pt x="1006" y="107"/>
                    <a:pt x="1001" y="103"/>
                  </a:cubicBezTo>
                  <a:cubicBezTo>
                    <a:pt x="995" y="100"/>
                    <a:pt x="988" y="102"/>
                    <a:pt x="983" y="100"/>
                  </a:cubicBezTo>
                  <a:cubicBezTo>
                    <a:pt x="978" y="98"/>
                    <a:pt x="972" y="98"/>
                    <a:pt x="972" y="103"/>
                  </a:cubicBezTo>
                  <a:cubicBezTo>
                    <a:pt x="972" y="108"/>
                    <a:pt x="962" y="97"/>
                    <a:pt x="957" y="96"/>
                  </a:cubicBezTo>
                  <a:cubicBezTo>
                    <a:pt x="951" y="94"/>
                    <a:pt x="935" y="110"/>
                    <a:pt x="943" y="114"/>
                  </a:cubicBezTo>
                  <a:close/>
                  <a:moveTo>
                    <a:pt x="993" y="145"/>
                  </a:moveTo>
                  <a:cubicBezTo>
                    <a:pt x="997" y="144"/>
                    <a:pt x="990" y="136"/>
                    <a:pt x="982" y="135"/>
                  </a:cubicBezTo>
                  <a:cubicBezTo>
                    <a:pt x="975" y="134"/>
                    <a:pt x="968" y="140"/>
                    <a:pt x="969" y="141"/>
                  </a:cubicBezTo>
                  <a:cubicBezTo>
                    <a:pt x="971" y="144"/>
                    <a:pt x="988" y="146"/>
                    <a:pt x="993" y="145"/>
                  </a:cubicBezTo>
                  <a:close/>
                  <a:moveTo>
                    <a:pt x="974" y="129"/>
                  </a:moveTo>
                  <a:cubicBezTo>
                    <a:pt x="974" y="125"/>
                    <a:pt x="961" y="130"/>
                    <a:pt x="966" y="132"/>
                  </a:cubicBezTo>
                  <a:cubicBezTo>
                    <a:pt x="969" y="133"/>
                    <a:pt x="974" y="133"/>
                    <a:pt x="974" y="129"/>
                  </a:cubicBezTo>
                  <a:close/>
                  <a:moveTo>
                    <a:pt x="1015" y="114"/>
                  </a:moveTo>
                  <a:cubicBezTo>
                    <a:pt x="1021" y="115"/>
                    <a:pt x="1024" y="120"/>
                    <a:pt x="1035" y="121"/>
                  </a:cubicBezTo>
                  <a:cubicBezTo>
                    <a:pt x="1046" y="121"/>
                    <a:pt x="1054" y="119"/>
                    <a:pt x="1054" y="117"/>
                  </a:cubicBezTo>
                  <a:cubicBezTo>
                    <a:pt x="1054" y="115"/>
                    <a:pt x="1044" y="111"/>
                    <a:pt x="1041" y="113"/>
                  </a:cubicBezTo>
                  <a:cubicBezTo>
                    <a:pt x="1038" y="115"/>
                    <a:pt x="1035" y="110"/>
                    <a:pt x="1032" y="111"/>
                  </a:cubicBezTo>
                  <a:cubicBezTo>
                    <a:pt x="1028" y="112"/>
                    <a:pt x="1022" y="112"/>
                    <a:pt x="1021" y="109"/>
                  </a:cubicBezTo>
                  <a:cubicBezTo>
                    <a:pt x="1019" y="105"/>
                    <a:pt x="1012" y="114"/>
                    <a:pt x="1015" y="114"/>
                  </a:cubicBezTo>
                  <a:close/>
                  <a:moveTo>
                    <a:pt x="221" y="18"/>
                  </a:moveTo>
                  <a:cubicBezTo>
                    <a:pt x="226" y="13"/>
                    <a:pt x="233" y="17"/>
                    <a:pt x="234" y="15"/>
                  </a:cubicBezTo>
                  <a:cubicBezTo>
                    <a:pt x="235" y="13"/>
                    <a:pt x="224" y="12"/>
                    <a:pt x="220" y="14"/>
                  </a:cubicBezTo>
                  <a:cubicBezTo>
                    <a:pt x="216" y="16"/>
                    <a:pt x="206" y="14"/>
                    <a:pt x="208" y="17"/>
                  </a:cubicBezTo>
                  <a:cubicBezTo>
                    <a:pt x="208" y="19"/>
                    <a:pt x="215" y="23"/>
                    <a:pt x="221" y="18"/>
                  </a:cubicBezTo>
                  <a:close/>
                  <a:moveTo>
                    <a:pt x="991" y="419"/>
                  </a:moveTo>
                  <a:cubicBezTo>
                    <a:pt x="988" y="413"/>
                    <a:pt x="995" y="406"/>
                    <a:pt x="990" y="402"/>
                  </a:cubicBezTo>
                  <a:cubicBezTo>
                    <a:pt x="985" y="399"/>
                    <a:pt x="987" y="391"/>
                    <a:pt x="985" y="393"/>
                  </a:cubicBezTo>
                  <a:cubicBezTo>
                    <a:pt x="982" y="394"/>
                    <a:pt x="985" y="401"/>
                    <a:pt x="981" y="401"/>
                  </a:cubicBezTo>
                  <a:cubicBezTo>
                    <a:pt x="977" y="402"/>
                    <a:pt x="981" y="405"/>
                    <a:pt x="979" y="410"/>
                  </a:cubicBezTo>
                  <a:cubicBezTo>
                    <a:pt x="978" y="415"/>
                    <a:pt x="980" y="422"/>
                    <a:pt x="982" y="426"/>
                  </a:cubicBezTo>
                  <a:cubicBezTo>
                    <a:pt x="984" y="430"/>
                    <a:pt x="979" y="453"/>
                    <a:pt x="981" y="457"/>
                  </a:cubicBezTo>
                  <a:cubicBezTo>
                    <a:pt x="983" y="461"/>
                    <a:pt x="978" y="477"/>
                    <a:pt x="980" y="479"/>
                  </a:cubicBezTo>
                  <a:cubicBezTo>
                    <a:pt x="983" y="483"/>
                    <a:pt x="981" y="475"/>
                    <a:pt x="985" y="474"/>
                  </a:cubicBezTo>
                  <a:cubicBezTo>
                    <a:pt x="989" y="473"/>
                    <a:pt x="989" y="479"/>
                    <a:pt x="992" y="480"/>
                  </a:cubicBezTo>
                  <a:cubicBezTo>
                    <a:pt x="994" y="481"/>
                    <a:pt x="993" y="472"/>
                    <a:pt x="990" y="473"/>
                  </a:cubicBezTo>
                  <a:cubicBezTo>
                    <a:pt x="988" y="473"/>
                    <a:pt x="986" y="467"/>
                    <a:pt x="985" y="463"/>
                  </a:cubicBezTo>
                  <a:cubicBezTo>
                    <a:pt x="984" y="460"/>
                    <a:pt x="987" y="455"/>
                    <a:pt x="987" y="450"/>
                  </a:cubicBezTo>
                  <a:cubicBezTo>
                    <a:pt x="987" y="446"/>
                    <a:pt x="993" y="446"/>
                    <a:pt x="997" y="449"/>
                  </a:cubicBezTo>
                  <a:cubicBezTo>
                    <a:pt x="1000" y="453"/>
                    <a:pt x="1001" y="451"/>
                    <a:pt x="999" y="448"/>
                  </a:cubicBezTo>
                  <a:cubicBezTo>
                    <a:pt x="998" y="445"/>
                    <a:pt x="993" y="426"/>
                    <a:pt x="991" y="419"/>
                  </a:cubicBezTo>
                  <a:close/>
                  <a:moveTo>
                    <a:pt x="243" y="15"/>
                  </a:moveTo>
                  <a:cubicBezTo>
                    <a:pt x="246" y="18"/>
                    <a:pt x="234" y="17"/>
                    <a:pt x="232" y="19"/>
                  </a:cubicBezTo>
                  <a:cubicBezTo>
                    <a:pt x="230" y="22"/>
                    <a:pt x="223" y="21"/>
                    <a:pt x="224" y="24"/>
                  </a:cubicBezTo>
                  <a:cubicBezTo>
                    <a:pt x="226" y="27"/>
                    <a:pt x="238" y="27"/>
                    <a:pt x="238" y="24"/>
                  </a:cubicBezTo>
                  <a:cubicBezTo>
                    <a:pt x="238" y="22"/>
                    <a:pt x="244" y="24"/>
                    <a:pt x="244" y="22"/>
                  </a:cubicBezTo>
                  <a:cubicBezTo>
                    <a:pt x="244" y="20"/>
                    <a:pt x="247" y="18"/>
                    <a:pt x="254" y="17"/>
                  </a:cubicBezTo>
                  <a:cubicBezTo>
                    <a:pt x="260" y="17"/>
                    <a:pt x="260" y="14"/>
                    <a:pt x="254" y="11"/>
                  </a:cubicBezTo>
                  <a:cubicBezTo>
                    <a:pt x="248" y="8"/>
                    <a:pt x="240" y="13"/>
                    <a:pt x="243" y="15"/>
                  </a:cubicBezTo>
                  <a:close/>
                  <a:moveTo>
                    <a:pt x="233" y="208"/>
                  </a:moveTo>
                  <a:cubicBezTo>
                    <a:pt x="239" y="213"/>
                    <a:pt x="245" y="205"/>
                    <a:pt x="248" y="204"/>
                  </a:cubicBezTo>
                  <a:cubicBezTo>
                    <a:pt x="251" y="204"/>
                    <a:pt x="246" y="201"/>
                    <a:pt x="241" y="199"/>
                  </a:cubicBezTo>
                  <a:cubicBezTo>
                    <a:pt x="235" y="198"/>
                    <a:pt x="228" y="203"/>
                    <a:pt x="233" y="208"/>
                  </a:cubicBezTo>
                  <a:close/>
                  <a:moveTo>
                    <a:pt x="1372" y="248"/>
                  </a:moveTo>
                  <a:cubicBezTo>
                    <a:pt x="1370" y="247"/>
                    <a:pt x="1362" y="242"/>
                    <a:pt x="1360" y="240"/>
                  </a:cubicBezTo>
                  <a:cubicBezTo>
                    <a:pt x="1358" y="237"/>
                    <a:pt x="1349" y="236"/>
                    <a:pt x="1349" y="237"/>
                  </a:cubicBezTo>
                  <a:cubicBezTo>
                    <a:pt x="1349" y="238"/>
                    <a:pt x="1346" y="237"/>
                    <a:pt x="1345" y="235"/>
                  </a:cubicBezTo>
                  <a:cubicBezTo>
                    <a:pt x="1345" y="234"/>
                    <a:pt x="1335" y="233"/>
                    <a:pt x="1335" y="235"/>
                  </a:cubicBezTo>
                  <a:cubicBezTo>
                    <a:pt x="1335" y="237"/>
                    <a:pt x="1337" y="237"/>
                    <a:pt x="1338" y="239"/>
                  </a:cubicBezTo>
                  <a:cubicBezTo>
                    <a:pt x="1340" y="241"/>
                    <a:pt x="1337" y="242"/>
                    <a:pt x="1337" y="244"/>
                  </a:cubicBezTo>
                  <a:cubicBezTo>
                    <a:pt x="1338" y="246"/>
                    <a:pt x="1334" y="243"/>
                    <a:pt x="1332" y="242"/>
                  </a:cubicBezTo>
                  <a:cubicBezTo>
                    <a:pt x="1331" y="240"/>
                    <a:pt x="1331" y="236"/>
                    <a:pt x="1332" y="233"/>
                  </a:cubicBezTo>
                  <a:cubicBezTo>
                    <a:pt x="1332" y="231"/>
                    <a:pt x="1329" y="231"/>
                    <a:pt x="1329" y="229"/>
                  </a:cubicBezTo>
                  <a:cubicBezTo>
                    <a:pt x="1328" y="227"/>
                    <a:pt x="1318" y="222"/>
                    <a:pt x="1313" y="220"/>
                  </a:cubicBezTo>
                  <a:cubicBezTo>
                    <a:pt x="1309" y="218"/>
                    <a:pt x="1303" y="216"/>
                    <a:pt x="1301" y="214"/>
                  </a:cubicBezTo>
                  <a:cubicBezTo>
                    <a:pt x="1300" y="212"/>
                    <a:pt x="1292" y="211"/>
                    <a:pt x="1289" y="208"/>
                  </a:cubicBezTo>
                  <a:cubicBezTo>
                    <a:pt x="1285" y="205"/>
                    <a:pt x="1272" y="199"/>
                    <a:pt x="1266" y="199"/>
                  </a:cubicBezTo>
                  <a:cubicBezTo>
                    <a:pt x="1260" y="198"/>
                    <a:pt x="1262" y="195"/>
                    <a:pt x="1259" y="196"/>
                  </a:cubicBezTo>
                  <a:cubicBezTo>
                    <a:pt x="1256" y="196"/>
                    <a:pt x="1244" y="196"/>
                    <a:pt x="1240" y="195"/>
                  </a:cubicBezTo>
                  <a:cubicBezTo>
                    <a:pt x="1236" y="194"/>
                    <a:pt x="1235" y="197"/>
                    <a:pt x="1232" y="196"/>
                  </a:cubicBezTo>
                  <a:cubicBezTo>
                    <a:pt x="1230" y="195"/>
                    <a:pt x="1216" y="190"/>
                    <a:pt x="1214" y="192"/>
                  </a:cubicBezTo>
                  <a:cubicBezTo>
                    <a:pt x="1212" y="194"/>
                    <a:pt x="1213" y="197"/>
                    <a:pt x="1211" y="197"/>
                  </a:cubicBezTo>
                  <a:cubicBezTo>
                    <a:pt x="1210" y="198"/>
                    <a:pt x="1211" y="200"/>
                    <a:pt x="1215" y="203"/>
                  </a:cubicBezTo>
                  <a:cubicBezTo>
                    <a:pt x="1219" y="207"/>
                    <a:pt x="1217" y="210"/>
                    <a:pt x="1213" y="211"/>
                  </a:cubicBezTo>
                  <a:cubicBezTo>
                    <a:pt x="1210" y="213"/>
                    <a:pt x="1204" y="210"/>
                    <a:pt x="1202" y="207"/>
                  </a:cubicBezTo>
                  <a:cubicBezTo>
                    <a:pt x="1200" y="204"/>
                    <a:pt x="1195" y="206"/>
                    <a:pt x="1194" y="202"/>
                  </a:cubicBezTo>
                  <a:cubicBezTo>
                    <a:pt x="1193" y="198"/>
                    <a:pt x="1196" y="198"/>
                    <a:pt x="1198" y="200"/>
                  </a:cubicBezTo>
                  <a:cubicBezTo>
                    <a:pt x="1200" y="202"/>
                    <a:pt x="1204" y="200"/>
                    <a:pt x="1204" y="198"/>
                  </a:cubicBezTo>
                  <a:cubicBezTo>
                    <a:pt x="1204" y="195"/>
                    <a:pt x="1198" y="193"/>
                    <a:pt x="1194" y="194"/>
                  </a:cubicBezTo>
                  <a:cubicBezTo>
                    <a:pt x="1190" y="194"/>
                    <a:pt x="1188" y="199"/>
                    <a:pt x="1184" y="201"/>
                  </a:cubicBezTo>
                  <a:cubicBezTo>
                    <a:pt x="1181" y="203"/>
                    <a:pt x="1166" y="200"/>
                    <a:pt x="1164" y="199"/>
                  </a:cubicBezTo>
                  <a:cubicBezTo>
                    <a:pt x="1163" y="197"/>
                    <a:pt x="1142" y="199"/>
                    <a:pt x="1140" y="200"/>
                  </a:cubicBezTo>
                  <a:cubicBezTo>
                    <a:pt x="1138" y="202"/>
                    <a:pt x="1139" y="207"/>
                    <a:pt x="1138" y="208"/>
                  </a:cubicBezTo>
                  <a:cubicBezTo>
                    <a:pt x="1137" y="208"/>
                    <a:pt x="1136" y="201"/>
                    <a:pt x="1136" y="200"/>
                  </a:cubicBezTo>
                  <a:cubicBezTo>
                    <a:pt x="1136" y="199"/>
                    <a:pt x="1134" y="198"/>
                    <a:pt x="1130" y="198"/>
                  </a:cubicBezTo>
                  <a:cubicBezTo>
                    <a:pt x="1126" y="198"/>
                    <a:pt x="1124" y="198"/>
                    <a:pt x="1126" y="196"/>
                  </a:cubicBezTo>
                  <a:cubicBezTo>
                    <a:pt x="1127" y="194"/>
                    <a:pt x="1124" y="193"/>
                    <a:pt x="1127" y="191"/>
                  </a:cubicBezTo>
                  <a:cubicBezTo>
                    <a:pt x="1130" y="189"/>
                    <a:pt x="1122" y="183"/>
                    <a:pt x="1114" y="179"/>
                  </a:cubicBezTo>
                  <a:cubicBezTo>
                    <a:pt x="1106" y="176"/>
                    <a:pt x="1088" y="178"/>
                    <a:pt x="1084" y="180"/>
                  </a:cubicBezTo>
                  <a:cubicBezTo>
                    <a:pt x="1079" y="181"/>
                    <a:pt x="1069" y="181"/>
                    <a:pt x="1065" y="181"/>
                  </a:cubicBezTo>
                  <a:cubicBezTo>
                    <a:pt x="1060" y="181"/>
                    <a:pt x="1064" y="179"/>
                    <a:pt x="1063" y="177"/>
                  </a:cubicBezTo>
                  <a:cubicBezTo>
                    <a:pt x="1061" y="175"/>
                    <a:pt x="1054" y="172"/>
                    <a:pt x="1053" y="174"/>
                  </a:cubicBezTo>
                  <a:cubicBezTo>
                    <a:pt x="1052" y="176"/>
                    <a:pt x="1050" y="174"/>
                    <a:pt x="1050" y="172"/>
                  </a:cubicBezTo>
                  <a:cubicBezTo>
                    <a:pt x="1050" y="171"/>
                    <a:pt x="1042" y="169"/>
                    <a:pt x="1039" y="169"/>
                  </a:cubicBezTo>
                  <a:cubicBezTo>
                    <a:pt x="1037" y="170"/>
                    <a:pt x="1035" y="167"/>
                    <a:pt x="1039" y="167"/>
                  </a:cubicBezTo>
                  <a:cubicBezTo>
                    <a:pt x="1042" y="167"/>
                    <a:pt x="1048" y="167"/>
                    <a:pt x="1045" y="163"/>
                  </a:cubicBezTo>
                  <a:cubicBezTo>
                    <a:pt x="1043" y="160"/>
                    <a:pt x="1021" y="158"/>
                    <a:pt x="1019" y="159"/>
                  </a:cubicBezTo>
                  <a:cubicBezTo>
                    <a:pt x="1017" y="160"/>
                    <a:pt x="1019" y="163"/>
                    <a:pt x="1015" y="167"/>
                  </a:cubicBezTo>
                  <a:cubicBezTo>
                    <a:pt x="1010" y="171"/>
                    <a:pt x="1005" y="168"/>
                    <a:pt x="1006" y="166"/>
                  </a:cubicBezTo>
                  <a:cubicBezTo>
                    <a:pt x="1007" y="164"/>
                    <a:pt x="1012" y="164"/>
                    <a:pt x="1012" y="162"/>
                  </a:cubicBezTo>
                  <a:cubicBezTo>
                    <a:pt x="1012" y="160"/>
                    <a:pt x="1004" y="161"/>
                    <a:pt x="1003" y="160"/>
                  </a:cubicBezTo>
                  <a:cubicBezTo>
                    <a:pt x="1002" y="158"/>
                    <a:pt x="1005" y="157"/>
                    <a:pt x="1008" y="157"/>
                  </a:cubicBezTo>
                  <a:cubicBezTo>
                    <a:pt x="1011" y="158"/>
                    <a:pt x="1016" y="159"/>
                    <a:pt x="1016" y="157"/>
                  </a:cubicBezTo>
                  <a:cubicBezTo>
                    <a:pt x="1016" y="156"/>
                    <a:pt x="1013" y="156"/>
                    <a:pt x="1008" y="155"/>
                  </a:cubicBezTo>
                  <a:cubicBezTo>
                    <a:pt x="1003" y="154"/>
                    <a:pt x="992" y="152"/>
                    <a:pt x="986" y="152"/>
                  </a:cubicBezTo>
                  <a:cubicBezTo>
                    <a:pt x="980" y="153"/>
                    <a:pt x="977" y="150"/>
                    <a:pt x="974" y="150"/>
                  </a:cubicBezTo>
                  <a:cubicBezTo>
                    <a:pt x="970" y="149"/>
                    <a:pt x="970" y="151"/>
                    <a:pt x="972" y="153"/>
                  </a:cubicBezTo>
                  <a:cubicBezTo>
                    <a:pt x="973" y="155"/>
                    <a:pt x="969" y="156"/>
                    <a:pt x="965" y="156"/>
                  </a:cubicBezTo>
                  <a:cubicBezTo>
                    <a:pt x="961" y="155"/>
                    <a:pt x="955" y="158"/>
                    <a:pt x="957" y="161"/>
                  </a:cubicBezTo>
                  <a:cubicBezTo>
                    <a:pt x="960" y="164"/>
                    <a:pt x="962" y="160"/>
                    <a:pt x="964" y="161"/>
                  </a:cubicBezTo>
                  <a:cubicBezTo>
                    <a:pt x="966" y="162"/>
                    <a:pt x="959" y="164"/>
                    <a:pt x="962" y="165"/>
                  </a:cubicBezTo>
                  <a:cubicBezTo>
                    <a:pt x="964" y="167"/>
                    <a:pt x="964" y="169"/>
                    <a:pt x="964" y="171"/>
                  </a:cubicBezTo>
                  <a:cubicBezTo>
                    <a:pt x="964" y="172"/>
                    <a:pt x="959" y="173"/>
                    <a:pt x="958" y="171"/>
                  </a:cubicBezTo>
                  <a:cubicBezTo>
                    <a:pt x="956" y="169"/>
                    <a:pt x="953" y="170"/>
                    <a:pt x="950" y="170"/>
                  </a:cubicBezTo>
                  <a:cubicBezTo>
                    <a:pt x="947" y="170"/>
                    <a:pt x="944" y="172"/>
                    <a:pt x="948" y="172"/>
                  </a:cubicBezTo>
                  <a:cubicBezTo>
                    <a:pt x="951" y="172"/>
                    <a:pt x="952" y="175"/>
                    <a:pt x="948" y="175"/>
                  </a:cubicBezTo>
                  <a:cubicBezTo>
                    <a:pt x="943" y="176"/>
                    <a:pt x="944" y="171"/>
                    <a:pt x="941" y="171"/>
                  </a:cubicBezTo>
                  <a:cubicBezTo>
                    <a:pt x="938" y="172"/>
                    <a:pt x="932" y="169"/>
                    <a:pt x="929" y="169"/>
                  </a:cubicBezTo>
                  <a:cubicBezTo>
                    <a:pt x="926" y="169"/>
                    <a:pt x="924" y="172"/>
                    <a:pt x="920" y="172"/>
                  </a:cubicBezTo>
                  <a:cubicBezTo>
                    <a:pt x="915" y="173"/>
                    <a:pt x="909" y="170"/>
                    <a:pt x="907" y="168"/>
                  </a:cubicBezTo>
                  <a:cubicBezTo>
                    <a:pt x="906" y="165"/>
                    <a:pt x="905" y="165"/>
                    <a:pt x="903" y="167"/>
                  </a:cubicBezTo>
                  <a:cubicBezTo>
                    <a:pt x="901" y="170"/>
                    <a:pt x="901" y="175"/>
                    <a:pt x="899" y="176"/>
                  </a:cubicBezTo>
                  <a:cubicBezTo>
                    <a:pt x="896" y="176"/>
                    <a:pt x="896" y="181"/>
                    <a:pt x="893" y="182"/>
                  </a:cubicBezTo>
                  <a:cubicBezTo>
                    <a:pt x="891" y="183"/>
                    <a:pt x="891" y="180"/>
                    <a:pt x="888" y="180"/>
                  </a:cubicBezTo>
                  <a:cubicBezTo>
                    <a:pt x="886" y="181"/>
                    <a:pt x="877" y="172"/>
                    <a:pt x="876" y="169"/>
                  </a:cubicBezTo>
                  <a:cubicBezTo>
                    <a:pt x="876" y="167"/>
                    <a:pt x="871" y="162"/>
                    <a:pt x="869" y="161"/>
                  </a:cubicBezTo>
                  <a:cubicBezTo>
                    <a:pt x="868" y="160"/>
                    <a:pt x="871" y="160"/>
                    <a:pt x="872" y="161"/>
                  </a:cubicBezTo>
                  <a:cubicBezTo>
                    <a:pt x="874" y="163"/>
                    <a:pt x="876" y="163"/>
                    <a:pt x="878" y="162"/>
                  </a:cubicBezTo>
                  <a:cubicBezTo>
                    <a:pt x="880" y="161"/>
                    <a:pt x="880" y="157"/>
                    <a:pt x="877" y="157"/>
                  </a:cubicBezTo>
                  <a:cubicBezTo>
                    <a:pt x="873" y="156"/>
                    <a:pt x="875" y="154"/>
                    <a:pt x="876" y="153"/>
                  </a:cubicBezTo>
                  <a:cubicBezTo>
                    <a:pt x="878" y="153"/>
                    <a:pt x="873" y="148"/>
                    <a:pt x="875" y="148"/>
                  </a:cubicBezTo>
                  <a:cubicBezTo>
                    <a:pt x="876" y="147"/>
                    <a:pt x="876" y="145"/>
                    <a:pt x="873" y="145"/>
                  </a:cubicBezTo>
                  <a:cubicBezTo>
                    <a:pt x="870" y="145"/>
                    <a:pt x="868" y="142"/>
                    <a:pt x="868" y="141"/>
                  </a:cubicBezTo>
                  <a:cubicBezTo>
                    <a:pt x="867" y="140"/>
                    <a:pt x="856" y="139"/>
                    <a:pt x="857" y="141"/>
                  </a:cubicBezTo>
                  <a:cubicBezTo>
                    <a:pt x="857" y="143"/>
                    <a:pt x="853" y="142"/>
                    <a:pt x="854" y="141"/>
                  </a:cubicBezTo>
                  <a:cubicBezTo>
                    <a:pt x="854" y="139"/>
                    <a:pt x="850" y="140"/>
                    <a:pt x="845" y="138"/>
                  </a:cubicBezTo>
                  <a:cubicBezTo>
                    <a:pt x="839" y="137"/>
                    <a:pt x="839" y="133"/>
                    <a:pt x="838" y="133"/>
                  </a:cubicBezTo>
                  <a:cubicBezTo>
                    <a:pt x="836" y="133"/>
                    <a:pt x="836" y="138"/>
                    <a:pt x="834" y="137"/>
                  </a:cubicBezTo>
                  <a:cubicBezTo>
                    <a:pt x="831" y="136"/>
                    <a:pt x="828" y="138"/>
                    <a:pt x="830" y="141"/>
                  </a:cubicBezTo>
                  <a:cubicBezTo>
                    <a:pt x="831" y="144"/>
                    <a:pt x="830" y="145"/>
                    <a:pt x="830" y="147"/>
                  </a:cubicBezTo>
                  <a:cubicBezTo>
                    <a:pt x="829" y="150"/>
                    <a:pt x="828" y="149"/>
                    <a:pt x="825" y="148"/>
                  </a:cubicBezTo>
                  <a:cubicBezTo>
                    <a:pt x="822" y="147"/>
                    <a:pt x="822" y="150"/>
                    <a:pt x="815" y="149"/>
                  </a:cubicBezTo>
                  <a:cubicBezTo>
                    <a:pt x="808" y="147"/>
                    <a:pt x="805" y="149"/>
                    <a:pt x="804" y="147"/>
                  </a:cubicBezTo>
                  <a:cubicBezTo>
                    <a:pt x="803" y="144"/>
                    <a:pt x="801" y="144"/>
                    <a:pt x="801" y="146"/>
                  </a:cubicBezTo>
                  <a:cubicBezTo>
                    <a:pt x="801" y="148"/>
                    <a:pt x="790" y="147"/>
                    <a:pt x="790" y="144"/>
                  </a:cubicBezTo>
                  <a:cubicBezTo>
                    <a:pt x="789" y="142"/>
                    <a:pt x="791" y="141"/>
                    <a:pt x="793" y="141"/>
                  </a:cubicBezTo>
                  <a:cubicBezTo>
                    <a:pt x="794" y="140"/>
                    <a:pt x="791" y="139"/>
                    <a:pt x="786" y="139"/>
                  </a:cubicBezTo>
                  <a:cubicBezTo>
                    <a:pt x="780" y="140"/>
                    <a:pt x="776" y="136"/>
                    <a:pt x="771" y="137"/>
                  </a:cubicBezTo>
                  <a:cubicBezTo>
                    <a:pt x="765" y="138"/>
                    <a:pt x="752" y="139"/>
                    <a:pt x="751" y="140"/>
                  </a:cubicBezTo>
                  <a:cubicBezTo>
                    <a:pt x="749" y="140"/>
                    <a:pt x="752" y="144"/>
                    <a:pt x="749" y="144"/>
                  </a:cubicBezTo>
                  <a:cubicBezTo>
                    <a:pt x="747" y="144"/>
                    <a:pt x="749" y="139"/>
                    <a:pt x="748" y="136"/>
                  </a:cubicBezTo>
                  <a:cubicBezTo>
                    <a:pt x="748" y="133"/>
                    <a:pt x="744" y="133"/>
                    <a:pt x="744" y="135"/>
                  </a:cubicBezTo>
                  <a:cubicBezTo>
                    <a:pt x="745" y="137"/>
                    <a:pt x="738" y="138"/>
                    <a:pt x="736" y="136"/>
                  </a:cubicBezTo>
                  <a:cubicBezTo>
                    <a:pt x="734" y="135"/>
                    <a:pt x="731" y="133"/>
                    <a:pt x="727" y="131"/>
                  </a:cubicBezTo>
                  <a:cubicBezTo>
                    <a:pt x="722" y="130"/>
                    <a:pt x="716" y="135"/>
                    <a:pt x="717" y="137"/>
                  </a:cubicBezTo>
                  <a:cubicBezTo>
                    <a:pt x="719" y="138"/>
                    <a:pt x="722" y="137"/>
                    <a:pt x="722" y="138"/>
                  </a:cubicBezTo>
                  <a:cubicBezTo>
                    <a:pt x="723" y="140"/>
                    <a:pt x="713" y="139"/>
                    <a:pt x="713" y="141"/>
                  </a:cubicBezTo>
                  <a:cubicBezTo>
                    <a:pt x="713" y="142"/>
                    <a:pt x="703" y="145"/>
                    <a:pt x="700" y="145"/>
                  </a:cubicBezTo>
                  <a:cubicBezTo>
                    <a:pt x="692" y="146"/>
                    <a:pt x="691" y="146"/>
                    <a:pt x="687" y="149"/>
                  </a:cubicBezTo>
                  <a:cubicBezTo>
                    <a:pt x="683" y="152"/>
                    <a:pt x="686" y="146"/>
                    <a:pt x="689" y="144"/>
                  </a:cubicBezTo>
                  <a:cubicBezTo>
                    <a:pt x="692" y="141"/>
                    <a:pt x="695" y="142"/>
                    <a:pt x="697" y="140"/>
                  </a:cubicBezTo>
                  <a:cubicBezTo>
                    <a:pt x="698" y="137"/>
                    <a:pt x="701" y="138"/>
                    <a:pt x="705" y="137"/>
                  </a:cubicBezTo>
                  <a:cubicBezTo>
                    <a:pt x="710" y="136"/>
                    <a:pt x="710" y="134"/>
                    <a:pt x="712" y="133"/>
                  </a:cubicBezTo>
                  <a:cubicBezTo>
                    <a:pt x="714" y="132"/>
                    <a:pt x="719" y="130"/>
                    <a:pt x="720" y="128"/>
                  </a:cubicBezTo>
                  <a:cubicBezTo>
                    <a:pt x="721" y="125"/>
                    <a:pt x="732" y="122"/>
                    <a:pt x="734" y="122"/>
                  </a:cubicBezTo>
                  <a:cubicBezTo>
                    <a:pt x="736" y="122"/>
                    <a:pt x="737" y="118"/>
                    <a:pt x="738" y="118"/>
                  </a:cubicBezTo>
                  <a:cubicBezTo>
                    <a:pt x="739" y="118"/>
                    <a:pt x="745" y="115"/>
                    <a:pt x="747" y="114"/>
                  </a:cubicBezTo>
                  <a:cubicBezTo>
                    <a:pt x="750" y="113"/>
                    <a:pt x="751" y="111"/>
                    <a:pt x="751" y="109"/>
                  </a:cubicBezTo>
                  <a:cubicBezTo>
                    <a:pt x="751" y="107"/>
                    <a:pt x="748" y="108"/>
                    <a:pt x="748" y="106"/>
                  </a:cubicBezTo>
                  <a:cubicBezTo>
                    <a:pt x="747" y="105"/>
                    <a:pt x="749" y="106"/>
                    <a:pt x="752" y="105"/>
                  </a:cubicBezTo>
                  <a:cubicBezTo>
                    <a:pt x="754" y="104"/>
                    <a:pt x="752" y="101"/>
                    <a:pt x="750" y="101"/>
                  </a:cubicBezTo>
                  <a:cubicBezTo>
                    <a:pt x="748" y="102"/>
                    <a:pt x="751" y="99"/>
                    <a:pt x="749" y="97"/>
                  </a:cubicBezTo>
                  <a:cubicBezTo>
                    <a:pt x="747" y="95"/>
                    <a:pt x="744" y="99"/>
                    <a:pt x="744" y="96"/>
                  </a:cubicBezTo>
                  <a:cubicBezTo>
                    <a:pt x="744" y="94"/>
                    <a:pt x="743" y="91"/>
                    <a:pt x="742" y="90"/>
                  </a:cubicBezTo>
                  <a:cubicBezTo>
                    <a:pt x="741" y="88"/>
                    <a:pt x="738" y="92"/>
                    <a:pt x="735" y="90"/>
                  </a:cubicBezTo>
                  <a:cubicBezTo>
                    <a:pt x="732" y="88"/>
                    <a:pt x="723" y="86"/>
                    <a:pt x="723" y="87"/>
                  </a:cubicBezTo>
                  <a:cubicBezTo>
                    <a:pt x="723" y="88"/>
                    <a:pt x="719" y="86"/>
                    <a:pt x="718" y="87"/>
                  </a:cubicBezTo>
                  <a:cubicBezTo>
                    <a:pt x="717" y="88"/>
                    <a:pt x="711" y="88"/>
                    <a:pt x="708" y="87"/>
                  </a:cubicBezTo>
                  <a:cubicBezTo>
                    <a:pt x="706" y="86"/>
                    <a:pt x="703" y="88"/>
                    <a:pt x="703" y="90"/>
                  </a:cubicBezTo>
                  <a:cubicBezTo>
                    <a:pt x="703" y="92"/>
                    <a:pt x="695" y="91"/>
                    <a:pt x="693" y="91"/>
                  </a:cubicBezTo>
                  <a:cubicBezTo>
                    <a:pt x="692" y="91"/>
                    <a:pt x="699" y="84"/>
                    <a:pt x="699" y="83"/>
                  </a:cubicBezTo>
                  <a:cubicBezTo>
                    <a:pt x="699" y="82"/>
                    <a:pt x="686" y="84"/>
                    <a:pt x="686" y="82"/>
                  </a:cubicBezTo>
                  <a:cubicBezTo>
                    <a:pt x="685" y="81"/>
                    <a:pt x="679" y="81"/>
                    <a:pt x="676" y="81"/>
                  </a:cubicBezTo>
                  <a:cubicBezTo>
                    <a:pt x="674" y="81"/>
                    <a:pt x="676" y="80"/>
                    <a:pt x="679" y="80"/>
                  </a:cubicBezTo>
                  <a:cubicBezTo>
                    <a:pt x="681" y="80"/>
                    <a:pt x="683" y="78"/>
                    <a:pt x="686" y="77"/>
                  </a:cubicBezTo>
                  <a:cubicBezTo>
                    <a:pt x="689" y="77"/>
                    <a:pt x="688" y="76"/>
                    <a:pt x="687" y="74"/>
                  </a:cubicBezTo>
                  <a:cubicBezTo>
                    <a:pt x="686" y="72"/>
                    <a:pt x="683" y="73"/>
                    <a:pt x="680" y="72"/>
                  </a:cubicBezTo>
                  <a:cubicBezTo>
                    <a:pt x="678" y="72"/>
                    <a:pt x="674" y="70"/>
                    <a:pt x="672" y="70"/>
                  </a:cubicBezTo>
                  <a:cubicBezTo>
                    <a:pt x="669" y="70"/>
                    <a:pt x="667" y="72"/>
                    <a:pt x="661" y="73"/>
                  </a:cubicBezTo>
                  <a:cubicBezTo>
                    <a:pt x="656" y="74"/>
                    <a:pt x="655" y="78"/>
                    <a:pt x="652" y="79"/>
                  </a:cubicBezTo>
                  <a:cubicBezTo>
                    <a:pt x="649" y="81"/>
                    <a:pt x="644" y="86"/>
                    <a:pt x="647" y="86"/>
                  </a:cubicBezTo>
                  <a:cubicBezTo>
                    <a:pt x="649" y="87"/>
                    <a:pt x="648" y="88"/>
                    <a:pt x="648" y="90"/>
                  </a:cubicBezTo>
                  <a:cubicBezTo>
                    <a:pt x="649" y="91"/>
                    <a:pt x="647" y="92"/>
                    <a:pt x="644" y="91"/>
                  </a:cubicBezTo>
                  <a:cubicBezTo>
                    <a:pt x="641" y="91"/>
                    <a:pt x="632" y="91"/>
                    <a:pt x="632" y="93"/>
                  </a:cubicBezTo>
                  <a:cubicBezTo>
                    <a:pt x="632" y="95"/>
                    <a:pt x="637" y="96"/>
                    <a:pt x="637" y="97"/>
                  </a:cubicBezTo>
                  <a:cubicBezTo>
                    <a:pt x="637" y="98"/>
                    <a:pt x="633" y="97"/>
                    <a:pt x="631" y="96"/>
                  </a:cubicBezTo>
                  <a:cubicBezTo>
                    <a:pt x="629" y="95"/>
                    <a:pt x="625" y="95"/>
                    <a:pt x="624" y="97"/>
                  </a:cubicBezTo>
                  <a:cubicBezTo>
                    <a:pt x="623" y="99"/>
                    <a:pt x="620" y="99"/>
                    <a:pt x="619" y="98"/>
                  </a:cubicBezTo>
                  <a:cubicBezTo>
                    <a:pt x="618" y="98"/>
                    <a:pt x="615" y="99"/>
                    <a:pt x="613" y="99"/>
                  </a:cubicBezTo>
                  <a:cubicBezTo>
                    <a:pt x="612" y="98"/>
                    <a:pt x="617" y="95"/>
                    <a:pt x="616" y="94"/>
                  </a:cubicBezTo>
                  <a:cubicBezTo>
                    <a:pt x="614" y="93"/>
                    <a:pt x="609" y="94"/>
                    <a:pt x="608" y="96"/>
                  </a:cubicBezTo>
                  <a:cubicBezTo>
                    <a:pt x="607" y="98"/>
                    <a:pt x="604" y="95"/>
                    <a:pt x="603" y="95"/>
                  </a:cubicBezTo>
                  <a:cubicBezTo>
                    <a:pt x="601" y="96"/>
                    <a:pt x="600" y="97"/>
                    <a:pt x="597" y="98"/>
                  </a:cubicBezTo>
                  <a:cubicBezTo>
                    <a:pt x="595" y="99"/>
                    <a:pt x="591" y="97"/>
                    <a:pt x="590" y="99"/>
                  </a:cubicBezTo>
                  <a:cubicBezTo>
                    <a:pt x="589" y="101"/>
                    <a:pt x="594" y="101"/>
                    <a:pt x="595" y="102"/>
                  </a:cubicBezTo>
                  <a:cubicBezTo>
                    <a:pt x="595" y="103"/>
                    <a:pt x="582" y="103"/>
                    <a:pt x="581" y="104"/>
                  </a:cubicBezTo>
                  <a:cubicBezTo>
                    <a:pt x="581" y="105"/>
                    <a:pt x="576" y="105"/>
                    <a:pt x="571" y="105"/>
                  </a:cubicBezTo>
                  <a:cubicBezTo>
                    <a:pt x="566" y="106"/>
                    <a:pt x="568" y="108"/>
                    <a:pt x="564" y="109"/>
                  </a:cubicBezTo>
                  <a:cubicBezTo>
                    <a:pt x="559" y="110"/>
                    <a:pt x="557" y="110"/>
                    <a:pt x="556" y="112"/>
                  </a:cubicBezTo>
                  <a:cubicBezTo>
                    <a:pt x="555" y="114"/>
                    <a:pt x="551" y="115"/>
                    <a:pt x="550" y="113"/>
                  </a:cubicBezTo>
                  <a:cubicBezTo>
                    <a:pt x="548" y="111"/>
                    <a:pt x="544" y="114"/>
                    <a:pt x="547" y="114"/>
                  </a:cubicBezTo>
                  <a:cubicBezTo>
                    <a:pt x="549" y="114"/>
                    <a:pt x="547" y="116"/>
                    <a:pt x="545" y="116"/>
                  </a:cubicBezTo>
                  <a:cubicBezTo>
                    <a:pt x="544" y="115"/>
                    <a:pt x="540" y="118"/>
                    <a:pt x="542" y="118"/>
                  </a:cubicBezTo>
                  <a:cubicBezTo>
                    <a:pt x="545" y="118"/>
                    <a:pt x="546" y="119"/>
                    <a:pt x="545" y="121"/>
                  </a:cubicBezTo>
                  <a:cubicBezTo>
                    <a:pt x="544" y="122"/>
                    <a:pt x="539" y="119"/>
                    <a:pt x="538" y="120"/>
                  </a:cubicBezTo>
                  <a:cubicBezTo>
                    <a:pt x="537" y="122"/>
                    <a:pt x="540" y="123"/>
                    <a:pt x="542" y="123"/>
                  </a:cubicBezTo>
                  <a:cubicBezTo>
                    <a:pt x="544" y="123"/>
                    <a:pt x="545" y="124"/>
                    <a:pt x="546" y="126"/>
                  </a:cubicBezTo>
                  <a:cubicBezTo>
                    <a:pt x="546" y="127"/>
                    <a:pt x="541" y="125"/>
                    <a:pt x="540" y="126"/>
                  </a:cubicBezTo>
                  <a:cubicBezTo>
                    <a:pt x="539" y="127"/>
                    <a:pt x="540" y="128"/>
                    <a:pt x="543" y="128"/>
                  </a:cubicBezTo>
                  <a:cubicBezTo>
                    <a:pt x="545" y="128"/>
                    <a:pt x="543" y="129"/>
                    <a:pt x="545" y="131"/>
                  </a:cubicBezTo>
                  <a:cubicBezTo>
                    <a:pt x="545" y="131"/>
                    <a:pt x="546" y="131"/>
                    <a:pt x="546" y="131"/>
                  </a:cubicBezTo>
                  <a:cubicBezTo>
                    <a:pt x="547" y="133"/>
                    <a:pt x="545" y="133"/>
                    <a:pt x="545" y="135"/>
                  </a:cubicBezTo>
                  <a:cubicBezTo>
                    <a:pt x="545" y="136"/>
                    <a:pt x="543" y="137"/>
                    <a:pt x="543" y="135"/>
                  </a:cubicBezTo>
                  <a:cubicBezTo>
                    <a:pt x="543" y="134"/>
                    <a:pt x="536" y="134"/>
                    <a:pt x="535" y="135"/>
                  </a:cubicBezTo>
                  <a:cubicBezTo>
                    <a:pt x="534" y="137"/>
                    <a:pt x="533" y="138"/>
                    <a:pt x="531" y="136"/>
                  </a:cubicBezTo>
                  <a:cubicBezTo>
                    <a:pt x="530" y="135"/>
                    <a:pt x="525" y="137"/>
                    <a:pt x="519" y="137"/>
                  </a:cubicBezTo>
                  <a:cubicBezTo>
                    <a:pt x="513" y="137"/>
                    <a:pt x="501" y="138"/>
                    <a:pt x="498" y="139"/>
                  </a:cubicBezTo>
                  <a:cubicBezTo>
                    <a:pt x="496" y="140"/>
                    <a:pt x="493" y="144"/>
                    <a:pt x="496" y="147"/>
                  </a:cubicBezTo>
                  <a:cubicBezTo>
                    <a:pt x="498" y="150"/>
                    <a:pt x="496" y="151"/>
                    <a:pt x="496" y="152"/>
                  </a:cubicBezTo>
                  <a:cubicBezTo>
                    <a:pt x="496" y="154"/>
                    <a:pt x="503" y="158"/>
                    <a:pt x="507" y="158"/>
                  </a:cubicBezTo>
                  <a:cubicBezTo>
                    <a:pt x="511" y="159"/>
                    <a:pt x="514" y="163"/>
                    <a:pt x="511" y="166"/>
                  </a:cubicBezTo>
                  <a:cubicBezTo>
                    <a:pt x="509" y="169"/>
                    <a:pt x="502" y="165"/>
                    <a:pt x="498" y="162"/>
                  </a:cubicBezTo>
                  <a:cubicBezTo>
                    <a:pt x="493" y="158"/>
                    <a:pt x="483" y="157"/>
                    <a:pt x="479" y="157"/>
                  </a:cubicBezTo>
                  <a:cubicBezTo>
                    <a:pt x="476" y="157"/>
                    <a:pt x="478" y="154"/>
                    <a:pt x="474" y="154"/>
                  </a:cubicBezTo>
                  <a:cubicBezTo>
                    <a:pt x="469" y="154"/>
                    <a:pt x="465" y="158"/>
                    <a:pt x="468" y="158"/>
                  </a:cubicBezTo>
                  <a:cubicBezTo>
                    <a:pt x="471" y="158"/>
                    <a:pt x="473" y="158"/>
                    <a:pt x="472" y="159"/>
                  </a:cubicBezTo>
                  <a:cubicBezTo>
                    <a:pt x="470" y="161"/>
                    <a:pt x="473" y="160"/>
                    <a:pt x="476" y="162"/>
                  </a:cubicBezTo>
                  <a:cubicBezTo>
                    <a:pt x="480" y="163"/>
                    <a:pt x="473" y="166"/>
                    <a:pt x="469" y="163"/>
                  </a:cubicBezTo>
                  <a:cubicBezTo>
                    <a:pt x="466" y="161"/>
                    <a:pt x="462" y="163"/>
                    <a:pt x="461" y="165"/>
                  </a:cubicBezTo>
                  <a:cubicBezTo>
                    <a:pt x="460" y="167"/>
                    <a:pt x="465" y="172"/>
                    <a:pt x="471" y="173"/>
                  </a:cubicBezTo>
                  <a:cubicBezTo>
                    <a:pt x="478" y="174"/>
                    <a:pt x="476" y="176"/>
                    <a:pt x="479" y="177"/>
                  </a:cubicBezTo>
                  <a:cubicBezTo>
                    <a:pt x="482" y="178"/>
                    <a:pt x="480" y="179"/>
                    <a:pt x="478" y="180"/>
                  </a:cubicBezTo>
                  <a:cubicBezTo>
                    <a:pt x="476" y="180"/>
                    <a:pt x="471" y="177"/>
                    <a:pt x="468" y="175"/>
                  </a:cubicBezTo>
                  <a:cubicBezTo>
                    <a:pt x="465" y="173"/>
                    <a:pt x="456" y="176"/>
                    <a:pt x="455" y="174"/>
                  </a:cubicBezTo>
                  <a:cubicBezTo>
                    <a:pt x="453" y="172"/>
                    <a:pt x="456" y="170"/>
                    <a:pt x="454" y="168"/>
                  </a:cubicBezTo>
                  <a:cubicBezTo>
                    <a:pt x="452" y="167"/>
                    <a:pt x="454" y="164"/>
                    <a:pt x="456" y="160"/>
                  </a:cubicBezTo>
                  <a:cubicBezTo>
                    <a:pt x="458" y="157"/>
                    <a:pt x="456" y="151"/>
                    <a:pt x="453" y="150"/>
                  </a:cubicBezTo>
                  <a:cubicBezTo>
                    <a:pt x="450" y="150"/>
                    <a:pt x="450" y="153"/>
                    <a:pt x="450" y="154"/>
                  </a:cubicBezTo>
                  <a:cubicBezTo>
                    <a:pt x="451" y="155"/>
                    <a:pt x="451" y="159"/>
                    <a:pt x="448" y="162"/>
                  </a:cubicBezTo>
                  <a:cubicBezTo>
                    <a:pt x="446" y="165"/>
                    <a:pt x="439" y="165"/>
                    <a:pt x="439" y="167"/>
                  </a:cubicBezTo>
                  <a:cubicBezTo>
                    <a:pt x="439" y="169"/>
                    <a:pt x="434" y="171"/>
                    <a:pt x="436" y="172"/>
                  </a:cubicBezTo>
                  <a:cubicBezTo>
                    <a:pt x="437" y="174"/>
                    <a:pt x="444" y="181"/>
                    <a:pt x="445" y="183"/>
                  </a:cubicBezTo>
                  <a:cubicBezTo>
                    <a:pt x="446" y="185"/>
                    <a:pt x="439" y="193"/>
                    <a:pt x="440" y="197"/>
                  </a:cubicBezTo>
                  <a:cubicBezTo>
                    <a:pt x="441" y="201"/>
                    <a:pt x="439" y="203"/>
                    <a:pt x="440" y="205"/>
                  </a:cubicBezTo>
                  <a:cubicBezTo>
                    <a:pt x="442" y="207"/>
                    <a:pt x="445" y="205"/>
                    <a:pt x="447" y="206"/>
                  </a:cubicBezTo>
                  <a:cubicBezTo>
                    <a:pt x="448" y="207"/>
                    <a:pt x="452" y="205"/>
                    <a:pt x="456" y="204"/>
                  </a:cubicBezTo>
                  <a:cubicBezTo>
                    <a:pt x="460" y="203"/>
                    <a:pt x="468" y="208"/>
                    <a:pt x="471" y="209"/>
                  </a:cubicBezTo>
                  <a:cubicBezTo>
                    <a:pt x="474" y="211"/>
                    <a:pt x="473" y="213"/>
                    <a:pt x="474" y="215"/>
                  </a:cubicBezTo>
                  <a:cubicBezTo>
                    <a:pt x="476" y="218"/>
                    <a:pt x="471" y="218"/>
                    <a:pt x="471" y="221"/>
                  </a:cubicBezTo>
                  <a:cubicBezTo>
                    <a:pt x="471" y="225"/>
                    <a:pt x="480" y="226"/>
                    <a:pt x="480" y="227"/>
                  </a:cubicBezTo>
                  <a:cubicBezTo>
                    <a:pt x="480" y="228"/>
                    <a:pt x="474" y="228"/>
                    <a:pt x="471" y="227"/>
                  </a:cubicBezTo>
                  <a:cubicBezTo>
                    <a:pt x="468" y="226"/>
                    <a:pt x="468" y="222"/>
                    <a:pt x="467" y="222"/>
                  </a:cubicBezTo>
                  <a:cubicBezTo>
                    <a:pt x="466" y="221"/>
                    <a:pt x="469" y="218"/>
                    <a:pt x="469" y="216"/>
                  </a:cubicBezTo>
                  <a:cubicBezTo>
                    <a:pt x="469" y="213"/>
                    <a:pt x="466" y="212"/>
                    <a:pt x="465" y="211"/>
                  </a:cubicBezTo>
                  <a:cubicBezTo>
                    <a:pt x="464" y="209"/>
                    <a:pt x="462" y="207"/>
                    <a:pt x="460" y="207"/>
                  </a:cubicBezTo>
                  <a:cubicBezTo>
                    <a:pt x="458" y="208"/>
                    <a:pt x="450" y="208"/>
                    <a:pt x="448" y="211"/>
                  </a:cubicBezTo>
                  <a:cubicBezTo>
                    <a:pt x="445" y="213"/>
                    <a:pt x="448" y="219"/>
                    <a:pt x="449" y="222"/>
                  </a:cubicBezTo>
                  <a:cubicBezTo>
                    <a:pt x="451" y="225"/>
                    <a:pt x="442" y="229"/>
                    <a:pt x="443" y="231"/>
                  </a:cubicBezTo>
                  <a:cubicBezTo>
                    <a:pt x="443" y="234"/>
                    <a:pt x="440" y="235"/>
                    <a:pt x="437" y="237"/>
                  </a:cubicBezTo>
                  <a:cubicBezTo>
                    <a:pt x="433" y="239"/>
                    <a:pt x="429" y="240"/>
                    <a:pt x="429" y="243"/>
                  </a:cubicBezTo>
                  <a:cubicBezTo>
                    <a:pt x="429" y="246"/>
                    <a:pt x="425" y="245"/>
                    <a:pt x="422" y="243"/>
                  </a:cubicBezTo>
                  <a:cubicBezTo>
                    <a:pt x="420" y="242"/>
                    <a:pt x="416" y="244"/>
                    <a:pt x="413" y="244"/>
                  </a:cubicBezTo>
                  <a:cubicBezTo>
                    <a:pt x="409" y="244"/>
                    <a:pt x="409" y="241"/>
                    <a:pt x="406" y="242"/>
                  </a:cubicBezTo>
                  <a:cubicBezTo>
                    <a:pt x="403" y="243"/>
                    <a:pt x="402" y="240"/>
                    <a:pt x="402" y="238"/>
                  </a:cubicBezTo>
                  <a:cubicBezTo>
                    <a:pt x="403" y="236"/>
                    <a:pt x="406" y="238"/>
                    <a:pt x="407" y="239"/>
                  </a:cubicBezTo>
                  <a:cubicBezTo>
                    <a:pt x="407" y="241"/>
                    <a:pt x="409" y="240"/>
                    <a:pt x="411" y="239"/>
                  </a:cubicBezTo>
                  <a:cubicBezTo>
                    <a:pt x="414" y="238"/>
                    <a:pt x="413" y="241"/>
                    <a:pt x="416" y="241"/>
                  </a:cubicBezTo>
                  <a:cubicBezTo>
                    <a:pt x="419" y="241"/>
                    <a:pt x="418" y="239"/>
                    <a:pt x="420" y="239"/>
                  </a:cubicBezTo>
                  <a:cubicBezTo>
                    <a:pt x="423" y="240"/>
                    <a:pt x="423" y="239"/>
                    <a:pt x="422" y="237"/>
                  </a:cubicBezTo>
                  <a:cubicBezTo>
                    <a:pt x="421" y="236"/>
                    <a:pt x="424" y="235"/>
                    <a:pt x="426" y="234"/>
                  </a:cubicBezTo>
                  <a:cubicBezTo>
                    <a:pt x="427" y="234"/>
                    <a:pt x="427" y="231"/>
                    <a:pt x="428" y="230"/>
                  </a:cubicBezTo>
                  <a:cubicBezTo>
                    <a:pt x="430" y="229"/>
                    <a:pt x="429" y="228"/>
                    <a:pt x="430" y="228"/>
                  </a:cubicBezTo>
                  <a:cubicBezTo>
                    <a:pt x="432" y="227"/>
                    <a:pt x="433" y="225"/>
                    <a:pt x="434" y="225"/>
                  </a:cubicBezTo>
                  <a:cubicBezTo>
                    <a:pt x="436" y="225"/>
                    <a:pt x="437" y="222"/>
                    <a:pt x="436" y="221"/>
                  </a:cubicBezTo>
                  <a:cubicBezTo>
                    <a:pt x="435" y="220"/>
                    <a:pt x="436" y="216"/>
                    <a:pt x="438" y="216"/>
                  </a:cubicBezTo>
                  <a:cubicBezTo>
                    <a:pt x="439" y="215"/>
                    <a:pt x="439" y="214"/>
                    <a:pt x="438" y="213"/>
                  </a:cubicBezTo>
                  <a:cubicBezTo>
                    <a:pt x="437" y="212"/>
                    <a:pt x="431" y="208"/>
                    <a:pt x="432" y="206"/>
                  </a:cubicBezTo>
                  <a:cubicBezTo>
                    <a:pt x="432" y="204"/>
                    <a:pt x="431" y="199"/>
                    <a:pt x="431" y="198"/>
                  </a:cubicBezTo>
                  <a:cubicBezTo>
                    <a:pt x="432" y="196"/>
                    <a:pt x="432" y="192"/>
                    <a:pt x="431" y="190"/>
                  </a:cubicBezTo>
                  <a:cubicBezTo>
                    <a:pt x="431" y="188"/>
                    <a:pt x="433" y="186"/>
                    <a:pt x="433" y="182"/>
                  </a:cubicBezTo>
                  <a:cubicBezTo>
                    <a:pt x="434" y="178"/>
                    <a:pt x="429" y="174"/>
                    <a:pt x="427" y="172"/>
                  </a:cubicBezTo>
                  <a:cubicBezTo>
                    <a:pt x="424" y="171"/>
                    <a:pt x="426" y="169"/>
                    <a:pt x="429" y="166"/>
                  </a:cubicBezTo>
                  <a:cubicBezTo>
                    <a:pt x="433" y="164"/>
                    <a:pt x="433" y="155"/>
                    <a:pt x="433" y="153"/>
                  </a:cubicBezTo>
                  <a:cubicBezTo>
                    <a:pt x="433" y="151"/>
                    <a:pt x="426" y="149"/>
                    <a:pt x="423" y="149"/>
                  </a:cubicBezTo>
                  <a:cubicBezTo>
                    <a:pt x="420" y="150"/>
                    <a:pt x="410" y="149"/>
                    <a:pt x="408" y="149"/>
                  </a:cubicBezTo>
                  <a:cubicBezTo>
                    <a:pt x="405" y="148"/>
                    <a:pt x="404" y="151"/>
                    <a:pt x="403" y="153"/>
                  </a:cubicBezTo>
                  <a:cubicBezTo>
                    <a:pt x="402" y="156"/>
                    <a:pt x="399" y="159"/>
                    <a:pt x="398" y="165"/>
                  </a:cubicBezTo>
                  <a:cubicBezTo>
                    <a:pt x="396" y="170"/>
                    <a:pt x="390" y="172"/>
                    <a:pt x="387" y="173"/>
                  </a:cubicBezTo>
                  <a:cubicBezTo>
                    <a:pt x="384" y="174"/>
                    <a:pt x="382" y="178"/>
                    <a:pt x="384" y="180"/>
                  </a:cubicBezTo>
                  <a:cubicBezTo>
                    <a:pt x="385" y="182"/>
                    <a:pt x="387" y="180"/>
                    <a:pt x="388" y="181"/>
                  </a:cubicBezTo>
                  <a:cubicBezTo>
                    <a:pt x="389" y="182"/>
                    <a:pt x="388" y="187"/>
                    <a:pt x="387" y="187"/>
                  </a:cubicBezTo>
                  <a:cubicBezTo>
                    <a:pt x="386" y="188"/>
                    <a:pt x="389" y="190"/>
                    <a:pt x="387" y="191"/>
                  </a:cubicBezTo>
                  <a:cubicBezTo>
                    <a:pt x="385" y="192"/>
                    <a:pt x="383" y="195"/>
                    <a:pt x="384" y="197"/>
                  </a:cubicBezTo>
                  <a:cubicBezTo>
                    <a:pt x="385" y="198"/>
                    <a:pt x="391" y="199"/>
                    <a:pt x="393" y="200"/>
                  </a:cubicBezTo>
                  <a:cubicBezTo>
                    <a:pt x="396" y="202"/>
                    <a:pt x="395" y="204"/>
                    <a:pt x="397" y="207"/>
                  </a:cubicBezTo>
                  <a:cubicBezTo>
                    <a:pt x="399" y="209"/>
                    <a:pt x="401" y="208"/>
                    <a:pt x="402" y="209"/>
                  </a:cubicBezTo>
                  <a:cubicBezTo>
                    <a:pt x="403" y="211"/>
                    <a:pt x="398" y="217"/>
                    <a:pt x="397" y="217"/>
                  </a:cubicBezTo>
                  <a:cubicBezTo>
                    <a:pt x="395" y="217"/>
                    <a:pt x="389" y="211"/>
                    <a:pt x="387" y="209"/>
                  </a:cubicBezTo>
                  <a:cubicBezTo>
                    <a:pt x="385" y="208"/>
                    <a:pt x="378" y="206"/>
                    <a:pt x="374" y="204"/>
                  </a:cubicBezTo>
                  <a:cubicBezTo>
                    <a:pt x="370" y="202"/>
                    <a:pt x="367" y="202"/>
                    <a:pt x="363" y="199"/>
                  </a:cubicBezTo>
                  <a:cubicBezTo>
                    <a:pt x="359" y="197"/>
                    <a:pt x="356" y="195"/>
                    <a:pt x="349" y="196"/>
                  </a:cubicBezTo>
                  <a:cubicBezTo>
                    <a:pt x="341" y="196"/>
                    <a:pt x="336" y="194"/>
                    <a:pt x="334" y="194"/>
                  </a:cubicBezTo>
                  <a:cubicBezTo>
                    <a:pt x="331" y="195"/>
                    <a:pt x="332" y="192"/>
                    <a:pt x="328" y="190"/>
                  </a:cubicBezTo>
                  <a:cubicBezTo>
                    <a:pt x="324" y="188"/>
                    <a:pt x="321" y="185"/>
                    <a:pt x="318" y="187"/>
                  </a:cubicBezTo>
                  <a:cubicBezTo>
                    <a:pt x="316" y="188"/>
                    <a:pt x="317" y="193"/>
                    <a:pt x="321" y="193"/>
                  </a:cubicBezTo>
                  <a:cubicBezTo>
                    <a:pt x="324" y="194"/>
                    <a:pt x="322" y="196"/>
                    <a:pt x="326" y="196"/>
                  </a:cubicBezTo>
                  <a:cubicBezTo>
                    <a:pt x="330" y="195"/>
                    <a:pt x="332" y="197"/>
                    <a:pt x="332" y="199"/>
                  </a:cubicBezTo>
                  <a:cubicBezTo>
                    <a:pt x="331" y="202"/>
                    <a:pt x="333" y="204"/>
                    <a:pt x="335" y="206"/>
                  </a:cubicBezTo>
                  <a:cubicBezTo>
                    <a:pt x="337" y="208"/>
                    <a:pt x="336" y="210"/>
                    <a:pt x="333" y="210"/>
                  </a:cubicBezTo>
                  <a:cubicBezTo>
                    <a:pt x="330" y="210"/>
                    <a:pt x="326" y="211"/>
                    <a:pt x="327" y="213"/>
                  </a:cubicBezTo>
                  <a:cubicBezTo>
                    <a:pt x="329" y="215"/>
                    <a:pt x="326" y="216"/>
                    <a:pt x="323" y="215"/>
                  </a:cubicBezTo>
                  <a:cubicBezTo>
                    <a:pt x="320" y="214"/>
                    <a:pt x="322" y="211"/>
                    <a:pt x="323" y="210"/>
                  </a:cubicBezTo>
                  <a:cubicBezTo>
                    <a:pt x="324" y="209"/>
                    <a:pt x="320" y="207"/>
                    <a:pt x="318" y="206"/>
                  </a:cubicBezTo>
                  <a:cubicBezTo>
                    <a:pt x="316" y="206"/>
                    <a:pt x="308" y="212"/>
                    <a:pt x="306" y="213"/>
                  </a:cubicBezTo>
                  <a:cubicBezTo>
                    <a:pt x="304" y="213"/>
                    <a:pt x="298" y="211"/>
                    <a:pt x="292" y="213"/>
                  </a:cubicBezTo>
                  <a:cubicBezTo>
                    <a:pt x="287" y="214"/>
                    <a:pt x="287" y="218"/>
                    <a:pt x="285" y="218"/>
                  </a:cubicBezTo>
                  <a:cubicBezTo>
                    <a:pt x="283" y="218"/>
                    <a:pt x="276" y="219"/>
                    <a:pt x="274" y="217"/>
                  </a:cubicBezTo>
                  <a:cubicBezTo>
                    <a:pt x="272" y="216"/>
                    <a:pt x="274" y="215"/>
                    <a:pt x="276" y="215"/>
                  </a:cubicBezTo>
                  <a:cubicBezTo>
                    <a:pt x="279" y="215"/>
                    <a:pt x="279" y="214"/>
                    <a:pt x="278" y="213"/>
                  </a:cubicBezTo>
                  <a:cubicBezTo>
                    <a:pt x="277" y="211"/>
                    <a:pt x="280" y="208"/>
                    <a:pt x="280" y="207"/>
                  </a:cubicBezTo>
                  <a:cubicBezTo>
                    <a:pt x="280" y="206"/>
                    <a:pt x="270" y="209"/>
                    <a:pt x="269" y="210"/>
                  </a:cubicBezTo>
                  <a:cubicBezTo>
                    <a:pt x="267" y="212"/>
                    <a:pt x="269" y="214"/>
                    <a:pt x="267" y="215"/>
                  </a:cubicBezTo>
                  <a:cubicBezTo>
                    <a:pt x="266" y="216"/>
                    <a:pt x="266" y="213"/>
                    <a:pt x="264" y="213"/>
                  </a:cubicBezTo>
                  <a:cubicBezTo>
                    <a:pt x="262" y="212"/>
                    <a:pt x="248" y="215"/>
                    <a:pt x="245" y="218"/>
                  </a:cubicBezTo>
                  <a:cubicBezTo>
                    <a:pt x="243" y="221"/>
                    <a:pt x="238" y="221"/>
                    <a:pt x="238" y="223"/>
                  </a:cubicBezTo>
                  <a:cubicBezTo>
                    <a:pt x="238" y="225"/>
                    <a:pt x="231" y="225"/>
                    <a:pt x="229" y="226"/>
                  </a:cubicBezTo>
                  <a:cubicBezTo>
                    <a:pt x="226" y="227"/>
                    <a:pt x="228" y="232"/>
                    <a:pt x="227" y="234"/>
                  </a:cubicBezTo>
                  <a:cubicBezTo>
                    <a:pt x="226" y="237"/>
                    <a:pt x="216" y="236"/>
                    <a:pt x="213" y="236"/>
                  </a:cubicBezTo>
                  <a:cubicBezTo>
                    <a:pt x="210" y="236"/>
                    <a:pt x="209" y="230"/>
                    <a:pt x="207" y="230"/>
                  </a:cubicBezTo>
                  <a:cubicBezTo>
                    <a:pt x="204" y="230"/>
                    <a:pt x="206" y="226"/>
                    <a:pt x="207" y="225"/>
                  </a:cubicBezTo>
                  <a:cubicBezTo>
                    <a:pt x="207" y="223"/>
                    <a:pt x="209" y="225"/>
                    <a:pt x="212" y="223"/>
                  </a:cubicBezTo>
                  <a:cubicBezTo>
                    <a:pt x="215" y="221"/>
                    <a:pt x="218" y="224"/>
                    <a:pt x="219" y="222"/>
                  </a:cubicBezTo>
                  <a:cubicBezTo>
                    <a:pt x="221" y="221"/>
                    <a:pt x="215" y="218"/>
                    <a:pt x="214" y="215"/>
                  </a:cubicBezTo>
                  <a:cubicBezTo>
                    <a:pt x="214" y="212"/>
                    <a:pt x="208" y="211"/>
                    <a:pt x="204" y="212"/>
                  </a:cubicBezTo>
                  <a:cubicBezTo>
                    <a:pt x="201" y="213"/>
                    <a:pt x="197" y="212"/>
                    <a:pt x="194" y="211"/>
                  </a:cubicBezTo>
                  <a:cubicBezTo>
                    <a:pt x="192" y="209"/>
                    <a:pt x="192" y="213"/>
                    <a:pt x="196" y="214"/>
                  </a:cubicBezTo>
                  <a:cubicBezTo>
                    <a:pt x="199" y="215"/>
                    <a:pt x="197" y="218"/>
                    <a:pt x="198" y="219"/>
                  </a:cubicBezTo>
                  <a:cubicBezTo>
                    <a:pt x="199" y="221"/>
                    <a:pt x="197" y="225"/>
                    <a:pt x="195" y="228"/>
                  </a:cubicBezTo>
                  <a:cubicBezTo>
                    <a:pt x="193" y="231"/>
                    <a:pt x="194" y="231"/>
                    <a:pt x="198" y="231"/>
                  </a:cubicBezTo>
                  <a:cubicBezTo>
                    <a:pt x="201" y="231"/>
                    <a:pt x="201" y="235"/>
                    <a:pt x="201" y="238"/>
                  </a:cubicBezTo>
                  <a:cubicBezTo>
                    <a:pt x="201" y="241"/>
                    <a:pt x="198" y="242"/>
                    <a:pt x="198" y="244"/>
                  </a:cubicBezTo>
                  <a:cubicBezTo>
                    <a:pt x="198" y="247"/>
                    <a:pt x="195" y="243"/>
                    <a:pt x="195" y="244"/>
                  </a:cubicBezTo>
                  <a:cubicBezTo>
                    <a:pt x="194" y="245"/>
                    <a:pt x="193" y="244"/>
                    <a:pt x="192" y="242"/>
                  </a:cubicBezTo>
                  <a:cubicBezTo>
                    <a:pt x="192" y="240"/>
                    <a:pt x="187" y="241"/>
                    <a:pt x="184" y="240"/>
                  </a:cubicBezTo>
                  <a:cubicBezTo>
                    <a:pt x="181" y="240"/>
                    <a:pt x="180" y="241"/>
                    <a:pt x="179" y="243"/>
                  </a:cubicBezTo>
                  <a:cubicBezTo>
                    <a:pt x="178" y="245"/>
                    <a:pt x="174" y="246"/>
                    <a:pt x="172" y="246"/>
                  </a:cubicBezTo>
                  <a:cubicBezTo>
                    <a:pt x="170" y="246"/>
                    <a:pt x="166" y="250"/>
                    <a:pt x="164" y="252"/>
                  </a:cubicBezTo>
                  <a:cubicBezTo>
                    <a:pt x="162" y="253"/>
                    <a:pt x="162" y="256"/>
                    <a:pt x="165" y="259"/>
                  </a:cubicBezTo>
                  <a:cubicBezTo>
                    <a:pt x="168" y="261"/>
                    <a:pt x="168" y="263"/>
                    <a:pt x="168" y="265"/>
                  </a:cubicBezTo>
                  <a:cubicBezTo>
                    <a:pt x="168" y="266"/>
                    <a:pt x="160" y="266"/>
                    <a:pt x="158" y="264"/>
                  </a:cubicBezTo>
                  <a:cubicBezTo>
                    <a:pt x="157" y="263"/>
                    <a:pt x="152" y="262"/>
                    <a:pt x="150" y="262"/>
                  </a:cubicBezTo>
                  <a:cubicBezTo>
                    <a:pt x="148" y="263"/>
                    <a:pt x="143" y="257"/>
                    <a:pt x="141" y="257"/>
                  </a:cubicBezTo>
                  <a:cubicBezTo>
                    <a:pt x="138" y="257"/>
                    <a:pt x="137" y="260"/>
                    <a:pt x="136" y="261"/>
                  </a:cubicBezTo>
                  <a:cubicBezTo>
                    <a:pt x="135" y="263"/>
                    <a:pt x="137" y="263"/>
                    <a:pt x="138" y="266"/>
                  </a:cubicBezTo>
                  <a:cubicBezTo>
                    <a:pt x="140" y="269"/>
                    <a:pt x="144" y="269"/>
                    <a:pt x="146" y="269"/>
                  </a:cubicBezTo>
                  <a:cubicBezTo>
                    <a:pt x="148" y="269"/>
                    <a:pt x="148" y="272"/>
                    <a:pt x="147" y="274"/>
                  </a:cubicBezTo>
                  <a:cubicBezTo>
                    <a:pt x="146" y="275"/>
                    <a:pt x="142" y="276"/>
                    <a:pt x="141" y="275"/>
                  </a:cubicBezTo>
                  <a:cubicBezTo>
                    <a:pt x="140" y="273"/>
                    <a:pt x="135" y="275"/>
                    <a:pt x="135" y="273"/>
                  </a:cubicBezTo>
                  <a:cubicBezTo>
                    <a:pt x="134" y="271"/>
                    <a:pt x="131" y="268"/>
                    <a:pt x="127" y="269"/>
                  </a:cubicBezTo>
                  <a:cubicBezTo>
                    <a:pt x="123" y="269"/>
                    <a:pt x="123" y="267"/>
                    <a:pt x="123" y="264"/>
                  </a:cubicBezTo>
                  <a:cubicBezTo>
                    <a:pt x="123" y="261"/>
                    <a:pt x="121" y="259"/>
                    <a:pt x="121" y="258"/>
                  </a:cubicBezTo>
                  <a:cubicBezTo>
                    <a:pt x="121" y="257"/>
                    <a:pt x="119" y="254"/>
                    <a:pt x="121" y="253"/>
                  </a:cubicBezTo>
                  <a:cubicBezTo>
                    <a:pt x="123" y="252"/>
                    <a:pt x="122" y="250"/>
                    <a:pt x="122" y="248"/>
                  </a:cubicBezTo>
                  <a:cubicBezTo>
                    <a:pt x="122" y="246"/>
                    <a:pt x="119" y="243"/>
                    <a:pt x="116" y="243"/>
                  </a:cubicBezTo>
                  <a:cubicBezTo>
                    <a:pt x="113" y="243"/>
                    <a:pt x="113" y="240"/>
                    <a:pt x="111" y="240"/>
                  </a:cubicBezTo>
                  <a:cubicBezTo>
                    <a:pt x="108" y="239"/>
                    <a:pt x="103" y="235"/>
                    <a:pt x="103" y="233"/>
                  </a:cubicBezTo>
                  <a:cubicBezTo>
                    <a:pt x="103" y="231"/>
                    <a:pt x="99" y="231"/>
                    <a:pt x="100" y="230"/>
                  </a:cubicBezTo>
                  <a:cubicBezTo>
                    <a:pt x="101" y="230"/>
                    <a:pt x="104" y="231"/>
                    <a:pt x="107" y="233"/>
                  </a:cubicBezTo>
                  <a:cubicBezTo>
                    <a:pt x="109" y="235"/>
                    <a:pt x="112" y="237"/>
                    <a:pt x="118" y="238"/>
                  </a:cubicBezTo>
                  <a:cubicBezTo>
                    <a:pt x="123" y="238"/>
                    <a:pt x="126" y="241"/>
                    <a:pt x="132" y="242"/>
                  </a:cubicBezTo>
                  <a:cubicBezTo>
                    <a:pt x="138" y="243"/>
                    <a:pt x="142" y="244"/>
                    <a:pt x="151" y="245"/>
                  </a:cubicBezTo>
                  <a:cubicBezTo>
                    <a:pt x="160" y="246"/>
                    <a:pt x="171" y="237"/>
                    <a:pt x="174" y="235"/>
                  </a:cubicBezTo>
                  <a:cubicBezTo>
                    <a:pt x="176" y="232"/>
                    <a:pt x="173" y="227"/>
                    <a:pt x="173" y="225"/>
                  </a:cubicBezTo>
                  <a:cubicBezTo>
                    <a:pt x="173" y="223"/>
                    <a:pt x="169" y="223"/>
                    <a:pt x="169" y="222"/>
                  </a:cubicBezTo>
                  <a:cubicBezTo>
                    <a:pt x="168" y="220"/>
                    <a:pt x="165" y="218"/>
                    <a:pt x="162" y="218"/>
                  </a:cubicBezTo>
                  <a:cubicBezTo>
                    <a:pt x="158" y="218"/>
                    <a:pt x="158" y="214"/>
                    <a:pt x="155" y="214"/>
                  </a:cubicBezTo>
                  <a:cubicBezTo>
                    <a:pt x="152" y="214"/>
                    <a:pt x="151" y="213"/>
                    <a:pt x="143" y="208"/>
                  </a:cubicBezTo>
                  <a:cubicBezTo>
                    <a:pt x="136" y="203"/>
                    <a:pt x="126" y="200"/>
                    <a:pt x="125" y="201"/>
                  </a:cubicBezTo>
                  <a:cubicBezTo>
                    <a:pt x="123" y="202"/>
                    <a:pt x="122" y="202"/>
                    <a:pt x="121" y="200"/>
                  </a:cubicBezTo>
                  <a:cubicBezTo>
                    <a:pt x="119" y="198"/>
                    <a:pt x="117" y="199"/>
                    <a:pt x="115" y="200"/>
                  </a:cubicBezTo>
                  <a:cubicBezTo>
                    <a:pt x="113" y="202"/>
                    <a:pt x="111" y="199"/>
                    <a:pt x="107" y="200"/>
                  </a:cubicBezTo>
                  <a:cubicBezTo>
                    <a:pt x="104" y="201"/>
                    <a:pt x="102" y="198"/>
                    <a:pt x="103" y="197"/>
                  </a:cubicBezTo>
                  <a:cubicBezTo>
                    <a:pt x="104" y="196"/>
                    <a:pt x="109" y="197"/>
                    <a:pt x="109" y="195"/>
                  </a:cubicBezTo>
                  <a:cubicBezTo>
                    <a:pt x="109" y="193"/>
                    <a:pt x="107" y="195"/>
                    <a:pt x="103" y="193"/>
                  </a:cubicBezTo>
                  <a:cubicBezTo>
                    <a:pt x="100" y="191"/>
                    <a:pt x="98" y="192"/>
                    <a:pt x="98" y="194"/>
                  </a:cubicBezTo>
                  <a:cubicBezTo>
                    <a:pt x="97" y="196"/>
                    <a:pt x="94" y="195"/>
                    <a:pt x="93" y="194"/>
                  </a:cubicBezTo>
                  <a:cubicBezTo>
                    <a:pt x="93" y="194"/>
                    <a:pt x="92" y="194"/>
                    <a:pt x="92" y="193"/>
                  </a:cubicBezTo>
                  <a:cubicBezTo>
                    <a:pt x="92" y="196"/>
                    <a:pt x="90" y="197"/>
                    <a:pt x="88" y="196"/>
                  </a:cubicBezTo>
                  <a:cubicBezTo>
                    <a:pt x="86" y="196"/>
                    <a:pt x="84" y="199"/>
                    <a:pt x="82" y="199"/>
                  </a:cubicBezTo>
                  <a:cubicBezTo>
                    <a:pt x="79" y="199"/>
                    <a:pt x="77" y="202"/>
                    <a:pt x="76" y="204"/>
                  </a:cubicBezTo>
                  <a:cubicBezTo>
                    <a:pt x="76" y="206"/>
                    <a:pt x="73" y="205"/>
                    <a:pt x="73" y="207"/>
                  </a:cubicBezTo>
                  <a:cubicBezTo>
                    <a:pt x="73" y="208"/>
                    <a:pt x="73" y="209"/>
                    <a:pt x="72" y="211"/>
                  </a:cubicBezTo>
                  <a:cubicBezTo>
                    <a:pt x="71" y="212"/>
                    <a:pt x="72" y="213"/>
                    <a:pt x="73" y="215"/>
                  </a:cubicBezTo>
                  <a:cubicBezTo>
                    <a:pt x="74" y="218"/>
                    <a:pt x="77" y="218"/>
                    <a:pt x="78" y="218"/>
                  </a:cubicBezTo>
                  <a:cubicBezTo>
                    <a:pt x="79" y="219"/>
                    <a:pt x="84" y="223"/>
                    <a:pt x="84" y="224"/>
                  </a:cubicBezTo>
                  <a:cubicBezTo>
                    <a:pt x="84" y="226"/>
                    <a:pt x="80" y="229"/>
                    <a:pt x="79" y="230"/>
                  </a:cubicBezTo>
                  <a:cubicBezTo>
                    <a:pt x="77" y="231"/>
                    <a:pt x="75" y="233"/>
                    <a:pt x="76" y="235"/>
                  </a:cubicBezTo>
                  <a:cubicBezTo>
                    <a:pt x="77" y="236"/>
                    <a:pt x="81" y="242"/>
                    <a:pt x="84" y="247"/>
                  </a:cubicBezTo>
                  <a:cubicBezTo>
                    <a:pt x="87" y="252"/>
                    <a:pt x="83" y="250"/>
                    <a:pt x="81" y="252"/>
                  </a:cubicBezTo>
                  <a:cubicBezTo>
                    <a:pt x="80" y="254"/>
                    <a:pt x="82" y="257"/>
                    <a:pt x="82" y="258"/>
                  </a:cubicBezTo>
                  <a:cubicBezTo>
                    <a:pt x="83" y="259"/>
                    <a:pt x="80" y="259"/>
                    <a:pt x="81" y="260"/>
                  </a:cubicBezTo>
                  <a:cubicBezTo>
                    <a:pt x="81" y="262"/>
                    <a:pt x="84" y="262"/>
                    <a:pt x="85" y="263"/>
                  </a:cubicBezTo>
                  <a:cubicBezTo>
                    <a:pt x="85" y="264"/>
                    <a:pt x="82" y="265"/>
                    <a:pt x="83" y="267"/>
                  </a:cubicBezTo>
                  <a:cubicBezTo>
                    <a:pt x="85" y="269"/>
                    <a:pt x="87" y="269"/>
                    <a:pt x="88" y="271"/>
                  </a:cubicBezTo>
                  <a:cubicBezTo>
                    <a:pt x="88" y="274"/>
                    <a:pt x="82" y="274"/>
                    <a:pt x="83" y="276"/>
                  </a:cubicBezTo>
                  <a:cubicBezTo>
                    <a:pt x="83" y="278"/>
                    <a:pt x="90" y="280"/>
                    <a:pt x="93" y="284"/>
                  </a:cubicBezTo>
                  <a:cubicBezTo>
                    <a:pt x="96" y="287"/>
                    <a:pt x="96" y="288"/>
                    <a:pt x="95" y="290"/>
                  </a:cubicBezTo>
                  <a:cubicBezTo>
                    <a:pt x="94" y="294"/>
                    <a:pt x="85" y="297"/>
                    <a:pt x="83" y="301"/>
                  </a:cubicBezTo>
                  <a:cubicBezTo>
                    <a:pt x="81" y="306"/>
                    <a:pt x="74" y="308"/>
                    <a:pt x="71" y="311"/>
                  </a:cubicBezTo>
                  <a:cubicBezTo>
                    <a:pt x="69" y="313"/>
                    <a:pt x="68" y="315"/>
                    <a:pt x="67" y="316"/>
                  </a:cubicBezTo>
                  <a:cubicBezTo>
                    <a:pt x="68" y="316"/>
                    <a:pt x="70" y="316"/>
                    <a:pt x="70" y="315"/>
                  </a:cubicBezTo>
                  <a:cubicBezTo>
                    <a:pt x="72" y="314"/>
                    <a:pt x="74" y="319"/>
                    <a:pt x="75" y="320"/>
                  </a:cubicBezTo>
                  <a:cubicBezTo>
                    <a:pt x="77" y="322"/>
                    <a:pt x="81" y="320"/>
                    <a:pt x="82" y="322"/>
                  </a:cubicBezTo>
                  <a:cubicBezTo>
                    <a:pt x="84" y="323"/>
                    <a:pt x="81" y="323"/>
                    <a:pt x="79" y="323"/>
                  </a:cubicBezTo>
                  <a:cubicBezTo>
                    <a:pt x="76" y="323"/>
                    <a:pt x="75" y="324"/>
                    <a:pt x="71" y="326"/>
                  </a:cubicBezTo>
                  <a:cubicBezTo>
                    <a:pt x="68" y="327"/>
                    <a:pt x="68" y="328"/>
                    <a:pt x="67" y="329"/>
                  </a:cubicBezTo>
                  <a:cubicBezTo>
                    <a:pt x="69" y="331"/>
                    <a:pt x="66" y="332"/>
                    <a:pt x="65" y="334"/>
                  </a:cubicBezTo>
                  <a:cubicBezTo>
                    <a:pt x="64" y="336"/>
                    <a:pt x="63" y="337"/>
                    <a:pt x="63" y="338"/>
                  </a:cubicBezTo>
                  <a:cubicBezTo>
                    <a:pt x="62" y="340"/>
                    <a:pt x="63" y="341"/>
                    <a:pt x="63" y="343"/>
                  </a:cubicBezTo>
                  <a:cubicBezTo>
                    <a:pt x="63" y="345"/>
                    <a:pt x="64" y="345"/>
                    <a:pt x="65" y="347"/>
                  </a:cubicBezTo>
                  <a:cubicBezTo>
                    <a:pt x="66" y="349"/>
                    <a:pt x="64" y="349"/>
                    <a:pt x="63" y="350"/>
                  </a:cubicBezTo>
                  <a:cubicBezTo>
                    <a:pt x="62" y="351"/>
                    <a:pt x="62" y="353"/>
                    <a:pt x="64" y="354"/>
                  </a:cubicBezTo>
                  <a:cubicBezTo>
                    <a:pt x="65" y="355"/>
                    <a:pt x="65" y="357"/>
                    <a:pt x="65" y="358"/>
                  </a:cubicBezTo>
                  <a:cubicBezTo>
                    <a:pt x="64" y="360"/>
                    <a:pt x="66" y="362"/>
                    <a:pt x="67" y="363"/>
                  </a:cubicBezTo>
                  <a:cubicBezTo>
                    <a:pt x="69" y="364"/>
                    <a:pt x="68" y="368"/>
                    <a:pt x="69" y="369"/>
                  </a:cubicBezTo>
                  <a:cubicBezTo>
                    <a:pt x="71" y="369"/>
                    <a:pt x="72" y="370"/>
                    <a:pt x="74" y="370"/>
                  </a:cubicBezTo>
                  <a:cubicBezTo>
                    <a:pt x="76" y="369"/>
                    <a:pt x="77" y="370"/>
                    <a:pt x="78" y="372"/>
                  </a:cubicBezTo>
                  <a:cubicBezTo>
                    <a:pt x="79" y="373"/>
                    <a:pt x="80" y="373"/>
                    <a:pt x="82" y="372"/>
                  </a:cubicBezTo>
                  <a:cubicBezTo>
                    <a:pt x="84" y="371"/>
                    <a:pt x="89" y="373"/>
                    <a:pt x="90" y="374"/>
                  </a:cubicBezTo>
                  <a:cubicBezTo>
                    <a:pt x="91" y="374"/>
                    <a:pt x="90" y="377"/>
                    <a:pt x="90" y="379"/>
                  </a:cubicBezTo>
                  <a:cubicBezTo>
                    <a:pt x="90" y="381"/>
                    <a:pt x="89" y="384"/>
                    <a:pt x="91" y="385"/>
                  </a:cubicBezTo>
                  <a:cubicBezTo>
                    <a:pt x="93" y="386"/>
                    <a:pt x="93" y="389"/>
                    <a:pt x="95" y="390"/>
                  </a:cubicBezTo>
                  <a:cubicBezTo>
                    <a:pt x="97" y="391"/>
                    <a:pt x="98" y="394"/>
                    <a:pt x="100" y="395"/>
                  </a:cubicBezTo>
                  <a:cubicBezTo>
                    <a:pt x="101" y="395"/>
                    <a:pt x="104" y="397"/>
                    <a:pt x="104" y="399"/>
                  </a:cubicBezTo>
                  <a:cubicBezTo>
                    <a:pt x="104" y="400"/>
                    <a:pt x="102" y="402"/>
                    <a:pt x="100" y="402"/>
                  </a:cubicBezTo>
                  <a:cubicBezTo>
                    <a:pt x="98" y="403"/>
                    <a:pt x="95" y="400"/>
                    <a:pt x="94" y="402"/>
                  </a:cubicBezTo>
                  <a:cubicBezTo>
                    <a:pt x="93" y="403"/>
                    <a:pt x="95" y="405"/>
                    <a:pt x="95" y="409"/>
                  </a:cubicBezTo>
                  <a:cubicBezTo>
                    <a:pt x="96" y="413"/>
                    <a:pt x="97" y="413"/>
                    <a:pt x="99" y="413"/>
                  </a:cubicBezTo>
                  <a:cubicBezTo>
                    <a:pt x="101" y="413"/>
                    <a:pt x="101" y="412"/>
                    <a:pt x="103" y="411"/>
                  </a:cubicBezTo>
                  <a:cubicBezTo>
                    <a:pt x="104" y="411"/>
                    <a:pt x="107" y="412"/>
                    <a:pt x="108" y="411"/>
                  </a:cubicBezTo>
                  <a:cubicBezTo>
                    <a:pt x="109" y="411"/>
                    <a:pt x="114" y="410"/>
                    <a:pt x="115" y="412"/>
                  </a:cubicBezTo>
                  <a:cubicBezTo>
                    <a:pt x="115" y="413"/>
                    <a:pt x="116" y="417"/>
                    <a:pt x="116" y="418"/>
                  </a:cubicBezTo>
                  <a:cubicBezTo>
                    <a:pt x="115" y="419"/>
                    <a:pt x="117" y="421"/>
                    <a:pt x="117" y="422"/>
                  </a:cubicBezTo>
                  <a:cubicBezTo>
                    <a:pt x="118" y="424"/>
                    <a:pt x="122" y="423"/>
                    <a:pt x="123" y="424"/>
                  </a:cubicBezTo>
                  <a:cubicBezTo>
                    <a:pt x="125" y="424"/>
                    <a:pt x="127" y="428"/>
                    <a:pt x="127" y="430"/>
                  </a:cubicBezTo>
                  <a:cubicBezTo>
                    <a:pt x="126" y="432"/>
                    <a:pt x="129" y="432"/>
                    <a:pt x="130" y="432"/>
                  </a:cubicBezTo>
                  <a:cubicBezTo>
                    <a:pt x="131" y="431"/>
                    <a:pt x="132" y="433"/>
                    <a:pt x="134" y="433"/>
                  </a:cubicBezTo>
                  <a:cubicBezTo>
                    <a:pt x="135" y="434"/>
                    <a:pt x="137" y="434"/>
                    <a:pt x="138" y="433"/>
                  </a:cubicBezTo>
                  <a:cubicBezTo>
                    <a:pt x="139" y="432"/>
                    <a:pt x="142" y="432"/>
                    <a:pt x="142" y="433"/>
                  </a:cubicBezTo>
                  <a:cubicBezTo>
                    <a:pt x="143" y="434"/>
                    <a:pt x="146" y="436"/>
                    <a:pt x="146" y="437"/>
                  </a:cubicBezTo>
                  <a:cubicBezTo>
                    <a:pt x="146" y="438"/>
                    <a:pt x="150" y="437"/>
                    <a:pt x="153" y="438"/>
                  </a:cubicBezTo>
                  <a:cubicBezTo>
                    <a:pt x="155" y="439"/>
                    <a:pt x="157" y="439"/>
                    <a:pt x="159" y="440"/>
                  </a:cubicBezTo>
                  <a:cubicBezTo>
                    <a:pt x="162" y="441"/>
                    <a:pt x="164" y="441"/>
                    <a:pt x="164" y="443"/>
                  </a:cubicBezTo>
                  <a:cubicBezTo>
                    <a:pt x="164" y="444"/>
                    <a:pt x="162" y="445"/>
                    <a:pt x="162" y="446"/>
                  </a:cubicBezTo>
                  <a:cubicBezTo>
                    <a:pt x="162" y="447"/>
                    <a:pt x="164" y="447"/>
                    <a:pt x="164" y="448"/>
                  </a:cubicBezTo>
                  <a:cubicBezTo>
                    <a:pt x="164" y="450"/>
                    <a:pt x="161" y="450"/>
                    <a:pt x="161" y="450"/>
                  </a:cubicBezTo>
                  <a:cubicBezTo>
                    <a:pt x="160" y="451"/>
                    <a:pt x="162" y="453"/>
                    <a:pt x="163" y="453"/>
                  </a:cubicBezTo>
                  <a:cubicBezTo>
                    <a:pt x="163" y="454"/>
                    <a:pt x="161" y="457"/>
                    <a:pt x="161" y="458"/>
                  </a:cubicBezTo>
                  <a:cubicBezTo>
                    <a:pt x="161" y="459"/>
                    <a:pt x="156" y="458"/>
                    <a:pt x="155" y="458"/>
                  </a:cubicBezTo>
                  <a:cubicBezTo>
                    <a:pt x="153" y="458"/>
                    <a:pt x="150" y="462"/>
                    <a:pt x="148" y="462"/>
                  </a:cubicBezTo>
                  <a:cubicBezTo>
                    <a:pt x="147" y="463"/>
                    <a:pt x="148" y="465"/>
                    <a:pt x="148" y="466"/>
                  </a:cubicBezTo>
                  <a:cubicBezTo>
                    <a:pt x="152" y="465"/>
                    <a:pt x="156" y="465"/>
                    <a:pt x="156" y="466"/>
                  </a:cubicBezTo>
                  <a:cubicBezTo>
                    <a:pt x="157" y="467"/>
                    <a:pt x="148" y="471"/>
                    <a:pt x="146" y="472"/>
                  </a:cubicBezTo>
                  <a:cubicBezTo>
                    <a:pt x="145" y="472"/>
                    <a:pt x="150" y="475"/>
                    <a:pt x="149" y="476"/>
                  </a:cubicBezTo>
                  <a:cubicBezTo>
                    <a:pt x="149" y="478"/>
                    <a:pt x="144" y="478"/>
                    <a:pt x="145" y="481"/>
                  </a:cubicBezTo>
                  <a:cubicBezTo>
                    <a:pt x="145" y="484"/>
                    <a:pt x="143" y="484"/>
                    <a:pt x="140" y="484"/>
                  </a:cubicBezTo>
                  <a:cubicBezTo>
                    <a:pt x="138" y="484"/>
                    <a:pt x="137" y="486"/>
                    <a:pt x="138" y="486"/>
                  </a:cubicBezTo>
                  <a:cubicBezTo>
                    <a:pt x="139" y="487"/>
                    <a:pt x="139" y="490"/>
                    <a:pt x="144" y="491"/>
                  </a:cubicBezTo>
                  <a:cubicBezTo>
                    <a:pt x="150" y="493"/>
                    <a:pt x="155" y="498"/>
                    <a:pt x="159" y="502"/>
                  </a:cubicBezTo>
                  <a:cubicBezTo>
                    <a:pt x="160" y="503"/>
                    <a:pt x="161" y="503"/>
                    <a:pt x="161" y="504"/>
                  </a:cubicBezTo>
                  <a:cubicBezTo>
                    <a:pt x="163" y="503"/>
                    <a:pt x="164" y="503"/>
                    <a:pt x="165" y="503"/>
                  </a:cubicBezTo>
                  <a:cubicBezTo>
                    <a:pt x="167" y="502"/>
                    <a:pt x="172" y="504"/>
                    <a:pt x="174" y="505"/>
                  </a:cubicBezTo>
                  <a:cubicBezTo>
                    <a:pt x="177" y="507"/>
                    <a:pt x="186" y="505"/>
                    <a:pt x="187" y="506"/>
                  </a:cubicBezTo>
                  <a:cubicBezTo>
                    <a:pt x="188" y="508"/>
                    <a:pt x="190" y="510"/>
                    <a:pt x="192" y="510"/>
                  </a:cubicBezTo>
                  <a:cubicBezTo>
                    <a:pt x="193" y="510"/>
                    <a:pt x="195" y="513"/>
                    <a:pt x="197" y="512"/>
                  </a:cubicBezTo>
                  <a:cubicBezTo>
                    <a:pt x="198" y="511"/>
                    <a:pt x="203" y="511"/>
                    <a:pt x="205" y="511"/>
                  </a:cubicBezTo>
                  <a:cubicBezTo>
                    <a:pt x="206" y="511"/>
                    <a:pt x="206" y="512"/>
                    <a:pt x="208" y="512"/>
                  </a:cubicBezTo>
                  <a:cubicBezTo>
                    <a:pt x="209" y="512"/>
                    <a:pt x="209" y="517"/>
                    <a:pt x="210" y="517"/>
                  </a:cubicBezTo>
                  <a:cubicBezTo>
                    <a:pt x="211" y="517"/>
                    <a:pt x="215" y="520"/>
                    <a:pt x="218" y="521"/>
                  </a:cubicBezTo>
                  <a:cubicBezTo>
                    <a:pt x="220" y="521"/>
                    <a:pt x="223" y="525"/>
                    <a:pt x="224" y="525"/>
                  </a:cubicBezTo>
                  <a:cubicBezTo>
                    <a:pt x="225" y="525"/>
                    <a:pt x="227" y="527"/>
                    <a:pt x="227" y="525"/>
                  </a:cubicBezTo>
                  <a:cubicBezTo>
                    <a:pt x="228" y="523"/>
                    <a:pt x="231" y="524"/>
                    <a:pt x="232" y="521"/>
                  </a:cubicBezTo>
                  <a:cubicBezTo>
                    <a:pt x="228" y="516"/>
                    <a:pt x="223" y="510"/>
                    <a:pt x="223" y="507"/>
                  </a:cubicBezTo>
                  <a:cubicBezTo>
                    <a:pt x="223" y="503"/>
                    <a:pt x="225" y="500"/>
                    <a:pt x="220" y="496"/>
                  </a:cubicBezTo>
                  <a:cubicBezTo>
                    <a:pt x="215" y="492"/>
                    <a:pt x="221" y="489"/>
                    <a:pt x="224" y="485"/>
                  </a:cubicBezTo>
                  <a:cubicBezTo>
                    <a:pt x="227" y="481"/>
                    <a:pt x="234" y="479"/>
                    <a:pt x="238" y="476"/>
                  </a:cubicBezTo>
                  <a:cubicBezTo>
                    <a:pt x="238" y="475"/>
                    <a:pt x="237" y="475"/>
                    <a:pt x="236" y="474"/>
                  </a:cubicBezTo>
                  <a:cubicBezTo>
                    <a:pt x="233" y="473"/>
                    <a:pt x="232" y="471"/>
                    <a:pt x="234" y="471"/>
                  </a:cubicBezTo>
                  <a:cubicBezTo>
                    <a:pt x="237" y="470"/>
                    <a:pt x="235" y="469"/>
                    <a:pt x="233" y="466"/>
                  </a:cubicBezTo>
                  <a:cubicBezTo>
                    <a:pt x="230" y="463"/>
                    <a:pt x="229" y="460"/>
                    <a:pt x="228" y="460"/>
                  </a:cubicBezTo>
                  <a:cubicBezTo>
                    <a:pt x="227" y="460"/>
                    <a:pt x="224" y="460"/>
                    <a:pt x="222" y="460"/>
                  </a:cubicBezTo>
                  <a:cubicBezTo>
                    <a:pt x="220" y="461"/>
                    <a:pt x="221" y="459"/>
                    <a:pt x="221" y="456"/>
                  </a:cubicBezTo>
                  <a:cubicBezTo>
                    <a:pt x="221" y="454"/>
                    <a:pt x="217" y="454"/>
                    <a:pt x="216" y="453"/>
                  </a:cubicBezTo>
                  <a:cubicBezTo>
                    <a:pt x="216" y="452"/>
                    <a:pt x="217" y="448"/>
                    <a:pt x="218" y="448"/>
                  </a:cubicBezTo>
                  <a:cubicBezTo>
                    <a:pt x="219" y="448"/>
                    <a:pt x="221" y="447"/>
                    <a:pt x="221" y="445"/>
                  </a:cubicBezTo>
                  <a:cubicBezTo>
                    <a:pt x="221" y="444"/>
                    <a:pt x="217" y="444"/>
                    <a:pt x="218" y="442"/>
                  </a:cubicBezTo>
                  <a:cubicBezTo>
                    <a:pt x="220" y="439"/>
                    <a:pt x="223" y="439"/>
                    <a:pt x="223" y="437"/>
                  </a:cubicBezTo>
                  <a:cubicBezTo>
                    <a:pt x="223" y="434"/>
                    <a:pt x="225" y="432"/>
                    <a:pt x="227" y="434"/>
                  </a:cubicBezTo>
                  <a:cubicBezTo>
                    <a:pt x="230" y="435"/>
                    <a:pt x="231" y="440"/>
                    <a:pt x="234" y="439"/>
                  </a:cubicBezTo>
                  <a:cubicBezTo>
                    <a:pt x="237" y="438"/>
                    <a:pt x="235" y="435"/>
                    <a:pt x="234" y="434"/>
                  </a:cubicBezTo>
                  <a:cubicBezTo>
                    <a:pt x="234" y="433"/>
                    <a:pt x="233" y="430"/>
                    <a:pt x="237" y="430"/>
                  </a:cubicBezTo>
                  <a:cubicBezTo>
                    <a:pt x="240" y="429"/>
                    <a:pt x="238" y="426"/>
                    <a:pt x="241" y="426"/>
                  </a:cubicBezTo>
                  <a:cubicBezTo>
                    <a:pt x="243" y="426"/>
                    <a:pt x="248" y="423"/>
                    <a:pt x="249" y="422"/>
                  </a:cubicBezTo>
                  <a:cubicBezTo>
                    <a:pt x="251" y="421"/>
                    <a:pt x="254" y="419"/>
                    <a:pt x="255" y="420"/>
                  </a:cubicBezTo>
                  <a:cubicBezTo>
                    <a:pt x="257" y="421"/>
                    <a:pt x="259" y="423"/>
                    <a:pt x="260" y="420"/>
                  </a:cubicBezTo>
                  <a:cubicBezTo>
                    <a:pt x="261" y="418"/>
                    <a:pt x="265" y="419"/>
                    <a:pt x="265" y="420"/>
                  </a:cubicBezTo>
                  <a:cubicBezTo>
                    <a:pt x="266" y="422"/>
                    <a:pt x="273" y="422"/>
                    <a:pt x="275" y="423"/>
                  </a:cubicBezTo>
                  <a:cubicBezTo>
                    <a:pt x="277" y="424"/>
                    <a:pt x="281" y="427"/>
                    <a:pt x="281" y="429"/>
                  </a:cubicBezTo>
                  <a:cubicBezTo>
                    <a:pt x="281" y="430"/>
                    <a:pt x="284" y="432"/>
                    <a:pt x="284" y="430"/>
                  </a:cubicBezTo>
                  <a:cubicBezTo>
                    <a:pt x="284" y="427"/>
                    <a:pt x="285" y="428"/>
                    <a:pt x="288" y="430"/>
                  </a:cubicBezTo>
                  <a:cubicBezTo>
                    <a:pt x="291" y="432"/>
                    <a:pt x="295" y="431"/>
                    <a:pt x="296" y="429"/>
                  </a:cubicBezTo>
                  <a:cubicBezTo>
                    <a:pt x="296" y="427"/>
                    <a:pt x="302" y="425"/>
                    <a:pt x="304" y="427"/>
                  </a:cubicBezTo>
                  <a:cubicBezTo>
                    <a:pt x="305" y="428"/>
                    <a:pt x="306" y="429"/>
                    <a:pt x="308" y="427"/>
                  </a:cubicBezTo>
                  <a:cubicBezTo>
                    <a:pt x="310" y="425"/>
                    <a:pt x="315" y="425"/>
                    <a:pt x="316" y="427"/>
                  </a:cubicBezTo>
                  <a:cubicBezTo>
                    <a:pt x="317" y="429"/>
                    <a:pt x="319" y="430"/>
                    <a:pt x="321" y="430"/>
                  </a:cubicBezTo>
                  <a:cubicBezTo>
                    <a:pt x="324" y="430"/>
                    <a:pt x="324" y="433"/>
                    <a:pt x="325" y="432"/>
                  </a:cubicBezTo>
                  <a:cubicBezTo>
                    <a:pt x="327" y="432"/>
                    <a:pt x="326" y="428"/>
                    <a:pt x="328" y="428"/>
                  </a:cubicBezTo>
                  <a:cubicBezTo>
                    <a:pt x="330" y="429"/>
                    <a:pt x="331" y="431"/>
                    <a:pt x="334" y="431"/>
                  </a:cubicBezTo>
                  <a:cubicBezTo>
                    <a:pt x="337" y="431"/>
                    <a:pt x="339" y="430"/>
                    <a:pt x="339" y="428"/>
                  </a:cubicBezTo>
                  <a:cubicBezTo>
                    <a:pt x="339" y="426"/>
                    <a:pt x="339" y="422"/>
                    <a:pt x="337" y="422"/>
                  </a:cubicBezTo>
                  <a:cubicBezTo>
                    <a:pt x="335" y="422"/>
                    <a:pt x="334" y="420"/>
                    <a:pt x="331" y="420"/>
                  </a:cubicBezTo>
                  <a:cubicBezTo>
                    <a:pt x="329" y="420"/>
                    <a:pt x="327" y="417"/>
                    <a:pt x="329" y="416"/>
                  </a:cubicBezTo>
                  <a:cubicBezTo>
                    <a:pt x="331" y="415"/>
                    <a:pt x="335" y="414"/>
                    <a:pt x="334" y="412"/>
                  </a:cubicBezTo>
                  <a:cubicBezTo>
                    <a:pt x="334" y="410"/>
                    <a:pt x="333" y="407"/>
                    <a:pt x="336" y="406"/>
                  </a:cubicBezTo>
                  <a:cubicBezTo>
                    <a:pt x="339" y="406"/>
                    <a:pt x="345" y="406"/>
                    <a:pt x="344" y="405"/>
                  </a:cubicBezTo>
                  <a:cubicBezTo>
                    <a:pt x="344" y="404"/>
                    <a:pt x="338" y="403"/>
                    <a:pt x="337" y="401"/>
                  </a:cubicBezTo>
                  <a:cubicBezTo>
                    <a:pt x="336" y="399"/>
                    <a:pt x="336" y="395"/>
                    <a:pt x="337" y="394"/>
                  </a:cubicBezTo>
                  <a:cubicBezTo>
                    <a:pt x="338" y="394"/>
                    <a:pt x="341" y="395"/>
                    <a:pt x="344" y="394"/>
                  </a:cubicBezTo>
                  <a:cubicBezTo>
                    <a:pt x="346" y="393"/>
                    <a:pt x="350" y="395"/>
                    <a:pt x="353" y="393"/>
                  </a:cubicBezTo>
                  <a:cubicBezTo>
                    <a:pt x="356" y="391"/>
                    <a:pt x="362" y="391"/>
                    <a:pt x="365" y="391"/>
                  </a:cubicBezTo>
                  <a:cubicBezTo>
                    <a:pt x="369" y="391"/>
                    <a:pt x="371" y="388"/>
                    <a:pt x="374" y="388"/>
                  </a:cubicBezTo>
                  <a:cubicBezTo>
                    <a:pt x="376" y="388"/>
                    <a:pt x="383" y="387"/>
                    <a:pt x="385" y="386"/>
                  </a:cubicBezTo>
                  <a:cubicBezTo>
                    <a:pt x="387" y="385"/>
                    <a:pt x="396" y="384"/>
                    <a:pt x="397" y="382"/>
                  </a:cubicBezTo>
                  <a:cubicBezTo>
                    <a:pt x="397" y="380"/>
                    <a:pt x="405" y="379"/>
                    <a:pt x="407" y="380"/>
                  </a:cubicBezTo>
                  <a:cubicBezTo>
                    <a:pt x="409" y="381"/>
                    <a:pt x="411" y="381"/>
                    <a:pt x="413" y="381"/>
                  </a:cubicBezTo>
                  <a:cubicBezTo>
                    <a:pt x="415" y="380"/>
                    <a:pt x="418" y="382"/>
                    <a:pt x="418" y="384"/>
                  </a:cubicBezTo>
                  <a:cubicBezTo>
                    <a:pt x="418" y="386"/>
                    <a:pt x="420" y="388"/>
                    <a:pt x="420" y="389"/>
                  </a:cubicBezTo>
                  <a:cubicBezTo>
                    <a:pt x="419" y="391"/>
                    <a:pt x="418" y="392"/>
                    <a:pt x="419" y="393"/>
                  </a:cubicBezTo>
                  <a:cubicBezTo>
                    <a:pt x="420" y="394"/>
                    <a:pt x="425" y="393"/>
                    <a:pt x="426" y="392"/>
                  </a:cubicBezTo>
                  <a:cubicBezTo>
                    <a:pt x="427" y="390"/>
                    <a:pt x="429" y="392"/>
                    <a:pt x="429" y="394"/>
                  </a:cubicBezTo>
                  <a:cubicBezTo>
                    <a:pt x="429" y="395"/>
                    <a:pt x="431" y="396"/>
                    <a:pt x="431" y="394"/>
                  </a:cubicBezTo>
                  <a:cubicBezTo>
                    <a:pt x="431" y="392"/>
                    <a:pt x="434" y="394"/>
                    <a:pt x="435" y="395"/>
                  </a:cubicBezTo>
                  <a:cubicBezTo>
                    <a:pt x="436" y="396"/>
                    <a:pt x="439" y="393"/>
                    <a:pt x="439" y="395"/>
                  </a:cubicBezTo>
                  <a:cubicBezTo>
                    <a:pt x="439" y="397"/>
                    <a:pt x="434" y="398"/>
                    <a:pt x="436" y="400"/>
                  </a:cubicBezTo>
                  <a:cubicBezTo>
                    <a:pt x="439" y="402"/>
                    <a:pt x="440" y="398"/>
                    <a:pt x="443" y="399"/>
                  </a:cubicBezTo>
                  <a:cubicBezTo>
                    <a:pt x="445" y="400"/>
                    <a:pt x="449" y="396"/>
                    <a:pt x="451" y="395"/>
                  </a:cubicBezTo>
                  <a:cubicBezTo>
                    <a:pt x="454" y="395"/>
                    <a:pt x="456" y="392"/>
                    <a:pt x="459" y="391"/>
                  </a:cubicBezTo>
                  <a:cubicBezTo>
                    <a:pt x="461" y="390"/>
                    <a:pt x="465" y="390"/>
                    <a:pt x="464" y="392"/>
                  </a:cubicBezTo>
                  <a:cubicBezTo>
                    <a:pt x="463" y="393"/>
                    <a:pt x="461" y="396"/>
                    <a:pt x="466" y="398"/>
                  </a:cubicBezTo>
                  <a:cubicBezTo>
                    <a:pt x="472" y="400"/>
                    <a:pt x="478" y="410"/>
                    <a:pt x="481" y="415"/>
                  </a:cubicBezTo>
                  <a:cubicBezTo>
                    <a:pt x="484" y="420"/>
                    <a:pt x="488" y="430"/>
                    <a:pt x="489" y="430"/>
                  </a:cubicBezTo>
                  <a:cubicBezTo>
                    <a:pt x="491" y="430"/>
                    <a:pt x="492" y="425"/>
                    <a:pt x="494" y="425"/>
                  </a:cubicBezTo>
                  <a:cubicBezTo>
                    <a:pt x="496" y="424"/>
                    <a:pt x="498" y="429"/>
                    <a:pt x="500" y="429"/>
                  </a:cubicBezTo>
                  <a:cubicBezTo>
                    <a:pt x="503" y="430"/>
                    <a:pt x="506" y="431"/>
                    <a:pt x="508" y="430"/>
                  </a:cubicBezTo>
                  <a:cubicBezTo>
                    <a:pt x="510" y="430"/>
                    <a:pt x="515" y="427"/>
                    <a:pt x="516" y="428"/>
                  </a:cubicBezTo>
                  <a:cubicBezTo>
                    <a:pt x="518" y="429"/>
                    <a:pt x="520" y="429"/>
                    <a:pt x="521" y="432"/>
                  </a:cubicBezTo>
                  <a:cubicBezTo>
                    <a:pt x="523" y="436"/>
                    <a:pt x="525" y="436"/>
                    <a:pt x="526" y="436"/>
                  </a:cubicBezTo>
                  <a:cubicBezTo>
                    <a:pt x="528" y="436"/>
                    <a:pt x="528" y="438"/>
                    <a:pt x="528" y="439"/>
                  </a:cubicBezTo>
                  <a:cubicBezTo>
                    <a:pt x="528" y="441"/>
                    <a:pt x="531" y="443"/>
                    <a:pt x="532" y="443"/>
                  </a:cubicBezTo>
                  <a:cubicBezTo>
                    <a:pt x="534" y="443"/>
                    <a:pt x="537" y="442"/>
                    <a:pt x="539" y="442"/>
                  </a:cubicBezTo>
                  <a:cubicBezTo>
                    <a:pt x="540" y="441"/>
                    <a:pt x="541" y="440"/>
                    <a:pt x="541" y="442"/>
                  </a:cubicBezTo>
                  <a:cubicBezTo>
                    <a:pt x="542" y="443"/>
                    <a:pt x="544" y="446"/>
                    <a:pt x="545" y="446"/>
                  </a:cubicBezTo>
                  <a:cubicBezTo>
                    <a:pt x="547" y="446"/>
                    <a:pt x="549" y="447"/>
                    <a:pt x="550" y="446"/>
                  </a:cubicBezTo>
                  <a:cubicBezTo>
                    <a:pt x="550" y="445"/>
                    <a:pt x="554" y="444"/>
                    <a:pt x="555" y="444"/>
                  </a:cubicBezTo>
                  <a:cubicBezTo>
                    <a:pt x="557" y="444"/>
                    <a:pt x="562" y="443"/>
                    <a:pt x="563" y="441"/>
                  </a:cubicBezTo>
                  <a:cubicBezTo>
                    <a:pt x="564" y="438"/>
                    <a:pt x="568" y="438"/>
                    <a:pt x="569" y="437"/>
                  </a:cubicBezTo>
                  <a:cubicBezTo>
                    <a:pt x="570" y="436"/>
                    <a:pt x="573" y="435"/>
                    <a:pt x="574" y="433"/>
                  </a:cubicBezTo>
                  <a:cubicBezTo>
                    <a:pt x="575" y="432"/>
                    <a:pt x="579" y="432"/>
                    <a:pt x="579" y="431"/>
                  </a:cubicBezTo>
                  <a:cubicBezTo>
                    <a:pt x="580" y="430"/>
                    <a:pt x="583" y="430"/>
                    <a:pt x="585" y="430"/>
                  </a:cubicBezTo>
                  <a:cubicBezTo>
                    <a:pt x="587" y="431"/>
                    <a:pt x="595" y="432"/>
                    <a:pt x="596" y="432"/>
                  </a:cubicBezTo>
                  <a:cubicBezTo>
                    <a:pt x="598" y="432"/>
                    <a:pt x="598" y="436"/>
                    <a:pt x="599" y="437"/>
                  </a:cubicBezTo>
                  <a:cubicBezTo>
                    <a:pt x="600" y="437"/>
                    <a:pt x="604" y="440"/>
                    <a:pt x="606" y="439"/>
                  </a:cubicBezTo>
                  <a:cubicBezTo>
                    <a:pt x="607" y="438"/>
                    <a:pt x="610" y="437"/>
                    <a:pt x="612" y="439"/>
                  </a:cubicBezTo>
                  <a:cubicBezTo>
                    <a:pt x="614" y="440"/>
                    <a:pt x="617" y="442"/>
                    <a:pt x="618" y="440"/>
                  </a:cubicBezTo>
                  <a:cubicBezTo>
                    <a:pt x="619" y="439"/>
                    <a:pt x="624" y="438"/>
                    <a:pt x="624" y="437"/>
                  </a:cubicBezTo>
                  <a:cubicBezTo>
                    <a:pt x="625" y="436"/>
                    <a:pt x="626" y="433"/>
                    <a:pt x="625" y="432"/>
                  </a:cubicBezTo>
                  <a:cubicBezTo>
                    <a:pt x="623" y="431"/>
                    <a:pt x="622" y="427"/>
                    <a:pt x="622" y="426"/>
                  </a:cubicBezTo>
                  <a:cubicBezTo>
                    <a:pt x="621" y="424"/>
                    <a:pt x="625" y="423"/>
                    <a:pt x="625" y="422"/>
                  </a:cubicBezTo>
                  <a:cubicBezTo>
                    <a:pt x="626" y="420"/>
                    <a:pt x="628" y="420"/>
                    <a:pt x="629" y="419"/>
                  </a:cubicBezTo>
                  <a:cubicBezTo>
                    <a:pt x="630" y="418"/>
                    <a:pt x="631" y="416"/>
                    <a:pt x="632" y="416"/>
                  </a:cubicBezTo>
                  <a:cubicBezTo>
                    <a:pt x="634" y="417"/>
                    <a:pt x="637" y="418"/>
                    <a:pt x="638" y="418"/>
                  </a:cubicBezTo>
                  <a:cubicBezTo>
                    <a:pt x="639" y="419"/>
                    <a:pt x="642" y="420"/>
                    <a:pt x="643" y="420"/>
                  </a:cubicBezTo>
                  <a:cubicBezTo>
                    <a:pt x="645" y="420"/>
                    <a:pt x="647" y="421"/>
                    <a:pt x="649" y="422"/>
                  </a:cubicBezTo>
                  <a:cubicBezTo>
                    <a:pt x="651" y="423"/>
                    <a:pt x="656" y="423"/>
                    <a:pt x="657" y="424"/>
                  </a:cubicBezTo>
                  <a:cubicBezTo>
                    <a:pt x="658" y="426"/>
                    <a:pt x="657" y="430"/>
                    <a:pt x="658" y="431"/>
                  </a:cubicBezTo>
                  <a:cubicBezTo>
                    <a:pt x="659" y="433"/>
                    <a:pt x="662" y="436"/>
                    <a:pt x="663" y="435"/>
                  </a:cubicBezTo>
                  <a:cubicBezTo>
                    <a:pt x="664" y="434"/>
                    <a:pt x="668" y="437"/>
                    <a:pt x="670" y="437"/>
                  </a:cubicBezTo>
                  <a:cubicBezTo>
                    <a:pt x="672" y="437"/>
                    <a:pt x="674" y="434"/>
                    <a:pt x="676" y="434"/>
                  </a:cubicBezTo>
                  <a:cubicBezTo>
                    <a:pt x="677" y="434"/>
                    <a:pt x="682" y="433"/>
                    <a:pt x="683" y="433"/>
                  </a:cubicBezTo>
                  <a:cubicBezTo>
                    <a:pt x="685" y="434"/>
                    <a:pt x="690" y="436"/>
                    <a:pt x="691" y="435"/>
                  </a:cubicBezTo>
                  <a:cubicBezTo>
                    <a:pt x="691" y="435"/>
                    <a:pt x="696" y="435"/>
                    <a:pt x="697" y="437"/>
                  </a:cubicBezTo>
                  <a:cubicBezTo>
                    <a:pt x="697" y="438"/>
                    <a:pt x="703" y="438"/>
                    <a:pt x="703" y="440"/>
                  </a:cubicBezTo>
                  <a:cubicBezTo>
                    <a:pt x="703" y="442"/>
                    <a:pt x="707" y="442"/>
                    <a:pt x="708" y="444"/>
                  </a:cubicBezTo>
                  <a:cubicBezTo>
                    <a:pt x="709" y="446"/>
                    <a:pt x="716" y="445"/>
                    <a:pt x="718" y="446"/>
                  </a:cubicBezTo>
                  <a:cubicBezTo>
                    <a:pt x="719" y="447"/>
                    <a:pt x="728" y="447"/>
                    <a:pt x="729" y="446"/>
                  </a:cubicBezTo>
                  <a:cubicBezTo>
                    <a:pt x="729" y="445"/>
                    <a:pt x="737" y="445"/>
                    <a:pt x="739" y="444"/>
                  </a:cubicBezTo>
                  <a:cubicBezTo>
                    <a:pt x="741" y="442"/>
                    <a:pt x="745" y="443"/>
                    <a:pt x="745" y="441"/>
                  </a:cubicBezTo>
                  <a:cubicBezTo>
                    <a:pt x="746" y="440"/>
                    <a:pt x="750" y="438"/>
                    <a:pt x="752" y="437"/>
                  </a:cubicBezTo>
                  <a:cubicBezTo>
                    <a:pt x="754" y="436"/>
                    <a:pt x="761" y="436"/>
                    <a:pt x="762" y="437"/>
                  </a:cubicBezTo>
                  <a:cubicBezTo>
                    <a:pt x="762" y="439"/>
                    <a:pt x="767" y="440"/>
                    <a:pt x="769" y="439"/>
                  </a:cubicBezTo>
                  <a:cubicBezTo>
                    <a:pt x="771" y="438"/>
                    <a:pt x="776" y="439"/>
                    <a:pt x="776" y="441"/>
                  </a:cubicBezTo>
                  <a:cubicBezTo>
                    <a:pt x="777" y="442"/>
                    <a:pt x="783" y="443"/>
                    <a:pt x="784" y="443"/>
                  </a:cubicBezTo>
                  <a:cubicBezTo>
                    <a:pt x="786" y="442"/>
                    <a:pt x="790" y="439"/>
                    <a:pt x="792" y="439"/>
                  </a:cubicBezTo>
                  <a:cubicBezTo>
                    <a:pt x="793" y="439"/>
                    <a:pt x="796" y="437"/>
                    <a:pt x="795" y="435"/>
                  </a:cubicBezTo>
                  <a:cubicBezTo>
                    <a:pt x="795" y="434"/>
                    <a:pt x="799" y="429"/>
                    <a:pt x="799" y="427"/>
                  </a:cubicBezTo>
                  <a:cubicBezTo>
                    <a:pt x="800" y="425"/>
                    <a:pt x="803" y="420"/>
                    <a:pt x="804" y="419"/>
                  </a:cubicBezTo>
                  <a:cubicBezTo>
                    <a:pt x="805" y="419"/>
                    <a:pt x="808" y="417"/>
                    <a:pt x="808" y="415"/>
                  </a:cubicBezTo>
                  <a:cubicBezTo>
                    <a:pt x="808" y="414"/>
                    <a:pt x="807" y="410"/>
                    <a:pt x="805" y="410"/>
                  </a:cubicBezTo>
                  <a:cubicBezTo>
                    <a:pt x="804" y="410"/>
                    <a:pt x="801" y="410"/>
                    <a:pt x="805" y="405"/>
                  </a:cubicBezTo>
                  <a:cubicBezTo>
                    <a:pt x="808" y="401"/>
                    <a:pt x="814" y="402"/>
                    <a:pt x="815" y="402"/>
                  </a:cubicBezTo>
                  <a:cubicBezTo>
                    <a:pt x="816" y="402"/>
                    <a:pt x="823" y="400"/>
                    <a:pt x="827" y="401"/>
                  </a:cubicBezTo>
                  <a:cubicBezTo>
                    <a:pt x="830" y="402"/>
                    <a:pt x="832" y="401"/>
                    <a:pt x="836" y="403"/>
                  </a:cubicBezTo>
                  <a:cubicBezTo>
                    <a:pt x="839" y="404"/>
                    <a:pt x="844" y="404"/>
                    <a:pt x="846" y="405"/>
                  </a:cubicBezTo>
                  <a:cubicBezTo>
                    <a:pt x="847" y="407"/>
                    <a:pt x="851" y="408"/>
                    <a:pt x="851" y="411"/>
                  </a:cubicBezTo>
                  <a:cubicBezTo>
                    <a:pt x="850" y="414"/>
                    <a:pt x="853" y="413"/>
                    <a:pt x="855" y="419"/>
                  </a:cubicBezTo>
                  <a:cubicBezTo>
                    <a:pt x="856" y="425"/>
                    <a:pt x="859" y="425"/>
                    <a:pt x="859" y="428"/>
                  </a:cubicBezTo>
                  <a:cubicBezTo>
                    <a:pt x="860" y="431"/>
                    <a:pt x="864" y="436"/>
                    <a:pt x="863" y="438"/>
                  </a:cubicBezTo>
                  <a:cubicBezTo>
                    <a:pt x="863" y="440"/>
                    <a:pt x="862" y="442"/>
                    <a:pt x="866" y="442"/>
                  </a:cubicBezTo>
                  <a:cubicBezTo>
                    <a:pt x="871" y="443"/>
                    <a:pt x="873" y="446"/>
                    <a:pt x="874" y="445"/>
                  </a:cubicBezTo>
                  <a:cubicBezTo>
                    <a:pt x="875" y="445"/>
                    <a:pt x="880" y="447"/>
                    <a:pt x="882" y="449"/>
                  </a:cubicBezTo>
                  <a:cubicBezTo>
                    <a:pt x="885" y="451"/>
                    <a:pt x="888" y="450"/>
                    <a:pt x="888" y="453"/>
                  </a:cubicBezTo>
                  <a:cubicBezTo>
                    <a:pt x="888" y="455"/>
                    <a:pt x="890" y="457"/>
                    <a:pt x="890" y="460"/>
                  </a:cubicBezTo>
                  <a:cubicBezTo>
                    <a:pt x="890" y="462"/>
                    <a:pt x="894" y="463"/>
                    <a:pt x="898" y="463"/>
                  </a:cubicBezTo>
                  <a:cubicBezTo>
                    <a:pt x="901" y="462"/>
                    <a:pt x="903" y="464"/>
                    <a:pt x="905" y="461"/>
                  </a:cubicBezTo>
                  <a:cubicBezTo>
                    <a:pt x="906" y="458"/>
                    <a:pt x="911" y="459"/>
                    <a:pt x="913" y="458"/>
                  </a:cubicBezTo>
                  <a:cubicBezTo>
                    <a:pt x="914" y="457"/>
                    <a:pt x="919" y="456"/>
                    <a:pt x="919" y="460"/>
                  </a:cubicBezTo>
                  <a:cubicBezTo>
                    <a:pt x="919" y="464"/>
                    <a:pt x="922" y="465"/>
                    <a:pt x="919" y="466"/>
                  </a:cubicBezTo>
                  <a:cubicBezTo>
                    <a:pt x="917" y="468"/>
                    <a:pt x="916" y="474"/>
                    <a:pt x="915" y="477"/>
                  </a:cubicBezTo>
                  <a:cubicBezTo>
                    <a:pt x="914" y="479"/>
                    <a:pt x="911" y="480"/>
                    <a:pt x="910" y="483"/>
                  </a:cubicBezTo>
                  <a:cubicBezTo>
                    <a:pt x="910" y="486"/>
                    <a:pt x="906" y="486"/>
                    <a:pt x="906" y="488"/>
                  </a:cubicBezTo>
                  <a:cubicBezTo>
                    <a:pt x="906" y="490"/>
                    <a:pt x="902" y="490"/>
                    <a:pt x="899" y="488"/>
                  </a:cubicBezTo>
                  <a:cubicBezTo>
                    <a:pt x="897" y="486"/>
                    <a:pt x="895" y="491"/>
                    <a:pt x="893" y="491"/>
                  </a:cubicBezTo>
                  <a:cubicBezTo>
                    <a:pt x="891" y="491"/>
                    <a:pt x="891" y="495"/>
                    <a:pt x="891" y="497"/>
                  </a:cubicBezTo>
                  <a:cubicBezTo>
                    <a:pt x="892" y="499"/>
                    <a:pt x="891" y="501"/>
                    <a:pt x="892" y="504"/>
                  </a:cubicBezTo>
                  <a:cubicBezTo>
                    <a:pt x="893" y="505"/>
                    <a:pt x="892" y="508"/>
                    <a:pt x="892" y="511"/>
                  </a:cubicBezTo>
                  <a:cubicBezTo>
                    <a:pt x="895" y="509"/>
                    <a:pt x="898" y="508"/>
                    <a:pt x="899" y="508"/>
                  </a:cubicBezTo>
                  <a:cubicBezTo>
                    <a:pt x="902" y="508"/>
                    <a:pt x="905" y="513"/>
                    <a:pt x="908" y="513"/>
                  </a:cubicBezTo>
                  <a:cubicBezTo>
                    <a:pt x="912" y="513"/>
                    <a:pt x="927" y="503"/>
                    <a:pt x="927" y="501"/>
                  </a:cubicBezTo>
                  <a:cubicBezTo>
                    <a:pt x="927" y="500"/>
                    <a:pt x="936" y="491"/>
                    <a:pt x="940" y="487"/>
                  </a:cubicBezTo>
                  <a:cubicBezTo>
                    <a:pt x="944" y="482"/>
                    <a:pt x="950" y="476"/>
                    <a:pt x="952" y="471"/>
                  </a:cubicBezTo>
                  <a:cubicBezTo>
                    <a:pt x="953" y="468"/>
                    <a:pt x="959" y="462"/>
                    <a:pt x="960" y="459"/>
                  </a:cubicBezTo>
                  <a:cubicBezTo>
                    <a:pt x="962" y="457"/>
                    <a:pt x="963" y="457"/>
                    <a:pt x="965" y="451"/>
                  </a:cubicBezTo>
                  <a:cubicBezTo>
                    <a:pt x="968" y="446"/>
                    <a:pt x="968" y="431"/>
                    <a:pt x="969" y="430"/>
                  </a:cubicBezTo>
                  <a:cubicBezTo>
                    <a:pt x="970" y="429"/>
                    <a:pt x="969" y="427"/>
                    <a:pt x="970" y="425"/>
                  </a:cubicBezTo>
                  <a:cubicBezTo>
                    <a:pt x="972" y="424"/>
                    <a:pt x="971" y="421"/>
                    <a:pt x="973" y="419"/>
                  </a:cubicBezTo>
                  <a:cubicBezTo>
                    <a:pt x="976" y="417"/>
                    <a:pt x="975" y="416"/>
                    <a:pt x="975" y="414"/>
                  </a:cubicBezTo>
                  <a:cubicBezTo>
                    <a:pt x="974" y="413"/>
                    <a:pt x="975" y="409"/>
                    <a:pt x="974" y="408"/>
                  </a:cubicBezTo>
                  <a:cubicBezTo>
                    <a:pt x="974" y="407"/>
                    <a:pt x="974" y="406"/>
                    <a:pt x="975" y="406"/>
                  </a:cubicBezTo>
                  <a:cubicBezTo>
                    <a:pt x="977" y="405"/>
                    <a:pt x="974" y="403"/>
                    <a:pt x="972" y="402"/>
                  </a:cubicBezTo>
                  <a:cubicBezTo>
                    <a:pt x="970" y="401"/>
                    <a:pt x="968" y="400"/>
                    <a:pt x="967" y="398"/>
                  </a:cubicBezTo>
                  <a:cubicBezTo>
                    <a:pt x="967" y="395"/>
                    <a:pt x="964" y="393"/>
                    <a:pt x="961" y="393"/>
                  </a:cubicBezTo>
                  <a:cubicBezTo>
                    <a:pt x="958" y="393"/>
                    <a:pt x="954" y="391"/>
                    <a:pt x="954" y="393"/>
                  </a:cubicBezTo>
                  <a:cubicBezTo>
                    <a:pt x="955" y="395"/>
                    <a:pt x="954" y="396"/>
                    <a:pt x="953" y="396"/>
                  </a:cubicBezTo>
                  <a:cubicBezTo>
                    <a:pt x="951" y="396"/>
                    <a:pt x="951" y="397"/>
                    <a:pt x="949" y="399"/>
                  </a:cubicBezTo>
                  <a:cubicBezTo>
                    <a:pt x="948" y="401"/>
                    <a:pt x="942" y="402"/>
                    <a:pt x="945" y="399"/>
                  </a:cubicBezTo>
                  <a:cubicBezTo>
                    <a:pt x="947" y="397"/>
                    <a:pt x="944" y="397"/>
                    <a:pt x="944" y="395"/>
                  </a:cubicBezTo>
                  <a:cubicBezTo>
                    <a:pt x="945" y="392"/>
                    <a:pt x="947" y="390"/>
                    <a:pt x="944" y="391"/>
                  </a:cubicBezTo>
                  <a:cubicBezTo>
                    <a:pt x="941" y="393"/>
                    <a:pt x="941" y="397"/>
                    <a:pt x="939" y="397"/>
                  </a:cubicBezTo>
                  <a:cubicBezTo>
                    <a:pt x="937" y="398"/>
                    <a:pt x="937" y="391"/>
                    <a:pt x="938" y="389"/>
                  </a:cubicBezTo>
                  <a:cubicBezTo>
                    <a:pt x="939" y="387"/>
                    <a:pt x="934" y="389"/>
                    <a:pt x="929" y="389"/>
                  </a:cubicBezTo>
                  <a:cubicBezTo>
                    <a:pt x="924" y="388"/>
                    <a:pt x="925" y="385"/>
                    <a:pt x="929" y="383"/>
                  </a:cubicBezTo>
                  <a:cubicBezTo>
                    <a:pt x="933" y="381"/>
                    <a:pt x="933" y="379"/>
                    <a:pt x="935" y="378"/>
                  </a:cubicBezTo>
                  <a:cubicBezTo>
                    <a:pt x="937" y="377"/>
                    <a:pt x="942" y="373"/>
                    <a:pt x="945" y="372"/>
                  </a:cubicBezTo>
                  <a:cubicBezTo>
                    <a:pt x="948" y="370"/>
                    <a:pt x="949" y="368"/>
                    <a:pt x="949" y="366"/>
                  </a:cubicBezTo>
                  <a:cubicBezTo>
                    <a:pt x="950" y="364"/>
                    <a:pt x="956" y="361"/>
                    <a:pt x="961" y="357"/>
                  </a:cubicBezTo>
                  <a:cubicBezTo>
                    <a:pt x="966" y="353"/>
                    <a:pt x="968" y="351"/>
                    <a:pt x="970" y="348"/>
                  </a:cubicBezTo>
                  <a:cubicBezTo>
                    <a:pt x="971" y="346"/>
                    <a:pt x="978" y="342"/>
                    <a:pt x="979" y="341"/>
                  </a:cubicBezTo>
                  <a:cubicBezTo>
                    <a:pt x="979" y="339"/>
                    <a:pt x="988" y="334"/>
                    <a:pt x="994" y="333"/>
                  </a:cubicBezTo>
                  <a:cubicBezTo>
                    <a:pt x="1000" y="332"/>
                    <a:pt x="1009" y="333"/>
                    <a:pt x="1011" y="335"/>
                  </a:cubicBezTo>
                  <a:cubicBezTo>
                    <a:pt x="1013" y="337"/>
                    <a:pt x="1014" y="336"/>
                    <a:pt x="1015" y="335"/>
                  </a:cubicBezTo>
                  <a:cubicBezTo>
                    <a:pt x="1016" y="334"/>
                    <a:pt x="1019" y="334"/>
                    <a:pt x="1023" y="335"/>
                  </a:cubicBezTo>
                  <a:cubicBezTo>
                    <a:pt x="1027" y="335"/>
                    <a:pt x="1028" y="333"/>
                    <a:pt x="1031" y="334"/>
                  </a:cubicBezTo>
                  <a:cubicBezTo>
                    <a:pt x="1033" y="334"/>
                    <a:pt x="1036" y="335"/>
                    <a:pt x="1037" y="332"/>
                  </a:cubicBezTo>
                  <a:cubicBezTo>
                    <a:pt x="1039" y="328"/>
                    <a:pt x="1047" y="329"/>
                    <a:pt x="1049" y="330"/>
                  </a:cubicBezTo>
                  <a:cubicBezTo>
                    <a:pt x="1050" y="332"/>
                    <a:pt x="1052" y="333"/>
                    <a:pt x="1055" y="332"/>
                  </a:cubicBezTo>
                  <a:cubicBezTo>
                    <a:pt x="1057" y="330"/>
                    <a:pt x="1057" y="334"/>
                    <a:pt x="1060" y="334"/>
                  </a:cubicBezTo>
                  <a:cubicBezTo>
                    <a:pt x="1063" y="335"/>
                    <a:pt x="1061" y="337"/>
                    <a:pt x="1059" y="337"/>
                  </a:cubicBezTo>
                  <a:cubicBezTo>
                    <a:pt x="1056" y="337"/>
                    <a:pt x="1053" y="338"/>
                    <a:pt x="1056" y="340"/>
                  </a:cubicBezTo>
                  <a:cubicBezTo>
                    <a:pt x="1059" y="341"/>
                    <a:pt x="1062" y="338"/>
                    <a:pt x="1064" y="338"/>
                  </a:cubicBezTo>
                  <a:cubicBezTo>
                    <a:pt x="1066" y="339"/>
                    <a:pt x="1070" y="339"/>
                    <a:pt x="1073" y="337"/>
                  </a:cubicBezTo>
                  <a:cubicBezTo>
                    <a:pt x="1076" y="335"/>
                    <a:pt x="1076" y="339"/>
                    <a:pt x="1078" y="337"/>
                  </a:cubicBezTo>
                  <a:cubicBezTo>
                    <a:pt x="1080" y="335"/>
                    <a:pt x="1085" y="335"/>
                    <a:pt x="1087" y="335"/>
                  </a:cubicBezTo>
                  <a:cubicBezTo>
                    <a:pt x="1089" y="335"/>
                    <a:pt x="1087" y="332"/>
                    <a:pt x="1083" y="332"/>
                  </a:cubicBezTo>
                  <a:cubicBezTo>
                    <a:pt x="1080" y="332"/>
                    <a:pt x="1080" y="330"/>
                    <a:pt x="1083" y="326"/>
                  </a:cubicBezTo>
                  <a:cubicBezTo>
                    <a:pt x="1086" y="321"/>
                    <a:pt x="1091" y="318"/>
                    <a:pt x="1095" y="315"/>
                  </a:cubicBezTo>
                  <a:cubicBezTo>
                    <a:pt x="1098" y="312"/>
                    <a:pt x="1101" y="314"/>
                    <a:pt x="1101" y="312"/>
                  </a:cubicBezTo>
                  <a:cubicBezTo>
                    <a:pt x="1101" y="310"/>
                    <a:pt x="1102" y="304"/>
                    <a:pt x="1105" y="304"/>
                  </a:cubicBezTo>
                  <a:cubicBezTo>
                    <a:pt x="1107" y="304"/>
                    <a:pt x="1114" y="305"/>
                    <a:pt x="1118" y="303"/>
                  </a:cubicBezTo>
                  <a:cubicBezTo>
                    <a:pt x="1122" y="301"/>
                    <a:pt x="1122" y="305"/>
                    <a:pt x="1123" y="305"/>
                  </a:cubicBezTo>
                  <a:cubicBezTo>
                    <a:pt x="1125" y="306"/>
                    <a:pt x="1127" y="302"/>
                    <a:pt x="1129" y="303"/>
                  </a:cubicBezTo>
                  <a:cubicBezTo>
                    <a:pt x="1131" y="304"/>
                    <a:pt x="1126" y="307"/>
                    <a:pt x="1125" y="311"/>
                  </a:cubicBezTo>
                  <a:cubicBezTo>
                    <a:pt x="1124" y="314"/>
                    <a:pt x="1128" y="313"/>
                    <a:pt x="1130" y="314"/>
                  </a:cubicBezTo>
                  <a:cubicBezTo>
                    <a:pt x="1132" y="315"/>
                    <a:pt x="1127" y="316"/>
                    <a:pt x="1128" y="317"/>
                  </a:cubicBezTo>
                  <a:cubicBezTo>
                    <a:pt x="1128" y="318"/>
                    <a:pt x="1132" y="318"/>
                    <a:pt x="1137" y="313"/>
                  </a:cubicBezTo>
                  <a:cubicBezTo>
                    <a:pt x="1143" y="308"/>
                    <a:pt x="1147" y="306"/>
                    <a:pt x="1151" y="306"/>
                  </a:cubicBezTo>
                  <a:cubicBezTo>
                    <a:pt x="1154" y="307"/>
                    <a:pt x="1152" y="303"/>
                    <a:pt x="1152" y="299"/>
                  </a:cubicBezTo>
                  <a:cubicBezTo>
                    <a:pt x="1153" y="294"/>
                    <a:pt x="1163" y="292"/>
                    <a:pt x="1166" y="294"/>
                  </a:cubicBezTo>
                  <a:cubicBezTo>
                    <a:pt x="1170" y="295"/>
                    <a:pt x="1169" y="296"/>
                    <a:pt x="1166" y="296"/>
                  </a:cubicBezTo>
                  <a:cubicBezTo>
                    <a:pt x="1163" y="295"/>
                    <a:pt x="1160" y="298"/>
                    <a:pt x="1160" y="302"/>
                  </a:cubicBezTo>
                  <a:cubicBezTo>
                    <a:pt x="1160" y="306"/>
                    <a:pt x="1157" y="307"/>
                    <a:pt x="1159" y="309"/>
                  </a:cubicBezTo>
                  <a:cubicBezTo>
                    <a:pt x="1160" y="310"/>
                    <a:pt x="1156" y="311"/>
                    <a:pt x="1156" y="312"/>
                  </a:cubicBezTo>
                  <a:cubicBezTo>
                    <a:pt x="1156" y="314"/>
                    <a:pt x="1156" y="315"/>
                    <a:pt x="1154" y="316"/>
                  </a:cubicBezTo>
                  <a:cubicBezTo>
                    <a:pt x="1152" y="317"/>
                    <a:pt x="1144" y="317"/>
                    <a:pt x="1143" y="320"/>
                  </a:cubicBezTo>
                  <a:cubicBezTo>
                    <a:pt x="1143" y="324"/>
                    <a:pt x="1139" y="324"/>
                    <a:pt x="1137" y="328"/>
                  </a:cubicBezTo>
                  <a:cubicBezTo>
                    <a:pt x="1135" y="332"/>
                    <a:pt x="1127" y="334"/>
                    <a:pt x="1122" y="341"/>
                  </a:cubicBezTo>
                  <a:cubicBezTo>
                    <a:pt x="1117" y="349"/>
                    <a:pt x="1109" y="349"/>
                    <a:pt x="1109" y="350"/>
                  </a:cubicBezTo>
                  <a:cubicBezTo>
                    <a:pt x="1109" y="352"/>
                    <a:pt x="1103" y="352"/>
                    <a:pt x="1101" y="352"/>
                  </a:cubicBezTo>
                  <a:cubicBezTo>
                    <a:pt x="1099" y="352"/>
                    <a:pt x="1103" y="357"/>
                    <a:pt x="1099" y="362"/>
                  </a:cubicBezTo>
                  <a:cubicBezTo>
                    <a:pt x="1094" y="367"/>
                    <a:pt x="1091" y="373"/>
                    <a:pt x="1091" y="380"/>
                  </a:cubicBezTo>
                  <a:cubicBezTo>
                    <a:pt x="1091" y="387"/>
                    <a:pt x="1094" y="406"/>
                    <a:pt x="1096" y="410"/>
                  </a:cubicBezTo>
                  <a:cubicBezTo>
                    <a:pt x="1098" y="413"/>
                    <a:pt x="1096" y="422"/>
                    <a:pt x="1098" y="424"/>
                  </a:cubicBezTo>
                  <a:cubicBezTo>
                    <a:pt x="1100" y="425"/>
                    <a:pt x="1099" y="428"/>
                    <a:pt x="1100" y="429"/>
                  </a:cubicBezTo>
                  <a:cubicBezTo>
                    <a:pt x="1101" y="430"/>
                    <a:pt x="1106" y="425"/>
                    <a:pt x="1109" y="422"/>
                  </a:cubicBezTo>
                  <a:cubicBezTo>
                    <a:pt x="1112" y="420"/>
                    <a:pt x="1111" y="419"/>
                    <a:pt x="1113" y="418"/>
                  </a:cubicBezTo>
                  <a:cubicBezTo>
                    <a:pt x="1115" y="416"/>
                    <a:pt x="1114" y="411"/>
                    <a:pt x="1114" y="409"/>
                  </a:cubicBezTo>
                  <a:cubicBezTo>
                    <a:pt x="1115" y="408"/>
                    <a:pt x="1119" y="407"/>
                    <a:pt x="1120" y="406"/>
                  </a:cubicBezTo>
                  <a:cubicBezTo>
                    <a:pt x="1121" y="404"/>
                    <a:pt x="1124" y="405"/>
                    <a:pt x="1126" y="404"/>
                  </a:cubicBezTo>
                  <a:cubicBezTo>
                    <a:pt x="1128" y="404"/>
                    <a:pt x="1126" y="400"/>
                    <a:pt x="1125" y="398"/>
                  </a:cubicBezTo>
                  <a:cubicBezTo>
                    <a:pt x="1125" y="395"/>
                    <a:pt x="1130" y="392"/>
                    <a:pt x="1133" y="390"/>
                  </a:cubicBezTo>
                  <a:cubicBezTo>
                    <a:pt x="1136" y="388"/>
                    <a:pt x="1139" y="392"/>
                    <a:pt x="1143" y="389"/>
                  </a:cubicBezTo>
                  <a:cubicBezTo>
                    <a:pt x="1146" y="386"/>
                    <a:pt x="1142" y="382"/>
                    <a:pt x="1141" y="381"/>
                  </a:cubicBezTo>
                  <a:cubicBezTo>
                    <a:pt x="1140" y="379"/>
                    <a:pt x="1144" y="372"/>
                    <a:pt x="1147" y="371"/>
                  </a:cubicBezTo>
                  <a:cubicBezTo>
                    <a:pt x="1149" y="370"/>
                    <a:pt x="1151" y="373"/>
                    <a:pt x="1153" y="371"/>
                  </a:cubicBezTo>
                  <a:cubicBezTo>
                    <a:pt x="1155" y="368"/>
                    <a:pt x="1151" y="365"/>
                    <a:pt x="1149" y="365"/>
                  </a:cubicBezTo>
                  <a:cubicBezTo>
                    <a:pt x="1148" y="365"/>
                    <a:pt x="1147" y="359"/>
                    <a:pt x="1151" y="356"/>
                  </a:cubicBezTo>
                  <a:cubicBezTo>
                    <a:pt x="1155" y="353"/>
                    <a:pt x="1153" y="353"/>
                    <a:pt x="1151" y="352"/>
                  </a:cubicBezTo>
                  <a:cubicBezTo>
                    <a:pt x="1148" y="351"/>
                    <a:pt x="1148" y="352"/>
                    <a:pt x="1146" y="352"/>
                  </a:cubicBezTo>
                  <a:cubicBezTo>
                    <a:pt x="1144" y="352"/>
                    <a:pt x="1141" y="348"/>
                    <a:pt x="1145" y="344"/>
                  </a:cubicBezTo>
                  <a:cubicBezTo>
                    <a:pt x="1148" y="340"/>
                    <a:pt x="1151" y="340"/>
                    <a:pt x="1151" y="337"/>
                  </a:cubicBezTo>
                  <a:cubicBezTo>
                    <a:pt x="1152" y="333"/>
                    <a:pt x="1156" y="328"/>
                    <a:pt x="1157" y="327"/>
                  </a:cubicBezTo>
                  <a:cubicBezTo>
                    <a:pt x="1158" y="325"/>
                    <a:pt x="1163" y="327"/>
                    <a:pt x="1164" y="326"/>
                  </a:cubicBezTo>
                  <a:cubicBezTo>
                    <a:pt x="1166" y="326"/>
                    <a:pt x="1166" y="330"/>
                    <a:pt x="1168" y="328"/>
                  </a:cubicBezTo>
                  <a:cubicBezTo>
                    <a:pt x="1170" y="326"/>
                    <a:pt x="1173" y="320"/>
                    <a:pt x="1176" y="320"/>
                  </a:cubicBezTo>
                  <a:cubicBezTo>
                    <a:pt x="1178" y="320"/>
                    <a:pt x="1177" y="324"/>
                    <a:pt x="1177" y="327"/>
                  </a:cubicBezTo>
                  <a:cubicBezTo>
                    <a:pt x="1178" y="330"/>
                    <a:pt x="1180" y="326"/>
                    <a:pt x="1185" y="323"/>
                  </a:cubicBezTo>
                  <a:cubicBezTo>
                    <a:pt x="1190" y="319"/>
                    <a:pt x="1201" y="320"/>
                    <a:pt x="1205" y="321"/>
                  </a:cubicBezTo>
                  <a:cubicBezTo>
                    <a:pt x="1208" y="323"/>
                    <a:pt x="1209" y="327"/>
                    <a:pt x="1211" y="326"/>
                  </a:cubicBezTo>
                  <a:cubicBezTo>
                    <a:pt x="1214" y="326"/>
                    <a:pt x="1211" y="322"/>
                    <a:pt x="1214" y="322"/>
                  </a:cubicBezTo>
                  <a:cubicBezTo>
                    <a:pt x="1217" y="321"/>
                    <a:pt x="1222" y="318"/>
                    <a:pt x="1226" y="315"/>
                  </a:cubicBezTo>
                  <a:cubicBezTo>
                    <a:pt x="1230" y="312"/>
                    <a:pt x="1229" y="314"/>
                    <a:pt x="1231" y="312"/>
                  </a:cubicBezTo>
                  <a:cubicBezTo>
                    <a:pt x="1233" y="309"/>
                    <a:pt x="1235" y="310"/>
                    <a:pt x="1235" y="309"/>
                  </a:cubicBezTo>
                  <a:cubicBezTo>
                    <a:pt x="1236" y="307"/>
                    <a:pt x="1241" y="304"/>
                    <a:pt x="1249" y="303"/>
                  </a:cubicBezTo>
                  <a:cubicBezTo>
                    <a:pt x="1256" y="301"/>
                    <a:pt x="1266" y="296"/>
                    <a:pt x="1265" y="294"/>
                  </a:cubicBezTo>
                  <a:cubicBezTo>
                    <a:pt x="1265" y="293"/>
                    <a:pt x="1268" y="292"/>
                    <a:pt x="1269" y="294"/>
                  </a:cubicBezTo>
                  <a:cubicBezTo>
                    <a:pt x="1269" y="295"/>
                    <a:pt x="1272" y="295"/>
                    <a:pt x="1276" y="296"/>
                  </a:cubicBezTo>
                  <a:cubicBezTo>
                    <a:pt x="1280" y="296"/>
                    <a:pt x="1282" y="298"/>
                    <a:pt x="1285" y="295"/>
                  </a:cubicBezTo>
                  <a:cubicBezTo>
                    <a:pt x="1288" y="292"/>
                    <a:pt x="1284" y="291"/>
                    <a:pt x="1284" y="288"/>
                  </a:cubicBezTo>
                  <a:cubicBezTo>
                    <a:pt x="1285" y="286"/>
                    <a:pt x="1279" y="283"/>
                    <a:pt x="1280" y="281"/>
                  </a:cubicBezTo>
                  <a:cubicBezTo>
                    <a:pt x="1280" y="278"/>
                    <a:pt x="1276" y="272"/>
                    <a:pt x="1274" y="273"/>
                  </a:cubicBezTo>
                  <a:cubicBezTo>
                    <a:pt x="1273" y="274"/>
                    <a:pt x="1270" y="272"/>
                    <a:pt x="1270" y="270"/>
                  </a:cubicBezTo>
                  <a:cubicBezTo>
                    <a:pt x="1270" y="268"/>
                    <a:pt x="1269" y="266"/>
                    <a:pt x="1267" y="267"/>
                  </a:cubicBezTo>
                  <a:cubicBezTo>
                    <a:pt x="1265" y="269"/>
                    <a:pt x="1261" y="268"/>
                    <a:pt x="1260" y="266"/>
                  </a:cubicBezTo>
                  <a:cubicBezTo>
                    <a:pt x="1260" y="264"/>
                    <a:pt x="1265" y="262"/>
                    <a:pt x="1268" y="264"/>
                  </a:cubicBezTo>
                  <a:cubicBezTo>
                    <a:pt x="1272" y="265"/>
                    <a:pt x="1271" y="267"/>
                    <a:pt x="1273" y="268"/>
                  </a:cubicBezTo>
                  <a:cubicBezTo>
                    <a:pt x="1274" y="269"/>
                    <a:pt x="1279" y="268"/>
                    <a:pt x="1282" y="267"/>
                  </a:cubicBezTo>
                  <a:cubicBezTo>
                    <a:pt x="1284" y="266"/>
                    <a:pt x="1291" y="264"/>
                    <a:pt x="1292" y="262"/>
                  </a:cubicBezTo>
                  <a:cubicBezTo>
                    <a:pt x="1294" y="259"/>
                    <a:pt x="1292" y="259"/>
                    <a:pt x="1295" y="257"/>
                  </a:cubicBezTo>
                  <a:cubicBezTo>
                    <a:pt x="1297" y="256"/>
                    <a:pt x="1295" y="254"/>
                    <a:pt x="1293" y="253"/>
                  </a:cubicBezTo>
                  <a:cubicBezTo>
                    <a:pt x="1291" y="252"/>
                    <a:pt x="1292" y="249"/>
                    <a:pt x="1294" y="249"/>
                  </a:cubicBezTo>
                  <a:cubicBezTo>
                    <a:pt x="1296" y="249"/>
                    <a:pt x="1295" y="246"/>
                    <a:pt x="1297" y="246"/>
                  </a:cubicBezTo>
                  <a:cubicBezTo>
                    <a:pt x="1298" y="246"/>
                    <a:pt x="1298" y="247"/>
                    <a:pt x="1301" y="246"/>
                  </a:cubicBezTo>
                  <a:cubicBezTo>
                    <a:pt x="1304" y="245"/>
                    <a:pt x="1301" y="248"/>
                    <a:pt x="1300" y="250"/>
                  </a:cubicBezTo>
                  <a:cubicBezTo>
                    <a:pt x="1299" y="252"/>
                    <a:pt x="1302" y="254"/>
                    <a:pt x="1303" y="256"/>
                  </a:cubicBezTo>
                  <a:cubicBezTo>
                    <a:pt x="1303" y="257"/>
                    <a:pt x="1308" y="257"/>
                    <a:pt x="1311" y="256"/>
                  </a:cubicBezTo>
                  <a:cubicBezTo>
                    <a:pt x="1314" y="254"/>
                    <a:pt x="1323" y="258"/>
                    <a:pt x="1324" y="260"/>
                  </a:cubicBezTo>
                  <a:cubicBezTo>
                    <a:pt x="1324" y="262"/>
                    <a:pt x="1326" y="265"/>
                    <a:pt x="1329" y="267"/>
                  </a:cubicBezTo>
                  <a:cubicBezTo>
                    <a:pt x="1333" y="269"/>
                    <a:pt x="1337" y="268"/>
                    <a:pt x="1337" y="270"/>
                  </a:cubicBezTo>
                  <a:cubicBezTo>
                    <a:pt x="1338" y="272"/>
                    <a:pt x="1340" y="272"/>
                    <a:pt x="1342" y="272"/>
                  </a:cubicBezTo>
                  <a:cubicBezTo>
                    <a:pt x="1344" y="272"/>
                    <a:pt x="1345" y="274"/>
                    <a:pt x="1347" y="272"/>
                  </a:cubicBezTo>
                  <a:cubicBezTo>
                    <a:pt x="1348" y="271"/>
                    <a:pt x="1349" y="273"/>
                    <a:pt x="1351" y="272"/>
                  </a:cubicBezTo>
                  <a:cubicBezTo>
                    <a:pt x="1353" y="270"/>
                    <a:pt x="1347" y="269"/>
                    <a:pt x="1347" y="267"/>
                  </a:cubicBezTo>
                  <a:cubicBezTo>
                    <a:pt x="1348" y="266"/>
                    <a:pt x="1350" y="268"/>
                    <a:pt x="1351" y="268"/>
                  </a:cubicBezTo>
                  <a:cubicBezTo>
                    <a:pt x="1353" y="268"/>
                    <a:pt x="1351" y="264"/>
                    <a:pt x="1352" y="264"/>
                  </a:cubicBezTo>
                  <a:cubicBezTo>
                    <a:pt x="1353" y="264"/>
                    <a:pt x="1352" y="257"/>
                    <a:pt x="1351" y="256"/>
                  </a:cubicBezTo>
                  <a:cubicBezTo>
                    <a:pt x="1350" y="256"/>
                    <a:pt x="1351" y="253"/>
                    <a:pt x="1353" y="255"/>
                  </a:cubicBezTo>
                  <a:cubicBezTo>
                    <a:pt x="1356" y="257"/>
                    <a:pt x="1360" y="257"/>
                    <a:pt x="1363" y="257"/>
                  </a:cubicBezTo>
                  <a:cubicBezTo>
                    <a:pt x="1365" y="257"/>
                    <a:pt x="1363" y="255"/>
                    <a:pt x="1361" y="255"/>
                  </a:cubicBezTo>
                  <a:cubicBezTo>
                    <a:pt x="1359" y="255"/>
                    <a:pt x="1361" y="253"/>
                    <a:pt x="1362" y="254"/>
                  </a:cubicBezTo>
                  <a:cubicBezTo>
                    <a:pt x="1364" y="255"/>
                    <a:pt x="1367" y="256"/>
                    <a:pt x="1367" y="255"/>
                  </a:cubicBezTo>
                  <a:cubicBezTo>
                    <a:pt x="1367" y="253"/>
                    <a:pt x="1368" y="250"/>
                    <a:pt x="1371" y="250"/>
                  </a:cubicBezTo>
                  <a:cubicBezTo>
                    <a:pt x="1373" y="250"/>
                    <a:pt x="1374" y="249"/>
                    <a:pt x="1372" y="248"/>
                  </a:cubicBezTo>
                  <a:close/>
                  <a:moveTo>
                    <a:pt x="709" y="404"/>
                  </a:moveTo>
                  <a:cubicBezTo>
                    <a:pt x="702" y="410"/>
                    <a:pt x="688" y="412"/>
                    <a:pt x="688" y="417"/>
                  </a:cubicBezTo>
                  <a:cubicBezTo>
                    <a:pt x="688" y="422"/>
                    <a:pt x="672" y="424"/>
                    <a:pt x="671" y="422"/>
                  </a:cubicBezTo>
                  <a:cubicBezTo>
                    <a:pt x="669" y="420"/>
                    <a:pt x="683" y="419"/>
                    <a:pt x="686" y="412"/>
                  </a:cubicBezTo>
                  <a:cubicBezTo>
                    <a:pt x="689" y="405"/>
                    <a:pt x="701" y="401"/>
                    <a:pt x="707" y="392"/>
                  </a:cubicBezTo>
                  <a:cubicBezTo>
                    <a:pt x="712" y="385"/>
                    <a:pt x="715" y="375"/>
                    <a:pt x="718" y="376"/>
                  </a:cubicBezTo>
                  <a:cubicBezTo>
                    <a:pt x="720" y="376"/>
                    <a:pt x="716" y="398"/>
                    <a:pt x="709" y="404"/>
                  </a:cubicBezTo>
                  <a:close/>
                  <a:moveTo>
                    <a:pt x="739" y="125"/>
                  </a:moveTo>
                  <a:cubicBezTo>
                    <a:pt x="738" y="127"/>
                    <a:pt x="733" y="127"/>
                    <a:pt x="734" y="129"/>
                  </a:cubicBezTo>
                  <a:cubicBezTo>
                    <a:pt x="737" y="132"/>
                    <a:pt x="749" y="130"/>
                    <a:pt x="749" y="126"/>
                  </a:cubicBezTo>
                  <a:cubicBezTo>
                    <a:pt x="749" y="122"/>
                    <a:pt x="740" y="123"/>
                    <a:pt x="739" y="125"/>
                  </a:cubicBezTo>
                  <a:close/>
                  <a:moveTo>
                    <a:pt x="306" y="7"/>
                  </a:moveTo>
                  <a:cubicBezTo>
                    <a:pt x="312" y="7"/>
                    <a:pt x="310" y="4"/>
                    <a:pt x="314" y="4"/>
                  </a:cubicBezTo>
                  <a:cubicBezTo>
                    <a:pt x="318" y="5"/>
                    <a:pt x="323" y="4"/>
                    <a:pt x="321" y="2"/>
                  </a:cubicBezTo>
                  <a:cubicBezTo>
                    <a:pt x="319" y="0"/>
                    <a:pt x="305" y="1"/>
                    <a:pt x="306" y="3"/>
                  </a:cubicBezTo>
                  <a:cubicBezTo>
                    <a:pt x="308" y="4"/>
                    <a:pt x="295" y="4"/>
                    <a:pt x="296" y="4"/>
                  </a:cubicBezTo>
                  <a:cubicBezTo>
                    <a:pt x="296" y="6"/>
                    <a:pt x="300" y="7"/>
                    <a:pt x="306" y="7"/>
                  </a:cubicBezTo>
                  <a:close/>
                  <a:moveTo>
                    <a:pt x="277" y="23"/>
                  </a:moveTo>
                  <a:cubicBezTo>
                    <a:pt x="277" y="19"/>
                    <a:pt x="264" y="24"/>
                    <a:pt x="267" y="24"/>
                  </a:cubicBezTo>
                  <a:cubicBezTo>
                    <a:pt x="269" y="25"/>
                    <a:pt x="277" y="27"/>
                    <a:pt x="277" y="23"/>
                  </a:cubicBezTo>
                  <a:close/>
                  <a:moveTo>
                    <a:pt x="307" y="20"/>
                  </a:moveTo>
                  <a:cubicBezTo>
                    <a:pt x="308" y="22"/>
                    <a:pt x="306" y="22"/>
                    <a:pt x="301" y="22"/>
                  </a:cubicBezTo>
                  <a:cubicBezTo>
                    <a:pt x="296" y="22"/>
                    <a:pt x="294" y="25"/>
                    <a:pt x="296" y="27"/>
                  </a:cubicBezTo>
                  <a:cubicBezTo>
                    <a:pt x="299" y="29"/>
                    <a:pt x="312" y="28"/>
                    <a:pt x="314" y="26"/>
                  </a:cubicBezTo>
                  <a:cubicBezTo>
                    <a:pt x="316" y="23"/>
                    <a:pt x="322" y="25"/>
                    <a:pt x="323" y="22"/>
                  </a:cubicBezTo>
                  <a:cubicBezTo>
                    <a:pt x="324" y="19"/>
                    <a:pt x="306" y="18"/>
                    <a:pt x="307" y="20"/>
                  </a:cubicBezTo>
                  <a:close/>
                  <a:moveTo>
                    <a:pt x="348" y="16"/>
                  </a:moveTo>
                  <a:cubicBezTo>
                    <a:pt x="350" y="13"/>
                    <a:pt x="345" y="13"/>
                    <a:pt x="344" y="11"/>
                  </a:cubicBezTo>
                  <a:cubicBezTo>
                    <a:pt x="344" y="9"/>
                    <a:pt x="330" y="9"/>
                    <a:pt x="331" y="11"/>
                  </a:cubicBezTo>
                  <a:cubicBezTo>
                    <a:pt x="332" y="13"/>
                    <a:pt x="322" y="16"/>
                    <a:pt x="325" y="18"/>
                  </a:cubicBezTo>
                  <a:cubicBezTo>
                    <a:pt x="331" y="23"/>
                    <a:pt x="346" y="18"/>
                    <a:pt x="348" y="16"/>
                  </a:cubicBezTo>
                  <a:close/>
                  <a:moveTo>
                    <a:pt x="310" y="12"/>
                  </a:moveTo>
                  <a:cubicBezTo>
                    <a:pt x="311" y="7"/>
                    <a:pt x="302" y="11"/>
                    <a:pt x="296" y="8"/>
                  </a:cubicBezTo>
                  <a:cubicBezTo>
                    <a:pt x="290" y="6"/>
                    <a:pt x="286" y="6"/>
                    <a:pt x="291" y="9"/>
                  </a:cubicBezTo>
                  <a:cubicBezTo>
                    <a:pt x="292" y="11"/>
                    <a:pt x="280" y="12"/>
                    <a:pt x="282" y="14"/>
                  </a:cubicBezTo>
                  <a:cubicBezTo>
                    <a:pt x="286" y="19"/>
                    <a:pt x="309" y="17"/>
                    <a:pt x="310" y="12"/>
                  </a:cubicBezTo>
                  <a:close/>
                  <a:moveTo>
                    <a:pt x="275" y="144"/>
                  </a:moveTo>
                  <a:cubicBezTo>
                    <a:pt x="275" y="146"/>
                    <a:pt x="273" y="148"/>
                    <a:pt x="269" y="148"/>
                  </a:cubicBezTo>
                  <a:cubicBezTo>
                    <a:pt x="264" y="148"/>
                    <a:pt x="271" y="151"/>
                    <a:pt x="272" y="153"/>
                  </a:cubicBezTo>
                  <a:cubicBezTo>
                    <a:pt x="272" y="156"/>
                    <a:pt x="267" y="154"/>
                    <a:pt x="267" y="158"/>
                  </a:cubicBezTo>
                  <a:cubicBezTo>
                    <a:pt x="267" y="162"/>
                    <a:pt x="258" y="158"/>
                    <a:pt x="257" y="163"/>
                  </a:cubicBezTo>
                  <a:cubicBezTo>
                    <a:pt x="256" y="169"/>
                    <a:pt x="261" y="168"/>
                    <a:pt x="265" y="168"/>
                  </a:cubicBezTo>
                  <a:cubicBezTo>
                    <a:pt x="269" y="168"/>
                    <a:pt x="263" y="172"/>
                    <a:pt x="266" y="174"/>
                  </a:cubicBezTo>
                  <a:cubicBezTo>
                    <a:pt x="269" y="176"/>
                    <a:pt x="271" y="175"/>
                    <a:pt x="269" y="171"/>
                  </a:cubicBezTo>
                  <a:cubicBezTo>
                    <a:pt x="267" y="167"/>
                    <a:pt x="279" y="173"/>
                    <a:pt x="276" y="176"/>
                  </a:cubicBezTo>
                  <a:cubicBezTo>
                    <a:pt x="272" y="179"/>
                    <a:pt x="281" y="181"/>
                    <a:pt x="286" y="182"/>
                  </a:cubicBezTo>
                  <a:cubicBezTo>
                    <a:pt x="291" y="182"/>
                    <a:pt x="307" y="185"/>
                    <a:pt x="307" y="182"/>
                  </a:cubicBezTo>
                  <a:cubicBezTo>
                    <a:pt x="307" y="179"/>
                    <a:pt x="301" y="177"/>
                    <a:pt x="296" y="172"/>
                  </a:cubicBezTo>
                  <a:cubicBezTo>
                    <a:pt x="291" y="167"/>
                    <a:pt x="287" y="158"/>
                    <a:pt x="293" y="155"/>
                  </a:cubicBezTo>
                  <a:cubicBezTo>
                    <a:pt x="299" y="151"/>
                    <a:pt x="294" y="149"/>
                    <a:pt x="300" y="145"/>
                  </a:cubicBezTo>
                  <a:cubicBezTo>
                    <a:pt x="305" y="141"/>
                    <a:pt x="302" y="137"/>
                    <a:pt x="307" y="137"/>
                  </a:cubicBezTo>
                  <a:cubicBezTo>
                    <a:pt x="311" y="136"/>
                    <a:pt x="306" y="132"/>
                    <a:pt x="311" y="131"/>
                  </a:cubicBezTo>
                  <a:cubicBezTo>
                    <a:pt x="316" y="131"/>
                    <a:pt x="317" y="125"/>
                    <a:pt x="316" y="124"/>
                  </a:cubicBezTo>
                  <a:cubicBezTo>
                    <a:pt x="315" y="122"/>
                    <a:pt x="321" y="124"/>
                    <a:pt x="324" y="121"/>
                  </a:cubicBezTo>
                  <a:cubicBezTo>
                    <a:pt x="326" y="118"/>
                    <a:pt x="332" y="120"/>
                    <a:pt x="334" y="116"/>
                  </a:cubicBezTo>
                  <a:cubicBezTo>
                    <a:pt x="336" y="112"/>
                    <a:pt x="364" y="103"/>
                    <a:pt x="379" y="99"/>
                  </a:cubicBezTo>
                  <a:cubicBezTo>
                    <a:pt x="394" y="96"/>
                    <a:pt x="405" y="89"/>
                    <a:pt x="400" y="85"/>
                  </a:cubicBezTo>
                  <a:cubicBezTo>
                    <a:pt x="394" y="81"/>
                    <a:pt x="379" y="86"/>
                    <a:pt x="375" y="90"/>
                  </a:cubicBezTo>
                  <a:cubicBezTo>
                    <a:pt x="371" y="93"/>
                    <a:pt x="366" y="91"/>
                    <a:pt x="362" y="93"/>
                  </a:cubicBezTo>
                  <a:cubicBezTo>
                    <a:pt x="358" y="95"/>
                    <a:pt x="350" y="97"/>
                    <a:pt x="346" y="94"/>
                  </a:cubicBezTo>
                  <a:cubicBezTo>
                    <a:pt x="342" y="91"/>
                    <a:pt x="337" y="97"/>
                    <a:pt x="334" y="97"/>
                  </a:cubicBezTo>
                  <a:cubicBezTo>
                    <a:pt x="331" y="97"/>
                    <a:pt x="327" y="100"/>
                    <a:pt x="324" y="100"/>
                  </a:cubicBezTo>
                  <a:cubicBezTo>
                    <a:pt x="321" y="100"/>
                    <a:pt x="314" y="102"/>
                    <a:pt x="314" y="104"/>
                  </a:cubicBezTo>
                  <a:cubicBezTo>
                    <a:pt x="313" y="106"/>
                    <a:pt x="307" y="106"/>
                    <a:pt x="307" y="108"/>
                  </a:cubicBezTo>
                  <a:cubicBezTo>
                    <a:pt x="307" y="111"/>
                    <a:pt x="303" y="113"/>
                    <a:pt x="301" y="111"/>
                  </a:cubicBezTo>
                  <a:cubicBezTo>
                    <a:pt x="298" y="108"/>
                    <a:pt x="295" y="113"/>
                    <a:pt x="299" y="116"/>
                  </a:cubicBezTo>
                  <a:cubicBezTo>
                    <a:pt x="302" y="119"/>
                    <a:pt x="292" y="119"/>
                    <a:pt x="294" y="121"/>
                  </a:cubicBezTo>
                  <a:cubicBezTo>
                    <a:pt x="296" y="123"/>
                    <a:pt x="291" y="124"/>
                    <a:pt x="292" y="126"/>
                  </a:cubicBezTo>
                  <a:cubicBezTo>
                    <a:pt x="293" y="129"/>
                    <a:pt x="288" y="129"/>
                    <a:pt x="285" y="130"/>
                  </a:cubicBezTo>
                  <a:cubicBezTo>
                    <a:pt x="281" y="131"/>
                    <a:pt x="279" y="135"/>
                    <a:pt x="284" y="136"/>
                  </a:cubicBezTo>
                  <a:cubicBezTo>
                    <a:pt x="288" y="136"/>
                    <a:pt x="281" y="137"/>
                    <a:pt x="282" y="140"/>
                  </a:cubicBezTo>
                  <a:cubicBezTo>
                    <a:pt x="282" y="144"/>
                    <a:pt x="274" y="141"/>
                    <a:pt x="275" y="144"/>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223" name="Freeform 166">
              <a:extLst>
                <a:ext uri="{FF2B5EF4-FFF2-40B4-BE49-F238E27FC236}">
                  <a16:creationId xmlns:a16="http://schemas.microsoft.com/office/drawing/2014/main" xmlns="" id="{2EE00D3C-3F27-4325-B5DC-92E71469D4F2}"/>
                </a:ext>
              </a:extLst>
            </p:cNvPr>
            <p:cNvSpPr>
              <a:spLocks/>
            </p:cNvSpPr>
            <p:nvPr/>
          </p:nvSpPr>
          <p:spPr bwMode="auto">
            <a:xfrm>
              <a:off x="16586422" y="3869404"/>
              <a:ext cx="385763" cy="401637"/>
            </a:xfrm>
            <a:custGeom>
              <a:avLst/>
              <a:gdLst>
                <a:gd name="T0" fmla="*/ 132 w 148"/>
                <a:gd name="T1" fmla="*/ 72 h 154"/>
                <a:gd name="T2" fmla="*/ 132 w 148"/>
                <a:gd name="T3" fmla="*/ 67 h 154"/>
                <a:gd name="T4" fmla="*/ 130 w 148"/>
                <a:gd name="T5" fmla="*/ 64 h 154"/>
                <a:gd name="T6" fmla="*/ 133 w 148"/>
                <a:gd name="T7" fmla="*/ 57 h 154"/>
                <a:gd name="T8" fmla="*/ 135 w 148"/>
                <a:gd name="T9" fmla="*/ 50 h 154"/>
                <a:gd name="T10" fmla="*/ 139 w 148"/>
                <a:gd name="T11" fmla="*/ 37 h 154"/>
                <a:gd name="T12" fmla="*/ 145 w 148"/>
                <a:gd name="T13" fmla="*/ 31 h 154"/>
                <a:gd name="T14" fmla="*/ 145 w 148"/>
                <a:gd name="T15" fmla="*/ 23 h 154"/>
                <a:gd name="T16" fmla="*/ 146 w 148"/>
                <a:gd name="T17" fmla="*/ 16 h 154"/>
                <a:gd name="T18" fmla="*/ 132 w 148"/>
                <a:gd name="T19" fmla="*/ 9 h 154"/>
                <a:gd name="T20" fmla="*/ 123 w 148"/>
                <a:gd name="T21" fmla="*/ 8 h 154"/>
                <a:gd name="T22" fmla="*/ 117 w 148"/>
                <a:gd name="T23" fmla="*/ 2 h 154"/>
                <a:gd name="T24" fmla="*/ 112 w 148"/>
                <a:gd name="T25" fmla="*/ 4 h 154"/>
                <a:gd name="T26" fmla="*/ 96 w 148"/>
                <a:gd name="T27" fmla="*/ 4 h 154"/>
                <a:gd name="T28" fmla="*/ 81 w 148"/>
                <a:gd name="T29" fmla="*/ 6 h 154"/>
                <a:gd name="T30" fmla="*/ 64 w 148"/>
                <a:gd name="T31" fmla="*/ 8 h 154"/>
                <a:gd name="T32" fmla="*/ 49 w 148"/>
                <a:gd name="T33" fmla="*/ 10 h 154"/>
                <a:gd name="T34" fmla="*/ 47 w 148"/>
                <a:gd name="T35" fmla="*/ 24 h 154"/>
                <a:gd name="T36" fmla="*/ 39 w 148"/>
                <a:gd name="T37" fmla="*/ 50 h 154"/>
                <a:gd name="T38" fmla="*/ 31 w 148"/>
                <a:gd name="T39" fmla="*/ 72 h 154"/>
                <a:gd name="T40" fmla="*/ 23 w 148"/>
                <a:gd name="T41" fmla="*/ 82 h 154"/>
                <a:gd name="T42" fmla="*/ 13 w 148"/>
                <a:gd name="T43" fmla="*/ 82 h 154"/>
                <a:gd name="T44" fmla="*/ 0 w 148"/>
                <a:gd name="T45" fmla="*/ 86 h 154"/>
                <a:gd name="T46" fmla="*/ 3 w 148"/>
                <a:gd name="T47" fmla="*/ 96 h 154"/>
                <a:gd name="T48" fmla="*/ 34 w 148"/>
                <a:gd name="T49" fmla="*/ 93 h 154"/>
                <a:gd name="T50" fmla="*/ 38 w 148"/>
                <a:gd name="T51" fmla="*/ 106 h 154"/>
                <a:gd name="T52" fmla="*/ 55 w 148"/>
                <a:gd name="T53" fmla="*/ 109 h 154"/>
                <a:gd name="T54" fmla="*/ 64 w 148"/>
                <a:gd name="T55" fmla="*/ 102 h 154"/>
                <a:gd name="T56" fmla="*/ 73 w 148"/>
                <a:gd name="T57" fmla="*/ 105 h 154"/>
                <a:gd name="T58" fmla="*/ 74 w 148"/>
                <a:gd name="T59" fmla="*/ 123 h 154"/>
                <a:gd name="T60" fmla="*/ 78 w 148"/>
                <a:gd name="T61" fmla="*/ 136 h 154"/>
                <a:gd name="T62" fmla="*/ 89 w 148"/>
                <a:gd name="T63" fmla="*/ 133 h 154"/>
                <a:gd name="T64" fmla="*/ 93 w 148"/>
                <a:gd name="T65" fmla="*/ 135 h 154"/>
                <a:gd name="T66" fmla="*/ 101 w 148"/>
                <a:gd name="T67" fmla="*/ 137 h 154"/>
                <a:gd name="T68" fmla="*/ 110 w 148"/>
                <a:gd name="T69" fmla="*/ 143 h 154"/>
                <a:gd name="T70" fmla="*/ 116 w 148"/>
                <a:gd name="T71" fmla="*/ 140 h 154"/>
                <a:gd name="T72" fmla="*/ 127 w 148"/>
                <a:gd name="T73" fmla="*/ 146 h 154"/>
                <a:gd name="T74" fmla="*/ 135 w 148"/>
                <a:gd name="T75" fmla="*/ 153 h 154"/>
                <a:gd name="T76" fmla="*/ 136 w 148"/>
                <a:gd name="T77" fmla="*/ 144 h 154"/>
                <a:gd name="T78" fmla="*/ 125 w 148"/>
                <a:gd name="T79" fmla="*/ 139 h 154"/>
                <a:gd name="T80" fmla="*/ 127 w 148"/>
                <a:gd name="T81" fmla="*/ 123 h 154"/>
                <a:gd name="T82" fmla="*/ 130 w 148"/>
                <a:gd name="T83" fmla="*/ 113 h 154"/>
                <a:gd name="T84" fmla="*/ 140 w 148"/>
                <a:gd name="T85" fmla="*/ 111 h 154"/>
                <a:gd name="T86" fmla="*/ 135 w 148"/>
                <a:gd name="T87" fmla="*/ 10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8" h="154">
                  <a:moveTo>
                    <a:pt x="135" y="102"/>
                  </a:moveTo>
                  <a:cubicBezTo>
                    <a:pt x="131" y="100"/>
                    <a:pt x="130" y="73"/>
                    <a:pt x="132" y="72"/>
                  </a:cubicBezTo>
                  <a:cubicBezTo>
                    <a:pt x="132" y="72"/>
                    <a:pt x="132" y="72"/>
                    <a:pt x="132" y="73"/>
                  </a:cubicBezTo>
                  <a:cubicBezTo>
                    <a:pt x="132" y="67"/>
                    <a:pt x="132" y="67"/>
                    <a:pt x="132" y="67"/>
                  </a:cubicBezTo>
                  <a:cubicBezTo>
                    <a:pt x="132" y="67"/>
                    <a:pt x="132" y="67"/>
                    <a:pt x="131" y="66"/>
                  </a:cubicBezTo>
                  <a:cubicBezTo>
                    <a:pt x="131" y="66"/>
                    <a:pt x="130" y="66"/>
                    <a:pt x="130" y="64"/>
                  </a:cubicBezTo>
                  <a:cubicBezTo>
                    <a:pt x="130" y="62"/>
                    <a:pt x="132" y="62"/>
                    <a:pt x="132" y="62"/>
                  </a:cubicBezTo>
                  <a:cubicBezTo>
                    <a:pt x="132" y="62"/>
                    <a:pt x="131" y="57"/>
                    <a:pt x="133" y="57"/>
                  </a:cubicBezTo>
                  <a:cubicBezTo>
                    <a:pt x="134" y="57"/>
                    <a:pt x="134" y="56"/>
                    <a:pt x="134" y="56"/>
                  </a:cubicBezTo>
                  <a:cubicBezTo>
                    <a:pt x="135" y="55"/>
                    <a:pt x="135" y="52"/>
                    <a:pt x="135" y="50"/>
                  </a:cubicBezTo>
                  <a:cubicBezTo>
                    <a:pt x="135" y="48"/>
                    <a:pt x="136" y="45"/>
                    <a:pt x="137" y="43"/>
                  </a:cubicBezTo>
                  <a:cubicBezTo>
                    <a:pt x="138" y="41"/>
                    <a:pt x="137" y="38"/>
                    <a:pt x="139" y="37"/>
                  </a:cubicBezTo>
                  <a:cubicBezTo>
                    <a:pt x="140" y="36"/>
                    <a:pt x="140" y="33"/>
                    <a:pt x="142" y="33"/>
                  </a:cubicBezTo>
                  <a:cubicBezTo>
                    <a:pt x="144" y="32"/>
                    <a:pt x="145" y="32"/>
                    <a:pt x="145" y="31"/>
                  </a:cubicBezTo>
                  <a:cubicBezTo>
                    <a:pt x="145" y="30"/>
                    <a:pt x="148" y="28"/>
                    <a:pt x="148" y="27"/>
                  </a:cubicBezTo>
                  <a:cubicBezTo>
                    <a:pt x="148" y="25"/>
                    <a:pt x="145" y="25"/>
                    <a:pt x="145" y="23"/>
                  </a:cubicBezTo>
                  <a:cubicBezTo>
                    <a:pt x="145" y="21"/>
                    <a:pt x="146" y="16"/>
                    <a:pt x="146" y="16"/>
                  </a:cubicBezTo>
                  <a:cubicBezTo>
                    <a:pt x="146" y="16"/>
                    <a:pt x="146" y="16"/>
                    <a:pt x="146" y="16"/>
                  </a:cubicBezTo>
                  <a:cubicBezTo>
                    <a:pt x="142" y="12"/>
                    <a:pt x="137" y="8"/>
                    <a:pt x="136" y="8"/>
                  </a:cubicBezTo>
                  <a:cubicBezTo>
                    <a:pt x="135" y="7"/>
                    <a:pt x="132" y="9"/>
                    <a:pt x="132" y="9"/>
                  </a:cubicBezTo>
                  <a:cubicBezTo>
                    <a:pt x="132" y="9"/>
                    <a:pt x="130" y="6"/>
                    <a:pt x="128" y="8"/>
                  </a:cubicBezTo>
                  <a:cubicBezTo>
                    <a:pt x="126" y="10"/>
                    <a:pt x="123" y="8"/>
                    <a:pt x="123" y="8"/>
                  </a:cubicBezTo>
                  <a:cubicBezTo>
                    <a:pt x="123" y="8"/>
                    <a:pt x="121" y="7"/>
                    <a:pt x="120" y="4"/>
                  </a:cubicBezTo>
                  <a:cubicBezTo>
                    <a:pt x="119" y="3"/>
                    <a:pt x="118" y="3"/>
                    <a:pt x="117" y="2"/>
                  </a:cubicBezTo>
                  <a:cubicBezTo>
                    <a:pt x="118" y="3"/>
                    <a:pt x="118" y="3"/>
                    <a:pt x="118" y="3"/>
                  </a:cubicBezTo>
                  <a:cubicBezTo>
                    <a:pt x="112" y="4"/>
                    <a:pt x="112" y="4"/>
                    <a:pt x="112" y="4"/>
                  </a:cubicBezTo>
                  <a:cubicBezTo>
                    <a:pt x="112" y="4"/>
                    <a:pt x="104" y="0"/>
                    <a:pt x="103" y="3"/>
                  </a:cubicBezTo>
                  <a:cubicBezTo>
                    <a:pt x="101" y="5"/>
                    <a:pt x="100" y="4"/>
                    <a:pt x="96" y="4"/>
                  </a:cubicBezTo>
                  <a:cubicBezTo>
                    <a:pt x="93" y="4"/>
                    <a:pt x="90" y="5"/>
                    <a:pt x="88" y="6"/>
                  </a:cubicBezTo>
                  <a:cubicBezTo>
                    <a:pt x="86" y="7"/>
                    <a:pt x="83" y="5"/>
                    <a:pt x="81" y="6"/>
                  </a:cubicBezTo>
                  <a:cubicBezTo>
                    <a:pt x="80" y="7"/>
                    <a:pt x="79" y="11"/>
                    <a:pt x="79" y="11"/>
                  </a:cubicBezTo>
                  <a:cubicBezTo>
                    <a:pt x="64" y="8"/>
                    <a:pt x="64" y="8"/>
                    <a:pt x="64" y="8"/>
                  </a:cubicBezTo>
                  <a:cubicBezTo>
                    <a:pt x="64" y="8"/>
                    <a:pt x="61" y="4"/>
                    <a:pt x="57" y="4"/>
                  </a:cubicBezTo>
                  <a:cubicBezTo>
                    <a:pt x="54" y="4"/>
                    <a:pt x="49" y="10"/>
                    <a:pt x="49" y="10"/>
                  </a:cubicBezTo>
                  <a:cubicBezTo>
                    <a:pt x="49" y="16"/>
                    <a:pt x="49" y="16"/>
                    <a:pt x="49" y="16"/>
                  </a:cubicBezTo>
                  <a:cubicBezTo>
                    <a:pt x="49" y="19"/>
                    <a:pt x="49" y="22"/>
                    <a:pt x="47" y="24"/>
                  </a:cubicBezTo>
                  <a:cubicBezTo>
                    <a:pt x="46" y="27"/>
                    <a:pt x="44" y="28"/>
                    <a:pt x="44" y="33"/>
                  </a:cubicBezTo>
                  <a:cubicBezTo>
                    <a:pt x="44" y="38"/>
                    <a:pt x="39" y="46"/>
                    <a:pt x="39" y="50"/>
                  </a:cubicBezTo>
                  <a:cubicBezTo>
                    <a:pt x="39" y="54"/>
                    <a:pt x="32" y="56"/>
                    <a:pt x="32" y="58"/>
                  </a:cubicBezTo>
                  <a:cubicBezTo>
                    <a:pt x="32" y="61"/>
                    <a:pt x="31" y="66"/>
                    <a:pt x="31" y="72"/>
                  </a:cubicBezTo>
                  <a:cubicBezTo>
                    <a:pt x="31" y="77"/>
                    <a:pt x="28" y="73"/>
                    <a:pt x="28" y="78"/>
                  </a:cubicBezTo>
                  <a:cubicBezTo>
                    <a:pt x="28" y="83"/>
                    <a:pt x="26" y="80"/>
                    <a:pt x="23" y="82"/>
                  </a:cubicBezTo>
                  <a:cubicBezTo>
                    <a:pt x="21" y="85"/>
                    <a:pt x="20" y="85"/>
                    <a:pt x="20" y="83"/>
                  </a:cubicBezTo>
                  <a:cubicBezTo>
                    <a:pt x="20" y="80"/>
                    <a:pt x="16" y="80"/>
                    <a:pt x="13" y="82"/>
                  </a:cubicBezTo>
                  <a:cubicBezTo>
                    <a:pt x="10" y="85"/>
                    <a:pt x="9" y="82"/>
                    <a:pt x="8" y="82"/>
                  </a:cubicBezTo>
                  <a:cubicBezTo>
                    <a:pt x="7" y="82"/>
                    <a:pt x="3" y="84"/>
                    <a:pt x="0" y="86"/>
                  </a:cubicBezTo>
                  <a:cubicBezTo>
                    <a:pt x="2" y="89"/>
                    <a:pt x="2" y="92"/>
                    <a:pt x="3" y="95"/>
                  </a:cubicBezTo>
                  <a:cubicBezTo>
                    <a:pt x="3" y="95"/>
                    <a:pt x="3" y="95"/>
                    <a:pt x="3" y="96"/>
                  </a:cubicBezTo>
                  <a:cubicBezTo>
                    <a:pt x="5" y="94"/>
                    <a:pt x="7" y="93"/>
                    <a:pt x="8" y="93"/>
                  </a:cubicBezTo>
                  <a:cubicBezTo>
                    <a:pt x="10" y="93"/>
                    <a:pt x="34" y="93"/>
                    <a:pt x="34" y="93"/>
                  </a:cubicBezTo>
                  <a:cubicBezTo>
                    <a:pt x="34" y="93"/>
                    <a:pt x="36" y="97"/>
                    <a:pt x="35" y="100"/>
                  </a:cubicBezTo>
                  <a:cubicBezTo>
                    <a:pt x="35" y="103"/>
                    <a:pt x="37" y="102"/>
                    <a:pt x="38" y="106"/>
                  </a:cubicBezTo>
                  <a:cubicBezTo>
                    <a:pt x="40" y="110"/>
                    <a:pt x="42" y="112"/>
                    <a:pt x="45" y="111"/>
                  </a:cubicBezTo>
                  <a:cubicBezTo>
                    <a:pt x="49" y="110"/>
                    <a:pt x="53" y="109"/>
                    <a:pt x="55" y="109"/>
                  </a:cubicBezTo>
                  <a:cubicBezTo>
                    <a:pt x="56" y="110"/>
                    <a:pt x="56" y="103"/>
                    <a:pt x="58" y="102"/>
                  </a:cubicBezTo>
                  <a:cubicBezTo>
                    <a:pt x="60" y="101"/>
                    <a:pt x="64" y="102"/>
                    <a:pt x="64" y="102"/>
                  </a:cubicBezTo>
                  <a:cubicBezTo>
                    <a:pt x="64" y="102"/>
                    <a:pt x="64" y="104"/>
                    <a:pt x="68" y="104"/>
                  </a:cubicBezTo>
                  <a:cubicBezTo>
                    <a:pt x="72" y="104"/>
                    <a:pt x="73" y="103"/>
                    <a:pt x="73" y="105"/>
                  </a:cubicBezTo>
                  <a:cubicBezTo>
                    <a:pt x="73" y="108"/>
                    <a:pt x="74" y="111"/>
                    <a:pt x="75" y="112"/>
                  </a:cubicBezTo>
                  <a:cubicBezTo>
                    <a:pt x="76" y="113"/>
                    <a:pt x="72" y="122"/>
                    <a:pt x="74" y="123"/>
                  </a:cubicBezTo>
                  <a:cubicBezTo>
                    <a:pt x="76" y="124"/>
                    <a:pt x="78" y="128"/>
                    <a:pt x="78" y="129"/>
                  </a:cubicBezTo>
                  <a:cubicBezTo>
                    <a:pt x="77" y="131"/>
                    <a:pt x="76" y="135"/>
                    <a:pt x="78" y="136"/>
                  </a:cubicBezTo>
                  <a:cubicBezTo>
                    <a:pt x="79" y="136"/>
                    <a:pt x="79" y="134"/>
                    <a:pt x="82" y="134"/>
                  </a:cubicBezTo>
                  <a:cubicBezTo>
                    <a:pt x="84" y="134"/>
                    <a:pt x="87" y="134"/>
                    <a:pt x="89" y="133"/>
                  </a:cubicBezTo>
                  <a:cubicBezTo>
                    <a:pt x="90" y="133"/>
                    <a:pt x="91" y="133"/>
                    <a:pt x="91" y="133"/>
                  </a:cubicBezTo>
                  <a:cubicBezTo>
                    <a:pt x="93" y="134"/>
                    <a:pt x="93" y="135"/>
                    <a:pt x="93" y="135"/>
                  </a:cubicBezTo>
                  <a:cubicBezTo>
                    <a:pt x="93" y="135"/>
                    <a:pt x="94" y="138"/>
                    <a:pt x="96" y="137"/>
                  </a:cubicBezTo>
                  <a:cubicBezTo>
                    <a:pt x="97" y="136"/>
                    <a:pt x="101" y="135"/>
                    <a:pt x="101" y="137"/>
                  </a:cubicBezTo>
                  <a:cubicBezTo>
                    <a:pt x="100" y="138"/>
                    <a:pt x="102" y="141"/>
                    <a:pt x="103" y="140"/>
                  </a:cubicBezTo>
                  <a:cubicBezTo>
                    <a:pt x="104" y="140"/>
                    <a:pt x="108" y="143"/>
                    <a:pt x="110" y="143"/>
                  </a:cubicBezTo>
                  <a:cubicBezTo>
                    <a:pt x="112" y="143"/>
                    <a:pt x="113" y="143"/>
                    <a:pt x="113" y="142"/>
                  </a:cubicBezTo>
                  <a:cubicBezTo>
                    <a:pt x="113" y="140"/>
                    <a:pt x="115" y="139"/>
                    <a:pt x="116" y="140"/>
                  </a:cubicBezTo>
                  <a:cubicBezTo>
                    <a:pt x="117" y="142"/>
                    <a:pt x="119" y="145"/>
                    <a:pt x="120" y="145"/>
                  </a:cubicBezTo>
                  <a:cubicBezTo>
                    <a:pt x="122" y="145"/>
                    <a:pt x="127" y="145"/>
                    <a:pt x="127" y="146"/>
                  </a:cubicBezTo>
                  <a:cubicBezTo>
                    <a:pt x="127" y="148"/>
                    <a:pt x="128" y="152"/>
                    <a:pt x="130" y="153"/>
                  </a:cubicBezTo>
                  <a:cubicBezTo>
                    <a:pt x="132" y="154"/>
                    <a:pt x="135" y="153"/>
                    <a:pt x="135" y="153"/>
                  </a:cubicBezTo>
                  <a:cubicBezTo>
                    <a:pt x="135" y="153"/>
                    <a:pt x="137" y="152"/>
                    <a:pt x="137" y="149"/>
                  </a:cubicBezTo>
                  <a:cubicBezTo>
                    <a:pt x="137" y="147"/>
                    <a:pt x="137" y="144"/>
                    <a:pt x="136" y="144"/>
                  </a:cubicBezTo>
                  <a:cubicBezTo>
                    <a:pt x="135" y="144"/>
                    <a:pt x="133" y="146"/>
                    <a:pt x="130" y="145"/>
                  </a:cubicBezTo>
                  <a:cubicBezTo>
                    <a:pt x="128" y="145"/>
                    <a:pt x="126" y="140"/>
                    <a:pt x="125" y="139"/>
                  </a:cubicBezTo>
                  <a:cubicBezTo>
                    <a:pt x="124" y="138"/>
                    <a:pt x="127" y="134"/>
                    <a:pt x="127" y="132"/>
                  </a:cubicBezTo>
                  <a:cubicBezTo>
                    <a:pt x="127" y="129"/>
                    <a:pt x="129" y="123"/>
                    <a:pt x="127" y="123"/>
                  </a:cubicBezTo>
                  <a:cubicBezTo>
                    <a:pt x="126" y="122"/>
                    <a:pt x="127" y="120"/>
                    <a:pt x="128" y="118"/>
                  </a:cubicBezTo>
                  <a:cubicBezTo>
                    <a:pt x="130" y="117"/>
                    <a:pt x="128" y="113"/>
                    <a:pt x="130" y="113"/>
                  </a:cubicBezTo>
                  <a:cubicBezTo>
                    <a:pt x="133" y="113"/>
                    <a:pt x="139" y="113"/>
                    <a:pt x="140" y="112"/>
                  </a:cubicBezTo>
                  <a:cubicBezTo>
                    <a:pt x="140" y="111"/>
                    <a:pt x="140" y="111"/>
                    <a:pt x="140" y="111"/>
                  </a:cubicBezTo>
                  <a:cubicBezTo>
                    <a:pt x="141" y="111"/>
                    <a:pt x="141" y="110"/>
                    <a:pt x="141" y="110"/>
                  </a:cubicBezTo>
                  <a:cubicBezTo>
                    <a:pt x="139" y="107"/>
                    <a:pt x="137" y="103"/>
                    <a:pt x="135" y="102"/>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224" name="Freeform 167">
              <a:extLst>
                <a:ext uri="{FF2B5EF4-FFF2-40B4-BE49-F238E27FC236}">
                  <a16:creationId xmlns:a16="http://schemas.microsoft.com/office/drawing/2014/main" xmlns="" id="{9E49BA75-1FBA-41BB-B742-2A2D3528478E}"/>
                </a:ext>
              </a:extLst>
            </p:cNvPr>
            <p:cNvSpPr>
              <a:spLocks/>
            </p:cNvSpPr>
            <p:nvPr/>
          </p:nvSpPr>
          <p:spPr bwMode="auto">
            <a:xfrm>
              <a:off x="16927734" y="4036091"/>
              <a:ext cx="34925" cy="44450"/>
            </a:xfrm>
            <a:custGeom>
              <a:avLst/>
              <a:gdLst>
                <a:gd name="T0" fmla="*/ 1 w 13"/>
                <a:gd name="T1" fmla="*/ 9 h 17"/>
                <a:gd name="T2" fmla="*/ 3 w 13"/>
                <a:gd name="T3" fmla="*/ 17 h 17"/>
                <a:gd name="T4" fmla="*/ 7 w 13"/>
                <a:gd name="T5" fmla="*/ 15 h 17"/>
                <a:gd name="T6" fmla="*/ 13 w 13"/>
                <a:gd name="T7" fmla="*/ 6 h 17"/>
                <a:gd name="T8" fmla="*/ 11 w 13"/>
                <a:gd name="T9" fmla="*/ 4 h 17"/>
                <a:gd name="T10" fmla="*/ 11 w 13"/>
                <a:gd name="T11" fmla="*/ 0 h 17"/>
                <a:gd name="T12" fmla="*/ 7 w 13"/>
                <a:gd name="T13" fmla="*/ 0 h 17"/>
                <a:gd name="T14" fmla="*/ 3 w 13"/>
                <a:gd name="T15" fmla="*/ 3 h 17"/>
                <a:gd name="T16" fmla="*/ 0 w 13"/>
                <a:gd name="T17" fmla="*/ 2 h 17"/>
                <a:gd name="T18" fmla="*/ 1 w 13"/>
                <a:gd name="T19" fmla="*/ 3 h 17"/>
                <a:gd name="T20" fmla="*/ 1 w 13"/>
                <a:gd name="T21" fmla="*/ 9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7">
                  <a:moveTo>
                    <a:pt x="1" y="9"/>
                  </a:moveTo>
                  <a:cubicBezTo>
                    <a:pt x="2" y="10"/>
                    <a:pt x="3" y="13"/>
                    <a:pt x="3" y="17"/>
                  </a:cubicBezTo>
                  <a:cubicBezTo>
                    <a:pt x="5" y="16"/>
                    <a:pt x="6" y="15"/>
                    <a:pt x="7" y="15"/>
                  </a:cubicBezTo>
                  <a:cubicBezTo>
                    <a:pt x="9" y="14"/>
                    <a:pt x="13" y="6"/>
                    <a:pt x="13" y="6"/>
                  </a:cubicBezTo>
                  <a:cubicBezTo>
                    <a:pt x="11" y="4"/>
                    <a:pt x="11" y="4"/>
                    <a:pt x="11" y="4"/>
                  </a:cubicBezTo>
                  <a:cubicBezTo>
                    <a:pt x="11" y="4"/>
                    <a:pt x="11" y="3"/>
                    <a:pt x="11" y="0"/>
                  </a:cubicBezTo>
                  <a:cubicBezTo>
                    <a:pt x="9" y="0"/>
                    <a:pt x="7" y="0"/>
                    <a:pt x="7" y="0"/>
                  </a:cubicBezTo>
                  <a:cubicBezTo>
                    <a:pt x="7" y="0"/>
                    <a:pt x="8" y="4"/>
                    <a:pt x="3" y="3"/>
                  </a:cubicBezTo>
                  <a:cubicBezTo>
                    <a:pt x="2" y="3"/>
                    <a:pt x="1" y="3"/>
                    <a:pt x="0" y="2"/>
                  </a:cubicBezTo>
                  <a:cubicBezTo>
                    <a:pt x="1" y="3"/>
                    <a:pt x="1" y="3"/>
                    <a:pt x="1" y="3"/>
                  </a:cubicBezTo>
                  <a:lnTo>
                    <a:pt x="1" y="9"/>
                  </a:ln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225" name="Freeform 168">
              <a:extLst>
                <a:ext uri="{FF2B5EF4-FFF2-40B4-BE49-F238E27FC236}">
                  <a16:creationId xmlns:a16="http://schemas.microsoft.com/office/drawing/2014/main" xmlns="" id="{31B33BF2-0260-45EC-BC74-58579C9E71C5}"/>
                </a:ext>
              </a:extLst>
            </p:cNvPr>
            <p:cNvSpPr>
              <a:spLocks/>
            </p:cNvSpPr>
            <p:nvPr/>
          </p:nvSpPr>
          <p:spPr bwMode="auto">
            <a:xfrm>
              <a:off x="16951547" y="4210716"/>
              <a:ext cx="220663" cy="358775"/>
            </a:xfrm>
            <a:custGeom>
              <a:avLst/>
              <a:gdLst>
                <a:gd name="T0" fmla="*/ 85 w 85"/>
                <a:gd name="T1" fmla="*/ 35 h 137"/>
                <a:gd name="T2" fmla="*/ 83 w 85"/>
                <a:gd name="T3" fmla="*/ 19 h 137"/>
                <a:gd name="T4" fmla="*/ 82 w 85"/>
                <a:gd name="T5" fmla="*/ 0 h 137"/>
                <a:gd name="T6" fmla="*/ 82 w 85"/>
                <a:gd name="T7" fmla="*/ 0 h 137"/>
                <a:gd name="T8" fmla="*/ 73 w 85"/>
                <a:gd name="T9" fmla="*/ 4 h 137"/>
                <a:gd name="T10" fmla="*/ 68 w 85"/>
                <a:gd name="T11" fmla="*/ 6 h 137"/>
                <a:gd name="T12" fmla="*/ 63 w 85"/>
                <a:gd name="T13" fmla="*/ 5 h 137"/>
                <a:gd name="T14" fmla="*/ 60 w 85"/>
                <a:gd name="T15" fmla="*/ 8 h 137"/>
                <a:gd name="T16" fmla="*/ 55 w 85"/>
                <a:gd name="T17" fmla="*/ 9 h 137"/>
                <a:gd name="T18" fmla="*/ 49 w 85"/>
                <a:gd name="T19" fmla="*/ 10 h 137"/>
                <a:gd name="T20" fmla="*/ 46 w 85"/>
                <a:gd name="T21" fmla="*/ 7 h 137"/>
                <a:gd name="T22" fmla="*/ 41 w 85"/>
                <a:gd name="T23" fmla="*/ 8 h 137"/>
                <a:gd name="T24" fmla="*/ 37 w 85"/>
                <a:gd name="T25" fmla="*/ 8 h 137"/>
                <a:gd name="T26" fmla="*/ 36 w 85"/>
                <a:gd name="T27" fmla="*/ 11 h 137"/>
                <a:gd name="T28" fmla="*/ 40 w 85"/>
                <a:gd name="T29" fmla="*/ 28 h 137"/>
                <a:gd name="T30" fmla="*/ 44 w 85"/>
                <a:gd name="T31" fmla="*/ 32 h 137"/>
                <a:gd name="T32" fmla="*/ 45 w 85"/>
                <a:gd name="T33" fmla="*/ 41 h 137"/>
                <a:gd name="T34" fmla="*/ 40 w 85"/>
                <a:gd name="T35" fmla="*/ 46 h 137"/>
                <a:gd name="T36" fmla="*/ 39 w 85"/>
                <a:gd name="T37" fmla="*/ 53 h 137"/>
                <a:gd name="T38" fmla="*/ 32 w 85"/>
                <a:gd name="T39" fmla="*/ 43 h 137"/>
                <a:gd name="T40" fmla="*/ 34 w 85"/>
                <a:gd name="T41" fmla="*/ 33 h 137"/>
                <a:gd name="T42" fmla="*/ 27 w 85"/>
                <a:gd name="T43" fmla="*/ 32 h 137"/>
                <a:gd name="T44" fmla="*/ 22 w 85"/>
                <a:gd name="T45" fmla="*/ 28 h 137"/>
                <a:gd name="T46" fmla="*/ 0 w 85"/>
                <a:gd name="T47" fmla="*/ 36 h 137"/>
                <a:gd name="T48" fmla="*/ 1 w 85"/>
                <a:gd name="T49" fmla="*/ 42 h 137"/>
                <a:gd name="T50" fmla="*/ 1 w 85"/>
                <a:gd name="T51" fmla="*/ 42 h 137"/>
                <a:gd name="T52" fmla="*/ 2 w 85"/>
                <a:gd name="T53" fmla="*/ 45 h 137"/>
                <a:gd name="T54" fmla="*/ 12 w 85"/>
                <a:gd name="T55" fmla="*/ 47 h 137"/>
                <a:gd name="T56" fmla="*/ 22 w 85"/>
                <a:gd name="T57" fmla="*/ 51 h 137"/>
                <a:gd name="T58" fmla="*/ 22 w 85"/>
                <a:gd name="T59" fmla="*/ 63 h 137"/>
                <a:gd name="T60" fmla="*/ 20 w 85"/>
                <a:gd name="T61" fmla="*/ 70 h 137"/>
                <a:gd name="T62" fmla="*/ 22 w 85"/>
                <a:gd name="T63" fmla="*/ 76 h 137"/>
                <a:gd name="T64" fmla="*/ 18 w 85"/>
                <a:gd name="T65" fmla="*/ 82 h 137"/>
                <a:gd name="T66" fmla="*/ 16 w 85"/>
                <a:gd name="T67" fmla="*/ 90 h 137"/>
                <a:gd name="T68" fmla="*/ 8 w 85"/>
                <a:gd name="T69" fmla="*/ 98 h 137"/>
                <a:gd name="T70" fmla="*/ 8 w 85"/>
                <a:gd name="T71" fmla="*/ 98 h 137"/>
                <a:gd name="T72" fmla="*/ 13 w 85"/>
                <a:gd name="T73" fmla="*/ 113 h 137"/>
                <a:gd name="T74" fmla="*/ 14 w 85"/>
                <a:gd name="T75" fmla="*/ 128 h 137"/>
                <a:gd name="T76" fmla="*/ 15 w 85"/>
                <a:gd name="T77" fmla="*/ 137 h 137"/>
                <a:gd name="T78" fmla="*/ 21 w 85"/>
                <a:gd name="T79" fmla="*/ 137 h 137"/>
                <a:gd name="T80" fmla="*/ 21 w 85"/>
                <a:gd name="T81" fmla="*/ 133 h 137"/>
                <a:gd name="T82" fmla="*/ 18 w 85"/>
                <a:gd name="T83" fmla="*/ 130 h 137"/>
                <a:gd name="T84" fmla="*/ 30 w 85"/>
                <a:gd name="T85" fmla="*/ 121 h 137"/>
                <a:gd name="T86" fmla="*/ 40 w 85"/>
                <a:gd name="T87" fmla="*/ 114 h 137"/>
                <a:gd name="T88" fmla="*/ 41 w 85"/>
                <a:gd name="T89" fmla="*/ 103 h 137"/>
                <a:gd name="T90" fmla="*/ 40 w 85"/>
                <a:gd name="T91" fmla="*/ 92 h 137"/>
                <a:gd name="T92" fmla="*/ 36 w 85"/>
                <a:gd name="T93" fmla="*/ 82 h 137"/>
                <a:gd name="T94" fmla="*/ 37 w 85"/>
                <a:gd name="T95" fmla="*/ 76 h 137"/>
                <a:gd name="T96" fmla="*/ 41 w 85"/>
                <a:gd name="T97" fmla="*/ 72 h 137"/>
                <a:gd name="T98" fmla="*/ 48 w 85"/>
                <a:gd name="T99" fmla="*/ 68 h 137"/>
                <a:gd name="T100" fmla="*/ 56 w 85"/>
                <a:gd name="T101" fmla="*/ 58 h 137"/>
                <a:gd name="T102" fmla="*/ 72 w 85"/>
                <a:gd name="T103" fmla="*/ 52 h 137"/>
                <a:gd name="T104" fmla="*/ 85 w 85"/>
                <a:gd name="T105" fmla="*/ 35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5" h="137">
                  <a:moveTo>
                    <a:pt x="85" y="35"/>
                  </a:moveTo>
                  <a:cubicBezTo>
                    <a:pt x="84" y="33"/>
                    <a:pt x="82" y="23"/>
                    <a:pt x="83" y="19"/>
                  </a:cubicBezTo>
                  <a:cubicBezTo>
                    <a:pt x="83" y="15"/>
                    <a:pt x="82" y="5"/>
                    <a:pt x="82" y="0"/>
                  </a:cubicBezTo>
                  <a:cubicBezTo>
                    <a:pt x="82" y="0"/>
                    <a:pt x="82" y="0"/>
                    <a:pt x="82" y="0"/>
                  </a:cubicBezTo>
                  <a:cubicBezTo>
                    <a:pt x="78" y="1"/>
                    <a:pt x="74" y="3"/>
                    <a:pt x="73" y="4"/>
                  </a:cubicBezTo>
                  <a:cubicBezTo>
                    <a:pt x="73" y="6"/>
                    <a:pt x="69" y="4"/>
                    <a:pt x="68" y="6"/>
                  </a:cubicBezTo>
                  <a:cubicBezTo>
                    <a:pt x="66" y="7"/>
                    <a:pt x="64" y="6"/>
                    <a:pt x="63" y="5"/>
                  </a:cubicBezTo>
                  <a:cubicBezTo>
                    <a:pt x="61" y="5"/>
                    <a:pt x="60" y="7"/>
                    <a:pt x="60" y="8"/>
                  </a:cubicBezTo>
                  <a:cubicBezTo>
                    <a:pt x="60" y="10"/>
                    <a:pt x="57" y="9"/>
                    <a:pt x="55" y="9"/>
                  </a:cubicBezTo>
                  <a:cubicBezTo>
                    <a:pt x="54" y="9"/>
                    <a:pt x="50" y="10"/>
                    <a:pt x="49" y="10"/>
                  </a:cubicBezTo>
                  <a:cubicBezTo>
                    <a:pt x="47" y="10"/>
                    <a:pt x="48" y="8"/>
                    <a:pt x="46" y="7"/>
                  </a:cubicBezTo>
                  <a:cubicBezTo>
                    <a:pt x="44" y="7"/>
                    <a:pt x="42" y="8"/>
                    <a:pt x="41" y="8"/>
                  </a:cubicBezTo>
                  <a:cubicBezTo>
                    <a:pt x="40" y="8"/>
                    <a:pt x="38" y="8"/>
                    <a:pt x="37" y="8"/>
                  </a:cubicBezTo>
                  <a:cubicBezTo>
                    <a:pt x="37" y="9"/>
                    <a:pt x="36" y="10"/>
                    <a:pt x="36" y="11"/>
                  </a:cubicBezTo>
                  <a:cubicBezTo>
                    <a:pt x="35" y="15"/>
                    <a:pt x="39" y="24"/>
                    <a:pt x="40" y="28"/>
                  </a:cubicBezTo>
                  <a:cubicBezTo>
                    <a:pt x="41" y="29"/>
                    <a:pt x="43" y="31"/>
                    <a:pt x="44" y="32"/>
                  </a:cubicBezTo>
                  <a:cubicBezTo>
                    <a:pt x="47" y="35"/>
                    <a:pt x="44" y="35"/>
                    <a:pt x="45" y="41"/>
                  </a:cubicBezTo>
                  <a:cubicBezTo>
                    <a:pt x="45" y="46"/>
                    <a:pt x="42" y="44"/>
                    <a:pt x="40" y="46"/>
                  </a:cubicBezTo>
                  <a:cubicBezTo>
                    <a:pt x="38" y="48"/>
                    <a:pt x="40" y="52"/>
                    <a:pt x="39" y="53"/>
                  </a:cubicBezTo>
                  <a:cubicBezTo>
                    <a:pt x="39" y="54"/>
                    <a:pt x="33" y="45"/>
                    <a:pt x="32" y="43"/>
                  </a:cubicBezTo>
                  <a:cubicBezTo>
                    <a:pt x="32" y="42"/>
                    <a:pt x="34" y="36"/>
                    <a:pt x="34" y="33"/>
                  </a:cubicBezTo>
                  <a:cubicBezTo>
                    <a:pt x="33" y="30"/>
                    <a:pt x="29" y="32"/>
                    <a:pt x="27" y="32"/>
                  </a:cubicBezTo>
                  <a:cubicBezTo>
                    <a:pt x="26" y="32"/>
                    <a:pt x="23" y="28"/>
                    <a:pt x="22" y="28"/>
                  </a:cubicBezTo>
                  <a:cubicBezTo>
                    <a:pt x="21" y="28"/>
                    <a:pt x="0" y="36"/>
                    <a:pt x="0" y="36"/>
                  </a:cubicBezTo>
                  <a:cubicBezTo>
                    <a:pt x="1" y="42"/>
                    <a:pt x="1" y="42"/>
                    <a:pt x="1" y="42"/>
                  </a:cubicBezTo>
                  <a:cubicBezTo>
                    <a:pt x="1" y="42"/>
                    <a:pt x="1" y="42"/>
                    <a:pt x="1" y="42"/>
                  </a:cubicBezTo>
                  <a:cubicBezTo>
                    <a:pt x="2" y="45"/>
                    <a:pt x="2" y="45"/>
                    <a:pt x="2" y="45"/>
                  </a:cubicBezTo>
                  <a:cubicBezTo>
                    <a:pt x="2" y="45"/>
                    <a:pt x="9" y="45"/>
                    <a:pt x="12" y="47"/>
                  </a:cubicBezTo>
                  <a:cubicBezTo>
                    <a:pt x="15" y="49"/>
                    <a:pt x="20" y="50"/>
                    <a:pt x="22" y="51"/>
                  </a:cubicBezTo>
                  <a:cubicBezTo>
                    <a:pt x="23" y="51"/>
                    <a:pt x="22" y="59"/>
                    <a:pt x="22" y="63"/>
                  </a:cubicBezTo>
                  <a:cubicBezTo>
                    <a:pt x="22" y="67"/>
                    <a:pt x="18" y="68"/>
                    <a:pt x="20" y="70"/>
                  </a:cubicBezTo>
                  <a:cubicBezTo>
                    <a:pt x="22" y="72"/>
                    <a:pt x="21" y="76"/>
                    <a:pt x="22" y="76"/>
                  </a:cubicBezTo>
                  <a:cubicBezTo>
                    <a:pt x="24" y="77"/>
                    <a:pt x="20" y="81"/>
                    <a:pt x="18" y="82"/>
                  </a:cubicBezTo>
                  <a:cubicBezTo>
                    <a:pt x="16" y="83"/>
                    <a:pt x="18" y="87"/>
                    <a:pt x="16" y="90"/>
                  </a:cubicBezTo>
                  <a:cubicBezTo>
                    <a:pt x="14" y="92"/>
                    <a:pt x="10" y="96"/>
                    <a:pt x="8" y="98"/>
                  </a:cubicBezTo>
                  <a:cubicBezTo>
                    <a:pt x="8" y="98"/>
                    <a:pt x="8" y="98"/>
                    <a:pt x="8" y="98"/>
                  </a:cubicBezTo>
                  <a:cubicBezTo>
                    <a:pt x="9" y="100"/>
                    <a:pt x="11" y="112"/>
                    <a:pt x="13" y="113"/>
                  </a:cubicBezTo>
                  <a:cubicBezTo>
                    <a:pt x="15" y="115"/>
                    <a:pt x="14" y="127"/>
                    <a:pt x="14" y="128"/>
                  </a:cubicBezTo>
                  <a:cubicBezTo>
                    <a:pt x="13" y="129"/>
                    <a:pt x="15" y="137"/>
                    <a:pt x="15" y="137"/>
                  </a:cubicBezTo>
                  <a:cubicBezTo>
                    <a:pt x="15" y="137"/>
                    <a:pt x="18" y="137"/>
                    <a:pt x="21" y="137"/>
                  </a:cubicBezTo>
                  <a:cubicBezTo>
                    <a:pt x="21" y="135"/>
                    <a:pt x="21" y="134"/>
                    <a:pt x="21" y="133"/>
                  </a:cubicBezTo>
                  <a:cubicBezTo>
                    <a:pt x="21" y="129"/>
                    <a:pt x="19" y="132"/>
                    <a:pt x="18" y="130"/>
                  </a:cubicBezTo>
                  <a:cubicBezTo>
                    <a:pt x="17" y="127"/>
                    <a:pt x="24" y="123"/>
                    <a:pt x="30" y="121"/>
                  </a:cubicBezTo>
                  <a:cubicBezTo>
                    <a:pt x="37" y="118"/>
                    <a:pt x="40" y="117"/>
                    <a:pt x="40" y="114"/>
                  </a:cubicBezTo>
                  <a:cubicBezTo>
                    <a:pt x="41" y="112"/>
                    <a:pt x="40" y="105"/>
                    <a:pt x="41" y="103"/>
                  </a:cubicBezTo>
                  <a:cubicBezTo>
                    <a:pt x="42" y="100"/>
                    <a:pt x="41" y="98"/>
                    <a:pt x="40" y="92"/>
                  </a:cubicBezTo>
                  <a:cubicBezTo>
                    <a:pt x="39" y="87"/>
                    <a:pt x="37" y="86"/>
                    <a:pt x="36" y="82"/>
                  </a:cubicBezTo>
                  <a:cubicBezTo>
                    <a:pt x="35" y="79"/>
                    <a:pt x="35" y="76"/>
                    <a:pt x="37" y="76"/>
                  </a:cubicBezTo>
                  <a:cubicBezTo>
                    <a:pt x="39" y="76"/>
                    <a:pt x="39" y="75"/>
                    <a:pt x="41" y="72"/>
                  </a:cubicBezTo>
                  <a:cubicBezTo>
                    <a:pt x="43" y="69"/>
                    <a:pt x="44" y="70"/>
                    <a:pt x="48" y="68"/>
                  </a:cubicBezTo>
                  <a:cubicBezTo>
                    <a:pt x="51" y="65"/>
                    <a:pt x="51" y="62"/>
                    <a:pt x="56" y="58"/>
                  </a:cubicBezTo>
                  <a:cubicBezTo>
                    <a:pt x="61" y="54"/>
                    <a:pt x="67" y="55"/>
                    <a:pt x="72" y="52"/>
                  </a:cubicBezTo>
                  <a:cubicBezTo>
                    <a:pt x="77" y="49"/>
                    <a:pt x="85" y="37"/>
                    <a:pt x="85" y="35"/>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226" name="Freeform 169">
              <a:extLst>
                <a:ext uri="{FF2B5EF4-FFF2-40B4-BE49-F238E27FC236}">
                  <a16:creationId xmlns:a16="http://schemas.microsoft.com/office/drawing/2014/main" xmlns="" id="{1B960AD4-D231-49DE-98A6-42ABFE9CA4B6}"/>
                </a:ext>
              </a:extLst>
            </p:cNvPr>
            <p:cNvSpPr>
              <a:spLocks/>
            </p:cNvSpPr>
            <p:nvPr/>
          </p:nvSpPr>
          <p:spPr bwMode="auto">
            <a:xfrm>
              <a:off x="16935672" y="4004341"/>
              <a:ext cx="230188" cy="233362"/>
            </a:xfrm>
            <a:custGeom>
              <a:avLst/>
              <a:gdLst>
                <a:gd name="T0" fmla="*/ 82 w 88"/>
                <a:gd name="T1" fmla="*/ 71 h 89"/>
                <a:gd name="T2" fmla="*/ 79 w 88"/>
                <a:gd name="T3" fmla="*/ 63 h 89"/>
                <a:gd name="T4" fmla="*/ 78 w 88"/>
                <a:gd name="T5" fmla="*/ 56 h 89"/>
                <a:gd name="T6" fmla="*/ 80 w 88"/>
                <a:gd name="T7" fmla="*/ 50 h 89"/>
                <a:gd name="T8" fmla="*/ 75 w 88"/>
                <a:gd name="T9" fmla="*/ 44 h 89"/>
                <a:gd name="T10" fmla="*/ 79 w 88"/>
                <a:gd name="T11" fmla="*/ 31 h 89"/>
                <a:gd name="T12" fmla="*/ 65 w 88"/>
                <a:gd name="T13" fmla="*/ 22 h 89"/>
                <a:gd name="T14" fmla="*/ 66 w 88"/>
                <a:gd name="T15" fmla="*/ 17 h 89"/>
                <a:gd name="T16" fmla="*/ 35 w 88"/>
                <a:gd name="T17" fmla="*/ 1 h 89"/>
                <a:gd name="T18" fmla="*/ 32 w 88"/>
                <a:gd name="T19" fmla="*/ 8 h 89"/>
                <a:gd name="T20" fmla="*/ 32 w 88"/>
                <a:gd name="T21" fmla="*/ 13 h 89"/>
                <a:gd name="T22" fmla="*/ 19 w 88"/>
                <a:gd name="T23" fmla="*/ 13 h 89"/>
                <a:gd name="T24" fmla="*/ 19 w 88"/>
                <a:gd name="T25" fmla="*/ 0 h 89"/>
                <a:gd name="T26" fmla="*/ 12 w 88"/>
                <a:gd name="T27" fmla="*/ 1 h 89"/>
                <a:gd name="T28" fmla="*/ 9 w 88"/>
                <a:gd name="T29" fmla="*/ 2 h 89"/>
                <a:gd name="T30" fmla="*/ 10 w 88"/>
                <a:gd name="T31" fmla="*/ 5 h 89"/>
                <a:gd name="T32" fmla="*/ 11 w 88"/>
                <a:gd name="T33" fmla="*/ 11 h 89"/>
                <a:gd name="T34" fmla="*/ 8 w 88"/>
                <a:gd name="T35" fmla="*/ 12 h 89"/>
                <a:gd name="T36" fmla="*/ 8 w 88"/>
                <a:gd name="T37" fmla="*/ 16 h 89"/>
                <a:gd name="T38" fmla="*/ 10 w 88"/>
                <a:gd name="T39" fmla="*/ 18 h 89"/>
                <a:gd name="T40" fmla="*/ 4 w 88"/>
                <a:gd name="T41" fmla="*/ 27 h 89"/>
                <a:gd name="T42" fmla="*/ 0 w 88"/>
                <a:gd name="T43" fmla="*/ 29 h 89"/>
                <a:gd name="T44" fmla="*/ 5 w 88"/>
                <a:gd name="T45" fmla="*/ 44 h 89"/>
                <a:gd name="T46" fmla="*/ 9 w 88"/>
                <a:gd name="T47" fmla="*/ 55 h 89"/>
                <a:gd name="T48" fmla="*/ 11 w 88"/>
                <a:gd name="T49" fmla="*/ 61 h 89"/>
                <a:gd name="T50" fmla="*/ 7 w 88"/>
                <a:gd name="T51" fmla="*/ 58 h 89"/>
                <a:gd name="T52" fmla="*/ 6 w 88"/>
                <a:gd name="T53" fmla="*/ 59 h 89"/>
                <a:gd name="T54" fmla="*/ 6 w 88"/>
                <a:gd name="T55" fmla="*/ 60 h 89"/>
                <a:gd name="T56" fmla="*/ 12 w 88"/>
                <a:gd name="T57" fmla="*/ 63 h 89"/>
                <a:gd name="T58" fmla="*/ 19 w 88"/>
                <a:gd name="T59" fmla="*/ 66 h 89"/>
                <a:gd name="T60" fmla="*/ 30 w 88"/>
                <a:gd name="T61" fmla="*/ 70 h 89"/>
                <a:gd name="T62" fmla="*/ 30 w 88"/>
                <a:gd name="T63" fmla="*/ 71 h 89"/>
                <a:gd name="T64" fmla="*/ 36 w 88"/>
                <a:gd name="T65" fmla="*/ 71 h 89"/>
                <a:gd name="T66" fmla="*/ 37 w 88"/>
                <a:gd name="T67" fmla="*/ 71 h 89"/>
                <a:gd name="T68" fmla="*/ 43 w 88"/>
                <a:gd name="T69" fmla="*/ 87 h 89"/>
                <a:gd name="T70" fmla="*/ 47 w 88"/>
                <a:gd name="T71" fmla="*/ 87 h 89"/>
                <a:gd name="T72" fmla="*/ 52 w 88"/>
                <a:gd name="T73" fmla="*/ 86 h 89"/>
                <a:gd name="T74" fmla="*/ 55 w 88"/>
                <a:gd name="T75" fmla="*/ 89 h 89"/>
                <a:gd name="T76" fmla="*/ 61 w 88"/>
                <a:gd name="T77" fmla="*/ 88 h 89"/>
                <a:gd name="T78" fmla="*/ 66 w 88"/>
                <a:gd name="T79" fmla="*/ 87 h 89"/>
                <a:gd name="T80" fmla="*/ 69 w 88"/>
                <a:gd name="T81" fmla="*/ 84 h 89"/>
                <a:gd name="T82" fmla="*/ 74 w 88"/>
                <a:gd name="T83" fmla="*/ 85 h 89"/>
                <a:gd name="T84" fmla="*/ 79 w 88"/>
                <a:gd name="T85" fmla="*/ 83 h 89"/>
                <a:gd name="T86" fmla="*/ 88 w 88"/>
                <a:gd name="T87" fmla="*/ 79 h 89"/>
                <a:gd name="T88" fmla="*/ 82 w 88"/>
                <a:gd name="T89" fmla="*/ 71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 h="89">
                  <a:moveTo>
                    <a:pt x="82" y="71"/>
                  </a:moveTo>
                  <a:cubicBezTo>
                    <a:pt x="82" y="66"/>
                    <a:pt x="79" y="66"/>
                    <a:pt x="79" y="63"/>
                  </a:cubicBezTo>
                  <a:cubicBezTo>
                    <a:pt x="79" y="60"/>
                    <a:pt x="79" y="57"/>
                    <a:pt x="78" y="56"/>
                  </a:cubicBezTo>
                  <a:cubicBezTo>
                    <a:pt x="77" y="56"/>
                    <a:pt x="78" y="53"/>
                    <a:pt x="80" y="50"/>
                  </a:cubicBezTo>
                  <a:cubicBezTo>
                    <a:pt x="82" y="47"/>
                    <a:pt x="76" y="47"/>
                    <a:pt x="75" y="44"/>
                  </a:cubicBezTo>
                  <a:cubicBezTo>
                    <a:pt x="75" y="42"/>
                    <a:pt x="77" y="37"/>
                    <a:pt x="79" y="31"/>
                  </a:cubicBezTo>
                  <a:cubicBezTo>
                    <a:pt x="72" y="27"/>
                    <a:pt x="65" y="22"/>
                    <a:pt x="65" y="22"/>
                  </a:cubicBezTo>
                  <a:cubicBezTo>
                    <a:pt x="66" y="17"/>
                    <a:pt x="66" y="17"/>
                    <a:pt x="66" y="17"/>
                  </a:cubicBezTo>
                  <a:cubicBezTo>
                    <a:pt x="35" y="1"/>
                    <a:pt x="35" y="1"/>
                    <a:pt x="35" y="1"/>
                  </a:cubicBezTo>
                  <a:cubicBezTo>
                    <a:pt x="35" y="4"/>
                    <a:pt x="34" y="7"/>
                    <a:pt x="32" y="8"/>
                  </a:cubicBezTo>
                  <a:cubicBezTo>
                    <a:pt x="29" y="9"/>
                    <a:pt x="35" y="13"/>
                    <a:pt x="32" y="13"/>
                  </a:cubicBezTo>
                  <a:cubicBezTo>
                    <a:pt x="29" y="14"/>
                    <a:pt x="23" y="11"/>
                    <a:pt x="19" y="13"/>
                  </a:cubicBezTo>
                  <a:cubicBezTo>
                    <a:pt x="16" y="14"/>
                    <a:pt x="17" y="7"/>
                    <a:pt x="19" y="0"/>
                  </a:cubicBezTo>
                  <a:cubicBezTo>
                    <a:pt x="12" y="1"/>
                    <a:pt x="12" y="1"/>
                    <a:pt x="12" y="1"/>
                  </a:cubicBezTo>
                  <a:cubicBezTo>
                    <a:pt x="12" y="1"/>
                    <a:pt x="11" y="1"/>
                    <a:pt x="9" y="2"/>
                  </a:cubicBezTo>
                  <a:cubicBezTo>
                    <a:pt x="10" y="5"/>
                    <a:pt x="10" y="5"/>
                    <a:pt x="10" y="5"/>
                  </a:cubicBezTo>
                  <a:cubicBezTo>
                    <a:pt x="10" y="5"/>
                    <a:pt x="12" y="9"/>
                    <a:pt x="11" y="11"/>
                  </a:cubicBezTo>
                  <a:cubicBezTo>
                    <a:pt x="11" y="12"/>
                    <a:pt x="9" y="12"/>
                    <a:pt x="8" y="12"/>
                  </a:cubicBezTo>
                  <a:cubicBezTo>
                    <a:pt x="8" y="15"/>
                    <a:pt x="8" y="16"/>
                    <a:pt x="8" y="16"/>
                  </a:cubicBezTo>
                  <a:cubicBezTo>
                    <a:pt x="10" y="18"/>
                    <a:pt x="10" y="18"/>
                    <a:pt x="10" y="18"/>
                  </a:cubicBezTo>
                  <a:cubicBezTo>
                    <a:pt x="10" y="18"/>
                    <a:pt x="6" y="26"/>
                    <a:pt x="4" y="27"/>
                  </a:cubicBezTo>
                  <a:cubicBezTo>
                    <a:pt x="3" y="27"/>
                    <a:pt x="2" y="28"/>
                    <a:pt x="0" y="29"/>
                  </a:cubicBezTo>
                  <a:cubicBezTo>
                    <a:pt x="2" y="35"/>
                    <a:pt x="3" y="42"/>
                    <a:pt x="5" y="44"/>
                  </a:cubicBezTo>
                  <a:cubicBezTo>
                    <a:pt x="9" y="48"/>
                    <a:pt x="9" y="52"/>
                    <a:pt x="9" y="55"/>
                  </a:cubicBezTo>
                  <a:cubicBezTo>
                    <a:pt x="10" y="57"/>
                    <a:pt x="14" y="60"/>
                    <a:pt x="11" y="61"/>
                  </a:cubicBezTo>
                  <a:cubicBezTo>
                    <a:pt x="10" y="62"/>
                    <a:pt x="8" y="60"/>
                    <a:pt x="7" y="58"/>
                  </a:cubicBezTo>
                  <a:cubicBezTo>
                    <a:pt x="7" y="58"/>
                    <a:pt x="7" y="59"/>
                    <a:pt x="6" y="59"/>
                  </a:cubicBezTo>
                  <a:cubicBezTo>
                    <a:pt x="6" y="59"/>
                    <a:pt x="6" y="59"/>
                    <a:pt x="6" y="60"/>
                  </a:cubicBezTo>
                  <a:cubicBezTo>
                    <a:pt x="8" y="61"/>
                    <a:pt x="11" y="63"/>
                    <a:pt x="12" y="63"/>
                  </a:cubicBezTo>
                  <a:cubicBezTo>
                    <a:pt x="14" y="63"/>
                    <a:pt x="17" y="65"/>
                    <a:pt x="19" y="66"/>
                  </a:cubicBezTo>
                  <a:cubicBezTo>
                    <a:pt x="21" y="66"/>
                    <a:pt x="29" y="69"/>
                    <a:pt x="30" y="70"/>
                  </a:cubicBezTo>
                  <a:cubicBezTo>
                    <a:pt x="30" y="71"/>
                    <a:pt x="30" y="71"/>
                    <a:pt x="30" y="71"/>
                  </a:cubicBezTo>
                  <a:cubicBezTo>
                    <a:pt x="32" y="71"/>
                    <a:pt x="34" y="71"/>
                    <a:pt x="36" y="71"/>
                  </a:cubicBezTo>
                  <a:cubicBezTo>
                    <a:pt x="36" y="71"/>
                    <a:pt x="36" y="71"/>
                    <a:pt x="37" y="71"/>
                  </a:cubicBezTo>
                  <a:cubicBezTo>
                    <a:pt x="39" y="71"/>
                    <a:pt x="43" y="81"/>
                    <a:pt x="43" y="87"/>
                  </a:cubicBezTo>
                  <a:cubicBezTo>
                    <a:pt x="44" y="87"/>
                    <a:pt x="46" y="87"/>
                    <a:pt x="47" y="87"/>
                  </a:cubicBezTo>
                  <a:cubicBezTo>
                    <a:pt x="48" y="87"/>
                    <a:pt x="50" y="86"/>
                    <a:pt x="52" y="86"/>
                  </a:cubicBezTo>
                  <a:cubicBezTo>
                    <a:pt x="54" y="87"/>
                    <a:pt x="53" y="89"/>
                    <a:pt x="55" y="89"/>
                  </a:cubicBezTo>
                  <a:cubicBezTo>
                    <a:pt x="56" y="89"/>
                    <a:pt x="60" y="88"/>
                    <a:pt x="61" y="88"/>
                  </a:cubicBezTo>
                  <a:cubicBezTo>
                    <a:pt x="63" y="88"/>
                    <a:pt x="66" y="89"/>
                    <a:pt x="66" y="87"/>
                  </a:cubicBezTo>
                  <a:cubicBezTo>
                    <a:pt x="66" y="86"/>
                    <a:pt x="67" y="84"/>
                    <a:pt x="69" y="84"/>
                  </a:cubicBezTo>
                  <a:cubicBezTo>
                    <a:pt x="70" y="85"/>
                    <a:pt x="72" y="86"/>
                    <a:pt x="74" y="85"/>
                  </a:cubicBezTo>
                  <a:cubicBezTo>
                    <a:pt x="75" y="83"/>
                    <a:pt x="79" y="85"/>
                    <a:pt x="79" y="83"/>
                  </a:cubicBezTo>
                  <a:cubicBezTo>
                    <a:pt x="80" y="82"/>
                    <a:pt x="84" y="80"/>
                    <a:pt x="88" y="79"/>
                  </a:cubicBezTo>
                  <a:cubicBezTo>
                    <a:pt x="88" y="74"/>
                    <a:pt x="82" y="76"/>
                    <a:pt x="82" y="71"/>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227" name="Freeform 170">
              <a:extLst>
                <a:ext uri="{FF2B5EF4-FFF2-40B4-BE49-F238E27FC236}">
                  <a16:creationId xmlns:a16="http://schemas.microsoft.com/office/drawing/2014/main" xmlns="" id="{1F8E9BC4-B8B2-4D0B-97F3-C10C036F0166}"/>
                </a:ext>
              </a:extLst>
            </p:cNvPr>
            <p:cNvSpPr>
              <a:spLocks/>
            </p:cNvSpPr>
            <p:nvPr/>
          </p:nvSpPr>
          <p:spPr bwMode="auto">
            <a:xfrm>
              <a:off x="17003934" y="4190079"/>
              <a:ext cx="69850" cy="161925"/>
            </a:xfrm>
            <a:custGeom>
              <a:avLst/>
              <a:gdLst>
                <a:gd name="T0" fmla="*/ 24 w 27"/>
                <a:gd name="T1" fmla="*/ 40 h 62"/>
                <a:gd name="T2" fmla="*/ 20 w 27"/>
                <a:gd name="T3" fmla="*/ 36 h 62"/>
                <a:gd name="T4" fmla="*/ 19 w 27"/>
                <a:gd name="T5" fmla="*/ 37 h 62"/>
                <a:gd name="T6" fmla="*/ 11 w 27"/>
                <a:gd name="T7" fmla="*/ 25 h 62"/>
                <a:gd name="T8" fmla="*/ 11 w 27"/>
                <a:gd name="T9" fmla="*/ 11 h 62"/>
                <a:gd name="T10" fmla="*/ 10 w 27"/>
                <a:gd name="T11" fmla="*/ 0 h 62"/>
                <a:gd name="T12" fmla="*/ 4 w 27"/>
                <a:gd name="T13" fmla="*/ 0 h 62"/>
                <a:gd name="T14" fmla="*/ 7 w 27"/>
                <a:gd name="T15" fmla="*/ 8 h 62"/>
                <a:gd name="T16" fmla="*/ 4 w 27"/>
                <a:gd name="T17" fmla="*/ 10 h 62"/>
                <a:gd name="T18" fmla="*/ 5 w 27"/>
                <a:gd name="T19" fmla="*/ 23 h 62"/>
                <a:gd name="T20" fmla="*/ 2 w 27"/>
                <a:gd name="T21" fmla="*/ 25 h 62"/>
                <a:gd name="T22" fmla="*/ 0 w 27"/>
                <a:gd name="T23" fmla="*/ 33 h 62"/>
                <a:gd name="T24" fmla="*/ 2 w 27"/>
                <a:gd name="T25" fmla="*/ 36 h 62"/>
                <a:gd name="T26" fmla="*/ 2 w 27"/>
                <a:gd name="T27" fmla="*/ 36 h 62"/>
                <a:gd name="T28" fmla="*/ 7 w 27"/>
                <a:gd name="T29" fmla="*/ 40 h 62"/>
                <a:gd name="T30" fmla="*/ 14 w 27"/>
                <a:gd name="T31" fmla="*/ 41 h 62"/>
                <a:gd name="T32" fmla="*/ 12 w 27"/>
                <a:gd name="T33" fmla="*/ 51 h 62"/>
                <a:gd name="T34" fmla="*/ 19 w 27"/>
                <a:gd name="T35" fmla="*/ 61 h 62"/>
                <a:gd name="T36" fmla="*/ 20 w 27"/>
                <a:gd name="T37" fmla="*/ 54 h 62"/>
                <a:gd name="T38" fmla="*/ 25 w 27"/>
                <a:gd name="T39" fmla="*/ 49 h 62"/>
                <a:gd name="T40" fmla="*/ 24 w 27"/>
                <a:gd name="T41" fmla="*/ 4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7" h="62">
                  <a:moveTo>
                    <a:pt x="24" y="40"/>
                  </a:moveTo>
                  <a:cubicBezTo>
                    <a:pt x="23" y="39"/>
                    <a:pt x="21" y="37"/>
                    <a:pt x="20" y="36"/>
                  </a:cubicBezTo>
                  <a:cubicBezTo>
                    <a:pt x="20" y="36"/>
                    <a:pt x="20" y="37"/>
                    <a:pt x="19" y="37"/>
                  </a:cubicBezTo>
                  <a:cubicBezTo>
                    <a:pt x="17" y="40"/>
                    <a:pt x="11" y="31"/>
                    <a:pt x="11" y="25"/>
                  </a:cubicBezTo>
                  <a:cubicBezTo>
                    <a:pt x="10" y="19"/>
                    <a:pt x="14" y="16"/>
                    <a:pt x="11" y="11"/>
                  </a:cubicBezTo>
                  <a:cubicBezTo>
                    <a:pt x="9" y="6"/>
                    <a:pt x="8" y="1"/>
                    <a:pt x="10" y="0"/>
                  </a:cubicBezTo>
                  <a:cubicBezTo>
                    <a:pt x="8" y="0"/>
                    <a:pt x="6" y="0"/>
                    <a:pt x="4" y="0"/>
                  </a:cubicBezTo>
                  <a:cubicBezTo>
                    <a:pt x="5" y="2"/>
                    <a:pt x="7" y="7"/>
                    <a:pt x="7" y="8"/>
                  </a:cubicBezTo>
                  <a:cubicBezTo>
                    <a:pt x="7" y="10"/>
                    <a:pt x="5" y="8"/>
                    <a:pt x="4" y="10"/>
                  </a:cubicBezTo>
                  <a:cubicBezTo>
                    <a:pt x="4" y="12"/>
                    <a:pt x="3" y="21"/>
                    <a:pt x="5" y="23"/>
                  </a:cubicBezTo>
                  <a:cubicBezTo>
                    <a:pt x="7" y="24"/>
                    <a:pt x="2" y="23"/>
                    <a:pt x="2" y="25"/>
                  </a:cubicBezTo>
                  <a:cubicBezTo>
                    <a:pt x="2" y="26"/>
                    <a:pt x="1" y="32"/>
                    <a:pt x="0" y="33"/>
                  </a:cubicBezTo>
                  <a:cubicBezTo>
                    <a:pt x="0" y="33"/>
                    <a:pt x="1" y="34"/>
                    <a:pt x="2" y="36"/>
                  </a:cubicBezTo>
                  <a:cubicBezTo>
                    <a:pt x="2" y="36"/>
                    <a:pt x="2" y="36"/>
                    <a:pt x="2" y="36"/>
                  </a:cubicBezTo>
                  <a:cubicBezTo>
                    <a:pt x="3" y="36"/>
                    <a:pt x="6" y="40"/>
                    <a:pt x="7" y="40"/>
                  </a:cubicBezTo>
                  <a:cubicBezTo>
                    <a:pt x="9" y="40"/>
                    <a:pt x="13" y="38"/>
                    <a:pt x="14" y="41"/>
                  </a:cubicBezTo>
                  <a:cubicBezTo>
                    <a:pt x="14" y="44"/>
                    <a:pt x="12" y="50"/>
                    <a:pt x="12" y="51"/>
                  </a:cubicBezTo>
                  <a:cubicBezTo>
                    <a:pt x="13" y="53"/>
                    <a:pt x="19" y="62"/>
                    <a:pt x="19" y="61"/>
                  </a:cubicBezTo>
                  <a:cubicBezTo>
                    <a:pt x="20" y="60"/>
                    <a:pt x="18" y="56"/>
                    <a:pt x="20" y="54"/>
                  </a:cubicBezTo>
                  <a:cubicBezTo>
                    <a:pt x="22" y="52"/>
                    <a:pt x="25" y="54"/>
                    <a:pt x="25" y="49"/>
                  </a:cubicBezTo>
                  <a:cubicBezTo>
                    <a:pt x="24" y="43"/>
                    <a:pt x="27" y="43"/>
                    <a:pt x="24" y="40"/>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228" name="Freeform 171">
              <a:extLst>
                <a:ext uri="{FF2B5EF4-FFF2-40B4-BE49-F238E27FC236}">
                  <a16:creationId xmlns:a16="http://schemas.microsoft.com/office/drawing/2014/main" xmlns="" id="{6A30A375-C35F-4E9A-9EE3-AD001D856344}"/>
                </a:ext>
              </a:extLst>
            </p:cNvPr>
            <p:cNvSpPr>
              <a:spLocks/>
            </p:cNvSpPr>
            <p:nvPr/>
          </p:nvSpPr>
          <p:spPr bwMode="auto">
            <a:xfrm>
              <a:off x="19753484" y="4425029"/>
              <a:ext cx="68263" cy="55562"/>
            </a:xfrm>
            <a:custGeom>
              <a:avLst/>
              <a:gdLst>
                <a:gd name="T0" fmla="*/ 0 w 26"/>
                <a:gd name="T1" fmla="*/ 3 h 21"/>
                <a:gd name="T2" fmla="*/ 23 w 26"/>
                <a:gd name="T3" fmla="*/ 19 h 21"/>
                <a:gd name="T4" fmla="*/ 0 w 26"/>
                <a:gd name="T5" fmla="*/ 3 h 21"/>
              </a:gdLst>
              <a:ahLst/>
              <a:cxnLst>
                <a:cxn ang="0">
                  <a:pos x="T0" y="T1"/>
                </a:cxn>
                <a:cxn ang="0">
                  <a:pos x="T2" y="T3"/>
                </a:cxn>
                <a:cxn ang="0">
                  <a:pos x="T4" y="T5"/>
                </a:cxn>
              </a:cxnLst>
              <a:rect l="0" t="0" r="r" b="b"/>
              <a:pathLst>
                <a:path w="26" h="21">
                  <a:moveTo>
                    <a:pt x="0" y="3"/>
                  </a:moveTo>
                  <a:cubicBezTo>
                    <a:pt x="0" y="0"/>
                    <a:pt x="26" y="17"/>
                    <a:pt x="23" y="19"/>
                  </a:cubicBezTo>
                  <a:cubicBezTo>
                    <a:pt x="20" y="21"/>
                    <a:pt x="0" y="6"/>
                    <a:pt x="0" y="3"/>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229" name="Freeform 172">
              <a:extLst>
                <a:ext uri="{FF2B5EF4-FFF2-40B4-BE49-F238E27FC236}">
                  <a16:creationId xmlns:a16="http://schemas.microsoft.com/office/drawing/2014/main" xmlns="" id="{22CEACE0-4513-424A-9B0F-C39CD4E9B761}"/>
                </a:ext>
              </a:extLst>
            </p:cNvPr>
            <p:cNvSpPr>
              <a:spLocks/>
            </p:cNvSpPr>
            <p:nvPr/>
          </p:nvSpPr>
          <p:spPr bwMode="auto">
            <a:xfrm>
              <a:off x="17748472" y="3069304"/>
              <a:ext cx="158750" cy="109537"/>
            </a:xfrm>
            <a:custGeom>
              <a:avLst/>
              <a:gdLst>
                <a:gd name="T0" fmla="*/ 50 w 61"/>
                <a:gd name="T1" fmla="*/ 34 h 42"/>
                <a:gd name="T2" fmla="*/ 53 w 61"/>
                <a:gd name="T3" fmla="*/ 36 h 42"/>
                <a:gd name="T4" fmla="*/ 59 w 61"/>
                <a:gd name="T5" fmla="*/ 38 h 42"/>
                <a:gd name="T6" fmla="*/ 61 w 61"/>
                <a:gd name="T7" fmla="*/ 37 h 42"/>
                <a:gd name="T8" fmla="*/ 60 w 61"/>
                <a:gd name="T9" fmla="*/ 26 h 42"/>
                <a:gd name="T10" fmla="*/ 52 w 61"/>
                <a:gd name="T11" fmla="*/ 21 h 42"/>
                <a:gd name="T12" fmla="*/ 51 w 61"/>
                <a:gd name="T13" fmla="*/ 14 h 42"/>
                <a:gd name="T14" fmla="*/ 40 w 61"/>
                <a:gd name="T15" fmla="*/ 15 h 42"/>
                <a:gd name="T16" fmla="*/ 33 w 61"/>
                <a:gd name="T17" fmla="*/ 14 h 42"/>
                <a:gd name="T18" fmla="*/ 26 w 61"/>
                <a:gd name="T19" fmla="*/ 13 h 42"/>
                <a:gd name="T20" fmla="*/ 15 w 61"/>
                <a:gd name="T21" fmla="*/ 13 h 42"/>
                <a:gd name="T22" fmla="*/ 20 w 61"/>
                <a:gd name="T23" fmla="*/ 8 h 42"/>
                <a:gd name="T24" fmla="*/ 23 w 61"/>
                <a:gd name="T25" fmla="*/ 8 h 42"/>
                <a:gd name="T26" fmla="*/ 26 w 61"/>
                <a:gd name="T27" fmla="*/ 1 h 42"/>
                <a:gd name="T28" fmla="*/ 20 w 61"/>
                <a:gd name="T29" fmla="*/ 2 h 42"/>
                <a:gd name="T30" fmla="*/ 14 w 61"/>
                <a:gd name="T31" fmla="*/ 4 h 42"/>
                <a:gd name="T32" fmla="*/ 10 w 61"/>
                <a:gd name="T33" fmla="*/ 8 h 42"/>
                <a:gd name="T34" fmla="*/ 8 w 61"/>
                <a:gd name="T35" fmla="*/ 13 h 42"/>
                <a:gd name="T36" fmla="*/ 0 w 61"/>
                <a:gd name="T37" fmla="*/ 15 h 42"/>
                <a:gd name="T38" fmla="*/ 5 w 61"/>
                <a:gd name="T39" fmla="*/ 22 h 42"/>
                <a:gd name="T40" fmla="*/ 6 w 61"/>
                <a:gd name="T41" fmla="*/ 29 h 42"/>
                <a:gd name="T42" fmla="*/ 3 w 61"/>
                <a:gd name="T43" fmla="*/ 37 h 42"/>
                <a:gd name="T44" fmla="*/ 6 w 61"/>
                <a:gd name="T45" fmla="*/ 38 h 42"/>
                <a:gd name="T46" fmla="*/ 15 w 61"/>
                <a:gd name="T47" fmla="*/ 35 h 42"/>
                <a:gd name="T48" fmla="*/ 22 w 61"/>
                <a:gd name="T49" fmla="*/ 32 h 42"/>
                <a:gd name="T50" fmla="*/ 30 w 61"/>
                <a:gd name="T51" fmla="*/ 25 h 42"/>
                <a:gd name="T52" fmla="*/ 33 w 61"/>
                <a:gd name="T53" fmla="*/ 31 h 42"/>
                <a:gd name="T54" fmla="*/ 33 w 61"/>
                <a:gd name="T55" fmla="*/ 41 h 42"/>
                <a:gd name="T56" fmla="*/ 37 w 61"/>
                <a:gd name="T57" fmla="*/ 41 h 42"/>
                <a:gd name="T58" fmla="*/ 41 w 61"/>
                <a:gd name="T59" fmla="*/ 40 h 42"/>
                <a:gd name="T60" fmla="*/ 50 w 61"/>
                <a:gd name="T61"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1" h="42">
                  <a:moveTo>
                    <a:pt x="50" y="34"/>
                  </a:moveTo>
                  <a:cubicBezTo>
                    <a:pt x="52" y="35"/>
                    <a:pt x="51" y="36"/>
                    <a:pt x="53" y="36"/>
                  </a:cubicBezTo>
                  <a:cubicBezTo>
                    <a:pt x="54" y="36"/>
                    <a:pt x="57" y="36"/>
                    <a:pt x="59" y="38"/>
                  </a:cubicBezTo>
                  <a:cubicBezTo>
                    <a:pt x="60" y="37"/>
                    <a:pt x="61" y="37"/>
                    <a:pt x="61" y="37"/>
                  </a:cubicBezTo>
                  <a:cubicBezTo>
                    <a:pt x="61" y="37"/>
                    <a:pt x="60" y="29"/>
                    <a:pt x="60" y="26"/>
                  </a:cubicBezTo>
                  <a:cubicBezTo>
                    <a:pt x="59" y="24"/>
                    <a:pt x="52" y="21"/>
                    <a:pt x="52" y="21"/>
                  </a:cubicBezTo>
                  <a:cubicBezTo>
                    <a:pt x="51" y="14"/>
                    <a:pt x="51" y="14"/>
                    <a:pt x="51" y="14"/>
                  </a:cubicBezTo>
                  <a:cubicBezTo>
                    <a:pt x="51" y="14"/>
                    <a:pt x="42" y="16"/>
                    <a:pt x="40" y="15"/>
                  </a:cubicBezTo>
                  <a:cubicBezTo>
                    <a:pt x="38" y="14"/>
                    <a:pt x="35" y="16"/>
                    <a:pt x="33" y="14"/>
                  </a:cubicBezTo>
                  <a:cubicBezTo>
                    <a:pt x="32" y="12"/>
                    <a:pt x="29" y="15"/>
                    <a:pt x="26" y="13"/>
                  </a:cubicBezTo>
                  <a:cubicBezTo>
                    <a:pt x="23" y="12"/>
                    <a:pt x="15" y="14"/>
                    <a:pt x="15" y="13"/>
                  </a:cubicBezTo>
                  <a:cubicBezTo>
                    <a:pt x="14" y="11"/>
                    <a:pt x="18" y="7"/>
                    <a:pt x="20" y="8"/>
                  </a:cubicBezTo>
                  <a:cubicBezTo>
                    <a:pt x="21" y="8"/>
                    <a:pt x="22" y="8"/>
                    <a:pt x="23" y="8"/>
                  </a:cubicBezTo>
                  <a:cubicBezTo>
                    <a:pt x="24" y="6"/>
                    <a:pt x="26" y="2"/>
                    <a:pt x="26" y="1"/>
                  </a:cubicBezTo>
                  <a:cubicBezTo>
                    <a:pt x="25" y="0"/>
                    <a:pt x="22" y="1"/>
                    <a:pt x="20" y="2"/>
                  </a:cubicBezTo>
                  <a:cubicBezTo>
                    <a:pt x="18" y="4"/>
                    <a:pt x="15" y="2"/>
                    <a:pt x="14" y="4"/>
                  </a:cubicBezTo>
                  <a:cubicBezTo>
                    <a:pt x="13" y="6"/>
                    <a:pt x="12" y="8"/>
                    <a:pt x="10" y="8"/>
                  </a:cubicBezTo>
                  <a:cubicBezTo>
                    <a:pt x="8" y="8"/>
                    <a:pt x="10" y="12"/>
                    <a:pt x="8" y="13"/>
                  </a:cubicBezTo>
                  <a:cubicBezTo>
                    <a:pt x="5" y="14"/>
                    <a:pt x="1" y="13"/>
                    <a:pt x="0" y="15"/>
                  </a:cubicBezTo>
                  <a:cubicBezTo>
                    <a:pt x="0" y="18"/>
                    <a:pt x="5" y="19"/>
                    <a:pt x="5" y="22"/>
                  </a:cubicBezTo>
                  <a:cubicBezTo>
                    <a:pt x="5" y="24"/>
                    <a:pt x="8" y="27"/>
                    <a:pt x="6" y="29"/>
                  </a:cubicBezTo>
                  <a:cubicBezTo>
                    <a:pt x="4" y="30"/>
                    <a:pt x="3" y="33"/>
                    <a:pt x="3" y="37"/>
                  </a:cubicBezTo>
                  <a:cubicBezTo>
                    <a:pt x="4" y="38"/>
                    <a:pt x="6" y="39"/>
                    <a:pt x="6" y="38"/>
                  </a:cubicBezTo>
                  <a:cubicBezTo>
                    <a:pt x="8" y="35"/>
                    <a:pt x="15" y="38"/>
                    <a:pt x="15" y="35"/>
                  </a:cubicBezTo>
                  <a:cubicBezTo>
                    <a:pt x="15" y="33"/>
                    <a:pt x="22" y="34"/>
                    <a:pt x="22" y="32"/>
                  </a:cubicBezTo>
                  <a:cubicBezTo>
                    <a:pt x="22" y="29"/>
                    <a:pt x="27" y="24"/>
                    <a:pt x="30" y="25"/>
                  </a:cubicBezTo>
                  <a:cubicBezTo>
                    <a:pt x="32" y="25"/>
                    <a:pt x="29" y="30"/>
                    <a:pt x="33" y="31"/>
                  </a:cubicBezTo>
                  <a:cubicBezTo>
                    <a:pt x="36" y="33"/>
                    <a:pt x="31" y="39"/>
                    <a:pt x="33" y="41"/>
                  </a:cubicBezTo>
                  <a:cubicBezTo>
                    <a:pt x="34" y="42"/>
                    <a:pt x="35" y="41"/>
                    <a:pt x="37" y="41"/>
                  </a:cubicBezTo>
                  <a:cubicBezTo>
                    <a:pt x="38" y="41"/>
                    <a:pt x="40" y="40"/>
                    <a:pt x="41" y="40"/>
                  </a:cubicBezTo>
                  <a:cubicBezTo>
                    <a:pt x="44" y="37"/>
                    <a:pt x="49" y="33"/>
                    <a:pt x="50" y="34"/>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230" name="Freeform 173">
              <a:extLst>
                <a:ext uri="{FF2B5EF4-FFF2-40B4-BE49-F238E27FC236}">
                  <a16:creationId xmlns:a16="http://schemas.microsoft.com/office/drawing/2014/main" xmlns="" id="{81E1982E-A351-4036-8CB5-CC49CE0F7973}"/>
                </a:ext>
              </a:extLst>
            </p:cNvPr>
            <p:cNvSpPr>
              <a:spLocks/>
            </p:cNvSpPr>
            <p:nvPr/>
          </p:nvSpPr>
          <p:spPr bwMode="auto">
            <a:xfrm>
              <a:off x="14678247" y="3437604"/>
              <a:ext cx="17463" cy="39687"/>
            </a:xfrm>
            <a:custGeom>
              <a:avLst/>
              <a:gdLst>
                <a:gd name="T0" fmla="*/ 6 w 7"/>
                <a:gd name="T1" fmla="*/ 14 h 15"/>
                <a:gd name="T2" fmla="*/ 3 w 7"/>
                <a:gd name="T3" fmla="*/ 11 h 15"/>
                <a:gd name="T4" fmla="*/ 0 w 7"/>
                <a:gd name="T5" fmla="*/ 5 h 15"/>
                <a:gd name="T6" fmla="*/ 3 w 7"/>
                <a:gd name="T7" fmla="*/ 3 h 15"/>
                <a:gd name="T8" fmla="*/ 4 w 7"/>
                <a:gd name="T9" fmla="*/ 9 h 15"/>
                <a:gd name="T10" fmla="*/ 6 w 7"/>
                <a:gd name="T11" fmla="*/ 14 h 15"/>
              </a:gdLst>
              <a:ahLst/>
              <a:cxnLst>
                <a:cxn ang="0">
                  <a:pos x="T0" y="T1"/>
                </a:cxn>
                <a:cxn ang="0">
                  <a:pos x="T2" y="T3"/>
                </a:cxn>
                <a:cxn ang="0">
                  <a:pos x="T4" y="T5"/>
                </a:cxn>
                <a:cxn ang="0">
                  <a:pos x="T6" y="T7"/>
                </a:cxn>
                <a:cxn ang="0">
                  <a:pos x="T8" y="T9"/>
                </a:cxn>
                <a:cxn ang="0">
                  <a:pos x="T10" y="T11"/>
                </a:cxn>
              </a:cxnLst>
              <a:rect l="0" t="0" r="r" b="b"/>
              <a:pathLst>
                <a:path w="7" h="15">
                  <a:moveTo>
                    <a:pt x="6" y="14"/>
                  </a:moveTo>
                  <a:cubicBezTo>
                    <a:pt x="6" y="15"/>
                    <a:pt x="3" y="12"/>
                    <a:pt x="3" y="11"/>
                  </a:cubicBezTo>
                  <a:cubicBezTo>
                    <a:pt x="3" y="9"/>
                    <a:pt x="0" y="8"/>
                    <a:pt x="0" y="5"/>
                  </a:cubicBezTo>
                  <a:cubicBezTo>
                    <a:pt x="0" y="2"/>
                    <a:pt x="1" y="0"/>
                    <a:pt x="3" y="3"/>
                  </a:cubicBezTo>
                  <a:cubicBezTo>
                    <a:pt x="5" y="6"/>
                    <a:pt x="4" y="8"/>
                    <a:pt x="4" y="9"/>
                  </a:cubicBezTo>
                  <a:cubicBezTo>
                    <a:pt x="4" y="10"/>
                    <a:pt x="7" y="12"/>
                    <a:pt x="6" y="14"/>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231" name="Freeform 174">
              <a:extLst>
                <a:ext uri="{FF2B5EF4-FFF2-40B4-BE49-F238E27FC236}">
                  <a16:creationId xmlns:a16="http://schemas.microsoft.com/office/drawing/2014/main" xmlns="" id="{4FAA7224-B9C8-4FC1-A84E-E9EA169C0931}"/>
                </a:ext>
              </a:extLst>
            </p:cNvPr>
            <p:cNvSpPr>
              <a:spLocks/>
            </p:cNvSpPr>
            <p:nvPr/>
          </p:nvSpPr>
          <p:spPr bwMode="auto">
            <a:xfrm>
              <a:off x="15024322" y="3756691"/>
              <a:ext cx="23813" cy="20637"/>
            </a:xfrm>
            <a:custGeom>
              <a:avLst/>
              <a:gdLst>
                <a:gd name="T0" fmla="*/ 2 w 9"/>
                <a:gd name="T1" fmla="*/ 7 h 8"/>
                <a:gd name="T2" fmla="*/ 1 w 9"/>
                <a:gd name="T3" fmla="*/ 3 h 8"/>
                <a:gd name="T4" fmla="*/ 7 w 9"/>
                <a:gd name="T5" fmla="*/ 1 h 8"/>
                <a:gd name="T6" fmla="*/ 8 w 9"/>
                <a:gd name="T7" fmla="*/ 6 h 8"/>
                <a:gd name="T8" fmla="*/ 2 w 9"/>
                <a:gd name="T9" fmla="*/ 7 h 8"/>
              </a:gdLst>
              <a:ahLst/>
              <a:cxnLst>
                <a:cxn ang="0">
                  <a:pos x="T0" y="T1"/>
                </a:cxn>
                <a:cxn ang="0">
                  <a:pos x="T2" y="T3"/>
                </a:cxn>
                <a:cxn ang="0">
                  <a:pos x="T4" y="T5"/>
                </a:cxn>
                <a:cxn ang="0">
                  <a:pos x="T6" y="T7"/>
                </a:cxn>
                <a:cxn ang="0">
                  <a:pos x="T8" y="T9"/>
                </a:cxn>
              </a:cxnLst>
              <a:rect l="0" t="0" r="r" b="b"/>
              <a:pathLst>
                <a:path w="9" h="8">
                  <a:moveTo>
                    <a:pt x="2" y="7"/>
                  </a:moveTo>
                  <a:cubicBezTo>
                    <a:pt x="0" y="6"/>
                    <a:pt x="3" y="4"/>
                    <a:pt x="1" y="3"/>
                  </a:cubicBezTo>
                  <a:cubicBezTo>
                    <a:pt x="0" y="2"/>
                    <a:pt x="5" y="0"/>
                    <a:pt x="7" y="1"/>
                  </a:cubicBezTo>
                  <a:cubicBezTo>
                    <a:pt x="9" y="3"/>
                    <a:pt x="9" y="5"/>
                    <a:pt x="8" y="6"/>
                  </a:cubicBezTo>
                  <a:cubicBezTo>
                    <a:pt x="6" y="7"/>
                    <a:pt x="2" y="8"/>
                    <a:pt x="2" y="7"/>
                  </a:cubicBezTo>
                  <a:close/>
                </a:path>
              </a:pathLst>
            </a:custGeom>
            <a:grpFill/>
            <a:ln w="3175" cap="rnd">
              <a:solidFill>
                <a:schemeClr val="bg1"/>
              </a:solidFill>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232" name="Freeform 175">
              <a:extLst>
                <a:ext uri="{FF2B5EF4-FFF2-40B4-BE49-F238E27FC236}">
                  <a16:creationId xmlns:a16="http://schemas.microsoft.com/office/drawing/2014/main" xmlns="" id="{04006127-FACF-4FB7-ADCC-49091757EBC9}"/>
                </a:ext>
              </a:extLst>
            </p:cNvPr>
            <p:cNvSpPr>
              <a:spLocks/>
            </p:cNvSpPr>
            <p:nvPr/>
          </p:nvSpPr>
          <p:spPr bwMode="auto">
            <a:xfrm>
              <a:off x="17232534" y="3058191"/>
              <a:ext cx="69850" cy="60325"/>
            </a:xfrm>
            <a:custGeom>
              <a:avLst/>
              <a:gdLst>
                <a:gd name="T0" fmla="*/ 25 w 27"/>
                <a:gd name="T1" fmla="*/ 18 h 23"/>
                <a:gd name="T2" fmla="*/ 20 w 27"/>
                <a:gd name="T3" fmla="*/ 12 h 23"/>
                <a:gd name="T4" fmla="*/ 17 w 27"/>
                <a:gd name="T5" fmla="*/ 5 h 23"/>
                <a:gd name="T6" fmla="*/ 15 w 27"/>
                <a:gd name="T7" fmla="*/ 1 h 23"/>
                <a:gd name="T8" fmla="*/ 8 w 27"/>
                <a:gd name="T9" fmla="*/ 0 h 23"/>
                <a:gd name="T10" fmla="*/ 0 w 27"/>
                <a:gd name="T11" fmla="*/ 2 h 23"/>
                <a:gd name="T12" fmla="*/ 1 w 27"/>
                <a:gd name="T13" fmla="*/ 8 h 23"/>
                <a:gd name="T14" fmla="*/ 8 w 27"/>
                <a:gd name="T15" fmla="*/ 11 h 23"/>
                <a:gd name="T16" fmla="*/ 9 w 27"/>
                <a:gd name="T17" fmla="*/ 14 h 23"/>
                <a:gd name="T18" fmla="*/ 10 w 27"/>
                <a:gd name="T19" fmla="*/ 14 h 23"/>
                <a:gd name="T20" fmla="*/ 12 w 27"/>
                <a:gd name="T21" fmla="*/ 15 h 23"/>
                <a:gd name="T22" fmla="*/ 16 w 27"/>
                <a:gd name="T23" fmla="*/ 17 h 23"/>
                <a:gd name="T24" fmla="*/ 20 w 27"/>
                <a:gd name="T25" fmla="*/ 19 h 23"/>
                <a:gd name="T26" fmla="*/ 21 w 27"/>
                <a:gd name="T27" fmla="*/ 23 h 23"/>
                <a:gd name="T28" fmla="*/ 27 w 27"/>
                <a:gd name="T29" fmla="*/ 22 h 23"/>
                <a:gd name="T30" fmla="*/ 25 w 27"/>
                <a:gd name="T31" fmla="*/ 1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 h="23">
                  <a:moveTo>
                    <a:pt x="25" y="18"/>
                  </a:moveTo>
                  <a:cubicBezTo>
                    <a:pt x="25" y="16"/>
                    <a:pt x="20" y="14"/>
                    <a:pt x="20" y="12"/>
                  </a:cubicBezTo>
                  <a:cubicBezTo>
                    <a:pt x="20" y="10"/>
                    <a:pt x="17" y="7"/>
                    <a:pt x="17" y="5"/>
                  </a:cubicBezTo>
                  <a:cubicBezTo>
                    <a:pt x="17" y="4"/>
                    <a:pt x="16" y="2"/>
                    <a:pt x="15" y="1"/>
                  </a:cubicBezTo>
                  <a:cubicBezTo>
                    <a:pt x="13" y="0"/>
                    <a:pt x="10" y="0"/>
                    <a:pt x="8" y="0"/>
                  </a:cubicBezTo>
                  <a:cubicBezTo>
                    <a:pt x="5" y="0"/>
                    <a:pt x="3" y="1"/>
                    <a:pt x="0" y="2"/>
                  </a:cubicBezTo>
                  <a:cubicBezTo>
                    <a:pt x="1" y="4"/>
                    <a:pt x="0" y="5"/>
                    <a:pt x="1" y="8"/>
                  </a:cubicBezTo>
                  <a:cubicBezTo>
                    <a:pt x="3" y="12"/>
                    <a:pt x="6" y="10"/>
                    <a:pt x="8" y="11"/>
                  </a:cubicBezTo>
                  <a:cubicBezTo>
                    <a:pt x="8" y="11"/>
                    <a:pt x="9" y="12"/>
                    <a:pt x="9" y="14"/>
                  </a:cubicBezTo>
                  <a:cubicBezTo>
                    <a:pt x="9" y="14"/>
                    <a:pt x="9" y="14"/>
                    <a:pt x="10" y="14"/>
                  </a:cubicBezTo>
                  <a:cubicBezTo>
                    <a:pt x="11" y="14"/>
                    <a:pt x="12" y="15"/>
                    <a:pt x="12" y="15"/>
                  </a:cubicBezTo>
                  <a:cubicBezTo>
                    <a:pt x="14" y="16"/>
                    <a:pt x="15" y="17"/>
                    <a:pt x="16" y="17"/>
                  </a:cubicBezTo>
                  <a:cubicBezTo>
                    <a:pt x="17" y="18"/>
                    <a:pt x="18" y="16"/>
                    <a:pt x="20" y="19"/>
                  </a:cubicBezTo>
                  <a:cubicBezTo>
                    <a:pt x="21" y="21"/>
                    <a:pt x="22" y="21"/>
                    <a:pt x="21" y="23"/>
                  </a:cubicBezTo>
                  <a:cubicBezTo>
                    <a:pt x="23" y="23"/>
                    <a:pt x="25" y="23"/>
                    <a:pt x="27" y="22"/>
                  </a:cubicBezTo>
                  <a:cubicBezTo>
                    <a:pt x="26" y="20"/>
                    <a:pt x="25" y="19"/>
                    <a:pt x="25" y="18"/>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233" name="Freeform 176">
              <a:extLst>
                <a:ext uri="{FF2B5EF4-FFF2-40B4-BE49-F238E27FC236}">
                  <a16:creationId xmlns:a16="http://schemas.microsoft.com/office/drawing/2014/main" xmlns="" id="{6E928E44-D280-4ABD-989E-0F794C91776A}"/>
                </a:ext>
              </a:extLst>
            </p:cNvPr>
            <p:cNvSpPr>
              <a:spLocks noEditPoints="1"/>
            </p:cNvSpPr>
            <p:nvPr/>
          </p:nvSpPr>
          <p:spPr bwMode="auto">
            <a:xfrm>
              <a:off x="17264284" y="3045491"/>
              <a:ext cx="103188" cy="84137"/>
            </a:xfrm>
            <a:custGeom>
              <a:avLst/>
              <a:gdLst>
                <a:gd name="T0" fmla="*/ 38 w 40"/>
                <a:gd name="T1" fmla="*/ 10 h 32"/>
                <a:gd name="T2" fmla="*/ 30 w 40"/>
                <a:gd name="T3" fmla="*/ 1 h 32"/>
                <a:gd name="T4" fmla="*/ 25 w 40"/>
                <a:gd name="T5" fmla="*/ 5 h 32"/>
                <a:gd name="T6" fmla="*/ 22 w 40"/>
                <a:gd name="T7" fmla="*/ 5 h 32"/>
                <a:gd name="T8" fmla="*/ 16 w 40"/>
                <a:gd name="T9" fmla="*/ 1 h 32"/>
                <a:gd name="T10" fmla="*/ 13 w 40"/>
                <a:gd name="T11" fmla="*/ 0 h 32"/>
                <a:gd name="T12" fmla="*/ 11 w 40"/>
                <a:gd name="T13" fmla="*/ 3 h 32"/>
                <a:gd name="T14" fmla="*/ 14 w 40"/>
                <a:gd name="T15" fmla="*/ 6 h 32"/>
                <a:gd name="T16" fmla="*/ 8 w 40"/>
                <a:gd name="T17" fmla="*/ 6 h 32"/>
                <a:gd name="T18" fmla="*/ 2 w 40"/>
                <a:gd name="T19" fmla="*/ 4 h 32"/>
                <a:gd name="T20" fmla="*/ 5 w 40"/>
                <a:gd name="T21" fmla="*/ 10 h 32"/>
                <a:gd name="T22" fmla="*/ 8 w 40"/>
                <a:gd name="T23" fmla="*/ 17 h 32"/>
                <a:gd name="T24" fmla="*/ 13 w 40"/>
                <a:gd name="T25" fmla="*/ 23 h 32"/>
                <a:gd name="T26" fmla="*/ 15 w 40"/>
                <a:gd name="T27" fmla="*/ 27 h 32"/>
                <a:gd name="T28" fmla="*/ 24 w 40"/>
                <a:gd name="T29" fmla="*/ 21 h 32"/>
                <a:gd name="T30" fmla="*/ 26 w 40"/>
                <a:gd name="T31" fmla="*/ 28 h 32"/>
                <a:gd name="T32" fmla="*/ 31 w 40"/>
                <a:gd name="T33" fmla="*/ 32 h 32"/>
                <a:gd name="T34" fmla="*/ 33 w 40"/>
                <a:gd name="T35" fmla="*/ 28 h 32"/>
                <a:gd name="T36" fmla="*/ 38 w 40"/>
                <a:gd name="T37" fmla="*/ 10 h 32"/>
                <a:gd name="T38" fmla="*/ 4 w 40"/>
                <a:gd name="T39" fmla="*/ 22 h 32"/>
                <a:gd name="T40" fmla="*/ 0 w 40"/>
                <a:gd name="T41" fmla="*/ 20 h 32"/>
                <a:gd name="T42" fmla="*/ 3 w 40"/>
                <a:gd name="T43" fmla="*/ 25 h 32"/>
                <a:gd name="T44" fmla="*/ 8 w 40"/>
                <a:gd name="T45" fmla="*/ 28 h 32"/>
                <a:gd name="T46" fmla="*/ 9 w 40"/>
                <a:gd name="T47" fmla="*/ 28 h 32"/>
                <a:gd name="T48" fmla="*/ 8 w 40"/>
                <a:gd name="T49" fmla="*/ 24 h 32"/>
                <a:gd name="T50" fmla="*/ 4 w 40"/>
                <a:gd name="T51" fmla="*/ 2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 h="32">
                  <a:moveTo>
                    <a:pt x="38" y="10"/>
                  </a:moveTo>
                  <a:cubicBezTo>
                    <a:pt x="37" y="9"/>
                    <a:pt x="34" y="5"/>
                    <a:pt x="30" y="1"/>
                  </a:cubicBezTo>
                  <a:cubicBezTo>
                    <a:pt x="29" y="4"/>
                    <a:pt x="26" y="3"/>
                    <a:pt x="25" y="5"/>
                  </a:cubicBezTo>
                  <a:cubicBezTo>
                    <a:pt x="25" y="7"/>
                    <a:pt x="23" y="5"/>
                    <a:pt x="22" y="5"/>
                  </a:cubicBezTo>
                  <a:cubicBezTo>
                    <a:pt x="21" y="5"/>
                    <a:pt x="18" y="1"/>
                    <a:pt x="16" y="1"/>
                  </a:cubicBezTo>
                  <a:cubicBezTo>
                    <a:pt x="15" y="1"/>
                    <a:pt x="14" y="0"/>
                    <a:pt x="13" y="0"/>
                  </a:cubicBezTo>
                  <a:cubicBezTo>
                    <a:pt x="12" y="1"/>
                    <a:pt x="11" y="2"/>
                    <a:pt x="11" y="3"/>
                  </a:cubicBezTo>
                  <a:cubicBezTo>
                    <a:pt x="12" y="4"/>
                    <a:pt x="15" y="5"/>
                    <a:pt x="14" y="6"/>
                  </a:cubicBezTo>
                  <a:cubicBezTo>
                    <a:pt x="13" y="7"/>
                    <a:pt x="9" y="7"/>
                    <a:pt x="8" y="6"/>
                  </a:cubicBezTo>
                  <a:cubicBezTo>
                    <a:pt x="7" y="5"/>
                    <a:pt x="3" y="3"/>
                    <a:pt x="2" y="4"/>
                  </a:cubicBezTo>
                  <a:cubicBezTo>
                    <a:pt x="2" y="5"/>
                    <a:pt x="6" y="9"/>
                    <a:pt x="5" y="10"/>
                  </a:cubicBezTo>
                  <a:cubicBezTo>
                    <a:pt x="5" y="12"/>
                    <a:pt x="8" y="15"/>
                    <a:pt x="8" y="17"/>
                  </a:cubicBezTo>
                  <a:cubicBezTo>
                    <a:pt x="8" y="19"/>
                    <a:pt x="13" y="21"/>
                    <a:pt x="13" y="23"/>
                  </a:cubicBezTo>
                  <a:cubicBezTo>
                    <a:pt x="13" y="24"/>
                    <a:pt x="14" y="25"/>
                    <a:pt x="15" y="27"/>
                  </a:cubicBezTo>
                  <a:cubicBezTo>
                    <a:pt x="18" y="25"/>
                    <a:pt x="22" y="22"/>
                    <a:pt x="24" y="21"/>
                  </a:cubicBezTo>
                  <a:cubicBezTo>
                    <a:pt x="28" y="19"/>
                    <a:pt x="26" y="27"/>
                    <a:pt x="26" y="28"/>
                  </a:cubicBezTo>
                  <a:cubicBezTo>
                    <a:pt x="25" y="29"/>
                    <a:pt x="28" y="31"/>
                    <a:pt x="31" y="32"/>
                  </a:cubicBezTo>
                  <a:cubicBezTo>
                    <a:pt x="31" y="31"/>
                    <a:pt x="32" y="29"/>
                    <a:pt x="33" y="28"/>
                  </a:cubicBezTo>
                  <a:cubicBezTo>
                    <a:pt x="37" y="23"/>
                    <a:pt x="40" y="15"/>
                    <a:pt x="38" y="10"/>
                  </a:cubicBezTo>
                  <a:close/>
                  <a:moveTo>
                    <a:pt x="4" y="22"/>
                  </a:moveTo>
                  <a:cubicBezTo>
                    <a:pt x="3" y="22"/>
                    <a:pt x="2" y="21"/>
                    <a:pt x="0" y="20"/>
                  </a:cubicBezTo>
                  <a:cubicBezTo>
                    <a:pt x="0" y="22"/>
                    <a:pt x="0" y="24"/>
                    <a:pt x="3" y="25"/>
                  </a:cubicBezTo>
                  <a:cubicBezTo>
                    <a:pt x="6" y="26"/>
                    <a:pt x="1" y="27"/>
                    <a:pt x="8" y="28"/>
                  </a:cubicBezTo>
                  <a:cubicBezTo>
                    <a:pt x="8" y="28"/>
                    <a:pt x="9" y="28"/>
                    <a:pt x="9" y="28"/>
                  </a:cubicBezTo>
                  <a:cubicBezTo>
                    <a:pt x="10" y="26"/>
                    <a:pt x="9" y="26"/>
                    <a:pt x="8" y="24"/>
                  </a:cubicBezTo>
                  <a:cubicBezTo>
                    <a:pt x="6" y="21"/>
                    <a:pt x="5" y="23"/>
                    <a:pt x="4" y="22"/>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234" name="Freeform 177">
              <a:extLst>
                <a:ext uri="{FF2B5EF4-FFF2-40B4-BE49-F238E27FC236}">
                  <a16:creationId xmlns:a16="http://schemas.microsoft.com/office/drawing/2014/main" xmlns="" id="{75D36792-4C42-41F4-A62C-8C8D597D6577}"/>
                </a:ext>
              </a:extLst>
            </p:cNvPr>
            <p:cNvSpPr>
              <a:spLocks/>
            </p:cNvSpPr>
            <p:nvPr/>
          </p:nvSpPr>
          <p:spPr bwMode="auto">
            <a:xfrm>
              <a:off x="17597659" y="3132804"/>
              <a:ext cx="300038" cy="215900"/>
            </a:xfrm>
            <a:custGeom>
              <a:avLst/>
              <a:gdLst>
                <a:gd name="T0" fmla="*/ 111 w 115"/>
                <a:gd name="T1" fmla="*/ 12 h 83"/>
                <a:gd name="T2" fmla="*/ 108 w 115"/>
                <a:gd name="T3" fmla="*/ 10 h 83"/>
                <a:gd name="T4" fmla="*/ 99 w 115"/>
                <a:gd name="T5" fmla="*/ 16 h 83"/>
                <a:gd name="T6" fmla="*/ 95 w 115"/>
                <a:gd name="T7" fmla="*/ 17 h 83"/>
                <a:gd name="T8" fmla="*/ 91 w 115"/>
                <a:gd name="T9" fmla="*/ 17 h 83"/>
                <a:gd name="T10" fmla="*/ 91 w 115"/>
                <a:gd name="T11" fmla="*/ 7 h 83"/>
                <a:gd name="T12" fmla="*/ 88 w 115"/>
                <a:gd name="T13" fmla="*/ 1 h 83"/>
                <a:gd name="T14" fmla="*/ 80 w 115"/>
                <a:gd name="T15" fmla="*/ 8 h 83"/>
                <a:gd name="T16" fmla="*/ 73 w 115"/>
                <a:gd name="T17" fmla="*/ 11 h 83"/>
                <a:gd name="T18" fmla="*/ 64 w 115"/>
                <a:gd name="T19" fmla="*/ 14 h 83"/>
                <a:gd name="T20" fmla="*/ 57 w 115"/>
                <a:gd name="T21" fmla="*/ 12 h 83"/>
                <a:gd name="T22" fmla="*/ 51 w 115"/>
                <a:gd name="T23" fmla="*/ 9 h 83"/>
                <a:gd name="T24" fmla="*/ 44 w 115"/>
                <a:gd name="T25" fmla="*/ 8 h 83"/>
                <a:gd name="T26" fmla="*/ 38 w 115"/>
                <a:gd name="T27" fmla="*/ 12 h 83"/>
                <a:gd name="T28" fmla="*/ 33 w 115"/>
                <a:gd name="T29" fmla="*/ 20 h 83"/>
                <a:gd name="T30" fmla="*/ 22 w 115"/>
                <a:gd name="T31" fmla="*/ 27 h 83"/>
                <a:gd name="T32" fmla="*/ 15 w 115"/>
                <a:gd name="T33" fmla="*/ 29 h 83"/>
                <a:gd name="T34" fmla="*/ 9 w 115"/>
                <a:gd name="T35" fmla="*/ 28 h 83"/>
                <a:gd name="T36" fmla="*/ 5 w 115"/>
                <a:gd name="T37" fmla="*/ 31 h 83"/>
                <a:gd name="T38" fmla="*/ 2 w 115"/>
                <a:gd name="T39" fmla="*/ 38 h 83"/>
                <a:gd name="T40" fmla="*/ 1 w 115"/>
                <a:gd name="T41" fmla="*/ 45 h 83"/>
                <a:gd name="T42" fmla="*/ 1 w 115"/>
                <a:gd name="T43" fmla="*/ 53 h 83"/>
                <a:gd name="T44" fmla="*/ 3 w 115"/>
                <a:gd name="T45" fmla="*/ 62 h 83"/>
                <a:gd name="T46" fmla="*/ 10 w 115"/>
                <a:gd name="T47" fmla="*/ 67 h 83"/>
                <a:gd name="T48" fmla="*/ 2 w 115"/>
                <a:gd name="T49" fmla="*/ 78 h 83"/>
                <a:gd name="T50" fmla="*/ 4 w 115"/>
                <a:gd name="T51" fmla="*/ 81 h 83"/>
                <a:gd name="T52" fmla="*/ 16 w 115"/>
                <a:gd name="T53" fmla="*/ 82 h 83"/>
                <a:gd name="T54" fmla="*/ 49 w 115"/>
                <a:gd name="T55" fmla="*/ 78 h 83"/>
                <a:gd name="T56" fmla="*/ 48 w 115"/>
                <a:gd name="T57" fmla="*/ 70 h 83"/>
                <a:gd name="T58" fmla="*/ 54 w 115"/>
                <a:gd name="T59" fmla="*/ 66 h 83"/>
                <a:gd name="T60" fmla="*/ 60 w 115"/>
                <a:gd name="T61" fmla="*/ 65 h 83"/>
                <a:gd name="T62" fmla="*/ 68 w 115"/>
                <a:gd name="T63" fmla="*/ 62 h 83"/>
                <a:gd name="T64" fmla="*/ 72 w 115"/>
                <a:gd name="T65" fmla="*/ 58 h 83"/>
                <a:gd name="T66" fmla="*/ 75 w 115"/>
                <a:gd name="T67" fmla="*/ 50 h 83"/>
                <a:gd name="T68" fmla="*/ 80 w 115"/>
                <a:gd name="T69" fmla="*/ 46 h 83"/>
                <a:gd name="T70" fmla="*/ 78 w 115"/>
                <a:gd name="T71" fmla="*/ 41 h 83"/>
                <a:gd name="T72" fmla="*/ 87 w 115"/>
                <a:gd name="T73" fmla="*/ 41 h 83"/>
                <a:gd name="T74" fmla="*/ 87 w 115"/>
                <a:gd name="T75" fmla="*/ 35 h 83"/>
                <a:gd name="T76" fmla="*/ 91 w 115"/>
                <a:gd name="T77" fmla="*/ 29 h 83"/>
                <a:gd name="T78" fmla="*/ 90 w 115"/>
                <a:gd name="T79" fmla="*/ 25 h 83"/>
                <a:gd name="T80" fmla="*/ 91 w 115"/>
                <a:gd name="T81" fmla="*/ 20 h 83"/>
                <a:gd name="T82" fmla="*/ 92 w 115"/>
                <a:gd name="T83" fmla="*/ 20 h 83"/>
                <a:gd name="T84" fmla="*/ 96 w 115"/>
                <a:gd name="T85" fmla="*/ 19 h 83"/>
                <a:gd name="T86" fmla="*/ 107 w 115"/>
                <a:gd name="T87" fmla="*/ 15 h 83"/>
                <a:gd name="T88" fmla="*/ 115 w 115"/>
                <a:gd name="T89" fmla="*/ 13 h 83"/>
                <a:gd name="T90" fmla="*/ 111 w 115"/>
                <a:gd name="T91" fmla="*/ 1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5" h="83">
                  <a:moveTo>
                    <a:pt x="111" y="12"/>
                  </a:moveTo>
                  <a:cubicBezTo>
                    <a:pt x="109" y="12"/>
                    <a:pt x="110" y="11"/>
                    <a:pt x="108" y="10"/>
                  </a:cubicBezTo>
                  <a:cubicBezTo>
                    <a:pt x="107" y="9"/>
                    <a:pt x="102" y="13"/>
                    <a:pt x="99" y="16"/>
                  </a:cubicBezTo>
                  <a:cubicBezTo>
                    <a:pt x="98" y="16"/>
                    <a:pt x="96" y="17"/>
                    <a:pt x="95" y="17"/>
                  </a:cubicBezTo>
                  <a:cubicBezTo>
                    <a:pt x="93" y="17"/>
                    <a:pt x="92" y="18"/>
                    <a:pt x="91" y="17"/>
                  </a:cubicBezTo>
                  <a:cubicBezTo>
                    <a:pt x="89" y="15"/>
                    <a:pt x="94" y="9"/>
                    <a:pt x="91" y="7"/>
                  </a:cubicBezTo>
                  <a:cubicBezTo>
                    <a:pt x="87" y="6"/>
                    <a:pt x="90" y="1"/>
                    <a:pt x="88" y="1"/>
                  </a:cubicBezTo>
                  <a:cubicBezTo>
                    <a:pt x="85" y="0"/>
                    <a:pt x="80" y="5"/>
                    <a:pt x="80" y="8"/>
                  </a:cubicBezTo>
                  <a:cubicBezTo>
                    <a:pt x="80" y="10"/>
                    <a:pt x="73" y="9"/>
                    <a:pt x="73" y="11"/>
                  </a:cubicBezTo>
                  <a:cubicBezTo>
                    <a:pt x="73" y="14"/>
                    <a:pt x="66" y="11"/>
                    <a:pt x="64" y="14"/>
                  </a:cubicBezTo>
                  <a:cubicBezTo>
                    <a:pt x="63" y="16"/>
                    <a:pt x="60" y="12"/>
                    <a:pt x="57" y="12"/>
                  </a:cubicBezTo>
                  <a:cubicBezTo>
                    <a:pt x="55" y="12"/>
                    <a:pt x="54" y="9"/>
                    <a:pt x="51" y="9"/>
                  </a:cubicBezTo>
                  <a:cubicBezTo>
                    <a:pt x="48" y="10"/>
                    <a:pt x="46" y="9"/>
                    <a:pt x="44" y="8"/>
                  </a:cubicBezTo>
                  <a:cubicBezTo>
                    <a:pt x="42" y="8"/>
                    <a:pt x="40" y="13"/>
                    <a:pt x="38" y="12"/>
                  </a:cubicBezTo>
                  <a:cubicBezTo>
                    <a:pt x="35" y="11"/>
                    <a:pt x="34" y="17"/>
                    <a:pt x="33" y="20"/>
                  </a:cubicBezTo>
                  <a:cubicBezTo>
                    <a:pt x="32" y="23"/>
                    <a:pt x="21" y="23"/>
                    <a:pt x="22" y="27"/>
                  </a:cubicBezTo>
                  <a:cubicBezTo>
                    <a:pt x="22" y="30"/>
                    <a:pt x="15" y="31"/>
                    <a:pt x="15" y="29"/>
                  </a:cubicBezTo>
                  <a:cubicBezTo>
                    <a:pt x="14" y="27"/>
                    <a:pt x="10" y="28"/>
                    <a:pt x="9" y="28"/>
                  </a:cubicBezTo>
                  <a:cubicBezTo>
                    <a:pt x="8" y="27"/>
                    <a:pt x="5" y="28"/>
                    <a:pt x="5" y="31"/>
                  </a:cubicBezTo>
                  <a:cubicBezTo>
                    <a:pt x="6" y="35"/>
                    <a:pt x="3" y="36"/>
                    <a:pt x="2" y="38"/>
                  </a:cubicBezTo>
                  <a:cubicBezTo>
                    <a:pt x="2" y="39"/>
                    <a:pt x="0" y="43"/>
                    <a:pt x="1" y="45"/>
                  </a:cubicBezTo>
                  <a:cubicBezTo>
                    <a:pt x="3" y="47"/>
                    <a:pt x="0" y="50"/>
                    <a:pt x="1" y="53"/>
                  </a:cubicBezTo>
                  <a:cubicBezTo>
                    <a:pt x="3" y="57"/>
                    <a:pt x="2" y="61"/>
                    <a:pt x="3" y="62"/>
                  </a:cubicBezTo>
                  <a:cubicBezTo>
                    <a:pt x="3" y="64"/>
                    <a:pt x="9" y="63"/>
                    <a:pt x="10" y="67"/>
                  </a:cubicBezTo>
                  <a:cubicBezTo>
                    <a:pt x="12" y="70"/>
                    <a:pt x="3" y="76"/>
                    <a:pt x="2" y="78"/>
                  </a:cubicBezTo>
                  <a:cubicBezTo>
                    <a:pt x="2" y="79"/>
                    <a:pt x="3" y="80"/>
                    <a:pt x="4" y="81"/>
                  </a:cubicBezTo>
                  <a:cubicBezTo>
                    <a:pt x="7" y="81"/>
                    <a:pt x="12" y="81"/>
                    <a:pt x="16" y="82"/>
                  </a:cubicBezTo>
                  <a:cubicBezTo>
                    <a:pt x="21" y="83"/>
                    <a:pt x="48" y="79"/>
                    <a:pt x="49" y="78"/>
                  </a:cubicBezTo>
                  <a:cubicBezTo>
                    <a:pt x="49" y="77"/>
                    <a:pt x="48" y="71"/>
                    <a:pt x="48" y="70"/>
                  </a:cubicBezTo>
                  <a:cubicBezTo>
                    <a:pt x="48" y="69"/>
                    <a:pt x="51" y="66"/>
                    <a:pt x="54" y="66"/>
                  </a:cubicBezTo>
                  <a:cubicBezTo>
                    <a:pt x="57" y="66"/>
                    <a:pt x="60" y="67"/>
                    <a:pt x="60" y="65"/>
                  </a:cubicBezTo>
                  <a:cubicBezTo>
                    <a:pt x="60" y="63"/>
                    <a:pt x="68" y="60"/>
                    <a:pt x="68" y="62"/>
                  </a:cubicBezTo>
                  <a:cubicBezTo>
                    <a:pt x="69" y="64"/>
                    <a:pt x="72" y="63"/>
                    <a:pt x="72" y="58"/>
                  </a:cubicBezTo>
                  <a:cubicBezTo>
                    <a:pt x="72" y="54"/>
                    <a:pt x="72" y="50"/>
                    <a:pt x="75" y="50"/>
                  </a:cubicBezTo>
                  <a:cubicBezTo>
                    <a:pt x="78" y="50"/>
                    <a:pt x="80" y="48"/>
                    <a:pt x="80" y="46"/>
                  </a:cubicBezTo>
                  <a:cubicBezTo>
                    <a:pt x="80" y="45"/>
                    <a:pt x="77" y="42"/>
                    <a:pt x="78" y="41"/>
                  </a:cubicBezTo>
                  <a:cubicBezTo>
                    <a:pt x="78" y="40"/>
                    <a:pt x="86" y="44"/>
                    <a:pt x="87" y="41"/>
                  </a:cubicBezTo>
                  <a:cubicBezTo>
                    <a:pt x="88" y="39"/>
                    <a:pt x="86" y="37"/>
                    <a:pt x="87" y="35"/>
                  </a:cubicBezTo>
                  <a:cubicBezTo>
                    <a:pt x="88" y="33"/>
                    <a:pt x="91" y="31"/>
                    <a:pt x="91" y="29"/>
                  </a:cubicBezTo>
                  <a:cubicBezTo>
                    <a:pt x="91" y="27"/>
                    <a:pt x="91" y="26"/>
                    <a:pt x="90" y="25"/>
                  </a:cubicBezTo>
                  <a:cubicBezTo>
                    <a:pt x="88" y="23"/>
                    <a:pt x="89" y="21"/>
                    <a:pt x="91" y="20"/>
                  </a:cubicBezTo>
                  <a:cubicBezTo>
                    <a:pt x="91" y="20"/>
                    <a:pt x="92" y="20"/>
                    <a:pt x="92" y="20"/>
                  </a:cubicBezTo>
                  <a:cubicBezTo>
                    <a:pt x="94" y="20"/>
                    <a:pt x="95" y="19"/>
                    <a:pt x="96" y="19"/>
                  </a:cubicBezTo>
                  <a:cubicBezTo>
                    <a:pt x="99" y="16"/>
                    <a:pt x="105" y="15"/>
                    <a:pt x="107" y="15"/>
                  </a:cubicBezTo>
                  <a:cubicBezTo>
                    <a:pt x="109" y="16"/>
                    <a:pt x="113" y="15"/>
                    <a:pt x="115" y="13"/>
                  </a:cubicBezTo>
                  <a:cubicBezTo>
                    <a:pt x="114" y="12"/>
                    <a:pt x="112" y="12"/>
                    <a:pt x="111" y="12"/>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235" name="Freeform 178">
              <a:extLst>
                <a:ext uri="{FF2B5EF4-FFF2-40B4-BE49-F238E27FC236}">
                  <a16:creationId xmlns:a16="http://schemas.microsoft.com/office/drawing/2014/main" xmlns="" id="{B534D2D9-A7CF-4571-80AD-431541B90E18}"/>
                </a:ext>
              </a:extLst>
            </p:cNvPr>
            <p:cNvSpPr>
              <a:spLocks/>
            </p:cNvSpPr>
            <p:nvPr/>
          </p:nvSpPr>
          <p:spPr bwMode="auto">
            <a:xfrm>
              <a:off x="17607184" y="3166141"/>
              <a:ext cx="347663" cy="312737"/>
            </a:xfrm>
            <a:custGeom>
              <a:avLst/>
              <a:gdLst>
                <a:gd name="T0" fmla="*/ 122 w 133"/>
                <a:gd name="T1" fmla="*/ 6 h 120"/>
                <a:gd name="T2" fmla="*/ 113 w 133"/>
                <a:gd name="T3" fmla="*/ 1 h 120"/>
                <a:gd name="T4" fmla="*/ 103 w 133"/>
                <a:gd name="T5" fmla="*/ 2 h 120"/>
                <a:gd name="T6" fmla="*/ 88 w 133"/>
                <a:gd name="T7" fmla="*/ 7 h 120"/>
                <a:gd name="T8" fmla="*/ 86 w 133"/>
                <a:gd name="T9" fmla="*/ 12 h 120"/>
                <a:gd name="T10" fmla="*/ 83 w 133"/>
                <a:gd name="T11" fmla="*/ 22 h 120"/>
                <a:gd name="T12" fmla="*/ 74 w 133"/>
                <a:gd name="T13" fmla="*/ 28 h 120"/>
                <a:gd name="T14" fmla="*/ 71 w 133"/>
                <a:gd name="T15" fmla="*/ 37 h 120"/>
                <a:gd name="T16" fmla="*/ 64 w 133"/>
                <a:gd name="T17" fmla="*/ 49 h 120"/>
                <a:gd name="T18" fmla="*/ 50 w 133"/>
                <a:gd name="T19" fmla="*/ 53 h 120"/>
                <a:gd name="T20" fmla="*/ 45 w 133"/>
                <a:gd name="T21" fmla="*/ 65 h 120"/>
                <a:gd name="T22" fmla="*/ 0 w 133"/>
                <a:gd name="T23" fmla="*/ 68 h 120"/>
                <a:gd name="T24" fmla="*/ 12 w 133"/>
                <a:gd name="T25" fmla="*/ 79 h 120"/>
                <a:gd name="T26" fmla="*/ 18 w 133"/>
                <a:gd name="T27" fmla="*/ 94 h 120"/>
                <a:gd name="T28" fmla="*/ 5 w 133"/>
                <a:gd name="T29" fmla="*/ 104 h 120"/>
                <a:gd name="T30" fmla="*/ 20 w 133"/>
                <a:gd name="T31" fmla="*/ 105 h 120"/>
                <a:gd name="T32" fmla="*/ 40 w 133"/>
                <a:gd name="T33" fmla="*/ 104 h 120"/>
                <a:gd name="T34" fmla="*/ 50 w 133"/>
                <a:gd name="T35" fmla="*/ 111 h 120"/>
                <a:gd name="T36" fmla="*/ 58 w 133"/>
                <a:gd name="T37" fmla="*/ 119 h 120"/>
                <a:gd name="T38" fmla="*/ 60 w 133"/>
                <a:gd name="T39" fmla="*/ 119 h 120"/>
                <a:gd name="T40" fmla="*/ 75 w 133"/>
                <a:gd name="T41" fmla="*/ 114 h 120"/>
                <a:gd name="T42" fmla="*/ 78 w 133"/>
                <a:gd name="T43" fmla="*/ 105 h 120"/>
                <a:gd name="T44" fmla="*/ 70 w 133"/>
                <a:gd name="T45" fmla="*/ 91 h 120"/>
                <a:gd name="T46" fmla="*/ 82 w 133"/>
                <a:gd name="T47" fmla="*/ 84 h 120"/>
                <a:gd name="T48" fmla="*/ 92 w 133"/>
                <a:gd name="T49" fmla="*/ 78 h 120"/>
                <a:gd name="T50" fmla="*/ 101 w 133"/>
                <a:gd name="T51" fmla="*/ 65 h 120"/>
                <a:gd name="T52" fmla="*/ 110 w 133"/>
                <a:gd name="T53" fmla="*/ 57 h 120"/>
                <a:gd name="T54" fmla="*/ 116 w 133"/>
                <a:gd name="T55" fmla="*/ 45 h 120"/>
                <a:gd name="T56" fmla="*/ 107 w 133"/>
                <a:gd name="T57" fmla="*/ 34 h 120"/>
                <a:gd name="T58" fmla="*/ 110 w 133"/>
                <a:gd name="T59" fmla="*/ 22 h 120"/>
                <a:gd name="T60" fmla="*/ 130 w 133"/>
                <a:gd name="T61" fmla="*/ 21 h 120"/>
                <a:gd name="T62" fmla="*/ 127 w 133"/>
                <a:gd name="T63" fmla="*/ 1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3" h="120">
                  <a:moveTo>
                    <a:pt x="127" y="12"/>
                  </a:moveTo>
                  <a:cubicBezTo>
                    <a:pt x="123" y="11"/>
                    <a:pt x="122" y="7"/>
                    <a:pt x="122" y="6"/>
                  </a:cubicBezTo>
                  <a:cubicBezTo>
                    <a:pt x="122" y="5"/>
                    <a:pt x="118" y="3"/>
                    <a:pt x="115" y="0"/>
                  </a:cubicBezTo>
                  <a:cubicBezTo>
                    <a:pt x="115" y="0"/>
                    <a:pt x="114" y="1"/>
                    <a:pt x="113" y="1"/>
                  </a:cubicBezTo>
                  <a:cubicBezTo>
                    <a:pt x="112" y="0"/>
                    <a:pt x="112" y="0"/>
                    <a:pt x="111" y="0"/>
                  </a:cubicBezTo>
                  <a:cubicBezTo>
                    <a:pt x="109" y="2"/>
                    <a:pt x="105" y="3"/>
                    <a:pt x="103" y="2"/>
                  </a:cubicBezTo>
                  <a:cubicBezTo>
                    <a:pt x="101" y="2"/>
                    <a:pt x="95" y="3"/>
                    <a:pt x="92" y="6"/>
                  </a:cubicBezTo>
                  <a:cubicBezTo>
                    <a:pt x="91" y="6"/>
                    <a:pt x="90" y="7"/>
                    <a:pt x="88" y="7"/>
                  </a:cubicBezTo>
                  <a:cubicBezTo>
                    <a:pt x="88" y="7"/>
                    <a:pt x="87" y="7"/>
                    <a:pt x="87" y="7"/>
                  </a:cubicBezTo>
                  <a:cubicBezTo>
                    <a:pt x="85" y="8"/>
                    <a:pt x="84" y="10"/>
                    <a:pt x="86" y="12"/>
                  </a:cubicBezTo>
                  <a:cubicBezTo>
                    <a:pt x="87" y="13"/>
                    <a:pt x="87" y="14"/>
                    <a:pt x="87" y="16"/>
                  </a:cubicBezTo>
                  <a:cubicBezTo>
                    <a:pt x="87" y="18"/>
                    <a:pt x="84" y="20"/>
                    <a:pt x="83" y="22"/>
                  </a:cubicBezTo>
                  <a:cubicBezTo>
                    <a:pt x="82" y="24"/>
                    <a:pt x="84" y="26"/>
                    <a:pt x="83" y="28"/>
                  </a:cubicBezTo>
                  <a:cubicBezTo>
                    <a:pt x="82" y="31"/>
                    <a:pt x="74" y="27"/>
                    <a:pt x="74" y="28"/>
                  </a:cubicBezTo>
                  <a:cubicBezTo>
                    <a:pt x="73" y="29"/>
                    <a:pt x="76" y="32"/>
                    <a:pt x="76" y="33"/>
                  </a:cubicBezTo>
                  <a:cubicBezTo>
                    <a:pt x="76" y="35"/>
                    <a:pt x="74" y="37"/>
                    <a:pt x="71" y="37"/>
                  </a:cubicBezTo>
                  <a:cubicBezTo>
                    <a:pt x="68" y="37"/>
                    <a:pt x="68" y="41"/>
                    <a:pt x="68" y="45"/>
                  </a:cubicBezTo>
                  <a:cubicBezTo>
                    <a:pt x="68" y="50"/>
                    <a:pt x="65" y="51"/>
                    <a:pt x="64" y="49"/>
                  </a:cubicBezTo>
                  <a:cubicBezTo>
                    <a:pt x="64" y="47"/>
                    <a:pt x="56" y="50"/>
                    <a:pt x="56" y="52"/>
                  </a:cubicBezTo>
                  <a:cubicBezTo>
                    <a:pt x="56" y="54"/>
                    <a:pt x="53" y="53"/>
                    <a:pt x="50" y="53"/>
                  </a:cubicBezTo>
                  <a:cubicBezTo>
                    <a:pt x="47" y="53"/>
                    <a:pt x="44" y="56"/>
                    <a:pt x="44" y="57"/>
                  </a:cubicBezTo>
                  <a:cubicBezTo>
                    <a:pt x="44" y="58"/>
                    <a:pt x="45" y="64"/>
                    <a:pt x="45" y="65"/>
                  </a:cubicBezTo>
                  <a:cubicBezTo>
                    <a:pt x="44" y="66"/>
                    <a:pt x="17" y="70"/>
                    <a:pt x="12" y="69"/>
                  </a:cubicBezTo>
                  <a:cubicBezTo>
                    <a:pt x="8" y="68"/>
                    <a:pt x="3" y="68"/>
                    <a:pt x="0" y="68"/>
                  </a:cubicBezTo>
                  <a:cubicBezTo>
                    <a:pt x="1" y="69"/>
                    <a:pt x="3" y="71"/>
                    <a:pt x="4" y="72"/>
                  </a:cubicBezTo>
                  <a:cubicBezTo>
                    <a:pt x="5" y="75"/>
                    <a:pt x="8" y="77"/>
                    <a:pt x="12" y="79"/>
                  </a:cubicBezTo>
                  <a:cubicBezTo>
                    <a:pt x="16" y="81"/>
                    <a:pt x="14" y="87"/>
                    <a:pt x="16" y="88"/>
                  </a:cubicBezTo>
                  <a:cubicBezTo>
                    <a:pt x="18" y="89"/>
                    <a:pt x="20" y="94"/>
                    <a:pt x="18" y="94"/>
                  </a:cubicBezTo>
                  <a:cubicBezTo>
                    <a:pt x="15" y="94"/>
                    <a:pt x="13" y="95"/>
                    <a:pt x="10" y="96"/>
                  </a:cubicBezTo>
                  <a:cubicBezTo>
                    <a:pt x="8" y="97"/>
                    <a:pt x="5" y="101"/>
                    <a:pt x="5" y="104"/>
                  </a:cubicBezTo>
                  <a:cubicBezTo>
                    <a:pt x="5" y="105"/>
                    <a:pt x="5" y="106"/>
                    <a:pt x="5" y="106"/>
                  </a:cubicBezTo>
                  <a:cubicBezTo>
                    <a:pt x="12" y="107"/>
                    <a:pt x="20" y="106"/>
                    <a:pt x="20" y="105"/>
                  </a:cubicBezTo>
                  <a:cubicBezTo>
                    <a:pt x="22" y="104"/>
                    <a:pt x="25" y="103"/>
                    <a:pt x="27" y="104"/>
                  </a:cubicBezTo>
                  <a:cubicBezTo>
                    <a:pt x="28" y="106"/>
                    <a:pt x="36" y="106"/>
                    <a:pt x="40" y="104"/>
                  </a:cubicBezTo>
                  <a:cubicBezTo>
                    <a:pt x="43" y="102"/>
                    <a:pt x="46" y="104"/>
                    <a:pt x="46" y="106"/>
                  </a:cubicBezTo>
                  <a:cubicBezTo>
                    <a:pt x="46" y="108"/>
                    <a:pt x="48" y="109"/>
                    <a:pt x="50" y="111"/>
                  </a:cubicBezTo>
                  <a:cubicBezTo>
                    <a:pt x="51" y="112"/>
                    <a:pt x="50" y="114"/>
                    <a:pt x="51" y="116"/>
                  </a:cubicBezTo>
                  <a:cubicBezTo>
                    <a:pt x="52" y="118"/>
                    <a:pt x="55" y="118"/>
                    <a:pt x="58" y="119"/>
                  </a:cubicBezTo>
                  <a:cubicBezTo>
                    <a:pt x="59" y="119"/>
                    <a:pt x="59" y="120"/>
                    <a:pt x="60" y="120"/>
                  </a:cubicBezTo>
                  <a:cubicBezTo>
                    <a:pt x="60" y="120"/>
                    <a:pt x="60" y="119"/>
                    <a:pt x="60" y="119"/>
                  </a:cubicBezTo>
                  <a:cubicBezTo>
                    <a:pt x="62" y="117"/>
                    <a:pt x="62" y="113"/>
                    <a:pt x="67" y="114"/>
                  </a:cubicBezTo>
                  <a:cubicBezTo>
                    <a:pt x="72" y="115"/>
                    <a:pt x="72" y="113"/>
                    <a:pt x="75" y="114"/>
                  </a:cubicBezTo>
                  <a:cubicBezTo>
                    <a:pt x="78" y="115"/>
                    <a:pt x="80" y="114"/>
                    <a:pt x="81" y="112"/>
                  </a:cubicBezTo>
                  <a:cubicBezTo>
                    <a:pt x="82" y="110"/>
                    <a:pt x="80" y="107"/>
                    <a:pt x="78" y="105"/>
                  </a:cubicBezTo>
                  <a:cubicBezTo>
                    <a:pt x="77" y="103"/>
                    <a:pt x="74" y="100"/>
                    <a:pt x="75" y="97"/>
                  </a:cubicBezTo>
                  <a:cubicBezTo>
                    <a:pt x="75" y="94"/>
                    <a:pt x="70" y="94"/>
                    <a:pt x="70" y="91"/>
                  </a:cubicBezTo>
                  <a:cubicBezTo>
                    <a:pt x="70" y="89"/>
                    <a:pt x="75" y="84"/>
                    <a:pt x="76" y="83"/>
                  </a:cubicBezTo>
                  <a:cubicBezTo>
                    <a:pt x="77" y="83"/>
                    <a:pt x="81" y="86"/>
                    <a:pt x="82" y="84"/>
                  </a:cubicBezTo>
                  <a:cubicBezTo>
                    <a:pt x="83" y="82"/>
                    <a:pt x="86" y="83"/>
                    <a:pt x="87" y="84"/>
                  </a:cubicBezTo>
                  <a:cubicBezTo>
                    <a:pt x="89" y="84"/>
                    <a:pt x="91" y="81"/>
                    <a:pt x="92" y="78"/>
                  </a:cubicBezTo>
                  <a:cubicBezTo>
                    <a:pt x="92" y="75"/>
                    <a:pt x="97" y="75"/>
                    <a:pt x="98" y="74"/>
                  </a:cubicBezTo>
                  <a:cubicBezTo>
                    <a:pt x="99" y="73"/>
                    <a:pt x="101" y="66"/>
                    <a:pt x="101" y="65"/>
                  </a:cubicBezTo>
                  <a:cubicBezTo>
                    <a:pt x="102" y="64"/>
                    <a:pt x="106" y="65"/>
                    <a:pt x="106" y="61"/>
                  </a:cubicBezTo>
                  <a:cubicBezTo>
                    <a:pt x="106" y="58"/>
                    <a:pt x="108" y="57"/>
                    <a:pt x="110" y="57"/>
                  </a:cubicBezTo>
                  <a:cubicBezTo>
                    <a:pt x="112" y="56"/>
                    <a:pt x="111" y="53"/>
                    <a:pt x="112" y="51"/>
                  </a:cubicBezTo>
                  <a:cubicBezTo>
                    <a:pt x="112" y="48"/>
                    <a:pt x="113" y="45"/>
                    <a:pt x="116" y="45"/>
                  </a:cubicBezTo>
                  <a:cubicBezTo>
                    <a:pt x="118" y="44"/>
                    <a:pt x="115" y="41"/>
                    <a:pt x="112" y="41"/>
                  </a:cubicBezTo>
                  <a:cubicBezTo>
                    <a:pt x="109" y="42"/>
                    <a:pt x="107" y="34"/>
                    <a:pt x="107" y="34"/>
                  </a:cubicBezTo>
                  <a:cubicBezTo>
                    <a:pt x="107" y="34"/>
                    <a:pt x="107" y="27"/>
                    <a:pt x="106" y="26"/>
                  </a:cubicBezTo>
                  <a:cubicBezTo>
                    <a:pt x="104" y="25"/>
                    <a:pt x="106" y="22"/>
                    <a:pt x="110" y="22"/>
                  </a:cubicBezTo>
                  <a:cubicBezTo>
                    <a:pt x="113" y="22"/>
                    <a:pt x="120" y="25"/>
                    <a:pt x="122" y="24"/>
                  </a:cubicBezTo>
                  <a:cubicBezTo>
                    <a:pt x="124" y="22"/>
                    <a:pt x="129" y="21"/>
                    <a:pt x="130" y="21"/>
                  </a:cubicBezTo>
                  <a:cubicBezTo>
                    <a:pt x="131" y="20"/>
                    <a:pt x="132" y="17"/>
                    <a:pt x="133" y="16"/>
                  </a:cubicBezTo>
                  <a:cubicBezTo>
                    <a:pt x="131" y="15"/>
                    <a:pt x="129" y="13"/>
                    <a:pt x="127" y="12"/>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236" name="Freeform 179">
              <a:extLst>
                <a:ext uri="{FF2B5EF4-FFF2-40B4-BE49-F238E27FC236}">
                  <a16:creationId xmlns:a16="http://schemas.microsoft.com/office/drawing/2014/main" xmlns="" id="{B0276BA1-3739-462C-8240-A2BCE1DA2106}"/>
                </a:ext>
              </a:extLst>
            </p:cNvPr>
            <p:cNvSpPr>
              <a:spLocks noEditPoints="1"/>
            </p:cNvSpPr>
            <p:nvPr/>
          </p:nvSpPr>
          <p:spPr bwMode="auto">
            <a:xfrm>
              <a:off x="18300922" y="3866229"/>
              <a:ext cx="963613" cy="350837"/>
            </a:xfrm>
            <a:custGeom>
              <a:avLst/>
              <a:gdLst>
                <a:gd name="T0" fmla="*/ 27 w 370"/>
                <a:gd name="T1" fmla="*/ 57 h 134"/>
                <a:gd name="T2" fmla="*/ 105 w 370"/>
                <a:gd name="T3" fmla="*/ 71 h 134"/>
                <a:gd name="T4" fmla="*/ 16 w 370"/>
                <a:gd name="T5" fmla="*/ 36 h 134"/>
                <a:gd name="T6" fmla="*/ 198 w 370"/>
                <a:gd name="T7" fmla="*/ 95 h 134"/>
                <a:gd name="T8" fmla="*/ 207 w 370"/>
                <a:gd name="T9" fmla="*/ 76 h 134"/>
                <a:gd name="T10" fmla="*/ 219 w 370"/>
                <a:gd name="T11" fmla="*/ 78 h 134"/>
                <a:gd name="T12" fmla="*/ 227 w 370"/>
                <a:gd name="T13" fmla="*/ 54 h 134"/>
                <a:gd name="T14" fmla="*/ 227 w 370"/>
                <a:gd name="T15" fmla="*/ 45 h 134"/>
                <a:gd name="T16" fmla="*/ 212 w 370"/>
                <a:gd name="T17" fmla="*/ 37 h 134"/>
                <a:gd name="T18" fmla="*/ 190 w 370"/>
                <a:gd name="T19" fmla="*/ 69 h 134"/>
                <a:gd name="T20" fmla="*/ 88 w 370"/>
                <a:gd name="T21" fmla="*/ 75 h 134"/>
                <a:gd name="T22" fmla="*/ 85 w 370"/>
                <a:gd name="T23" fmla="*/ 61 h 134"/>
                <a:gd name="T24" fmla="*/ 82 w 370"/>
                <a:gd name="T25" fmla="*/ 67 h 134"/>
                <a:gd name="T26" fmla="*/ 68 w 370"/>
                <a:gd name="T27" fmla="*/ 50 h 134"/>
                <a:gd name="T28" fmla="*/ 56 w 370"/>
                <a:gd name="T29" fmla="*/ 35 h 134"/>
                <a:gd name="T30" fmla="*/ 37 w 370"/>
                <a:gd name="T31" fmla="*/ 23 h 134"/>
                <a:gd name="T32" fmla="*/ 2 w 370"/>
                <a:gd name="T33" fmla="*/ 3 h 134"/>
                <a:gd name="T34" fmla="*/ 32 w 370"/>
                <a:gd name="T35" fmla="*/ 46 h 134"/>
                <a:gd name="T36" fmla="*/ 71 w 370"/>
                <a:gd name="T37" fmla="*/ 91 h 134"/>
                <a:gd name="T38" fmla="*/ 86 w 370"/>
                <a:gd name="T39" fmla="*/ 83 h 134"/>
                <a:gd name="T40" fmla="*/ 266 w 370"/>
                <a:gd name="T41" fmla="*/ 37 h 134"/>
                <a:gd name="T42" fmla="*/ 268 w 370"/>
                <a:gd name="T43" fmla="*/ 45 h 134"/>
                <a:gd name="T44" fmla="*/ 249 w 370"/>
                <a:gd name="T45" fmla="*/ 75 h 134"/>
                <a:gd name="T46" fmla="*/ 198 w 370"/>
                <a:gd name="T47" fmla="*/ 119 h 134"/>
                <a:gd name="T48" fmla="*/ 230 w 370"/>
                <a:gd name="T49" fmla="*/ 115 h 134"/>
                <a:gd name="T50" fmla="*/ 276 w 370"/>
                <a:gd name="T51" fmla="*/ 76 h 134"/>
                <a:gd name="T52" fmla="*/ 155 w 370"/>
                <a:gd name="T53" fmla="*/ 112 h 134"/>
                <a:gd name="T54" fmla="*/ 140 w 370"/>
                <a:gd name="T55" fmla="*/ 105 h 134"/>
                <a:gd name="T56" fmla="*/ 87 w 370"/>
                <a:gd name="T57" fmla="*/ 98 h 134"/>
                <a:gd name="T58" fmla="*/ 94 w 370"/>
                <a:gd name="T59" fmla="*/ 108 h 134"/>
                <a:gd name="T60" fmla="*/ 143 w 370"/>
                <a:gd name="T61" fmla="*/ 117 h 134"/>
                <a:gd name="T62" fmla="*/ 155 w 370"/>
                <a:gd name="T63" fmla="*/ 112 h 134"/>
                <a:gd name="T64" fmla="*/ 322 w 370"/>
                <a:gd name="T65" fmla="*/ 75 h 134"/>
                <a:gd name="T66" fmla="*/ 289 w 370"/>
                <a:gd name="T67" fmla="*/ 58 h 134"/>
                <a:gd name="T68" fmla="*/ 310 w 370"/>
                <a:gd name="T69" fmla="*/ 66 h 134"/>
                <a:gd name="T70" fmla="*/ 298 w 370"/>
                <a:gd name="T71" fmla="*/ 71 h 134"/>
                <a:gd name="T72" fmla="*/ 317 w 370"/>
                <a:gd name="T73" fmla="*/ 81 h 134"/>
                <a:gd name="T74" fmla="*/ 351 w 370"/>
                <a:gd name="T75" fmla="*/ 102 h 134"/>
                <a:gd name="T76" fmla="*/ 362 w 370"/>
                <a:gd name="T77" fmla="*/ 114 h 134"/>
                <a:gd name="T78" fmla="*/ 343 w 370"/>
                <a:gd name="T79" fmla="*/ 61 h 134"/>
                <a:gd name="T80" fmla="*/ 236 w 370"/>
                <a:gd name="T81" fmla="*/ 124 h 134"/>
                <a:gd name="T82" fmla="*/ 239 w 370"/>
                <a:gd name="T83" fmla="*/ 126 h 134"/>
                <a:gd name="T84" fmla="*/ 242 w 370"/>
                <a:gd name="T85" fmla="*/ 123 h 134"/>
                <a:gd name="T86" fmla="*/ 178 w 370"/>
                <a:gd name="T87" fmla="*/ 47 h 134"/>
                <a:gd name="T88" fmla="*/ 182 w 370"/>
                <a:gd name="T89" fmla="*/ 27 h 134"/>
                <a:gd name="T90" fmla="*/ 181 w 370"/>
                <a:gd name="T91" fmla="*/ 14 h 134"/>
                <a:gd name="T92" fmla="*/ 160 w 370"/>
                <a:gd name="T93" fmla="*/ 25 h 134"/>
                <a:gd name="T94" fmla="*/ 143 w 370"/>
                <a:gd name="T95" fmla="*/ 36 h 134"/>
                <a:gd name="T96" fmla="*/ 118 w 370"/>
                <a:gd name="T97" fmla="*/ 37 h 134"/>
                <a:gd name="T98" fmla="*/ 110 w 370"/>
                <a:gd name="T99" fmla="*/ 43 h 134"/>
                <a:gd name="T100" fmla="*/ 128 w 370"/>
                <a:gd name="T101" fmla="*/ 73 h 134"/>
                <a:gd name="T102" fmla="*/ 156 w 370"/>
                <a:gd name="T103" fmla="*/ 79 h 134"/>
                <a:gd name="T104" fmla="*/ 191 w 370"/>
                <a:gd name="T105" fmla="*/ 126 h 134"/>
                <a:gd name="T106" fmla="*/ 191 w 370"/>
                <a:gd name="T107" fmla="*/ 126 h 134"/>
                <a:gd name="T108" fmla="*/ 168 w 370"/>
                <a:gd name="T109" fmla="*/ 120 h 134"/>
                <a:gd name="T110" fmla="*/ 179 w 370"/>
                <a:gd name="T111" fmla="*/ 115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70" h="134">
                  <a:moveTo>
                    <a:pt x="27" y="57"/>
                  </a:moveTo>
                  <a:cubicBezTo>
                    <a:pt x="27" y="58"/>
                    <a:pt x="29" y="63"/>
                    <a:pt x="31" y="61"/>
                  </a:cubicBezTo>
                  <a:cubicBezTo>
                    <a:pt x="33" y="60"/>
                    <a:pt x="29" y="53"/>
                    <a:pt x="27" y="57"/>
                  </a:cubicBezTo>
                  <a:close/>
                  <a:moveTo>
                    <a:pt x="105" y="71"/>
                  </a:moveTo>
                  <a:cubicBezTo>
                    <a:pt x="105" y="69"/>
                    <a:pt x="99" y="70"/>
                    <a:pt x="101" y="73"/>
                  </a:cubicBezTo>
                  <a:cubicBezTo>
                    <a:pt x="103" y="76"/>
                    <a:pt x="105" y="73"/>
                    <a:pt x="105" y="71"/>
                  </a:cubicBezTo>
                  <a:close/>
                  <a:moveTo>
                    <a:pt x="16" y="36"/>
                  </a:moveTo>
                  <a:cubicBezTo>
                    <a:pt x="15" y="39"/>
                    <a:pt x="18" y="46"/>
                    <a:pt x="21" y="43"/>
                  </a:cubicBezTo>
                  <a:cubicBezTo>
                    <a:pt x="23" y="40"/>
                    <a:pt x="16" y="34"/>
                    <a:pt x="16" y="36"/>
                  </a:cubicBezTo>
                  <a:close/>
                  <a:moveTo>
                    <a:pt x="195" y="77"/>
                  </a:moveTo>
                  <a:cubicBezTo>
                    <a:pt x="199" y="77"/>
                    <a:pt x="198" y="82"/>
                    <a:pt x="198" y="85"/>
                  </a:cubicBezTo>
                  <a:cubicBezTo>
                    <a:pt x="197" y="89"/>
                    <a:pt x="195" y="96"/>
                    <a:pt x="198" y="95"/>
                  </a:cubicBezTo>
                  <a:cubicBezTo>
                    <a:pt x="202" y="93"/>
                    <a:pt x="205" y="89"/>
                    <a:pt x="203" y="87"/>
                  </a:cubicBezTo>
                  <a:cubicBezTo>
                    <a:pt x="200" y="85"/>
                    <a:pt x="201" y="75"/>
                    <a:pt x="202" y="72"/>
                  </a:cubicBezTo>
                  <a:cubicBezTo>
                    <a:pt x="203" y="70"/>
                    <a:pt x="209" y="71"/>
                    <a:pt x="207" y="76"/>
                  </a:cubicBezTo>
                  <a:cubicBezTo>
                    <a:pt x="205" y="80"/>
                    <a:pt x="211" y="79"/>
                    <a:pt x="211" y="84"/>
                  </a:cubicBezTo>
                  <a:cubicBezTo>
                    <a:pt x="211" y="88"/>
                    <a:pt x="214" y="86"/>
                    <a:pt x="218" y="85"/>
                  </a:cubicBezTo>
                  <a:cubicBezTo>
                    <a:pt x="222" y="83"/>
                    <a:pt x="221" y="81"/>
                    <a:pt x="219" y="78"/>
                  </a:cubicBezTo>
                  <a:cubicBezTo>
                    <a:pt x="216" y="76"/>
                    <a:pt x="221" y="71"/>
                    <a:pt x="217" y="69"/>
                  </a:cubicBezTo>
                  <a:cubicBezTo>
                    <a:pt x="213" y="67"/>
                    <a:pt x="211" y="63"/>
                    <a:pt x="214" y="62"/>
                  </a:cubicBezTo>
                  <a:cubicBezTo>
                    <a:pt x="218" y="62"/>
                    <a:pt x="228" y="56"/>
                    <a:pt x="227" y="54"/>
                  </a:cubicBezTo>
                  <a:cubicBezTo>
                    <a:pt x="225" y="51"/>
                    <a:pt x="211" y="54"/>
                    <a:pt x="210" y="58"/>
                  </a:cubicBezTo>
                  <a:cubicBezTo>
                    <a:pt x="209" y="63"/>
                    <a:pt x="199" y="58"/>
                    <a:pt x="200" y="51"/>
                  </a:cubicBezTo>
                  <a:cubicBezTo>
                    <a:pt x="201" y="43"/>
                    <a:pt x="221" y="42"/>
                    <a:pt x="227" y="45"/>
                  </a:cubicBezTo>
                  <a:cubicBezTo>
                    <a:pt x="232" y="47"/>
                    <a:pt x="239" y="40"/>
                    <a:pt x="241" y="36"/>
                  </a:cubicBezTo>
                  <a:cubicBezTo>
                    <a:pt x="243" y="32"/>
                    <a:pt x="236" y="37"/>
                    <a:pt x="232" y="40"/>
                  </a:cubicBezTo>
                  <a:cubicBezTo>
                    <a:pt x="228" y="42"/>
                    <a:pt x="217" y="39"/>
                    <a:pt x="212" y="37"/>
                  </a:cubicBezTo>
                  <a:cubicBezTo>
                    <a:pt x="207" y="36"/>
                    <a:pt x="207" y="41"/>
                    <a:pt x="202" y="41"/>
                  </a:cubicBezTo>
                  <a:cubicBezTo>
                    <a:pt x="198" y="42"/>
                    <a:pt x="199" y="52"/>
                    <a:pt x="197" y="53"/>
                  </a:cubicBezTo>
                  <a:cubicBezTo>
                    <a:pt x="194" y="55"/>
                    <a:pt x="194" y="62"/>
                    <a:pt x="190" y="69"/>
                  </a:cubicBezTo>
                  <a:cubicBezTo>
                    <a:pt x="186" y="76"/>
                    <a:pt x="192" y="77"/>
                    <a:pt x="195" y="77"/>
                  </a:cubicBezTo>
                  <a:close/>
                  <a:moveTo>
                    <a:pt x="86" y="83"/>
                  </a:moveTo>
                  <a:cubicBezTo>
                    <a:pt x="86" y="80"/>
                    <a:pt x="88" y="76"/>
                    <a:pt x="88" y="75"/>
                  </a:cubicBezTo>
                  <a:cubicBezTo>
                    <a:pt x="88" y="73"/>
                    <a:pt x="89" y="72"/>
                    <a:pt x="91" y="73"/>
                  </a:cubicBezTo>
                  <a:cubicBezTo>
                    <a:pt x="93" y="73"/>
                    <a:pt x="93" y="68"/>
                    <a:pt x="91" y="68"/>
                  </a:cubicBezTo>
                  <a:cubicBezTo>
                    <a:pt x="90" y="67"/>
                    <a:pt x="89" y="61"/>
                    <a:pt x="85" y="61"/>
                  </a:cubicBezTo>
                  <a:cubicBezTo>
                    <a:pt x="81" y="61"/>
                    <a:pt x="81" y="65"/>
                    <a:pt x="84" y="65"/>
                  </a:cubicBezTo>
                  <a:cubicBezTo>
                    <a:pt x="86" y="65"/>
                    <a:pt x="87" y="67"/>
                    <a:pt x="87" y="69"/>
                  </a:cubicBezTo>
                  <a:cubicBezTo>
                    <a:pt x="86" y="71"/>
                    <a:pt x="85" y="67"/>
                    <a:pt x="82" y="67"/>
                  </a:cubicBezTo>
                  <a:cubicBezTo>
                    <a:pt x="78" y="68"/>
                    <a:pt x="81" y="63"/>
                    <a:pt x="77" y="63"/>
                  </a:cubicBezTo>
                  <a:cubicBezTo>
                    <a:pt x="73" y="63"/>
                    <a:pt x="74" y="56"/>
                    <a:pt x="70" y="56"/>
                  </a:cubicBezTo>
                  <a:cubicBezTo>
                    <a:pt x="66" y="56"/>
                    <a:pt x="65" y="53"/>
                    <a:pt x="68" y="50"/>
                  </a:cubicBezTo>
                  <a:cubicBezTo>
                    <a:pt x="71" y="48"/>
                    <a:pt x="64" y="46"/>
                    <a:pt x="64" y="43"/>
                  </a:cubicBezTo>
                  <a:cubicBezTo>
                    <a:pt x="64" y="40"/>
                    <a:pt x="60" y="42"/>
                    <a:pt x="60" y="39"/>
                  </a:cubicBezTo>
                  <a:cubicBezTo>
                    <a:pt x="60" y="37"/>
                    <a:pt x="58" y="38"/>
                    <a:pt x="56" y="35"/>
                  </a:cubicBezTo>
                  <a:cubicBezTo>
                    <a:pt x="53" y="32"/>
                    <a:pt x="52" y="35"/>
                    <a:pt x="51" y="33"/>
                  </a:cubicBezTo>
                  <a:cubicBezTo>
                    <a:pt x="49" y="31"/>
                    <a:pt x="46" y="30"/>
                    <a:pt x="44" y="30"/>
                  </a:cubicBezTo>
                  <a:cubicBezTo>
                    <a:pt x="43" y="31"/>
                    <a:pt x="39" y="27"/>
                    <a:pt x="37" y="23"/>
                  </a:cubicBezTo>
                  <a:cubicBezTo>
                    <a:pt x="36" y="20"/>
                    <a:pt x="25" y="15"/>
                    <a:pt x="24" y="11"/>
                  </a:cubicBezTo>
                  <a:cubicBezTo>
                    <a:pt x="22" y="7"/>
                    <a:pt x="19" y="6"/>
                    <a:pt x="12" y="6"/>
                  </a:cubicBezTo>
                  <a:cubicBezTo>
                    <a:pt x="6" y="6"/>
                    <a:pt x="3" y="0"/>
                    <a:pt x="2" y="3"/>
                  </a:cubicBezTo>
                  <a:cubicBezTo>
                    <a:pt x="0" y="7"/>
                    <a:pt x="9" y="16"/>
                    <a:pt x="13" y="18"/>
                  </a:cubicBezTo>
                  <a:cubicBezTo>
                    <a:pt x="17" y="21"/>
                    <a:pt x="19" y="29"/>
                    <a:pt x="24" y="30"/>
                  </a:cubicBezTo>
                  <a:cubicBezTo>
                    <a:pt x="28" y="30"/>
                    <a:pt x="29" y="45"/>
                    <a:pt x="32" y="46"/>
                  </a:cubicBezTo>
                  <a:cubicBezTo>
                    <a:pt x="36" y="46"/>
                    <a:pt x="44" y="58"/>
                    <a:pt x="45" y="64"/>
                  </a:cubicBezTo>
                  <a:cubicBezTo>
                    <a:pt x="46" y="71"/>
                    <a:pt x="54" y="74"/>
                    <a:pt x="57" y="78"/>
                  </a:cubicBezTo>
                  <a:cubicBezTo>
                    <a:pt x="59" y="83"/>
                    <a:pt x="70" y="89"/>
                    <a:pt x="71" y="91"/>
                  </a:cubicBezTo>
                  <a:cubicBezTo>
                    <a:pt x="72" y="93"/>
                    <a:pt x="74" y="97"/>
                    <a:pt x="75" y="95"/>
                  </a:cubicBezTo>
                  <a:cubicBezTo>
                    <a:pt x="76" y="93"/>
                    <a:pt x="81" y="95"/>
                    <a:pt x="84" y="95"/>
                  </a:cubicBezTo>
                  <a:cubicBezTo>
                    <a:pt x="86" y="95"/>
                    <a:pt x="87" y="86"/>
                    <a:pt x="86" y="83"/>
                  </a:cubicBezTo>
                  <a:close/>
                  <a:moveTo>
                    <a:pt x="268" y="45"/>
                  </a:moveTo>
                  <a:cubicBezTo>
                    <a:pt x="273" y="46"/>
                    <a:pt x="271" y="42"/>
                    <a:pt x="271" y="39"/>
                  </a:cubicBezTo>
                  <a:cubicBezTo>
                    <a:pt x="271" y="36"/>
                    <a:pt x="266" y="39"/>
                    <a:pt x="266" y="37"/>
                  </a:cubicBezTo>
                  <a:cubicBezTo>
                    <a:pt x="266" y="35"/>
                    <a:pt x="265" y="29"/>
                    <a:pt x="261" y="34"/>
                  </a:cubicBezTo>
                  <a:cubicBezTo>
                    <a:pt x="257" y="39"/>
                    <a:pt x="262" y="52"/>
                    <a:pt x="265" y="51"/>
                  </a:cubicBezTo>
                  <a:cubicBezTo>
                    <a:pt x="268" y="51"/>
                    <a:pt x="263" y="45"/>
                    <a:pt x="268" y="45"/>
                  </a:cubicBezTo>
                  <a:close/>
                  <a:moveTo>
                    <a:pt x="249" y="75"/>
                  </a:moveTo>
                  <a:cubicBezTo>
                    <a:pt x="250" y="79"/>
                    <a:pt x="256" y="81"/>
                    <a:pt x="258" y="77"/>
                  </a:cubicBezTo>
                  <a:cubicBezTo>
                    <a:pt x="260" y="74"/>
                    <a:pt x="248" y="70"/>
                    <a:pt x="249" y="75"/>
                  </a:cubicBezTo>
                  <a:close/>
                  <a:moveTo>
                    <a:pt x="230" y="115"/>
                  </a:moveTo>
                  <a:cubicBezTo>
                    <a:pt x="223" y="114"/>
                    <a:pt x="219" y="119"/>
                    <a:pt x="213" y="116"/>
                  </a:cubicBezTo>
                  <a:cubicBezTo>
                    <a:pt x="206" y="114"/>
                    <a:pt x="197" y="116"/>
                    <a:pt x="198" y="119"/>
                  </a:cubicBezTo>
                  <a:cubicBezTo>
                    <a:pt x="199" y="120"/>
                    <a:pt x="204" y="121"/>
                    <a:pt x="211" y="121"/>
                  </a:cubicBezTo>
                  <a:cubicBezTo>
                    <a:pt x="217" y="121"/>
                    <a:pt x="223" y="118"/>
                    <a:pt x="227" y="117"/>
                  </a:cubicBezTo>
                  <a:cubicBezTo>
                    <a:pt x="232" y="117"/>
                    <a:pt x="236" y="116"/>
                    <a:pt x="230" y="115"/>
                  </a:cubicBezTo>
                  <a:close/>
                  <a:moveTo>
                    <a:pt x="281" y="71"/>
                  </a:moveTo>
                  <a:cubicBezTo>
                    <a:pt x="275" y="70"/>
                    <a:pt x="264" y="71"/>
                    <a:pt x="265" y="74"/>
                  </a:cubicBezTo>
                  <a:cubicBezTo>
                    <a:pt x="266" y="77"/>
                    <a:pt x="271" y="76"/>
                    <a:pt x="276" y="76"/>
                  </a:cubicBezTo>
                  <a:cubicBezTo>
                    <a:pt x="281" y="76"/>
                    <a:pt x="284" y="80"/>
                    <a:pt x="286" y="80"/>
                  </a:cubicBezTo>
                  <a:cubicBezTo>
                    <a:pt x="289" y="80"/>
                    <a:pt x="287" y="73"/>
                    <a:pt x="281" y="71"/>
                  </a:cubicBezTo>
                  <a:close/>
                  <a:moveTo>
                    <a:pt x="155" y="112"/>
                  </a:moveTo>
                  <a:cubicBezTo>
                    <a:pt x="155" y="110"/>
                    <a:pt x="146" y="112"/>
                    <a:pt x="141" y="110"/>
                  </a:cubicBezTo>
                  <a:cubicBezTo>
                    <a:pt x="137" y="108"/>
                    <a:pt x="146" y="107"/>
                    <a:pt x="149" y="105"/>
                  </a:cubicBezTo>
                  <a:cubicBezTo>
                    <a:pt x="153" y="103"/>
                    <a:pt x="148" y="102"/>
                    <a:pt x="140" y="105"/>
                  </a:cubicBezTo>
                  <a:cubicBezTo>
                    <a:pt x="132" y="107"/>
                    <a:pt x="124" y="99"/>
                    <a:pt x="123" y="103"/>
                  </a:cubicBezTo>
                  <a:cubicBezTo>
                    <a:pt x="123" y="106"/>
                    <a:pt x="110" y="101"/>
                    <a:pt x="106" y="99"/>
                  </a:cubicBezTo>
                  <a:cubicBezTo>
                    <a:pt x="103" y="96"/>
                    <a:pt x="90" y="93"/>
                    <a:pt x="87" y="98"/>
                  </a:cubicBezTo>
                  <a:cubicBezTo>
                    <a:pt x="85" y="102"/>
                    <a:pt x="83" y="98"/>
                    <a:pt x="84" y="103"/>
                  </a:cubicBezTo>
                  <a:cubicBezTo>
                    <a:pt x="84" y="105"/>
                    <a:pt x="87" y="104"/>
                    <a:pt x="90" y="104"/>
                  </a:cubicBezTo>
                  <a:cubicBezTo>
                    <a:pt x="92" y="104"/>
                    <a:pt x="91" y="108"/>
                    <a:pt x="94" y="108"/>
                  </a:cubicBezTo>
                  <a:cubicBezTo>
                    <a:pt x="97" y="109"/>
                    <a:pt x="107" y="112"/>
                    <a:pt x="108" y="110"/>
                  </a:cubicBezTo>
                  <a:cubicBezTo>
                    <a:pt x="109" y="107"/>
                    <a:pt x="119" y="110"/>
                    <a:pt x="123" y="113"/>
                  </a:cubicBezTo>
                  <a:cubicBezTo>
                    <a:pt x="128" y="117"/>
                    <a:pt x="139" y="117"/>
                    <a:pt x="143" y="117"/>
                  </a:cubicBezTo>
                  <a:cubicBezTo>
                    <a:pt x="148" y="116"/>
                    <a:pt x="152" y="119"/>
                    <a:pt x="154" y="117"/>
                  </a:cubicBezTo>
                  <a:cubicBezTo>
                    <a:pt x="156" y="115"/>
                    <a:pt x="159" y="121"/>
                    <a:pt x="164" y="117"/>
                  </a:cubicBezTo>
                  <a:cubicBezTo>
                    <a:pt x="168" y="114"/>
                    <a:pt x="156" y="115"/>
                    <a:pt x="155" y="112"/>
                  </a:cubicBezTo>
                  <a:close/>
                  <a:moveTo>
                    <a:pt x="343" y="61"/>
                  </a:moveTo>
                  <a:cubicBezTo>
                    <a:pt x="339" y="61"/>
                    <a:pt x="339" y="67"/>
                    <a:pt x="335" y="67"/>
                  </a:cubicBezTo>
                  <a:cubicBezTo>
                    <a:pt x="332" y="67"/>
                    <a:pt x="328" y="73"/>
                    <a:pt x="322" y="75"/>
                  </a:cubicBezTo>
                  <a:cubicBezTo>
                    <a:pt x="317" y="77"/>
                    <a:pt x="316" y="59"/>
                    <a:pt x="314" y="55"/>
                  </a:cubicBezTo>
                  <a:cubicBezTo>
                    <a:pt x="311" y="52"/>
                    <a:pt x="297" y="49"/>
                    <a:pt x="295" y="53"/>
                  </a:cubicBezTo>
                  <a:cubicBezTo>
                    <a:pt x="294" y="57"/>
                    <a:pt x="289" y="55"/>
                    <a:pt x="289" y="58"/>
                  </a:cubicBezTo>
                  <a:cubicBezTo>
                    <a:pt x="288" y="61"/>
                    <a:pt x="290" y="60"/>
                    <a:pt x="293" y="60"/>
                  </a:cubicBezTo>
                  <a:cubicBezTo>
                    <a:pt x="296" y="60"/>
                    <a:pt x="296" y="63"/>
                    <a:pt x="297" y="66"/>
                  </a:cubicBezTo>
                  <a:cubicBezTo>
                    <a:pt x="299" y="69"/>
                    <a:pt x="307" y="67"/>
                    <a:pt x="310" y="66"/>
                  </a:cubicBezTo>
                  <a:cubicBezTo>
                    <a:pt x="313" y="66"/>
                    <a:pt x="314" y="70"/>
                    <a:pt x="310" y="69"/>
                  </a:cubicBezTo>
                  <a:cubicBezTo>
                    <a:pt x="305" y="67"/>
                    <a:pt x="305" y="71"/>
                    <a:pt x="303" y="70"/>
                  </a:cubicBezTo>
                  <a:cubicBezTo>
                    <a:pt x="300" y="69"/>
                    <a:pt x="296" y="70"/>
                    <a:pt x="298" y="71"/>
                  </a:cubicBezTo>
                  <a:cubicBezTo>
                    <a:pt x="300" y="73"/>
                    <a:pt x="303" y="75"/>
                    <a:pt x="303" y="78"/>
                  </a:cubicBezTo>
                  <a:cubicBezTo>
                    <a:pt x="303" y="82"/>
                    <a:pt x="308" y="81"/>
                    <a:pt x="308" y="78"/>
                  </a:cubicBezTo>
                  <a:cubicBezTo>
                    <a:pt x="308" y="75"/>
                    <a:pt x="311" y="79"/>
                    <a:pt x="317" y="81"/>
                  </a:cubicBezTo>
                  <a:cubicBezTo>
                    <a:pt x="322" y="82"/>
                    <a:pt x="318" y="84"/>
                    <a:pt x="324" y="85"/>
                  </a:cubicBezTo>
                  <a:cubicBezTo>
                    <a:pt x="329" y="85"/>
                    <a:pt x="342" y="89"/>
                    <a:pt x="346" y="92"/>
                  </a:cubicBezTo>
                  <a:cubicBezTo>
                    <a:pt x="351" y="96"/>
                    <a:pt x="348" y="98"/>
                    <a:pt x="351" y="102"/>
                  </a:cubicBezTo>
                  <a:cubicBezTo>
                    <a:pt x="354" y="105"/>
                    <a:pt x="355" y="109"/>
                    <a:pt x="351" y="109"/>
                  </a:cubicBezTo>
                  <a:cubicBezTo>
                    <a:pt x="346" y="109"/>
                    <a:pt x="342" y="113"/>
                    <a:pt x="343" y="115"/>
                  </a:cubicBezTo>
                  <a:cubicBezTo>
                    <a:pt x="344" y="117"/>
                    <a:pt x="358" y="114"/>
                    <a:pt x="362" y="114"/>
                  </a:cubicBezTo>
                  <a:cubicBezTo>
                    <a:pt x="364" y="114"/>
                    <a:pt x="366" y="118"/>
                    <a:pt x="370" y="121"/>
                  </a:cubicBezTo>
                  <a:cubicBezTo>
                    <a:pt x="370" y="70"/>
                    <a:pt x="370" y="70"/>
                    <a:pt x="370" y="70"/>
                  </a:cubicBezTo>
                  <a:cubicBezTo>
                    <a:pt x="360" y="67"/>
                    <a:pt x="346" y="60"/>
                    <a:pt x="343" y="61"/>
                  </a:cubicBezTo>
                  <a:close/>
                  <a:moveTo>
                    <a:pt x="240" y="121"/>
                  </a:moveTo>
                  <a:cubicBezTo>
                    <a:pt x="239" y="121"/>
                    <a:pt x="238" y="122"/>
                    <a:pt x="237" y="122"/>
                  </a:cubicBezTo>
                  <a:cubicBezTo>
                    <a:pt x="237" y="123"/>
                    <a:pt x="236" y="124"/>
                    <a:pt x="236" y="124"/>
                  </a:cubicBezTo>
                  <a:cubicBezTo>
                    <a:pt x="235" y="125"/>
                    <a:pt x="234" y="124"/>
                    <a:pt x="233" y="123"/>
                  </a:cubicBezTo>
                  <a:cubicBezTo>
                    <a:pt x="229" y="125"/>
                    <a:pt x="226" y="130"/>
                    <a:pt x="229" y="132"/>
                  </a:cubicBezTo>
                  <a:cubicBezTo>
                    <a:pt x="232" y="133"/>
                    <a:pt x="237" y="129"/>
                    <a:pt x="239" y="126"/>
                  </a:cubicBezTo>
                  <a:cubicBezTo>
                    <a:pt x="240" y="126"/>
                    <a:pt x="240" y="125"/>
                    <a:pt x="241" y="125"/>
                  </a:cubicBezTo>
                  <a:cubicBezTo>
                    <a:pt x="241" y="124"/>
                    <a:pt x="241" y="124"/>
                    <a:pt x="241" y="124"/>
                  </a:cubicBezTo>
                  <a:cubicBezTo>
                    <a:pt x="242" y="124"/>
                    <a:pt x="242" y="124"/>
                    <a:pt x="242" y="123"/>
                  </a:cubicBezTo>
                  <a:cubicBezTo>
                    <a:pt x="241" y="122"/>
                    <a:pt x="240" y="121"/>
                    <a:pt x="240" y="121"/>
                  </a:cubicBezTo>
                  <a:close/>
                  <a:moveTo>
                    <a:pt x="174" y="60"/>
                  </a:moveTo>
                  <a:cubicBezTo>
                    <a:pt x="178" y="57"/>
                    <a:pt x="179" y="52"/>
                    <a:pt x="178" y="47"/>
                  </a:cubicBezTo>
                  <a:cubicBezTo>
                    <a:pt x="178" y="42"/>
                    <a:pt x="189" y="42"/>
                    <a:pt x="190" y="40"/>
                  </a:cubicBezTo>
                  <a:cubicBezTo>
                    <a:pt x="192" y="38"/>
                    <a:pt x="188" y="35"/>
                    <a:pt x="185" y="34"/>
                  </a:cubicBezTo>
                  <a:cubicBezTo>
                    <a:pt x="182" y="32"/>
                    <a:pt x="184" y="29"/>
                    <a:pt x="182" y="27"/>
                  </a:cubicBezTo>
                  <a:cubicBezTo>
                    <a:pt x="180" y="26"/>
                    <a:pt x="177" y="21"/>
                    <a:pt x="180" y="20"/>
                  </a:cubicBezTo>
                  <a:cubicBezTo>
                    <a:pt x="183" y="20"/>
                    <a:pt x="178" y="16"/>
                    <a:pt x="180" y="14"/>
                  </a:cubicBezTo>
                  <a:cubicBezTo>
                    <a:pt x="181" y="14"/>
                    <a:pt x="181" y="14"/>
                    <a:pt x="181" y="14"/>
                  </a:cubicBezTo>
                  <a:cubicBezTo>
                    <a:pt x="180" y="13"/>
                    <a:pt x="178" y="12"/>
                    <a:pt x="178" y="12"/>
                  </a:cubicBezTo>
                  <a:cubicBezTo>
                    <a:pt x="174" y="12"/>
                    <a:pt x="165" y="12"/>
                    <a:pt x="165" y="18"/>
                  </a:cubicBezTo>
                  <a:cubicBezTo>
                    <a:pt x="166" y="24"/>
                    <a:pt x="160" y="22"/>
                    <a:pt x="160" y="25"/>
                  </a:cubicBezTo>
                  <a:cubicBezTo>
                    <a:pt x="161" y="28"/>
                    <a:pt x="158" y="28"/>
                    <a:pt x="158" y="32"/>
                  </a:cubicBezTo>
                  <a:cubicBezTo>
                    <a:pt x="159" y="37"/>
                    <a:pt x="156" y="35"/>
                    <a:pt x="151" y="37"/>
                  </a:cubicBezTo>
                  <a:cubicBezTo>
                    <a:pt x="146" y="40"/>
                    <a:pt x="148" y="36"/>
                    <a:pt x="143" y="36"/>
                  </a:cubicBezTo>
                  <a:cubicBezTo>
                    <a:pt x="139" y="36"/>
                    <a:pt x="138" y="38"/>
                    <a:pt x="135" y="39"/>
                  </a:cubicBezTo>
                  <a:cubicBezTo>
                    <a:pt x="132" y="40"/>
                    <a:pt x="127" y="39"/>
                    <a:pt x="125" y="40"/>
                  </a:cubicBezTo>
                  <a:cubicBezTo>
                    <a:pt x="123" y="41"/>
                    <a:pt x="120" y="37"/>
                    <a:pt x="118" y="37"/>
                  </a:cubicBezTo>
                  <a:cubicBezTo>
                    <a:pt x="117" y="37"/>
                    <a:pt x="116" y="34"/>
                    <a:pt x="116" y="32"/>
                  </a:cubicBezTo>
                  <a:cubicBezTo>
                    <a:pt x="115" y="32"/>
                    <a:pt x="115" y="31"/>
                    <a:pt x="115" y="32"/>
                  </a:cubicBezTo>
                  <a:cubicBezTo>
                    <a:pt x="112" y="32"/>
                    <a:pt x="107" y="40"/>
                    <a:pt x="110" y="43"/>
                  </a:cubicBezTo>
                  <a:cubicBezTo>
                    <a:pt x="113" y="46"/>
                    <a:pt x="112" y="51"/>
                    <a:pt x="114" y="54"/>
                  </a:cubicBezTo>
                  <a:cubicBezTo>
                    <a:pt x="115" y="56"/>
                    <a:pt x="121" y="57"/>
                    <a:pt x="121" y="62"/>
                  </a:cubicBezTo>
                  <a:cubicBezTo>
                    <a:pt x="121" y="67"/>
                    <a:pt x="125" y="75"/>
                    <a:pt x="128" y="73"/>
                  </a:cubicBezTo>
                  <a:cubicBezTo>
                    <a:pt x="131" y="71"/>
                    <a:pt x="134" y="74"/>
                    <a:pt x="135" y="76"/>
                  </a:cubicBezTo>
                  <a:cubicBezTo>
                    <a:pt x="136" y="78"/>
                    <a:pt x="143" y="74"/>
                    <a:pt x="145" y="75"/>
                  </a:cubicBezTo>
                  <a:cubicBezTo>
                    <a:pt x="148" y="75"/>
                    <a:pt x="155" y="76"/>
                    <a:pt x="156" y="79"/>
                  </a:cubicBezTo>
                  <a:cubicBezTo>
                    <a:pt x="156" y="82"/>
                    <a:pt x="163" y="79"/>
                    <a:pt x="167" y="77"/>
                  </a:cubicBezTo>
                  <a:cubicBezTo>
                    <a:pt x="172" y="76"/>
                    <a:pt x="169" y="62"/>
                    <a:pt x="174" y="60"/>
                  </a:cubicBezTo>
                  <a:close/>
                  <a:moveTo>
                    <a:pt x="191" y="126"/>
                  </a:moveTo>
                  <a:cubicBezTo>
                    <a:pt x="193" y="128"/>
                    <a:pt x="197" y="128"/>
                    <a:pt x="198" y="130"/>
                  </a:cubicBezTo>
                  <a:cubicBezTo>
                    <a:pt x="200" y="131"/>
                    <a:pt x="206" y="134"/>
                    <a:pt x="206" y="130"/>
                  </a:cubicBezTo>
                  <a:cubicBezTo>
                    <a:pt x="206" y="126"/>
                    <a:pt x="190" y="124"/>
                    <a:pt x="191" y="126"/>
                  </a:cubicBezTo>
                  <a:close/>
                  <a:moveTo>
                    <a:pt x="179" y="115"/>
                  </a:moveTo>
                  <a:cubicBezTo>
                    <a:pt x="178" y="117"/>
                    <a:pt x="174" y="117"/>
                    <a:pt x="172" y="115"/>
                  </a:cubicBezTo>
                  <a:cubicBezTo>
                    <a:pt x="170" y="114"/>
                    <a:pt x="167" y="118"/>
                    <a:pt x="168" y="120"/>
                  </a:cubicBezTo>
                  <a:cubicBezTo>
                    <a:pt x="169" y="121"/>
                    <a:pt x="174" y="124"/>
                    <a:pt x="180" y="122"/>
                  </a:cubicBezTo>
                  <a:cubicBezTo>
                    <a:pt x="186" y="119"/>
                    <a:pt x="190" y="121"/>
                    <a:pt x="191" y="118"/>
                  </a:cubicBezTo>
                  <a:cubicBezTo>
                    <a:pt x="193" y="115"/>
                    <a:pt x="180" y="112"/>
                    <a:pt x="179" y="115"/>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237" name="Freeform 180">
              <a:extLst>
                <a:ext uri="{FF2B5EF4-FFF2-40B4-BE49-F238E27FC236}">
                  <a16:creationId xmlns:a16="http://schemas.microsoft.com/office/drawing/2014/main" xmlns="" id="{88F134DC-D52D-487F-961A-D4EDA2E1128D}"/>
                </a:ext>
              </a:extLst>
            </p:cNvPr>
            <p:cNvSpPr>
              <a:spLocks noEditPoints="1"/>
            </p:cNvSpPr>
            <p:nvPr/>
          </p:nvSpPr>
          <p:spPr bwMode="auto">
            <a:xfrm>
              <a:off x="18907347" y="4164679"/>
              <a:ext cx="69850" cy="28575"/>
            </a:xfrm>
            <a:custGeom>
              <a:avLst/>
              <a:gdLst>
                <a:gd name="T0" fmla="*/ 3 w 27"/>
                <a:gd name="T1" fmla="*/ 8 h 11"/>
                <a:gd name="T2" fmla="*/ 0 w 27"/>
                <a:gd name="T3" fmla="*/ 9 h 11"/>
                <a:gd name="T4" fmla="*/ 3 w 27"/>
                <a:gd name="T5" fmla="*/ 10 h 11"/>
                <a:gd name="T6" fmla="*/ 4 w 27"/>
                <a:gd name="T7" fmla="*/ 8 h 11"/>
                <a:gd name="T8" fmla="*/ 3 w 27"/>
                <a:gd name="T9" fmla="*/ 8 h 11"/>
                <a:gd name="T10" fmla="*/ 3 w 27"/>
                <a:gd name="T11" fmla="*/ 8 h 11"/>
                <a:gd name="T12" fmla="*/ 14 w 27"/>
                <a:gd name="T13" fmla="*/ 2 h 11"/>
                <a:gd name="T14" fmla="*/ 7 w 27"/>
                <a:gd name="T15" fmla="*/ 6 h 11"/>
                <a:gd name="T16" fmla="*/ 7 w 27"/>
                <a:gd name="T17" fmla="*/ 7 h 11"/>
                <a:gd name="T18" fmla="*/ 9 w 27"/>
                <a:gd name="T19" fmla="*/ 9 h 11"/>
                <a:gd name="T20" fmla="*/ 26 w 27"/>
                <a:gd name="T21" fmla="*/ 2 h 11"/>
                <a:gd name="T22" fmla="*/ 14 w 27"/>
                <a:gd name="T23"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11">
                  <a:moveTo>
                    <a:pt x="3" y="8"/>
                  </a:moveTo>
                  <a:cubicBezTo>
                    <a:pt x="2" y="8"/>
                    <a:pt x="1" y="8"/>
                    <a:pt x="0" y="9"/>
                  </a:cubicBezTo>
                  <a:cubicBezTo>
                    <a:pt x="1" y="10"/>
                    <a:pt x="2" y="11"/>
                    <a:pt x="3" y="10"/>
                  </a:cubicBezTo>
                  <a:cubicBezTo>
                    <a:pt x="3" y="10"/>
                    <a:pt x="4" y="9"/>
                    <a:pt x="4" y="8"/>
                  </a:cubicBezTo>
                  <a:cubicBezTo>
                    <a:pt x="4" y="8"/>
                    <a:pt x="3" y="8"/>
                    <a:pt x="3" y="8"/>
                  </a:cubicBezTo>
                  <a:cubicBezTo>
                    <a:pt x="3" y="8"/>
                    <a:pt x="3" y="8"/>
                    <a:pt x="3" y="8"/>
                  </a:cubicBezTo>
                  <a:close/>
                  <a:moveTo>
                    <a:pt x="14" y="2"/>
                  </a:moveTo>
                  <a:cubicBezTo>
                    <a:pt x="11" y="2"/>
                    <a:pt x="10" y="4"/>
                    <a:pt x="7" y="6"/>
                  </a:cubicBezTo>
                  <a:cubicBezTo>
                    <a:pt x="7" y="6"/>
                    <a:pt x="7" y="7"/>
                    <a:pt x="7" y="7"/>
                  </a:cubicBezTo>
                  <a:cubicBezTo>
                    <a:pt x="7" y="7"/>
                    <a:pt x="8" y="8"/>
                    <a:pt x="9" y="9"/>
                  </a:cubicBezTo>
                  <a:cubicBezTo>
                    <a:pt x="14" y="7"/>
                    <a:pt x="25" y="3"/>
                    <a:pt x="26" y="2"/>
                  </a:cubicBezTo>
                  <a:cubicBezTo>
                    <a:pt x="27" y="0"/>
                    <a:pt x="19" y="2"/>
                    <a:pt x="14" y="2"/>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238" name="Freeform 181">
              <a:extLst>
                <a:ext uri="{FF2B5EF4-FFF2-40B4-BE49-F238E27FC236}">
                  <a16:creationId xmlns:a16="http://schemas.microsoft.com/office/drawing/2014/main" xmlns="" id="{E9D79723-E4B1-4862-8E2A-F13E0D1D386A}"/>
                </a:ext>
              </a:extLst>
            </p:cNvPr>
            <p:cNvSpPr>
              <a:spLocks noEditPoints="1"/>
            </p:cNvSpPr>
            <p:nvPr/>
          </p:nvSpPr>
          <p:spPr bwMode="auto">
            <a:xfrm>
              <a:off x="16472122" y="2907379"/>
              <a:ext cx="242888" cy="263525"/>
            </a:xfrm>
            <a:custGeom>
              <a:avLst/>
              <a:gdLst>
                <a:gd name="T0" fmla="*/ 65 w 93"/>
                <a:gd name="T1" fmla="*/ 88 h 101"/>
                <a:gd name="T2" fmla="*/ 55 w 93"/>
                <a:gd name="T3" fmla="*/ 88 h 101"/>
                <a:gd name="T4" fmla="*/ 48 w 93"/>
                <a:gd name="T5" fmla="*/ 91 h 101"/>
                <a:gd name="T6" fmla="*/ 56 w 93"/>
                <a:gd name="T7" fmla="*/ 96 h 101"/>
                <a:gd name="T8" fmla="*/ 66 w 93"/>
                <a:gd name="T9" fmla="*/ 101 h 101"/>
                <a:gd name="T10" fmla="*/ 68 w 93"/>
                <a:gd name="T11" fmla="*/ 96 h 101"/>
                <a:gd name="T12" fmla="*/ 71 w 93"/>
                <a:gd name="T13" fmla="*/ 88 h 101"/>
                <a:gd name="T14" fmla="*/ 65 w 93"/>
                <a:gd name="T15" fmla="*/ 88 h 101"/>
                <a:gd name="T16" fmla="*/ 19 w 93"/>
                <a:gd name="T17" fmla="*/ 61 h 101"/>
                <a:gd name="T18" fmla="*/ 13 w 93"/>
                <a:gd name="T19" fmla="*/ 62 h 101"/>
                <a:gd name="T20" fmla="*/ 16 w 93"/>
                <a:gd name="T21" fmla="*/ 73 h 101"/>
                <a:gd name="T22" fmla="*/ 19 w 93"/>
                <a:gd name="T23" fmla="*/ 80 h 101"/>
                <a:gd name="T24" fmla="*/ 25 w 93"/>
                <a:gd name="T25" fmla="*/ 77 h 101"/>
                <a:gd name="T26" fmla="*/ 26 w 93"/>
                <a:gd name="T27" fmla="*/ 64 h 101"/>
                <a:gd name="T28" fmla="*/ 19 w 93"/>
                <a:gd name="T29" fmla="*/ 61 h 101"/>
                <a:gd name="T30" fmla="*/ 77 w 93"/>
                <a:gd name="T31" fmla="*/ 57 h 101"/>
                <a:gd name="T32" fmla="*/ 71 w 93"/>
                <a:gd name="T33" fmla="*/ 52 h 101"/>
                <a:gd name="T34" fmla="*/ 58 w 93"/>
                <a:gd name="T35" fmla="*/ 39 h 101"/>
                <a:gd name="T36" fmla="*/ 47 w 93"/>
                <a:gd name="T37" fmla="*/ 28 h 101"/>
                <a:gd name="T38" fmla="*/ 47 w 93"/>
                <a:gd name="T39" fmla="*/ 20 h 101"/>
                <a:gd name="T40" fmla="*/ 51 w 93"/>
                <a:gd name="T41" fmla="*/ 15 h 101"/>
                <a:gd name="T42" fmla="*/ 51 w 93"/>
                <a:gd name="T43" fmla="*/ 5 h 101"/>
                <a:gd name="T44" fmla="*/ 47 w 93"/>
                <a:gd name="T45" fmla="*/ 4 h 101"/>
                <a:gd name="T46" fmla="*/ 46 w 93"/>
                <a:gd name="T47" fmla="*/ 0 h 101"/>
                <a:gd name="T48" fmla="*/ 39 w 93"/>
                <a:gd name="T49" fmla="*/ 1 h 101"/>
                <a:gd name="T50" fmla="*/ 34 w 93"/>
                <a:gd name="T51" fmla="*/ 3 h 101"/>
                <a:gd name="T52" fmla="*/ 33 w 93"/>
                <a:gd name="T53" fmla="*/ 2 h 101"/>
                <a:gd name="T54" fmla="*/ 32 w 93"/>
                <a:gd name="T55" fmla="*/ 4 h 101"/>
                <a:gd name="T56" fmla="*/ 30 w 93"/>
                <a:gd name="T57" fmla="*/ 6 h 101"/>
                <a:gd name="T58" fmla="*/ 28 w 93"/>
                <a:gd name="T59" fmla="*/ 7 h 101"/>
                <a:gd name="T60" fmla="*/ 24 w 93"/>
                <a:gd name="T61" fmla="*/ 8 h 101"/>
                <a:gd name="T62" fmla="*/ 21 w 93"/>
                <a:gd name="T63" fmla="*/ 9 h 101"/>
                <a:gd name="T64" fmla="*/ 19 w 93"/>
                <a:gd name="T65" fmla="*/ 12 h 101"/>
                <a:gd name="T66" fmla="*/ 15 w 93"/>
                <a:gd name="T67" fmla="*/ 7 h 101"/>
                <a:gd name="T68" fmla="*/ 11 w 93"/>
                <a:gd name="T69" fmla="*/ 12 h 101"/>
                <a:gd name="T70" fmla="*/ 4 w 93"/>
                <a:gd name="T71" fmla="*/ 13 h 101"/>
                <a:gd name="T72" fmla="*/ 5 w 93"/>
                <a:gd name="T73" fmla="*/ 17 h 101"/>
                <a:gd name="T74" fmla="*/ 3 w 93"/>
                <a:gd name="T75" fmla="*/ 20 h 101"/>
                <a:gd name="T76" fmla="*/ 1 w 93"/>
                <a:gd name="T77" fmla="*/ 22 h 101"/>
                <a:gd name="T78" fmla="*/ 4 w 93"/>
                <a:gd name="T79" fmla="*/ 26 h 101"/>
                <a:gd name="T80" fmla="*/ 6 w 93"/>
                <a:gd name="T81" fmla="*/ 30 h 101"/>
                <a:gd name="T82" fmla="*/ 9 w 93"/>
                <a:gd name="T83" fmla="*/ 31 h 101"/>
                <a:gd name="T84" fmla="*/ 8 w 93"/>
                <a:gd name="T85" fmla="*/ 34 h 101"/>
                <a:gd name="T86" fmla="*/ 12 w 93"/>
                <a:gd name="T87" fmla="*/ 33 h 101"/>
                <a:gd name="T88" fmla="*/ 18 w 93"/>
                <a:gd name="T89" fmla="*/ 28 h 101"/>
                <a:gd name="T90" fmla="*/ 29 w 93"/>
                <a:gd name="T91" fmla="*/ 33 h 101"/>
                <a:gd name="T92" fmla="*/ 32 w 93"/>
                <a:gd name="T93" fmla="*/ 37 h 101"/>
                <a:gd name="T94" fmla="*/ 39 w 93"/>
                <a:gd name="T95" fmla="*/ 47 h 101"/>
                <a:gd name="T96" fmla="*/ 50 w 93"/>
                <a:gd name="T97" fmla="*/ 57 h 101"/>
                <a:gd name="T98" fmla="*/ 58 w 93"/>
                <a:gd name="T99" fmla="*/ 60 h 101"/>
                <a:gd name="T100" fmla="*/ 65 w 93"/>
                <a:gd name="T101" fmla="*/ 65 h 101"/>
                <a:gd name="T102" fmla="*/ 71 w 93"/>
                <a:gd name="T103" fmla="*/ 69 h 101"/>
                <a:gd name="T104" fmla="*/ 73 w 93"/>
                <a:gd name="T105" fmla="*/ 74 h 101"/>
                <a:gd name="T106" fmla="*/ 74 w 93"/>
                <a:gd name="T107" fmla="*/ 83 h 101"/>
                <a:gd name="T108" fmla="*/ 74 w 93"/>
                <a:gd name="T109" fmla="*/ 89 h 101"/>
                <a:gd name="T110" fmla="*/ 78 w 93"/>
                <a:gd name="T111" fmla="*/ 82 h 101"/>
                <a:gd name="T112" fmla="*/ 83 w 93"/>
                <a:gd name="T113" fmla="*/ 78 h 101"/>
                <a:gd name="T114" fmla="*/ 79 w 93"/>
                <a:gd name="T115" fmla="*/ 71 h 101"/>
                <a:gd name="T116" fmla="*/ 87 w 93"/>
                <a:gd name="T117" fmla="*/ 68 h 101"/>
                <a:gd name="T118" fmla="*/ 93 w 93"/>
                <a:gd name="T119" fmla="*/ 68 h 101"/>
                <a:gd name="T120" fmla="*/ 77 w 93"/>
                <a:gd name="T121" fmla="*/ 57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3" h="101">
                  <a:moveTo>
                    <a:pt x="65" y="88"/>
                  </a:moveTo>
                  <a:cubicBezTo>
                    <a:pt x="60" y="89"/>
                    <a:pt x="58" y="89"/>
                    <a:pt x="55" y="88"/>
                  </a:cubicBezTo>
                  <a:cubicBezTo>
                    <a:pt x="52" y="86"/>
                    <a:pt x="47" y="89"/>
                    <a:pt x="48" y="91"/>
                  </a:cubicBezTo>
                  <a:cubicBezTo>
                    <a:pt x="49" y="92"/>
                    <a:pt x="50" y="94"/>
                    <a:pt x="56" y="96"/>
                  </a:cubicBezTo>
                  <a:cubicBezTo>
                    <a:pt x="62" y="97"/>
                    <a:pt x="63" y="101"/>
                    <a:pt x="66" y="101"/>
                  </a:cubicBezTo>
                  <a:cubicBezTo>
                    <a:pt x="68" y="101"/>
                    <a:pt x="68" y="99"/>
                    <a:pt x="68" y="96"/>
                  </a:cubicBezTo>
                  <a:cubicBezTo>
                    <a:pt x="67" y="93"/>
                    <a:pt x="71" y="89"/>
                    <a:pt x="71" y="88"/>
                  </a:cubicBezTo>
                  <a:cubicBezTo>
                    <a:pt x="71" y="88"/>
                    <a:pt x="69" y="87"/>
                    <a:pt x="65" y="88"/>
                  </a:cubicBezTo>
                  <a:close/>
                  <a:moveTo>
                    <a:pt x="19" y="61"/>
                  </a:moveTo>
                  <a:cubicBezTo>
                    <a:pt x="16" y="63"/>
                    <a:pt x="14" y="60"/>
                    <a:pt x="13" y="62"/>
                  </a:cubicBezTo>
                  <a:cubicBezTo>
                    <a:pt x="11" y="65"/>
                    <a:pt x="17" y="68"/>
                    <a:pt x="16" y="73"/>
                  </a:cubicBezTo>
                  <a:cubicBezTo>
                    <a:pt x="15" y="77"/>
                    <a:pt x="16" y="83"/>
                    <a:pt x="19" y="80"/>
                  </a:cubicBezTo>
                  <a:cubicBezTo>
                    <a:pt x="22" y="78"/>
                    <a:pt x="23" y="79"/>
                    <a:pt x="25" y="77"/>
                  </a:cubicBezTo>
                  <a:cubicBezTo>
                    <a:pt x="26" y="75"/>
                    <a:pt x="25" y="67"/>
                    <a:pt x="26" y="64"/>
                  </a:cubicBezTo>
                  <a:cubicBezTo>
                    <a:pt x="27" y="60"/>
                    <a:pt x="21" y="59"/>
                    <a:pt x="19" y="61"/>
                  </a:cubicBezTo>
                  <a:close/>
                  <a:moveTo>
                    <a:pt x="77" y="57"/>
                  </a:moveTo>
                  <a:cubicBezTo>
                    <a:pt x="74" y="55"/>
                    <a:pt x="76" y="52"/>
                    <a:pt x="71" y="52"/>
                  </a:cubicBezTo>
                  <a:cubicBezTo>
                    <a:pt x="66" y="53"/>
                    <a:pt x="60" y="46"/>
                    <a:pt x="58" y="39"/>
                  </a:cubicBezTo>
                  <a:cubicBezTo>
                    <a:pt x="57" y="32"/>
                    <a:pt x="49" y="32"/>
                    <a:pt x="47" y="28"/>
                  </a:cubicBezTo>
                  <a:cubicBezTo>
                    <a:pt x="45" y="24"/>
                    <a:pt x="49" y="23"/>
                    <a:pt x="47" y="20"/>
                  </a:cubicBezTo>
                  <a:cubicBezTo>
                    <a:pt x="46" y="18"/>
                    <a:pt x="48" y="16"/>
                    <a:pt x="51" y="15"/>
                  </a:cubicBezTo>
                  <a:cubicBezTo>
                    <a:pt x="51" y="11"/>
                    <a:pt x="51" y="7"/>
                    <a:pt x="51" y="5"/>
                  </a:cubicBezTo>
                  <a:cubicBezTo>
                    <a:pt x="49" y="4"/>
                    <a:pt x="48" y="4"/>
                    <a:pt x="47" y="4"/>
                  </a:cubicBezTo>
                  <a:cubicBezTo>
                    <a:pt x="46" y="3"/>
                    <a:pt x="46" y="0"/>
                    <a:pt x="46" y="0"/>
                  </a:cubicBezTo>
                  <a:cubicBezTo>
                    <a:pt x="45" y="0"/>
                    <a:pt x="40" y="0"/>
                    <a:pt x="39" y="1"/>
                  </a:cubicBezTo>
                  <a:cubicBezTo>
                    <a:pt x="38" y="2"/>
                    <a:pt x="36" y="4"/>
                    <a:pt x="34" y="3"/>
                  </a:cubicBezTo>
                  <a:cubicBezTo>
                    <a:pt x="34" y="3"/>
                    <a:pt x="33" y="2"/>
                    <a:pt x="33" y="2"/>
                  </a:cubicBezTo>
                  <a:cubicBezTo>
                    <a:pt x="32" y="4"/>
                    <a:pt x="32" y="4"/>
                    <a:pt x="32" y="4"/>
                  </a:cubicBezTo>
                  <a:cubicBezTo>
                    <a:pt x="32" y="4"/>
                    <a:pt x="31" y="6"/>
                    <a:pt x="30" y="6"/>
                  </a:cubicBezTo>
                  <a:cubicBezTo>
                    <a:pt x="29" y="6"/>
                    <a:pt x="28" y="5"/>
                    <a:pt x="28" y="7"/>
                  </a:cubicBezTo>
                  <a:cubicBezTo>
                    <a:pt x="28" y="8"/>
                    <a:pt x="25" y="8"/>
                    <a:pt x="24" y="8"/>
                  </a:cubicBezTo>
                  <a:cubicBezTo>
                    <a:pt x="23" y="7"/>
                    <a:pt x="21" y="8"/>
                    <a:pt x="21" y="9"/>
                  </a:cubicBezTo>
                  <a:cubicBezTo>
                    <a:pt x="21" y="11"/>
                    <a:pt x="21" y="14"/>
                    <a:pt x="19" y="12"/>
                  </a:cubicBezTo>
                  <a:cubicBezTo>
                    <a:pt x="17" y="10"/>
                    <a:pt x="15" y="6"/>
                    <a:pt x="15" y="7"/>
                  </a:cubicBezTo>
                  <a:cubicBezTo>
                    <a:pt x="14" y="7"/>
                    <a:pt x="12" y="12"/>
                    <a:pt x="11" y="12"/>
                  </a:cubicBezTo>
                  <a:cubicBezTo>
                    <a:pt x="10" y="12"/>
                    <a:pt x="6" y="13"/>
                    <a:pt x="4" y="13"/>
                  </a:cubicBezTo>
                  <a:cubicBezTo>
                    <a:pt x="3" y="15"/>
                    <a:pt x="4" y="16"/>
                    <a:pt x="5" y="17"/>
                  </a:cubicBezTo>
                  <a:cubicBezTo>
                    <a:pt x="6" y="17"/>
                    <a:pt x="4" y="19"/>
                    <a:pt x="3" y="20"/>
                  </a:cubicBezTo>
                  <a:cubicBezTo>
                    <a:pt x="2" y="20"/>
                    <a:pt x="0" y="20"/>
                    <a:pt x="1" y="22"/>
                  </a:cubicBezTo>
                  <a:cubicBezTo>
                    <a:pt x="3" y="24"/>
                    <a:pt x="5" y="24"/>
                    <a:pt x="4" y="26"/>
                  </a:cubicBezTo>
                  <a:cubicBezTo>
                    <a:pt x="3" y="28"/>
                    <a:pt x="4" y="30"/>
                    <a:pt x="6" y="30"/>
                  </a:cubicBezTo>
                  <a:cubicBezTo>
                    <a:pt x="7" y="30"/>
                    <a:pt x="10" y="30"/>
                    <a:pt x="9" y="31"/>
                  </a:cubicBezTo>
                  <a:cubicBezTo>
                    <a:pt x="9" y="32"/>
                    <a:pt x="9" y="33"/>
                    <a:pt x="8" y="34"/>
                  </a:cubicBezTo>
                  <a:cubicBezTo>
                    <a:pt x="10" y="33"/>
                    <a:pt x="11" y="33"/>
                    <a:pt x="12" y="33"/>
                  </a:cubicBezTo>
                  <a:cubicBezTo>
                    <a:pt x="15" y="31"/>
                    <a:pt x="14" y="29"/>
                    <a:pt x="18" y="28"/>
                  </a:cubicBezTo>
                  <a:cubicBezTo>
                    <a:pt x="22" y="27"/>
                    <a:pt x="28" y="30"/>
                    <a:pt x="29" y="33"/>
                  </a:cubicBezTo>
                  <a:cubicBezTo>
                    <a:pt x="31" y="35"/>
                    <a:pt x="31" y="35"/>
                    <a:pt x="32" y="37"/>
                  </a:cubicBezTo>
                  <a:cubicBezTo>
                    <a:pt x="32" y="39"/>
                    <a:pt x="34" y="43"/>
                    <a:pt x="39" y="47"/>
                  </a:cubicBezTo>
                  <a:cubicBezTo>
                    <a:pt x="45" y="51"/>
                    <a:pt x="47" y="55"/>
                    <a:pt x="50" y="57"/>
                  </a:cubicBezTo>
                  <a:cubicBezTo>
                    <a:pt x="53" y="58"/>
                    <a:pt x="56" y="58"/>
                    <a:pt x="58" y="60"/>
                  </a:cubicBezTo>
                  <a:cubicBezTo>
                    <a:pt x="60" y="62"/>
                    <a:pt x="62" y="63"/>
                    <a:pt x="65" y="65"/>
                  </a:cubicBezTo>
                  <a:cubicBezTo>
                    <a:pt x="68" y="66"/>
                    <a:pt x="68" y="69"/>
                    <a:pt x="71" y="69"/>
                  </a:cubicBezTo>
                  <a:cubicBezTo>
                    <a:pt x="73" y="70"/>
                    <a:pt x="72" y="72"/>
                    <a:pt x="73" y="74"/>
                  </a:cubicBezTo>
                  <a:cubicBezTo>
                    <a:pt x="75" y="76"/>
                    <a:pt x="75" y="80"/>
                    <a:pt x="74" y="83"/>
                  </a:cubicBezTo>
                  <a:cubicBezTo>
                    <a:pt x="72" y="85"/>
                    <a:pt x="73" y="89"/>
                    <a:pt x="74" y="89"/>
                  </a:cubicBezTo>
                  <a:cubicBezTo>
                    <a:pt x="75" y="89"/>
                    <a:pt x="78" y="85"/>
                    <a:pt x="78" y="82"/>
                  </a:cubicBezTo>
                  <a:cubicBezTo>
                    <a:pt x="78" y="80"/>
                    <a:pt x="81" y="80"/>
                    <a:pt x="83" y="78"/>
                  </a:cubicBezTo>
                  <a:cubicBezTo>
                    <a:pt x="85" y="75"/>
                    <a:pt x="80" y="75"/>
                    <a:pt x="79" y="71"/>
                  </a:cubicBezTo>
                  <a:cubicBezTo>
                    <a:pt x="78" y="68"/>
                    <a:pt x="83" y="65"/>
                    <a:pt x="87" y="68"/>
                  </a:cubicBezTo>
                  <a:cubicBezTo>
                    <a:pt x="91" y="71"/>
                    <a:pt x="93" y="72"/>
                    <a:pt x="93" y="68"/>
                  </a:cubicBezTo>
                  <a:cubicBezTo>
                    <a:pt x="93" y="64"/>
                    <a:pt x="80" y="59"/>
                    <a:pt x="77" y="57"/>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239" name="Freeform 182">
              <a:extLst>
                <a:ext uri="{FF2B5EF4-FFF2-40B4-BE49-F238E27FC236}">
                  <a16:creationId xmlns:a16="http://schemas.microsoft.com/office/drawing/2014/main" xmlns="" id="{33EC12C0-357E-4B20-A216-92C8E105072A}"/>
                </a:ext>
              </a:extLst>
            </p:cNvPr>
            <p:cNvSpPr>
              <a:spLocks/>
            </p:cNvSpPr>
            <p:nvPr/>
          </p:nvSpPr>
          <p:spPr bwMode="auto">
            <a:xfrm>
              <a:off x="16715009" y="3004216"/>
              <a:ext cx="25400" cy="33337"/>
            </a:xfrm>
            <a:custGeom>
              <a:avLst/>
              <a:gdLst>
                <a:gd name="T0" fmla="*/ 3 w 10"/>
                <a:gd name="T1" fmla="*/ 0 h 13"/>
                <a:gd name="T2" fmla="*/ 0 w 10"/>
                <a:gd name="T3" fmla="*/ 6 h 13"/>
                <a:gd name="T4" fmla="*/ 0 w 10"/>
                <a:gd name="T5" fmla="*/ 9 h 13"/>
                <a:gd name="T6" fmla="*/ 6 w 10"/>
                <a:gd name="T7" fmla="*/ 13 h 13"/>
                <a:gd name="T8" fmla="*/ 6 w 10"/>
                <a:gd name="T9" fmla="*/ 13 h 13"/>
                <a:gd name="T10" fmla="*/ 10 w 10"/>
                <a:gd name="T11" fmla="*/ 8 h 13"/>
                <a:gd name="T12" fmla="*/ 3 w 10"/>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10" h="13">
                  <a:moveTo>
                    <a:pt x="3" y="0"/>
                  </a:moveTo>
                  <a:cubicBezTo>
                    <a:pt x="2" y="3"/>
                    <a:pt x="0" y="6"/>
                    <a:pt x="0" y="6"/>
                  </a:cubicBezTo>
                  <a:cubicBezTo>
                    <a:pt x="0" y="7"/>
                    <a:pt x="0" y="8"/>
                    <a:pt x="0" y="9"/>
                  </a:cubicBezTo>
                  <a:cubicBezTo>
                    <a:pt x="2" y="11"/>
                    <a:pt x="4" y="12"/>
                    <a:pt x="6" y="13"/>
                  </a:cubicBezTo>
                  <a:cubicBezTo>
                    <a:pt x="6" y="13"/>
                    <a:pt x="6" y="13"/>
                    <a:pt x="6" y="13"/>
                  </a:cubicBezTo>
                  <a:cubicBezTo>
                    <a:pt x="7" y="11"/>
                    <a:pt x="8" y="8"/>
                    <a:pt x="10" y="8"/>
                  </a:cubicBezTo>
                  <a:cubicBezTo>
                    <a:pt x="8" y="5"/>
                    <a:pt x="5" y="2"/>
                    <a:pt x="3" y="0"/>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240" name="Freeform 183">
              <a:extLst>
                <a:ext uri="{FF2B5EF4-FFF2-40B4-BE49-F238E27FC236}">
                  <a16:creationId xmlns:a16="http://schemas.microsoft.com/office/drawing/2014/main" xmlns="" id="{369A4B15-3014-43B2-B9DE-21667D85D51F}"/>
                </a:ext>
              </a:extLst>
            </p:cNvPr>
            <p:cNvSpPr>
              <a:spLocks/>
            </p:cNvSpPr>
            <p:nvPr/>
          </p:nvSpPr>
          <p:spPr bwMode="auto">
            <a:xfrm>
              <a:off x="16719772" y="2931191"/>
              <a:ext cx="88900" cy="104775"/>
            </a:xfrm>
            <a:custGeom>
              <a:avLst/>
              <a:gdLst>
                <a:gd name="T0" fmla="*/ 30 w 34"/>
                <a:gd name="T1" fmla="*/ 27 h 40"/>
                <a:gd name="T2" fmla="*/ 30 w 34"/>
                <a:gd name="T3" fmla="*/ 21 h 40"/>
                <a:gd name="T4" fmla="*/ 30 w 34"/>
                <a:gd name="T5" fmla="*/ 17 h 40"/>
                <a:gd name="T6" fmla="*/ 21 w 34"/>
                <a:gd name="T7" fmla="*/ 14 h 40"/>
                <a:gd name="T8" fmla="*/ 20 w 34"/>
                <a:gd name="T9" fmla="*/ 9 h 40"/>
                <a:gd name="T10" fmla="*/ 17 w 34"/>
                <a:gd name="T11" fmla="*/ 6 h 40"/>
                <a:gd name="T12" fmla="*/ 14 w 34"/>
                <a:gd name="T13" fmla="*/ 2 h 40"/>
                <a:gd name="T14" fmla="*/ 14 w 34"/>
                <a:gd name="T15" fmla="*/ 1 h 40"/>
                <a:gd name="T16" fmla="*/ 12 w 34"/>
                <a:gd name="T17" fmla="*/ 1 h 40"/>
                <a:gd name="T18" fmla="*/ 9 w 34"/>
                <a:gd name="T19" fmla="*/ 0 h 40"/>
                <a:gd name="T20" fmla="*/ 0 w 34"/>
                <a:gd name="T21" fmla="*/ 2 h 40"/>
                <a:gd name="T22" fmla="*/ 2 w 34"/>
                <a:gd name="T23" fmla="*/ 7 h 40"/>
                <a:gd name="T24" fmla="*/ 5 w 34"/>
                <a:gd name="T25" fmla="*/ 13 h 40"/>
                <a:gd name="T26" fmla="*/ 4 w 34"/>
                <a:gd name="T27" fmla="*/ 25 h 40"/>
                <a:gd name="T28" fmla="*/ 1 w 34"/>
                <a:gd name="T29" fmla="*/ 28 h 40"/>
                <a:gd name="T30" fmla="*/ 8 w 34"/>
                <a:gd name="T31" fmla="*/ 36 h 40"/>
                <a:gd name="T32" fmla="*/ 8 w 34"/>
                <a:gd name="T33" fmla="*/ 36 h 40"/>
                <a:gd name="T34" fmla="*/ 15 w 34"/>
                <a:gd name="T35" fmla="*/ 40 h 40"/>
                <a:gd name="T36" fmla="*/ 29 w 34"/>
                <a:gd name="T37" fmla="*/ 37 h 40"/>
                <a:gd name="T38" fmla="*/ 29 w 34"/>
                <a:gd name="T39" fmla="*/ 35 h 40"/>
                <a:gd name="T40" fmla="*/ 32 w 34"/>
                <a:gd name="T41" fmla="*/ 32 h 40"/>
                <a:gd name="T42" fmla="*/ 30 w 34"/>
                <a:gd name="T43" fmla="*/ 2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40">
                  <a:moveTo>
                    <a:pt x="30" y="27"/>
                  </a:moveTo>
                  <a:cubicBezTo>
                    <a:pt x="28" y="25"/>
                    <a:pt x="28" y="22"/>
                    <a:pt x="30" y="21"/>
                  </a:cubicBezTo>
                  <a:cubicBezTo>
                    <a:pt x="31" y="20"/>
                    <a:pt x="30" y="18"/>
                    <a:pt x="30" y="17"/>
                  </a:cubicBezTo>
                  <a:cubicBezTo>
                    <a:pt x="30" y="15"/>
                    <a:pt x="22" y="14"/>
                    <a:pt x="21" y="14"/>
                  </a:cubicBezTo>
                  <a:cubicBezTo>
                    <a:pt x="20" y="14"/>
                    <a:pt x="22" y="9"/>
                    <a:pt x="20" y="9"/>
                  </a:cubicBezTo>
                  <a:cubicBezTo>
                    <a:pt x="18" y="9"/>
                    <a:pt x="17" y="8"/>
                    <a:pt x="17" y="6"/>
                  </a:cubicBezTo>
                  <a:cubicBezTo>
                    <a:pt x="17" y="5"/>
                    <a:pt x="14" y="2"/>
                    <a:pt x="14" y="2"/>
                  </a:cubicBezTo>
                  <a:cubicBezTo>
                    <a:pt x="14" y="1"/>
                    <a:pt x="14" y="1"/>
                    <a:pt x="14" y="1"/>
                  </a:cubicBezTo>
                  <a:cubicBezTo>
                    <a:pt x="13" y="1"/>
                    <a:pt x="12" y="1"/>
                    <a:pt x="12" y="1"/>
                  </a:cubicBezTo>
                  <a:cubicBezTo>
                    <a:pt x="11" y="1"/>
                    <a:pt x="9" y="0"/>
                    <a:pt x="9" y="0"/>
                  </a:cubicBezTo>
                  <a:cubicBezTo>
                    <a:pt x="9" y="0"/>
                    <a:pt x="4" y="1"/>
                    <a:pt x="0" y="2"/>
                  </a:cubicBezTo>
                  <a:cubicBezTo>
                    <a:pt x="1" y="4"/>
                    <a:pt x="1" y="7"/>
                    <a:pt x="2" y="7"/>
                  </a:cubicBezTo>
                  <a:cubicBezTo>
                    <a:pt x="5" y="8"/>
                    <a:pt x="4" y="11"/>
                    <a:pt x="5" y="13"/>
                  </a:cubicBezTo>
                  <a:cubicBezTo>
                    <a:pt x="6" y="15"/>
                    <a:pt x="6" y="25"/>
                    <a:pt x="4" y="25"/>
                  </a:cubicBezTo>
                  <a:cubicBezTo>
                    <a:pt x="4" y="25"/>
                    <a:pt x="3" y="27"/>
                    <a:pt x="1" y="28"/>
                  </a:cubicBezTo>
                  <a:cubicBezTo>
                    <a:pt x="3" y="30"/>
                    <a:pt x="6" y="33"/>
                    <a:pt x="8" y="36"/>
                  </a:cubicBezTo>
                  <a:cubicBezTo>
                    <a:pt x="8" y="36"/>
                    <a:pt x="8" y="36"/>
                    <a:pt x="8" y="36"/>
                  </a:cubicBezTo>
                  <a:cubicBezTo>
                    <a:pt x="10" y="36"/>
                    <a:pt x="15" y="40"/>
                    <a:pt x="15" y="40"/>
                  </a:cubicBezTo>
                  <a:cubicBezTo>
                    <a:pt x="15" y="40"/>
                    <a:pt x="24" y="38"/>
                    <a:pt x="29" y="37"/>
                  </a:cubicBezTo>
                  <a:cubicBezTo>
                    <a:pt x="29" y="36"/>
                    <a:pt x="29" y="35"/>
                    <a:pt x="29" y="35"/>
                  </a:cubicBezTo>
                  <a:cubicBezTo>
                    <a:pt x="29" y="34"/>
                    <a:pt x="30" y="32"/>
                    <a:pt x="32" y="32"/>
                  </a:cubicBezTo>
                  <a:cubicBezTo>
                    <a:pt x="34" y="32"/>
                    <a:pt x="31" y="28"/>
                    <a:pt x="30" y="27"/>
                  </a:cubicBez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241" name="Freeform 193">
              <a:extLst>
                <a:ext uri="{FF2B5EF4-FFF2-40B4-BE49-F238E27FC236}">
                  <a16:creationId xmlns:a16="http://schemas.microsoft.com/office/drawing/2014/main" xmlns="" id="{3E343AEF-CE17-473F-BC19-609E12BCE4A6}"/>
                </a:ext>
              </a:extLst>
            </p:cNvPr>
            <p:cNvSpPr>
              <a:spLocks/>
            </p:cNvSpPr>
            <p:nvPr/>
          </p:nvSpPr>
          <p:spPr bwMode="auto">
            <a:xfrm>
              <a:off x="18366009" y="3316954"/>
              <a:ext cx="452438" cy="238125"/>
            </a:xfrm>
            <a:custGeom>
              <a:avLst/>
              <a:gdLst>
                <a:gd name="T0" fmla="*/ 162 w 174"/>
                <a:gd name="T1" fmla="*/ 25 h 91"/>
                <a:gd name="T2" fmla="*/ 155 w 174"/>
                <a:gd name="T3" fmla="*/ 25 h 91"/>
                <a:gd name="T4" fmla="*/ 148 w 174"/>
                <a:gd name="T5" fmla="*/ 27 h 91"/>
                <a:gd name="T6" fmla="*/ 143 w 174"/>
                <a:gd name="T7" fmla="*/ 23 h 91"/>
                <a:gd name="T8" fmla="*/ 142 w 174"/>
                <a:gd name="T9" fmla="*/ 15 h 91"/>
                <a:gd name="T10" fmla="*/ 138 w 174"/>
                <a:gd name="T11" fmla="*/ 19 h 91"/>
                <a:gd name="T12" fmla="*/ 132 w 174"/>
                <a:gd name="T13" fmla="*/ 32 h 91"/>
                <a:gd name="T14" fmla="*/ 129 w 174"/>
                <a:gd name="T15" fmla="*/ 43 h 91"/>
                <a:gd name="T16" fmla="*/ 122 w 174"/>
                <a:gd name="T17" fmla="*/ 37 h 91"/>
                <a:gd name="T18" fmla="*/ 123 w 174"/>
                <a:gd name="T19" fmla="*/ 23 h 91"/>
                <a:gd name="T20" fmla="*/ 116 w 174"/>
                <a:gd name="T21" fmla="*/ 17 h 91"/>
                <a:gd name="T22" fmla="*/ 109 w 174"/>
                <a:gd name="T23" fmla="*/ 13 h 91"/>
                <a:gd name="T24" fmla="*/ 106 w 174"/>
                <a:gd name="T25" fmla="*/ 12 h 91"/>
                <a:gd name="T26" fmla="*/ 97 w 174"/>
                <a:gd name="T27" fmla="*/ 20 h 91"/>
                <a:gd name="T28" fmla="*/ 82 w 174"/>
                <a:gd name="T29" fmla="*/ 28 h 91"/>
                <a:gd name="T30" fmla="*/ 84 w 174"/>
                <a:gd name="T31" fmla="*/ 8 h 91"/>
                <a:gd name="T32" fmla="*/ 74 w 174"/>
                <a:gd name="T33" fmla="*/ 6 h 91"/>
                <a:gd name="T34" fmla="*/ 63 w 174"/>
                <a:gd name="T35" fmla="*/ 8 h 91"/>
                <a:gd name="T36" fmla="*/ 50 w 174"/>
                <a:gd name="T37" fmla="*/ 25 h 91"/>
                <a:gd name="T38" fmla="*/ 42 w 174"/>
                <a:gd name="T39" fmla="*/ 42 h 91"/>
                <a:gd name="T40" fmla="*/ 30 w 174"/>
                <a:gd name="T41" fmla="*/ 47 h 91"/>
                <a:gd name="T42" fmla="*/ 5 w 174"/>
                <a:gd name="T43" fmla="*/ 51 h 91"/>
                <a:gd name="T44" fmla="*/ 2 w 174"/>
                <a:gd name="T45" fmla="*/ 59 h 91"/>
                <a:gd name="T46" fmla="*/ 8 w 174"/>
                <a:gd name="T47" fmla="*/ 69 h 91"/>
                <a:gd name="T48" fmla="*/ 12 w 174"/>
                <a:gd name="T49" fmla="*/ 77 h 91"/>
                <a:gd name="T50" fmla="*/ 21 w 174"/>
                <a:gd name="T51" fmla="*/ 79 h 91"/>
                <a:gd name="T52" fmla="*/ 25 w 174"/>
                <a:gd name="T53" fmla="*/ 76 h 91"/>
                <a:gd name="T54" fmla="*/ 32 w 174"/>
                <a:gd name="T55" fmla="*/ 70 h 91"/>
                <a:gd name="T56" fmla="*/ 45 w 174"/>
                <a:gd name="T57" fmla="*/ 69 h 91"/>
                <a:gd name="T58" fmla="*/ 56 w 174"/>
                <a:gd name="T59" fmla="*/ 64 h 91"/>
                <a:gd name="T60" fmla="*/ 65 w 174"/>
                <a:gd name="T61" fmla="*/ 73 h 91"/>
                <a:gd name="T62" fmla="*/ 75 w 174"/>
                <a:gd name="T63" fmla="*/ 80 h 91"/>
                <a:gd name="T64" fmla="*/ 84 w 174"/>
                <a:gd name="T65" fmla="*/ 79 h 91"/>
                <a:gd name="T66" fmla="*/ 91 w 174"/>
                <a:gd name="T67" fmla="*/ 82 h 91"/>
                <a:gd name="T68" fmla="*/ 95 w 174"/>
                <a:gd name="T69" fmla="*/ 86 h 91"/>
                <a:gd name="T70" fmla="*/ 122 w 174"/>
                <a:gd name="T71" fmla="*/ 70 h 91"/>
                <a:gd name="T72" fmla="*/ 144 w 174"/>
                <a:gd name="T73" fmla="*/ 68 h 91"/>
                <a:gd name="T74" fmla="*/ 153 w 174"/>
                <a:gd name="T75" fmla="*/ 60 h 91"/>
                <a:gd name="T76" fmla="*/ 163 w 174"/>
                <a:gd name="T77" fmla="*/ 52 h 91"/>
                <a:gd name="T78" fmla="*/ 171 w 174"/>
                <a:gd name="T79" fmla="*/ 45 h 91"/>
                <a:gd name="T80" fmla="*/ 171 w 174"/>
                <a:gd name="T81" fmla="*/ 35 h 91"/>
                <a:gd name="T82" fmla="*/ 169 w 174"/>
                <a:gd name="T83" fmla="*/ 2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4" h="91">
                  <a:moveTo>
                    <a:pt x="166" y="27"/>
                  </a:moveTo>
                  <a:cubicBezTo>
                    <a:pt x="162" y="25"/>
                    <a:pt x="162" y="25"/>
                    <a:pt x="162" y="25"/>
                  </a:cubicBezTo>
                  <a:cubicBezTo>
                    <a:pt x="158" y="24"/>
                    <a:pt x="158" y="24"/>
                    <a:pt x="158" y="24"/>
                  </a:cubicBezTo>
                  <a:cubicBezTo>
                    <a:pt x="155" y="25"/>
                    <a:pt x="155" y="25"/>
                    <a:pt x="155" y="25"/>
                  </a:cubicBezTo>
                  <a:cubicBezTo>
                    <a:pt x="150" y="28"/>
                    <a:pt x="150" y="28"/>
                    <a:pt x="150" y="28"/>
                  </a:cubicBezTo>
                  <a:cubicBezTo>
                    <a:pt x="148" y="27"/>
                    <a:pt x="148" y="27"/>
                    <a:pt x="148" y="27"/>
                  </a:cubicBezTo>
                  <a:cubicBezTo>
                    <a:pt x="146" y="25"/>
                    <a:pt x="146" y="25"/>
                    <a:pt x="146" y="25"/>
                  </a:cubicBezTo>
                  <a:cubicBezTo>
                    <a:pt x="143" y="23"/>
                    <a:pt x="143" y="23"/>
                    <a:pt x="143" y="23"/>
                  </a:cubicBezTo>
                  <a:cubicBezTo>
                    <a:pt x="142" y="19"/>
                    <a:pt x="142" y="19"/>
                    <a:pt x="142" y="19"/>
                  </a:cubicBezTo>
                  <a:cubicBezTo>
                    <a:pt x="142" y="15"/>
                    <a:pt x="142" y="15"/>
                    <a:pt x="142" y="15"/>
                  </a:cubicBezTo>
                  <a:cubicBezTo>
                    <a:pt x="140" y="16"/>
                    <a:pt x="140" y="16"/>
                    <a:pt x="140" y="16"/>
                  </a:cubicBezTo>
                  <a:cubicBezTo>
                    <a:pt x="138" y="19"/>
                    <a:pt x="138" y="19"/>
                    <a:pt x="138" y="19"/>
                  </a:cubicBezTo>
                  <a:cubicBezTo>
                    <a:pt x="134" y="26"/>
                    <a:pt x="134" y="26"/>
                    <a:pt x="134" y="26"/>
                  </a:cubicBezTo>
                  <a:cubicBezTo>
                    <a:pt x="132" y="32"/>
                    <a:pt x="132" y="32"/>
                    <a:pt x="132" y="32"/>
                  </a:cubicBezTo>
                  <a:cubicBezTo>
                    <a:pt x="132" y="40"/>
                    <a:pt x="132" y="40"/>
                    <a:pt x="132" y="40"/>
                  </a:cubicBezTo>
                  <a:cubicBezTo>
                    <a:pt x="129" y="43"/>
                    <a:pt x="129" y="43"/>
                    <a:pt x="129" y="43"/>
                  </a:cubicBezTo>
                  <a:cubicBezTo>
                    <a:pt x="126" y="42"/>
                    <a:pt x="126" y="42"/>
                    <a:pt x="126" y="42"/>
                  </a:cubicBezTo>
                  <a:cubicBezTo>
                    <a:pt x="122" y="37"/>
                    <a:pt x="122" y="37"/>
                    <a:pt x="122" y="37"/>
                  </a:cubicBezTo>
                  <a:cubicBezTo>
                    <a:pt x="122" y="30"/>
                    <a:pt x="122" y="30"/>
                    <a:pt x="122" y="30"/>
                  </a:cubicBezTo>
                  <a:cubicBezTo>
                    <a:pt x="123" y="23"/>
                    <a:pt x="123" y="23"/>
                    <a:pt x="123" y="23"/>
                  </a:cubicBezTo>
                  <a:cubicBezTo>
                    <a:pt x="120" y="18"/>
                    <a:pt x="120" y="18"/>
                    <a:pt x="120" y="18"/>
                  </a:cubicBezTo>
                  <a:cubicBezTo>
                    <a:pt x="116" y="17"/>
                    <a:pt x="116" y="17"/>
                    <a:pt x="116" y="17"/>
                  </a:cubicBezTo>
                  <a:cubicBezTo>
                    <a:pt x="111" y="18"/>
                    <a:pt x="111" y="18"/>
                    <a:pt x="111" y="18"/>
                  </a:cubicBezTo>
                  <a:cubicBezTo>
                    <a:pt x="109" y="13"/>
                    <a:pt x="109" y="13"/>
                    <a:pt x="109" y="13"/>
                  </a:cubicBezTo>
                  <a:cubicBezTo>
                    <a:pt x="107" y="12"/>
                    <a:pt x="107" y="12"/>
                    <a:pt x="107" y="12"/>
                  </a:cubicBezTo>
                  <a:cubicBezTo>
                    <a:pt x="106" y="12"/>
                    <a:pt x="106" y="12"/>
                    <a:pt x="106" y="12"/>
                  </a:cubicBezTo>
                  <a:cubicBezTo>
                    <a:pt x="101" y="13"/>
                    <a:pt x="101" y="13"/>
                    <a:pt x="101" y="13"/>
                  </a:cubicBezTo>
                  <a:cubicBezTo>
                    <a:pt x="97" y="20"/>
                    <a:pt x="97" y="20"/>
                    <a:pt x="97" y="20"/>
                  </a:cubicBezTo>
                  <a:cubicBezTo>
                    <a:pt x="86" y="29"/>
                    <a:pt x="86" y="29"/>
                    <a:pt x="86" y="29"/>
                  </a:cubicBezTo>
                  <a:cubicBezTo>
                    <a:pt x="82" y="28"/>
                    <a:pt x="82" y="28"/>
                    <a:pt x="82" y="28"/>
                  </a:cubicBezTo>
                  <a:cubicBezTo>
                    <a:pt x="85" y="21"/>
                    <a:pt x="85" y="21"/>
                    <a:pt x="85" y="21"/>
                  </a:cubicBezTo>
                  <a:cubicBezTo>
                    <a:pt x="84" y="8"/>
                    <a:pt x="84" y="8"/>
                    <a:pt x="84" y="8"/>
                  </a:cubicBezTo>
                  <a:cubicBezTo>
                    <a:pt x="84" y="8"/>
                    <a:pt x="87" y="6"/>
                    <a:pt x="82" y="3"/>
                  </a:cubicBezTo>
                  <a:cubicBezTo>
                    <a:pt x="78" y="0"/>
                    <a:pt x="74" y="6"/>
                    <a:pt x="74" y="6"/>
                  </a:cubicBezTo>
                  <a:cubicBezTo>
                    <a:pt x="69" y="8"/>
                    <a:pt x="69" y="8"/>
                    <a:pt x="69" y="8"/>
                  </a:cubicBezTo>
                  <a:cubicBezTo>
                    <a:pt x="63" y="8"/>
                    <a:pt x="63" y="8"/>
                    <a:pt x="63" y="8"/>
                  </a:cubicBezTo>
                  <a:cubicBezTo>
                    <a:pt x="57" y="15"/>
                    <a:pt x="57" y="15"/>
                    <a:pt x="57" y="15"/>
                  </a:cubicBezTo>
                  <a:cubicBezTo>
                    <a:pt x="50" y="25"/>
                    <a:pt x="50" y="25"/>
                    <a:pt x="50" y="25"/>
                  </a:cubicBezTo>
                  <a:cubicBezTo>
                    <a:pt x="44" y="33"/>
                    <a:pt x="44" y="33"/>
                    <a:pt x="44" y="33"/>
                  </a:cubicBezTo>
                  <a:cubicBezTo>
                    <a:pt x="42" y="42"/>
                    <a:pt x="42" y="42"/>
                    <a:pt x="42" y="42"/>
                  </a:cubicBezTo>
                  <a:cubicBezTo>
                    <a:pt x="35" y="44"/>
                    <a:pt x="35" y="44"/>
                    <a:pt x="35" y="44"/>
                  </a:cubicBezTo>
                  <a:cubicBezTo>
                    <a:pt x="30" y="47"/>
                    <a:pt x="30" y="47"/>
                    <a:pt x="30" y="47"/>
                  </a:cubicBezTo>
                  <a:cubicBezTo>
                    <a:pt x="25" y="40"/>
                    <a:pt x="17" y="43"/>
                    <a:pt x="17" y="43"/>
                  </a:cubicBezTo>
                  <a:cubicBezTo>
                    <a:pt x="5" y="51"/>
                    <a:pt x="5" y="51"/>
                    <a:pt x="5" y="51"/>
                  </a:cubicBezTo>
                  <a:cubicBezTo>
                    <a:pt x="0" y="57"/>
                    <a:pt x="0" y="57"/>
                    <a:pt x="0" y="57"/>
                  </a:cubicBezTo>
                  <a:cubicBezTo>
                    <a:pt x="1" y="58"/>
                    <a:pt x="2" y="58"/>
                    <a:pt x="2" y="59"/>
                  </a:cubicBezTo>
                  <a:cubicBezTo>
                    <a:pt x="1" y="61"/>
                    <a:pt x="2" y="66"/>
                    <a:pt x="5" y="66"/>
                  </a:cubicBezTo>
                  <a:cubicBezTo>
                    <a:pt x="7" y="66"/>
                    <a:pt x="8" y="67"/>
                    <a:pt x="8" y="69"/>
                  </a:cubicBezTo>
                  <a:cubicBezTo>
                    <a:pt x="7" y="71"/>
                    <a:pt x="6" y="75"/>
                    <a:pt x="8" y="75"/>
                  </a:cubicBezTo>
                  <a:cubicBezTo>
                    <a:pt x="10" y="75"/>
                    <a:pt x="12" y="75"/>
                    <a:pt x="12" y="77"/>
                  </a:cubicBezTo>
                  <a:cubicBezTo>
                    <a:pt x="12" y="79"/>
                    <a:pt x="13" y="81"/>
                    <a:pt x="17" y="79"/>
                  </a:cubicBezTo>
                  <a:cubicBezTo>
                    <a:pt x="19" y="79"/>
                    <a:pt x="20" y="78"/>
                    <a:pt x="21" y="79"/>
                  </a:cubicBezTo>
                  <a:cubicBezTo>
                    <a:pt x="22" y="79"/>
                    <a:pt x="22" y="82"/>
                    <a:pt x="25" y="82"/>
                  </a:cubicBezTo>
                  <a:cubicBezTo>
                    <a:pt x="27" y="83"/>
                    <a:pt x="26" y="77"/>
                    <a:pt x="25" y="76"/>
                  </a:cubicBezTo>
                  <a:cubicBezTo>
                    <a:pt x="24" y="75"/>
                    <a:pt x="25" y="71"/>
                    <a:pt x="26" y="72"/>
                  </a:cubicBezTo>
                  <a:cubicBezTo>
                    <a:pt x="27" y="73"/>
                    <a:pt x="30" y="72"/>
                    <a:pt x="32" y="70"/>
                  </a:cubicBezTo>
                  <a:cubicBezTo>
                    <a:pt x="33" y="68"/>
                    <a:pt x="36" y="72"/>
                    <a:pt x="38" y="69"/>
                  </a:cubicBezTo>
                  <a:cubicBezTo>
                    <a:pt x="39" y="67"/>
                    <a:pt x="42" y="71"/>
                    <a:pt x="45" y="69"/>
                  </a:cubicBezTo>
                  <a:cubicBezTo>
                    <a:pt x="47" y="68"/>
                    <a:pt x="49" y="71"/>
                    <a:pt x="50" y="68"/>
                  </a:cubicBezTo>
                  <a:cubicBezTo>
                    <a:pt x="51" y="66"/>
                    <a:pt x="55" y="63"/>
                    <a:pt x="56" y="64"/>
                  </a:cubicBezTo>
                  <a:cubicBezTo>
                    <a:pt x="57" y="65"/>
                    <a:pt x="58" y="67"/>
                    <a:pt x="63" y="68"/>
                  </a:cubicBezTo>
                  <a:cubicBezTo>
                    <a:pt x="68" y="68"/>
                    <a:pt x="65" y="71"/>
                    <a:pt x="65" y="73"/>
                  </a:cubicBezTo>
                  <a:cubicBezTo>
                    <a:pt x="65" y="74"/>
                    <a:pt x="71" y="78"/>
                    <a:pt x="73" y="79"/>
                  </a:cubicBezTo>
                  <a:cubicBezTo>
                    <a:pt x="74" y="79"/>
                    <a:pt x="74" y="79"/>
                    <a:pt x="75" y="80"/>
                  </a:cubicBezTo>
                  <a:cubicBezTo>
                    <a:pt x="76" y="79"/>
                    <a:pt x="79" y="80"/>
                    <a:pt x="80" y="79"/>
                  </a:cubicBezTo>
                  <a:cubicBezTo>
                    <a:pt x="80" y="77"/>
                    <a:pt x="83" y="77"/>
                    <a:pt x="84" y="79"/>
                  </a:cubicBezTo>
                  <a:cubicBezTo>
                    <a:pt x="85" y="81"/>
                    <a:pt x="86" y="81"/>
                    <a:pt x="89" y="79"/>
                  </a:cubicBezTo>
                  <a:cubicBezTo>
                    <a:pt x="91" y="77"/>
                    <a:pt x="92" y="81"/>
                    <a:pt x="91" y="82"/>
                  </a:cubicBezTo>
                  <a:cubicBezTo>
                    <a:pt x="89" y="83"/>
                    <a:pt x="90" y="87"/>
                    <a:pt x="93" y="89"/>
                  </a:cubicBezTo>
                  <a:cubicBezTo>
                    <a:pt x="95" y="91"/>
                    <a:pt x="95" y="88"/>
                    <a:pt x="95" y="86"/>
                  </a:cubicBezTo>
                  <a:cubicBezTo>
                    <a:pt x="94" y="84"/>
                    <a:pt x="99" y="82"/>
                    <a:pt x="106" y="79"/>
                  </a:cubicBezTo>
                  <a:cubicBezTo>
                    <a:pt x="114" y="77"/>
                    <a:pt x="122" y="71"/>
                    <a:pt x="122" y="70"/>
                  </a:cubicBezTo>
                  <a:cubicBezTo>
                    <a:pt x="122" y="69"/>
                    <a:pt x="127" y="72"/>
                    <a:pt x="130" y="70"/>
                  </a:cubicBezTo>
                  <a:cubicBezTo>
                    <a:pt x="132" y="68"/>
                    <a:pt x="141" y="68"/>
                    <a:pt x="144" y="68"/>
                  </a:cubicBezTo>
                  <a:cubicBezTo>
                    <a:pt x="146" y="68"/>
                    <a:pt x="146" y="66"/>
                    <a:pt x="148" y="64"/>
                  </a:cubicBezTo>
                  <a:cubicBezTo>
                    <a:pt x="151" y="62"/>
                    <a:pt x="150" y="61"/>
                    <a:pt x="153" y="60"/>
                  </a:cubicBezTo>
                  <a:cubicBezTo>
                    <a:pt x="156" y="59"/>
                    <a:pt x="158" y="56"/>
                    <a:pt x="158" y="55"/>
                  </a:cubicBezTo>
                  <a:cubicBezTo>
                    <a:pt x="158" y="54"/>
                    <a:pt x="163" y="53"/>
                    <a:pt x="163" y="52"/>
                  </a:cubicBezTo>
                  <a:cubicBezTo>
                    <a:pt x="163" y="50"/>
                    <a:pt x="167" y="50"/>
                    <a:pt x="167" y="48"/>
                  </a:cubicBezTo>
                  <a:cubicBezTo>
                    <a:pt x="167" y="46"/>
                    <a:pt x="170" y="46"/>
                    <a:pt x="171" y="45"/>
                  </a:cubicBezTo>
                  <a:cubicBezTo>
                    <a:pt x="172" y="43"/>
                    <a:pt x="170" y="39"/>
                    <a:pt x="172" y="38"/>
                  </a:cubicBezTo>
                  <a:cubicBezTo>
                    <a:pt x="174" y="38"/>
                    <a:pt x="171" y="36"/>
                    <a:pt x="171" y="35"/>
                  </a:cubicBezTo>
                  <a:cubicBezTo>
                    <a:pt x="171" y="34"/>
                    <a:pt x="171" y="34"/>
                    <a:pt x="172" y="34"/>
                  </a:cubicBezTo>
                  <a:cubicBezTo>
                    <a:pt x="169" y="28"/>
                    <a:pt x="169" y="28"/>
                    <a:pt x="169" y="28"/>
                  </a:cubicBezTo>
                  <a:lnTo>
                    <a:pt x="166" y="27"/>
                  </a:lnTo>
                  <a:close/>
                </a:path>
              </a:pathLst>
            </a:custGeom>
            <a:grpFill/>
            <a:ln w="317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grpSp>
      <p:grpSp>
        <p:nvGrpSpPr>
          <p:cNvPr id="242" name="Group 241">
            <a:extLst>
              <a:ext uri="{FF2B5EF4-FFF2-40B4-BE49-F238E27FC236}">
                <a16:creationId xmlns:a16="http://schemas.microsoft.com/office/drawing/2014/main" xmlns="" id="{EE36E078-578F-4235-9198-73272D182247}"/>
              </a:ext>
            </a:extLst>
          </p:cNvPr>
          <p:cNvGrpSpPr/>
          <p:nvPr/>
        </p:nvGrpSpPr>
        <p:grpSpPr>
          <a:xfrm>
            <a:off x="395291" y="801475"/>
            <a:ext cx="2016041" cy="600524"/>
            <a:chOff x="527054" y="1716250"/>
            <a:chExt cx="2688055" cy="800699"/>
          </a:xfrm>
        </p:grpSpPr>
        <p:sp>
          <p:nvSpPr>
            <p:cNvPr id="243" name="TextBox 242">
              <a:extLst>
                <a:ext uri="{FF2B5EF4-FFF2-40B4-BE49-F238E27FC236}">
                  <a16:creationId xmlns:a16="http://schemas.microsoft.com/office/drawing/2014/main" xmlns="" id="{150C9AE9-47C7-48A3-BA72-18BCDA7C518F}"/>
                </a:ext>
              </a:extLst>
            </p:cNvPr>
            <p:cNvSpPr txBox="1"/>
            <p:nvPr/>
          </p:nvSpPr>
          <p:spPr>
            <a:xfrm>
              <a:off x="1323490" y="1720678"/>
              <a:ext cx="1891619" cy="796271"/>
            </a:xfrm>
            <a:prstGeom prst="rect">
              <a:avLst/>
            </a:prstGeom>
            <a:noFill/>
          </p:spPr>
          <p:txBody>
            <a:bodyPr wrap="square" lIns="27000" tIns="27000" rIns="0" bIns="0" rtlCol="0">
              <a:noAutofit/>
            </a:bodyPr>
            <a:lstStyle/>
            <a:p>
              <a:pPr defTabSz="685749">
                <a:lnSpc>
                  <a:spcPts val="2100"/>
                </a:lnSpc>
                <a:defRPr/>
              </a:pPr>
              <a:r>
                <a:rPr lang="es" sz="2100" b="1" dirty="0">
                  <a:solidFill>
                    <a:srgbClr val="4C4948"/>
                  </a:solidFill>
                  <a:latin typeface="Calibri"/>
                  <a:cs typeface="Times New Roman" panose="02020603050405020304" pitchFamily="18" charset="0"/>
                </a:rPr>
                <a:t>28.175</a:t>
              </a:r>
              <a:endParaRPr lang="en-US" sz="2100" b="1" baseline="30000" dirty="0">
                <a:solidFill>
                  <a:srgbClr val="4C4948"/>
                </a:solidFill>
                <a:latin typeface="Calibri"/>
                <a:cs typeface="Times New Roman" panose="02020603050405020304" pitchFamily="18" charset="0"/>
              </a:endParaRPr>
            </a:p>
            <a:p>
              <a:pPr defTabSz="685749">
                <a:lnSpc>
                  <a:spcPts val="2100"/>
                </a:lnSpc>
                <a:defRPr/>
              </a:pPr>
              <a:r>
                <a:rPr lang="es" sz="1350" dirty="0">
                  <a:solidFill>
                    <a:srgbClr val="4C4948"/>
                  </a:solidFill>
                  <a:latin typeface="Calibri"/>
                  <a:cs typeface="Times New Roman" panose="02020603050405020304" pitchFamily="18" charset="0"/>
                </a:rPr>
                <a:t>Participantes*</a:t>
              </a:r>
            </a:p>
            <a:p>
              <a:pPr defTabSz="685749">
                <a:lnSpc>
                  <a:spcPts val="2100"/>
                </a:lnSpc>
                <a:defRPr/>
              </a:pPr>
              <a:r>
                <a:rPr lang="es" sz="1350" dirty="0">
                  <a:solidFill>
                    <a:srgbClr val="4C4948"/>
                  </a:solidFill>
                  <a:latin typeface="Calibri"/>
                  <a:cs typeface="Times New Roman" panose="02020603050405020304" pitchFamily="18" charset="0"/>
                </a:rPr>
                <a:t>de 1.5 a 60 años</a:t>
              </a:r>
            </a:p>
          </p:txBody>
        </p:sp>
        <p:grpSp>
          <p:nvGrpSpPr>
            <p:cNvPr id="244" name="Group 243">
              <a:extLst>
                <a:ext uri="{FF2B5EF4-FFF2-40B4-BE49-F238E27FC236}">
                  <a16:creationId xmlns:a16="http://schemas.microsoft.com/office/drawing/2014/main" xmlns="" id="{357D5F24-9783-413F-96C0-115FE5ECF221}"/>
                </a:ext>
              </a:extLst>
            </p:cNvPr>
            <p:cNvGrpSpPr/>
            <p:nvPr/>
          </p:nvGrpSpPr>
          <p:grpSpPr>
            <a:xfrm>
              <a:off x="527054" y="1716250"/>
              <a:ext cx="680318" cy="680318"/>
              <a:chOff x="527054" y="1716250"/>
              <a:chExt cx="680318" cy="680318"/>
            </a:xfrm>
          </p:grpSpPr>
          <p:sp>
            <p:nvSpPr>
              <p:cNvPr id="245" name="Oval 244">
                <a:extLst>
                  <a:ext uri="{FF2B5EF4-FFF2-40B4-BE49-F238E27FC236}">
                    <a16:creationId xmlns:a16="http://schemas.microsoft.com/office/drawing/2014/main" xmlns="" id="{37520248-C666-4E66-88FE-8A16DA3E4C34}"/>
                  </a:ext>
                </a:extLst>
              </p:cNvPr>
              <p:cNvSpPr/>
              <p:nvPr/>
            </p:nvSpPr>
            <p:spPr>
              <a:xfrm>
                <a:off x="527054" y="1716250"/>
                <a:ext cx="680318" cy="680318"/>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49">
                  <a:defRPr/>
                </a:pPr>
                <a:endParaRPr lang="en-US" sz="1350">
                  <a:solidFill>
                    <a:srgbClr val="FFFFFF"/>
                  </a:solidFill>
                  <a:latin typeface="Calibri"/>
                </a:endParaRPr>
              </a:p>
            </p:txBody>
          </p:sp>
          <p:grpSp>
            <p:nvGrpSpPr>
              <p:cNvPr id="246" name="Group 4">
                <a:extLst>
                  <a:ext uri="{FF2B5EF4-FFF2-40B4-BE49-F238E27FC236}">
                    <a16:creationId xmlns:a16="http://schemas.microsoft.com/office/drawing/2014/main" xmlns="" id="{C7792C85-BC32-4E84-8876-A32D9E5A2A0F}"/>
                  </a:ext>
                </a:extLst>
              </p:cNvPr>
              <p:cNvGrpSpPr>
                <a:grpSpLocks noChangeAspect="1"/>
              </p:cNvGrpSpPr>
              <p:nvPr/>
            </p:nvGrpSpPr>
            <p:grpSpPr bwMode="auto">
              <a:xfrm>
                <a:off x="735080" y="1758153"/>
                <a:ext cx="258370" cy="477822"/>
                <a:chOff x="325" y="1101"/>
                <a:chExt cx="239" cy="442"/>
              </a:xfrm>
              <a:solidFill>
                <a:srgbClr val="51B1BF"/>
              </a:solidFill>
            </p:grpSpPr>
            <p:sp>
              <p:nvSpPr>
                <p:cNvPr id="247" name="Oval 5">
                  <a:extLst>
                    <a:ext uri="{FF2B5EF4-FFF2-40B4-BE49-F238E27FC236}">
                      <a16:creationId xmlns:a16="http://schemas.microsoft.com/office/drawing/2014/main" xmlns="" id="{A50F5281-D472-4801-A85C-FD802E77B24F}"/>
                    </a:ext>
                  </a:extLst>
                </p:cNvPr>
                <p:cNvSpPr>
                  <a:spLocks noChangeArrowheads="1"/>
                </p:cNvSpPr>
                <p:nvPr/>
              </p:nvSpPr>
              <p:spPr bwMode="auto">
                <a:xfrm>
                  <a:off x="401" y="1101"/>
                  <a:ext cx="86" cy="86"/>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248" name="Freeform 6">
                  <a:extLst>
                    <a:ext uri="{FF2B5EF4-FFF2-40B4-BE49-F238E27FC236}">
                      <a16:creationId xmlns:a16="http://schemas.microsoft.com/office/drawing/2014/main" xmlns="" id="{CF62DCFC-3E4C-459E-BD66-1698D201C059}"/>
                    </a:ext>
                  </a:extLst>
                </p:cNvPr>
                <p:cNvSpPr>
                  <a:spLocks/>
                </p:cNvSpPr>
                <p:nvPr/>
              </p:nvSpPr>
              <p:spPr bwMode="auto">
                <a:xfrm>
                  <a:off x="325" y="1196"/>
                  <a:ext cx="239" cy="347"/>
                </a:xfrm>
                <a:custGeom>
                  <a:avLst/>
                  <a:gdLst>
                    <a:gd name="T0" fmla="*/ 880 w 895"/>
                    <a:gd name="T1" fmla="*/ 543 h 1298"/>
                    <a:gd name="T2" fmla="*/ 650 w 895"/>
                    <a:gd name="T3" fmla="*/ 40 h 1298"/>
                    <a:gd name="T4" fmla="*/ 581 w 895"/>
                    <a:gd name="T5" fmla="*/ 0 h 1298"/>
                    <a:gd name="T6" fmla="*/ 315 w 895"/>
                    <a:gd name="T7" fmla="*/ 0 h 1298"/>
                    <a:gd name="T8" fmla="*/ 246 w 895"/>
                    <a:gd name="T9" fmla="*/ 40 h 1298"/>
                    <a:gd name="T10" fmla="*/ 16 w 895"/>
                    <a:gd name="T11" fmla="*/ 543 h 1298"/>
                    <a:gd name="T12" fmla="*/ 50 w 895"/>
                    <a:gd name="T13" fmla="*/ 635 h 1298"/>
                    <a:gd name="T14" fmla="*/ 78 w 895"/>
                    <a:gd name="T15" fmla="*/ 641 h 1298"/>
                    <a:gd name="T16" fmla="*/ 141 w 895"/>
                    <a:gd name="T17" fmla="*/ 601 h 1298"/>
                    <a:gd name="T18" fmla="*/ 252 w 895"/>
                    <a:gd name="T19" fmla="*/ 357 h 1298"/>
                    <a:gd name="T20" fmla="*/ 252 w 895"/>
                    <a:gd name="T21" fmla="*/ 619 h 1298"/>
                    <a:gd name="T22" fmla="*/ 252 w 895"/>
                    <a:gd name="T23" fmla="*/ 621 h 1298"/>
                    <a:gd name="T24" fmla="*/ 252 w 895"/>
                    <a:gd name="T25" fmla="*/ 1215 h 1298"/>
                    <a:gd name="T26" fmla="*/ 335 w 895"/>
                    <a:gd name="T27" fmla="*/ 1298 h 1298"/>
                    <a:gd name="T28" fmla="*/ 417 w 895"/>
                    <a:gd name="T29" fmla="*/ 1215 h 1298"/>
                    <a:gd name="T30" fmla="*/ 417 w 895"/>
                    <a:gd name="T31" fmla="*/ 722 h 1298"/>
                    <a:gd name="T32" fmla="*/ 478 w 895"/>
                    <a:gd name="T33" fmla="*/ 722 h 1298"/>
                    <a:gd name="T34" fmla="*/ 478 w 895"/>
                    <a:gd name="T35" fmla="*/ 1215 h 1298"/>
                    <a:gd name="T36" fmla="*/ 560 w 895"/>
                    <a:gd name="T37" fmla="*/ 1298 h 1298"/>
                    <a:gd name="T38" fmla="*/ 643 w 895"/>
                    <a:gd name="T39" fmla="*/ 1215 h 1298"/>
                    <a:gd name="T40" fmla="*/ 643 w 895"/>
                    <a:gd name="T41" fmla="*/ 621 h 1298"/>
                    <a:gd name="T42" fmla="*/ 643 w 895"/>
                    <a:gd name="T43" fmla="*/ 620 h 1298"/>
                    <a:gd name="T44" fmla="*/ 643 w 895"/>
                    <a:gd name="T45" fmla="*/ 357 h 1298"/>
                    <a:gd name="T46" fmla="*/ 754 w 895"/>
                    <a:gd name="T47" fmla="*/ 601 h 1298"/>
                    <a:gd name="T48" fmla="*/ 817 w 895"/>
                    <a:gd name="T49" fmla="*/ 641 h 1298"/>
                    <a:gd name="T50" fmla="*/ 846 w 895"/>
                    <a:gd name="T51" fmla="*/ 635 h 1298"/>
                    <a:gd name="T52" fmla="*/ 880 w 895"/>
                    <a:gd name="T53" fmla="*/ 543 h 1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95" h="1298">
                      <a:moveTo>
                        <a:pt x="880" y="543"/>
                      </a:moveTo>
                      <a:cubicBezTo>
                        <a:pt x="650" y="40"/>
                        <a:pt x="650" y="40"/>
                        <a:pt x="650" y="40"/>
                      </a:cubicBezTo>
                      <a:cubicBezTo>
                        <a:pt x="637" y="12"/>
                        <a:pt x="609" y="0"/>
                        <a:pt x="581" y="0"/>
                      </a:cubicBezTo>
                      <a:cubicBezTo>
                        <a:pt x="481" y="0"/>
                        <a:pt x="424" y="0"/>
                        <a:pt x="315" y="0"/>
                      </a:cubicBezTo>
                      <a:cubicBezTo>
                        <a:pt x="286" y="0"/>
                        <a:pt x="258" y="12"/>
                        <a:pt x="246" y="40"/>
                      </a:cubicBezTo>
                      <a:cubicBezTo>
                        <a:pt x="16" y="543"/>
                        <a:pt x="16" y="543"/>
                        <a:pt x="16" y="543"/>
                      </a:cubicBezTo>
                      <a:cubicBezTo>
                        <a:pt x="0" y="578"/>
                        <a:pt x="15" y="619"/>
                        <a:pt x="50" y="635"/>
                      </a:cubicBezTo>
                      <a:cubicBezTo>
                        <a:pt x="59" y="639"/>
                        <a:pt x="69" y="641"/>
                        <a:pt x="78" y="641"/>
                      </a:cubicBezTo>
                      <a:cubicBezTo>
                        <a:pt x="104" y="641"/>
                        <a:pt x="130" y="626"/>
                        <a:pt x="141" y="601"/>
                      </a:cubicBezTo>
                      <a:cubicBezTo>
                        <a:pt x="252" y="357"/>
                        <a:pt x="252" y="357"/>
                        <a:pt x="252" y="357"/>
                      </a:cubicBezTo>
                      <a:cubicBezTo>
                        <a:pt x="252" y="619"/>
                        <a:pt x="252" y="619"/>
                        <a:pt x="252" y="619"/>
                      </a:cubicBezTo>
                      <a:cubicBezTo>
                        <a:pt x="252" y="620"/>
                        <a:pt x="252" y="620"/>
                        <a:pt x="252" y="621"/>
                      </a:cubicBezTo>
                      <a:cubicBezTo>
                        <a:pt x="252" y="1215"/>
                        <a:pt x="252" y="1215"/>
                        <a:pt x="252" y="1215"/>
                      </a:cubicBezTo>
                      <a:cubicBezTo>
                        <a:pt x="252" y="1261"/>
                        <a:pt x="289" y="1298"/>
                        <a:pt x="335" y="1298"/>
                      </a:cubicBezTo>
                      <a:cubicBezTo>
                        <a:pt x="380" y="1298"/>
                        <a:pt x="417" y="1261"/>
                        <a:pt x="417" y="1215"/>
                      </a:cubicBezTo>
                      <a:cubicBezTo>
                        <a:pt x="417" y="722"/>
                        <a:pt x="417" y="722"/>
                        <a:pt x="417" y="722"/>
                      </a:cubicBezTo>
                      <a:cubicBezTo>
                        <a:pt x="478" y="722"/>
                        <a:pt x="478" y="722"/>
                        <a:pt x="478" y="722"/>
                      </a:cubicBezTo>
                      <a:cubicBezTo>
                        <a:pt x="478" y="1215"/>
                        <a:pt x="478" y="1215"/>
                        <a:pt x="478" y="1215"/>
                      </a:cubicBezTo>
                      <a:cubicBezTo>
                        <a:pt x="478" y="1261"/>
                        <a:pt x="515" y="1298"/>
                        <a:pt x="560" y="1298"/>
                      </a:cubicBezTo>
                      <a:cubicBezTo>
                        <a:pt x="606" y="1298"/>
                        <a:pt x="643" y="1261"/>
                        <a:pt x="643" y="1215"/>
                      </a:cubicBezTo>
                      <a:cubicBezTo>
                        <a:pt x="643" y="621"/>
                        <a:pt x="643" y="621"/>
                        <a:pt x="643" y="621"/>
                      </a:cubicBezTo>
                      <a:cubicBezTo>
                        <a:pt x="643" y="620"/>
                        <a:pt x="643" y="620"/>
                        <a:pt x="643" y="620"/>
                      </a:cubicBezTo>
                      <a:cubicBezTo>
                        <a:pt x="643" y="357"/>
                        <a:pt x="643" y="357"/>
                        <a:pt x="643" y="357"/>
                      </a:cubicBezTo>
                      <a:cubicBezTo>
                        <a:pt x="754" y="601"/>
                        <a:pt x="754" y="601"/>
                        <a:pt x="754" y="601"/>
                      </a:cubicBezTo>
                      <a:cubicBezTo>
                        <a:pt x="766" y="626"/>
                        <a:pt x="791" y="641"/>
                        <a:pt x="817" y="641"/>
                      </a:cubicBezTo>
                      <a:cubicBezTo>
                        <a:pt x="826" y="641"/>
                        <a:pt x="836" y="639"/>
                        <a:pt x="846" y="635"/>
                      </a:cubicBezTo>
                      <a:cubicBezTo>
                        <a:pt x="880" y="619"/>
                        <a:pt x="895" y="578"/>
                        <a:pt x="880" y="5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grpSp>
        </p:grpSp>
      </p:grpSp>
      <p:grpSp>
        <p:nvGrpSpPr>
          <p:cNvPr id="249" name="Group 248">
            <a:extLst>
              <a:ext uri="{FF2B5EF4-FFF2-40B4-BE49-F238E27FC236}">
                <a16:creationId xmlns:a16="http://schemas.microsoft.com/office/drawing/2014/main" xmlns="" id="{028F1A48-5594-470C-804B-20D7C0B9F556}"/>
              </a:ext>
            </a:extLst>
          </p:cNvPr>
          <p:cNvGrpSpPr/>
          <p:nvPr/>
        </p:nvGrpSpPr>
        <p:grpSpPr>
          <a:xfrm>
            <a:off x="381536" y="1710884"/>
            <a:ext cx="1634739" cy="520194"/>
            <a:chOff x="508715" y="2851557"/>
            <a:chExt cx="2179652" cy="693592"/>
          </a:xfrm>
        </p:grpSpPr>
        <p:sp>
          <p:nvSpPr>
            <p:cNvPr id="250" name="TextBox 249">
              <a:extLst>
                <a:ext uri="{FF2B5EF4-FFF2-40B4-BE49-F238E27FC236}">
                  <a16:creationId xmlns:a16="http://schemas.microsoft.com/office/drawing/2014/main" xmlns="" id="{8CF519CF-B6B3-40C6-A506-4525395BC518}"/>
                </a:ext>
              </a:extLst>
            </p:cNvPr>
            <p:cNvSpPr txBox="1"/>
            <p:nvPr/>
          </p:nvSpPr>
          <p:spPr>
            <a:xfrm>
              <a:off x="1323490" y="2912991"/>
              <a:ext cx="1364877" cy="632158"/>
            </a:xfrm>
            <a:prstGeom prst="rect">
              <a:avLst/>
            </a:prstGeom>
            <a:noFill/>
          </p:spPr>
          <p:txBody>
            <a:bodyPr wrap="square" lIns="27000" tIns="27000" rIns="0" bIns="0" rtlCol="0">
              <a:noAutofit/>
            </a:bodyPr>
            <a:lstStyle/>
            <a:p>
              <a:pPr defTabSz="685749">
                <a:lnSpc>
                  <a:spcPts val="1650"/>
                </a:lnSpc>
                <a:defRPr/>
              </a:pPr>
              <a:r>
                <a:rPr lang="es" sz="2100" b="1" dirty="0">
                  <a:solidFill>
                    <a:srgbClr val="4C4948"/>
                  </a:solidFill>
                  <a:latin typeface="Calibri"/>
                  <a:cs typeface="Times New Roman" panose="02020603050405020304" pitchFamily="18" charset="0"/>
                </a:rPr>
                <a:t>13</a:t>
              </a:r>
            </a:p>
            <a:p>
              <a:pPr defTabSz="685749">
                <a:lnSpc>
                  <a:spcPts val="1650"/>
                </a:lnSpc>
                <a:defRPr/>
              </a:pPr>
              <a:r>
                <a:rPr lang="es" sz="1350" dirty="0">
                  <a:solidFill>
                    <a:srgbClr val="4C4948"/>
                  </a:solidFill>
                  <a:latin typeface="Calibri"/>
                  <a:cs typeface="Times New Roman" panose="02020603050405020304" pitchFamily="18" charset="0"/>
                </a:rPr>
                <a:t>Países*</a:t>
              </a:r>
            </a:p>
          </p:txBody>
        </p:sp>
        <p:grpSp>
          <p:nvGrpSpPr>
            <p:cNvPr id="251" name="Group 250">
              <a:extLst>
                <a:ext uri="{FF2B5EF4-FFF2-40B4-BE49-F238E27FC236}">
                  <a16:creationId xmlns:a16="http://schemas.microsoft.com/office/drawing/2014/main" xmlns="" id="{BD48E667-4F3B-4CBC-BC05-3779D342A73D}"/>
                </a:ext>
              </a:extLst>
            </p:cNvPr>
            <p:cNvGrpSpPr/>
            <p:nvPr/>
          </p:nvGrpSpPr>
          <p:grpSpPr>
            <a:xfrm>
              <a:off x="508715" y="2851557"/>
              <a:ext cx="680318" cy="680318"/>
              <a:chOff x="508715" y="2851557"/>
              <a:chExt cx="680318" cy="680318"/>
            </a:xfrm>
          </p:grpSpPr>
          <p:sp>
            <p:nvSpPr>
              <p:cNvPr id="252" name="Oval 251">
                <a:extLst>
                  <a:ext uri="{FF2B5EF4-FFF2-40B4-BE49-F238E27FC236}">
                    <a16:creationId xmlns:a16="http://schemas.microsoft.com/office/drawing/2014/main" xmlns="" id="{B7D6926C-A53D-4B64-A9FE-F76D30749729}"/>
                  </a:ext>
                </a:extLst>
              </p:cNvPr>
              <p:cNvSpPr/>
              <p:nvPr/>
            </p:nvSpPr>
            <p:spPr>
              <a:xfrm>
                <a:off x="508715" y="2851557"/>
                <a:ext cx="680318" cy="680318"/>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49">
                  <a:defRPr/>
                </a:pPr>
                <a:endParaRPr lang="en-US" sz="1350">
                  <a:solidFill>
                    <a:srgbClr val="FFFFFF"/>
                  </a:solidFill>
                  <a:latin typeface="Calibri"/>
                </a:endParaRPr>
              </a:p>
            </p:txBody>
          </p:sp>
          <p:grpSp>
            <p:nvGrpSpPr>
              <p:cNvPr id="253" name="Group 9">
                <a:extLst>
                  <a:ext uri="{FF2B5EF4-FFF2-40B4-BE49-F238E27FC236}">
                    <a16:creationId xmlns:a16="http://schemas.microsoft.com/office/drawing/2014/main" xmlns="" id="{F8EB7C93-DE48-4C3E-A964-A19179D5CF7A}"/>
                  </a:ext>
                </a:extLst>
              </p:cNvPr>
              <p:cNvGrpSpPr>
                <a:grpSpLocks noChangeAspect="1"/>
              </p:cNvGrpSpPr>
              <p:nvPr/>
            </p:nvGrpSpPr>
            <p:grpSpPr bwMode="auto">
              <a:xfrm>
                <a:off x="694244" y="2959792"/>
                <a:ext cx="336342" cy="479261"/>
                <a:chOff x="373" y="1771"/>
                <a:chExt cx="313" cy="446"/>
              </a:xfrm>
            </p:grpSpPr>
            <p:sp>
              <p:nvSpPr>
                <p:cNvPr id="254" name="Rectangle 10">
                  <a:extLst>
                    <a:ext uri="{FF2B5EF4-FFF2-40B4-BE49-F238E27FC236}">
                      <a16:creationId xmlns:a16="http://schemas.microsoft.com/office/drawing/2014/main" xmlns="" id="{8AE93C75-CBCC-46F7-A4CB-262DD128BD58}"/>
                    </a:ext>
                  </a:extLst>
                </p:cNvPr>
                <p:cNvSpPr>
                  <a:spLocks noChangeArrowheads="1"/>
                </p:cNvSpPr>
                <p:nvPr/>
              </p:nvSpPr>
              <p:spPr bwMode="auto">
                <a:xfrm>
                  <a:off x="495" y="1918"/>
                  <a:ext cx="191" cy="166"/>
                </a:xfrm>
                <a:prstGeom prst="rect">
                  <a:avLst/>
                </a:prstGeom>
                <a:solidFill>
                  <a:srgbClr val="EE77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255" name="Freeform 11">
                  <a:extLst>
                    <a:ext uri="{FF2B5EF4-FFF2-40B4-BE49-F238E27FC236}">
                      <a16:creationId xmlns:a16="http://schemas.microsoft.com/office/drawing/2014/main" xmlns="" id="{F9901608-1340-4BA4-B24F-9E4F1AE04EAF}"/>
                    </a:ext>
                  </a:extLst>
                </p:cNvPr>
                <p:cNvSpPr>
                  <a:spLocks/>
                </p:cNvSpPr>
                <p:nvPr/>
              </p:nvSpPr>
              <p:spPr bwMode="auto">
                <a:xfrm>
                  <a:off x="495" y="2014"/>
                  <a:ext cx="87" cy="70"/>
                </a:xfrm>
                <a:custGeom>
                  <a:avLst/>
                  <a:gdLst>
                    <a:gd name="T0" fmla="*/ 0 w 87"/>
                    <a:gd name="T1" fmla="*/ 70 h 70"/>
                    <a:gd name="T2" fmla="*/ 0 w 87"/>
                    <a:gd name="T3" fmla="*/ 0 h 70"/>
                    <a:gd name="T4" fmla="*/ 44 w 87"/>
                    <a:gd name="T5" fmla="*/ 0 h 70"/>
                    <a:gd name="T6" fmla="*/ 87 w 87"/>
                    <a:gd name="T7" fmla="*/ 18 h 70"/>
                    <a:gd name="T8" fmla="*/ 0 w 87"/>
                    <a:gd name="T9" fmla="*/ 70 h 70"/>
                  </a:gdLst>
                  <a:ahLst/>
                  <a:cxnLst>
                    <a:cxn ang="0">
                      <a:pos x="T0" y="T1"/>
                    </a:cxn>
                    <a:cxn ang="0">
                      <a:pos x="T2" y="T3"/>
                    </a:cxn>
                    <a:cxn ang="0">
                      <a:pos x="T4" y="T5"/>
                    </a:cxn>
                    <a:cxn ang="0">
                      <a:pos x="T6" y="T7"/>
                    </a:cxn>
                    <a:cxn ang="0">
                      <a:pos x="T8" y="T9"/>
                    </a:cxn>
                  </a:cxnLst>
                  <a:rect l="0" t="0" r="r" b="b"/>
                  <a:pathLst>
                    <a:path w="87" h="70">
                      <a:moveTo>
                        <a:pt x="0" y="70"/>
                      </a:moveTo>
                      <a:lnTo>
                        <a:pt x="0" y="0"/>
                      </a:lnTo>
                      <a:lnTo>
                        <a:pt x="44" y="0"/>
                      </a:lnTo>
                      <a:lnTo>
                        <a:pt x="87" y="18"/>
                      </a:lnTo>
                      <a:lnTo>
                        <a:pt x="0" y="70"/>
                      </a:lnTo>
                      <a:close/>
                    </a:path>
                  </a:pathLst>
                </a:custGeom>
                <a:solidFill>
                  <a:srgbClr val="EA5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256" name="Rectangle 12">
                  <a:extLst>
                    <a:ext uri="{FF2B5EF4-FFF2-40B4-BE49-F238E27FC236}">
                      <a16:creationId xmlns:a16="http://schemas.microsoft.com/office/drawing/2014/main" xmlns="" id="{3388A04D-4DF2-488B-9DA8-012EEAC12AFD}"/>
                    </a:ext>
                  </a:extLst>
                </p:cNvPr>
                <p:cNvSpPr>
                  <a:spLocks noChangeArrowheads="1"/>
                </p:cNvSpPr>
                <p:nvPr/>
              </p:nvSpPr>
              <p:spPr bwMode="auto">
                <a:xfrm>
                  <a:off x="412" y="1866"/>
                  <a:ext cx="170" cy="166"/>
                </a:xfrm>
                <a:prstGeom prst="rect">
                  <a:avLst/>
                </a:prstGeom>
                <a:solidFill>
                  <a:srgbClr val="F2998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257" name="Rectangle 13">
                  <a:extLst>
                    <a:ext uri="{FF2B5EF4-FFF2-40B4-BE49-F238E27FC236}">
                      <a16:creationId xmlns:a16="http://schemas.microsoft.com/office/drawing/2014/main" xmlns="" id="{BC468045-8E26-493E-8FA9-4C2CCA68AA94}"/>
                    </a:ext>
                  </a:extLst>
                </p:cNvPr>
                <p:cNvSpPr>
                  <a:spLocks noChangeArrowheads="1"/>
                </p:cNvSpPr>
                <p:nvPr/>
              </p:nvSpPr>
              <p:spPr bwMode="auto">
                <a:xfrm>
                  <a:off x="399" y="1837"/>
                  <a:ext cx="26" cy="380"/>
                </a:xfrm>
                <a:prstGeom prst="rect">
                  <a:avLst/>
                </a:prstGeom>
                <a:solidFill>
                  <a:srgbClr val="4C9BC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258" name="Oval 14">
                  <a:extLst>
                    <a:ext uri="{FF2B5EF4-FFF2-40B4-BE49-F238E27FC236}">
                      <a16:creationId xmlns:a16="http://schemas.microsoft.com/office/drawing/2014/main" xmlns="" id="{2994A6F6-C4AA-4C9E-B244-DD71F572DB95}"/>
                    </a:ext>
                  </a:extLst>
                </p:cNvPr>
                <p:cNvSpPr>
                  <a:spLocks noChangeArrowheads="1"/>
                </p:cNvSpPr>
                <p:nvPr/>
              </p:nvSpPr>
              <p:spPr bwMode="auto">
                <a:xfrm>
                  <a:off x="373" y="1771"/>
                  <a:ext cx="78" cy="79"/>
                </a:xfrm>
                <a:prstGeom prst="ellipse">
                  <a:avLst/>
                </a:prstGeom>
                <a:solidFill>
                  <a:srgbClr val="51B1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grpSp>
        </p:grpSp>
      </p:grpSp>
      <p:sp>
        <p:nvSpPr>
          <p:cNvPr id="259" name="TextBox 258">
            <a:extLst>
              <a:ext uri="{FF2B5EF4-FFF2-40B4-BE49-F238E27FC236}">
                <a16:creationId xmlns:a16="http://schemas.microsoft.com/office/drawing/2014/main" xmlns="" id="{733B2B53-761E-4844-807C-021AB4177E2C}"/>
              </a:ext>
            </a:extLst>
          </p:cNvPr>
          <p:cNvSpPr txBox="1"/>
          <p:nvPr/>
        </p:nvSpPr>
        <p:spPr>
          <a:xfrm>
            <a:off x="992619" y="2758521"/>
            <a:ext cx="1088828" cy="692761"/>
          </a:xfrm>
          <a:prstGeom prst="rect">
            <a:avLst/>
          </a:prstGeom>
          <a:noFill/>
        </p:spPr>
        <p:txBody>
          <a:bodyPr wrap="square" lIns="27000" tIns="27000" rIns="0" bIns="0" rtlCol="0">
            <a:noAutofit/>
          </a:bodyPr>
          <a:lstStyle/>
          <a:p>
            <a:pPr defTabSz="685749">
              <a:lnSpc>
                <a:spcPts val="1500"/>
              </a:lnSpc>
              <a:defRPr/>
            </a:pPr>
            <a:r>
              <a:rPr lang="es" sz="2400" b="1" dirty="0">
                <a:solidFill>
                  <a:srgbClr val="4C4948"/>
                </a:solidFill>
                <a:latin typeface="Calibri"/>
                <a:cs typeface="Times New Roman" panose="02020603050405020304" pitchFamily="18" charset="0"/>
              </a:rPr>
              <a:t>88</a:t>
            </a:r>
            <a:endParaRPr lang="en-US" sz="3300" b="1" dirty="0">
              <a:solidFill>
                <a:srgbClr val="4C4948"/>
              </a:solidFill>
              <a:latin typeface="Calibri"/>
              <a:cs typeface="Times New Roman" panose="02020603050405020304" pitchFamily="18" charset="0"/>
            </a:endParaRPr>
          </a:p>
          <a:p>
            <a:pPr defTabSz="685749">
              <a:defRPr/>
            </a:pPr>
            <a:r>
              <a:rPr lang="es" sz="1350" dirty="0">
                <a:solidFill>
                  <a:srgbClr val="4C4948"/>
                </a:solidFill>
                <a:latin typeface="Calibri"/>
                <a:cs typeface="Times New Roman" panose="02020603050405020304" pitchFamily="18" charset="0"/>
              </a:rPr>
              <a:t>Sitios de investigación*</a:t>
            </a:r>
          </a:p>
        </p:txBody>
      </p:sp>
      <p:grpSp>
        <p:nvGrpSpPr>
          <p:cNvPr id="260" name="Group 259">
            <a:extLst>
              <a:ext uri="{FF2B5EF4-FFF2-40B4-BE49-F238E27FC236}">
                <a16:creationId xmlns:a16="http://schemas.microsoft.com/office/drawing/2014/main" xmlns="" id="{CA523608-F99F-45D2-8C68-B6334C1F644B}"/>
              </a:ext>
            </a:extLst>
          </p:cNvPr>
          <p:cNvGrpSpPr/>
          <p:nvPr/>
        </p:nvGrpSpPr>
        <p:grpSpPr>
          <a:xfrm>
            <a:off x="395291" y="2811139"/>
            <a:ext cx="510239" cy="510239"/>
            <a:chOff x="527054" y="4371296"/>
            <a:chExt cx="680318" cy="680318"/>
          </a:xfrm>
        </p:grpSpPr>
        <p:sp>
          <p:nvSpPr>
            <p:cNvPr id="261" name="Oval 260">
              <a:extLst>
                <a:ext uri="{FF2B5EF4-FFF2-40B4-BE49-F238E27FC236}">
                  <a16:creationId xmlns:a16="http://schemas.microsoft.com/office/drawing/2014/main" xmlns="" id="{CDF16870-72CF-4A67-86FF-C26918888888}"/>
                </a:ext>
              </a:extLst>
            </p:cNvPr>
            <p:cNvSpPr/>
            <p:nvPr/>
          </p:nvSpPr>
          <p:spPr>
            <a:xfrm>
              <a:off x="527054" y="4371296"/>
              <a:ext cx="680318" cy="680318"/>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49">
                <a:defRPr/>
              </a:pPr>
              <a:endParaRPr lang="en-US" sz="1350">
                <a:solidFill>
                  <a:srgbClr val="FFFFFF"/>
                </a:solidFill>
                <a:latin typeface="Calibri"/>
              </a:endParaRPr>
            </a:p>
          </p:txBody>
        </p:sp>
        <p:grpSp>
          <p:nvGrpSpPr>
            <p:cNvPr id="262" name="Group 17">
              <a:extLst>
                <a:ext uri="{FF2B5EF4-FFF2-40B4-BE49-F238E27FC236}">
                  <a16:creationId xmlns:a16="http://schemas.microsoft.com/office/drawing/2014/main" xmlns="" id="{587C2545-9D3C-423B-80BD-8571F3F2A7B0}"/>
                </a:ext>
              </a:extLst>
            </p:cNvPr>
            <p:cNvGrpSpPr>
              <a:grpSpLocks noChangeAspect="1"/>
            </p:cNvGrpSpPr>
            <p:nvPr/>
          </p:nvGrpSpPr>
          <p:grpSpPr bwMode="auto">
            <a:xfrm rot="2700000">
              <a:off x="705948" y="4464390"/>
              <a:ext cx="291995" cy="499028"/>
              <a:chOff x="-34" y="2540"/>
              <a:chExt cx="299" cy="511"/>
            </a:xfrm>
          </p:grpSpPr>
          <p:sp>
            <p:nvSpPr>
              <p:cNvPr id="263" name="Oval 18">
                <a:extLst>
                  <a:ext uri="{FF2B5EF4-FFF2-40B4-BE49-F238E27FC236}">
                    <a16:creationId xmlns:a16="http://schemas.microsoft.com/office/drawing/2014/main" xmlns="" id="{F738A25E-E351-4242-8BE1-7C24923C6D0D}"/>
                  </a:ext>
                </a:extLst>
              </p:cNvPr>
              <p:cNvSpPr>
                <a:spLocks noChangeArrowheads="1"/>
              </p:cNvSpPr>
              <p:nvPr/>
            </p:nvSpPr>
            <p:spPr bwMode="auto">
              <a:xfrm>
                <a:off x="-34" y="2540"/>
                <a:ext cx="299" cy="298"/>
              </a:xfrm>
              <a:prstGeom prst="ellipse">
                <a:avLst/>
              </a:prstGeom>
              <a:solidFill>
                <a:srgbClr val="4C9B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264" name="Freeform 19">
                <a:extLst>
                  <a:ext uri="{FF2B5EF4-FFF2-40B4-BE49-F238E27FC236}">
                    <a16:creationId xmlns:a16="http://schemas.microsoft.com/office/drawing/2014/main" xmlns="" id="{594F7EBB-009B-405C-9D91-AD6A1C366027}"/>
                  </a:ext>
                </a:extLst>
              </p:cNvPr>
              <p:cNvSpPr>
                <a:spLocks/>
              </p:cNvSpPr>
              <p:nvPr/>
            </p:nvSpPr>
            <p:spPr bwMode="auto">
              <a:xfrm>
                <a:off x="94" y="2870"/>
                <a:ext cx="43" cy="181"/>
              </a:xfrm>
              <a:custGeom>
                <a:avLst/>
                <a:gdLst>
                  <a:gd name="T0" fmla="*/ 128 w 128"/>
                  <a:gd name="T1" fmla="*/ 0 h 544"/>
                  <a:gd name="T2" fmla="*/ 128 w 128"/>
                  <a:gd name="T3" fmla="*/ 480 h 544"/>
                  <a:gd name="T4" fmla="*/ 64 w 128"/>
                  <a:gd name="T5" fmla="*/ 544 h 544"/>
                  <a:gd name="T6" fmla="*/ 0 w 128"/>
                  <a:gd name="T7" fmla="*/ 480 h 544"/>
                  <a:gd name="T8" fmla="*/ 0 w 128"/>
                  <a:gd name="T9" fmla="*/ 0 h 544"/>
                  <a:gd name="T10" fmla="*/ 128 w 128"/>
                  <a:gd name="T11" fmla="*/ 0 h 544"/>
                </a:gdLst>
                <a:ahLst/>
                <a:cxnLst>
                  <a:cxn ang="0">
                    <a:pos x="T0" y="T1"/>
                  </a:cxn>
                  <a:cxn ang="0">
                    <a:pos x="T2" y="T3"/>
                  </a:cxn>
                  <a:cxn ang="0">
                    <a:pos x="T4" y="T5"/>
                  </a:cxn>
                  <a:cxn ang="0">
                    <a:pos x="T6" y="T7"/>
                  </a:cxn>
                  <a:cxn ang="0">
                    <a:pos x="T8" y="T9"/>
                  </a:cxn>
                  <a:cxn ang="0">
                    <a:pos x="T10" y="T11"/>
                  </a:cxn>
                </a:cxnLst>
                <a:rect l="0" t="0" r="r" b="b"/>
                <a:pathLst>
                  <a:path w="128" h="544">
                    <a:moveTo>
                      <a:pt x="128" y="0"/>
                    </a:moveTo>
                    <a:cubicBezTo>
                      <a:pt x="128" y="480"/>
                      <a:pt x="128" y="480"/>
                      <a:pt x="128" y="480"/>
                    </a:cubicBezTo>
                    <a:cubicBezTo>
                      <a:pt x="128" y="515"/>
                      <a:pt x="99" y="544"/>
                      <a:pt x="64" y="544"/>
                    </a:cubicBezTo>
                    <a:cubicBezTo>
                      <a:pt x="29" y="544"/>
                      <a:pt x="0" y="515"/>
                      <a:pt x="0" y="480"/>
                    </a:cubicBezTo>
                    <a:cubicBezTo>
                      <a:pt x="0" y="0"/>
                      <a:pt x="0" y="0"/>
                      <a:pt x="0" y="0"/>
                    </a:cubicBezTo>
                    <a:lnTo>
                      <a:pt x="128" y="0"/>
                    </a:lnTo>
                    <a:close/>
                  </a:path>
                </a:pathLst>
              </a:custGeom>
              <a:solidFill>
                <a:srgbClr val="F299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265" name="Rectangle 20">
                <a:extLst>
                  <a:ext uri="{FF2B5EF4-FFF2-40B4-BE49-F238E27FC236}">
                    <a16:creationId xmlns:a16="http://schemas.microsoft.com/office/drawing/2014/main" xmlns="" id="{5C982AB5-6206-4FFA-8329-A8E4CB2C1B0C}"/>
                  </a:ext>
                </a:extLst>
              </p:cNvPr>
              <p:cNvSpPr>
                <a:spLocks noChangeArrowheads="1"/>
              </p:cNvSpPr>
              <p:nvPr/>
            </p:nvSpPr>
            <p:spPr bwMode="auto">
              <a:xfrm>
                <a:off x="94" y="2870"/>
                <a:ext cx="43" cy="32"/>
              </a:xfrm>
              <a:prstGeom prst="rect">
                <a:avLst/>
              </a:prstGeom>
              <a:solidFill>
                <a:srgbClr val="EE77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266" name="Freeform 21">
                <a:extLst>
                  <a:ext uri="{FF2B5EF4-FFF2-40B4-BE49-F238E27FC236}">
                    <a16:creationId xmlns:a16="http://schemas.microsoft.com/office/drawing/2014/main" xmlns="" id="{039FE473-8FB5-42F6-98DC-2DBE5F950485}"/>
                  </a:ext>
                </a:extLst>
              </p:cNvPr>
              <p:cNvSpPr>
                <a:spLocks/>
              </p:cNvSpPr>
              <p:nvPr/>
            </p:nvSpPr>
            <p:spPr bwMode="auto">
              <a:xfrm>
                <a:off x="73" y="2838"/>
                <a:ext cx="85" cy="43"/>
              </a:xfrm>
              <a:custGeom>
                <a:avLst/>
                <a:gdLst>
                  <a:gd name="T0" fmla="*/ 64 w 256"/>
                  <a:gd name="T1" fmla="*/ 0 h 128"/>
                  <a:gd name="T2" fmla="*/ 192 w 256"/>
                  <a:gd name="T3" fmla="*/ 0 h 128"/>
                  <a:gd name="T4" fmla="*/ 256 w 256"/>
                  <a:gd name="T5" fmla="*/ 64 h 128"/>
                  <a:gd name="T6" fmla="*/ 256 w 256"/>
                  <a:gd name="T7" fmla="*/ 64 h 128"/>
                  <a:gd name="T8" fmla="*/ 192 w 256"/>
                  <a:gd name="T9" fmla="*/ 128 h 128"/>
                  <a:gd name="T10" fmla="*/ 64 w 256"/>
                  <a:gd name="T11" fmla="*/ 128 h 128"/>
                  <a:gd name="T12" fmla="*/ 0 w 256"/>
                  <a:gd name="T13" fmla="*/ 64 h 128"/>
                  <a:gd name="T14" fmla="*/ 0 w 256"/>
                  <a:gd name="T15" fmla="*/ 64 h 128"/>
                  <a:gd name="T16" fmla="*/ 64 w 256"/>
                  <a:gd name="T1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6" h="128">
                    <a:moveTo>
                      <a:pt x="64" y="0"/>
                    </a:moveTo>
                    <a:cubicBezTo>
                      <a:pt x="192" y="0"/>
                      <a:pt x="192" y="0"/>
                      <a:pt x="192" y="0"/>
                    </a:cubicBezTo>
                    <a:cubicBezTo>
                      <a:pt x="227" y="0"/>
                      <a:pt x="256" y="29"/>
                      <a:pt x="256" y="64"/>
                    </a:cubicBezTo>
                    <a:cubicBezTo>
                      <a:pt x="256" y="64"/>
                      <a:pt x="256" y="64"/>
                      <a:pt x="256" y="64"/>
                    </a:cubicBezTo>
                    <a:cubicBezTo>
                      <a:pt x="256" y="99"/>
                      <a:pt x="227" y="128"/>
                      <a:pt x="192" y="128"/>
                    </a:cubicBezTo>
                    <a:cubicBezTo>
                      <a:pt x="64" y="128"/>
                      <a:pt x="64" y="128"/>
                      <a:pt x="64" y="128"/>
                    </a:cubicBezTo>
                    <a:cubicBezTo>
                      <a:pt x="29" y="128"/>
                      <a:pt x="0" y="99"/>
                      <a:pt x="0" y="64"/>
                    </a:cubicBezTo>
                    <a:cubicBezTo>
                      <a:pt x="0" y="64"/>
                      <a:pt x="0" y="64"/>
                      <a:pt x="0" y="64"/>
                    </a:cubicBezTo>
                    <a:cubicBezTo>
                      <a:pt x="0" y="29"/>
                      <a:pt x="29" y="0"/>
                      <a:pt x="64" y="0"/>
                    </a:cubicBezTo>
                    <a:close/>
                  </a:path>
                </a:pathLst>
              </a:custGeom>
              <a:solidFill>
                <a:srgbClr val="51B1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267" name="Oval 22">
                <a:extLst>
                  <a:ext uri="{FF2B5EF4-FFF2-40B4-BE49-F238E27FC236}">
                    <a16:creationId xmlns:a16="http://schemas.microsoft.com/office/drawing/2014/main" xmlns="" id="{234BE573-B2F0-4C05-A84A-2805F564FDB5}"/>
                  </a:ext>
                </a:extLst>
              </p:cNvPr>
              <p:cNvSpPr>
                <a:spLocks noChangeArrowheads="1"/>
              </p:cNvSpPr>
              <p:nvPr/>
            </p:nvSpPr>
            <p:spPr bwMode="auto">
              <a:xfrm>
                <a:off x="9" y="2583"/>
                <a:ext cx="213" cy="213"/>
              </a:xfrm>
              <a:prstGeom prst="ellipse">
                <a:avLst/>
              </a:prstGeom>
              <a:solidFill>
                <a:srgbClr val="97D0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sp>
            <p:nvSpPr>
              <p:cNvPr id="268" name="Freeform 23">
                <a:extLst>
                  <a:ext uri="{FF2B5EF4-FFF2-40B4-BE49-F238E27FC236}">
                    <a16:creationId xmlns:a16="http://schemas.microsoft.com/office/drawing/2014/main" xmlns="" id="{7F8326A1-A083-4DD9-9CDC-40D297ACAD73}"/>
                  </a:ext>
                </a:extLst>
              </p:cNvPr>
              <p:cNvSpPr>
                <a:spLocks/>
              </p:cNvSpPr>
              <p:nvPr/>
            </p:nvSpPr>
            <p:spPr bwMode="auto">
              <a:xfrm>
                <a:off x="94" y="3008"/>
                <a:ext cx="43" cy="43"/>
              </a:xfrm>
              <a:custGeom>
                <a:avLst/>
                <a:gdLst>
                  <a:gd name="T0" fmla="*/ 0 w 128"/>
                  <a:gd name="T1" fmla="*/ 0 h 128"/>
                  <a:gd name="T2" fmla="*/ 128 w 128"/>
                  <a:gd name="T3" fmla="*/ 0 h 128"/>
                  <a:gd name="T4" fmla="*/ 128 w 128"/>
                  <a:gd name="T5" fmla="*/ 0 h 128"/>
                  <a:gd name="T6" fmla="*/ 128 w 128"/>
                  <a:gd name="T7" fmla="*/ 64 h 128"/>
                  <a:gd name="T8" fmla="*/ 64 w 128"/>
                  <a:gd name="T9" fmla="*/ 128 h 128"/>
                  <a:gd name="T10" fmla="*/ 0 w 128"/>
                  <a:gd name="T11" fmla="*/ 64 h 128"/>
                  <a:gd name="T12" fmla="*/ 0 w 128"/>
                  <a:gd name="T13" fmla="*/ 0 h 128"/>
                </a:gdLst>
                <a:ahLst/>
                <a:cxnLst>
                  <a:cxn ang="0">
                    <a:pos x="T0" y="T1"/>
                  </a:cxn>
                  <a:cxn ang="0">
                    <a:pos x="T2" y="T3"/>
                  </a:cxn>
                  <a:cxn ang="0">
                    <a:pos x="T4" y="T5"/>
                  </a:cxn>
                  <a:cxn ang="0">
                    <a:pos x="T6" y="T7"/>
                  </a:cxn>
                  <a:cxn ang="0">
                    <a:pos x="T8" y="T9"/>
                  </a:cxn>
                  <a:cxn ang="0">
                    <a:pos x="T10" y="T11"/>
                  </a:cxn>
                  <a:cxn ang="0">
                    <a:pos x="T12" y="T13"/>
                  </a:cxn>
                </a:cxnLst>
                <a:rect l="0" t="0" r="r" b="b"/>
                <a:pathLst>
                  <a:path w="128" h="128">
                    <a:moveTo>
                      <a:pt x="0" y="0"/>
                    </a:moveTo>
                    <a:cubicBezTo>
                      <a:pt x="128" y="0"/>
                      <a:pt x="128" y="0"/>
                      <a:pt x="128" y="0"/>
                    </a:cubicBezTo>
                    <a:cubicBezTo>
                      <a:pt x="128" y="0"/>
                      <a:pt x="128" y="0"/>
                      <a:pt x="128" y="0"/>
                    </a:cubicBezTo>
                    <a:cubicBezTo>
                      <a:pt x="128" y="64"/>
                      <a:pt x="128" y="64"/>
                      <a:pt x="128" y="64"/>
                    </a:cubicBezTo>
                    <a:cubicBezTo>
                      <a:pt x="128" y="99"/>
                      <a:pt x="99" y="128"/>
                      <a:pt x="64" y="128"/>
                    </a:cubicBezTo>
                    <a:cubicBezTo>
                      <a:pt x="29" y="128"/>
                      <a:pt x="0" y="99"/>
                      <a:pt x="0" y="64"/>
                    </a:cubicBezTo>
                    <a:cubicBezTo>
                      <a:pt x="0" y="0"/>
                      <a:pt x="0" y="0"/>
                      <a:pt x="0" y="0"/>
                    </a:cubicBezTo>
                    <a:close/>
                  </a:path>
                </a:pathLst>
              </a:custGeom>
              <a:solidFill>
                <a:srgbClr val="EA55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749">
                  <a:defRPr/>
                </a:pPr>
                <a:endParaRPr lang="en-US" sz="1350">
                  <a:solidFill>
                    <a:srgbClr val="4C4948"/>
                  </a:solidFill>
                  <a:latin typeface="Calibri"/>
                </a:endParaRPr>
              </a:p>
            </p:txBody>
          </p:sp>
        </p:grpSp>
      </p:grpSp>
      <p:grpSp>
        <p:nvGrpSpPr>
          <p:cNvPr id="269" name="Group 268">
            <a:extLst>
              <a:ext uri="{FF2B5EF4-FFF2-40B4-BE49-F238E27FC236}">
                <a16:creationId xmlns:a16="http://schemas.microsoft.com/office/drawing/2014/main" xmlns="" id="{3B0F0A85-CAD9-4684-9AE1-99236DB3859A}"/>
              </a:ext>
            </a:extLst>
          </p:cNvPr>
          <p:cNvGrpSpPr/>
          <p:nvPr/>
        </p:nvGrpSpPr>
        <p:grpSpPr>
          <a:xfrm>
            <a:off x="2566837" y="1807397"/>
            <a:ext cx="1129897" cy="431784"/>
            <a:chOff x="3422655" y="2565266"/>
            <a:chExt cx="1506529" cy="575711"/>
          </a:xfrm>
          <a:solidFill>
            <a:schemeClr val="accent2">
              <a:lumMod val="60000"/>
              <a:lumOff val="40000"/>
            </a:schemeClr>
          </a:solidFill>
        </p:grpSpPr>
        <p:cxnSp>
          <p:nvCxnSpPr>
            <p:cNvPr id="270" name="Straight Connector 269">
              <a:extLst>
                <a:ext uri="{FF2B5EF4-FFF2-40B4-BE49-F238E27FC236}">
                  <a16:creationId xmlns:a16="http://schemas.microsoft.com/office/drawing/2014/main" xmlns="" id="{7316D5FF-6718-4552-9090-D97716314B69}"/>
                </a:ext>
              </a:extLst>
            </p:cNvPr>
            <p:cNvCxnSpPr>
              <a:cxnSpLocks/>
            </p:cNvCxnSpPr>
            <p:nvPr/>
          </p:nvCxnSpPr>
          <p:spPr>
            <a:xfrm>
              <a:off x="3957184" y="2853122"/>
              <a:ext cx="972000" cy="0"/>
            </a:xfrm>
            <a:prstGeom prst="line">
              <a:avLst/>
            </a:prstGeom>
            <a:grpFill/>
            <a:ln w="12700" cap="rnd">
              <a:solidFill>
                <a:srgbClr val="EA5532"/>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271" name="Rectangle: Rounded Corners 270">
              <a:extLst>
                <a:ext uri="{FF2B5EF4-FFF2-40B4-BE49-F238E27FC236}">
                  <a16:creationId xmlns:a16="http://schemas.microsoft.com/office/drawing/2014/main" xmlns="" id="{2E230738-D36B-47FC-9A9C-B6C38FB10E48}"/>
                </a:ext>
              </a:extLst>
            </p:cNvPr>
            <p:cNvSpPr/>
            <p:nvPr/>
          </p:nvSpPr>
          <p:spPr>
            <a:xfrm>
              <a:off x="3422655" y="2565266"/>
              <a:ext cx="842605" cy="575711"/>
            </a:xfrm>
            <a:prstGeom prst="roundRect">
              <a:avLst>
                <a:gd name="adj" fmla="val 13775"/>
              </a:avLst>
            </a:prstGeom>
            <a:grpFill/>
            <a:ln w="12700">
              <a:solidFill>
                <a:srgbClr val="EA5532"/>
              </a:solidFill>
            </a:ln>
          </p:spPr>
          <p:style>
            <a:lnRef idx="2">
              <a:schemeClr val="accent1"/>
            </a:lnRef>
            <a:fillRef idx="1">
              <a:schemeClr val="lt1"/>
            </a:fillRef>
            <a:effectRef idx="0">
              <a:schemeClr val="accent1"/>
            </a:effectRef>
            <a:fontRef idx="minor">
              <a:schemeClr val="dk1"/>
            </a:fontRef>
          </p:style>
          <p:txBody>
            <a:bodyPr lIns="27000" tIns="27000" rIns="0" bIns="27000" rtlCol="0" anchor="ctr">
              <a:spAutoFit/>
            </a:bodyPr>
            <a:lstStyle/>
            <a:p>
              <a:pPr defTabSz="685749">
                <a:lnSpc>
                  <a:spcPts val="900"/>
                </a:lnSpc>
                <a:defRPr/>
              </a:pPr>
              <a:r>
                <a:rPr lang="es" sz="900" b="1" dirty="0">
                  <a:solidFill>
                    <a:srgbClr val="FFFFFF"/>
                  </a:solidFill>
                  <a:latin typeface="Calibri"/>
                </a:rPr>
                <a:t>EEUU</a:t>
              </a:r>
            </a:p>
            <a:p>
              <a:pPr defTabSz="685749">
                <a:lnSpc>
                  <a:spcPts val="900"/>
                </a:lnSpc>
                <a:defRPr/>
              </a:pPr>
              <a:r>
                <a:rPr lang="es" sz="900" dirty="0">
                  <a:solidFill>
                    <a:srgbClr val="FFFFFF"/>
                  </a:solidFill>
                  <a:latin typeface="Calibri"/>
                </a:rPr>
                <a:t>1 × Fase II</a:t>
              </a:r>
            </a:p>
            <a:p>
              <a:pPr defTabSz="685749">
                <a:lnSpc>
                  <a:spcPts val="900"/>
                </a:lnSpc>
                <a:defRPr/>
              </a:pPr>
              <a:r>
                <a:rPr lang="es" sz="900" dirty="0">
                  <a:solidFill>
                    <a:srgbClr val="FFFFFF"/>
                  </a:solidFill>
                  <a:latin typeface="Calibri"/>
                </a:rPr>
                <a:t>3 × Fase III</a:t>
              </a:r>
              <a:endParaRPr lang="en-US" sz="1050" dirty="0">
                <a:solidFill>
                  <a:srgbClr val="FFFFFF"/>
                </a:solidFill>
                <a:latin typeface="Calibri"/>
              </a:endParaRPr>
            </a:p>
          </p:txBody>
        </p:sp>
      </p:grpSp>
      <p:grpSp>
        <p:nvGrpSpPr>
          <p:cNvPr id="272" name="Group 271">
            <a:extLst>
              <a:ext uri="{FF2B5EF4-FFF2-40B4-BE49-F238E27FC236}">
                <a16:creationId xmlns:a16="http://schemas.microsoft.com/office/drawing/2014/main" xmlns="" id="{F5688D04-75E5-4749-9513-CBC1C37C9D30}"/>
              </a:ext>
            </a:extLst>
          </p:cNvPr>
          <p:cNvGrpSpPr/>
          <p:nvPr/>
        </p:nvGrpSpPr>
        <p:grpSpPr>
          <a:xfrm>
            <a:off x="2567802" y="2301557"/>
            <a:ext cx="1129900" cy="307438"/>
            <a:chOff x="3422651" y="2648163"/>
            <a:chExt cx="1506533" cy="409917"/>
          </a:xfrm>
          <a:solidFill>
            <a:schemeClr val="accent2">
              <a:lumMod val="60000"/>
              <a:lumOff val="40000"/>
            </a:schemeClr>
          </a:solidFill>
        </p:grpSpPr>
        <p:cxnSp>
          <p:nvCxnSpPr>
            <p:cNvPr id="273" name="Straight Connector 272">
              <a:extLst>
                <a:ext uri="{FF2B5EF4-FFF2-40B4-BE49-F238E27FC236}">
                  <a16:creationId xmlns:a16="http://schemas.microsoft.com/office/drawing/2014/main" xmlns="" id="{9EB301B9-3D76-4F93-9200-18A12239A04C}"/>
                </a:ext>
              </a:extLst>
            </p:cNvPr>
            <p:cNvCxnSpPr>
              <a:cxnSpLocks/>
            </p:cNvCxnSpPr>
            <p:nvPr/>
          </p:nvCxnSpPr>
          <p:spPr>
            <a:xfrm>
              <a:off x="3957184" y="2853122"/>
              <a:ext cx="972000" cy="0"/>
            </a:xfrm>
            <a:prstGeom prst="line">
              <a:avLst/>
            </a:prstGeom>
            <a:grpFill/>
            <a:ln w="12700" cap="rnd">
              <a:solidFill>
                <a:srgbClr val="EA5532"/>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274" name="Rectangle: Rounded Corners 273">
              <a:extLst>
                <a:ext uri="{FF2B5EF4-FFF2-40B4-BE49-F238E27FC236}">
                  <a16:creationId xmlns:a16="http://schemas.microsoft.com/office/drawing/2014/main" xmlns="" id="{EDC8CC39-5DD9-475F-8613-5832063E9340}"/>
                </a:ext>
              </a:extLst>
            </p:cNvPr>
            <p:cNvSpPr/>
            <p:nvPr/>
          </p:nvSpPr>
          <p:spPr>
            <a:xfrm>
              <a:off x="3422651" y="2648163"/>
              <a:ext cx="842605" cy="409917"/>
            </a:xfrm>
            <a:prstGeom prst="roundRect">
              <a:avLst>
                <a:gd name="adj" fmla="val 13775"/>
              </a:avLst>
            </a:prstGeom>
            <a:grpFill/>
            <a:ln w="12700">
              <a:solidFill>
                <a:srgbClr val="EA5532"/>
              </a:solidFill>
            </a:ln>
          </p:spPr>
          <p:style>
            <a:lnRef idx="2">
              <a:schemeClr val="accent1"/>
            </a:lnRef>
            <a:fillRef idx="1">
              <a:schemeClr val="lt1"/>
            </a:fillRef>
            <a:effectRef idx="0">
              <a:schemeClr val="accent1"/>
            </a:effectRef>
            <a:fontRef idx="minor">
              <a:schemeClr val="dk1"/>
            </a:fontRef>
          </p:style>
          <p:txBody>
            <a:bodyPr lIns="27000" tIns="27000" rIns="0" bIns="27000" rtlCol="0" anchor="ctr">
              <a:spAutoFit/>
            </a:bodyPr>
            <a:lstStyle/>
            <a:p>
              <a:pPr defTabSz="685749">
                <a:lnSpc>
                  <a:spcPts val="900"/>
                </a:lnSpc>
                <a:defRPr/>
              </a:pPr>
              <a:r>
                <a:rPr lang="es" sz="900" b="1" dirty="0">
                  <a:solidFill>
                    <a:srgbClr val="FFFFFF"/>
                  </a:solidFill>
                  <a:latin typeface="Calibri"/>
                </a:rPr>
                <a:t>México†</a:t>
              </a:r>
              <a:endParaRPr lang="en-US" sz="900" b="1" dirty="0">
                <a:solidFill>
                  <a:srgbClr val="FFFFFF"/>
                </a:solidFill>
                <a:latin typeface="Calibri"/>
              </a:endParaRPr>
            </a:p>
            <a:p>
              <a:pPr defTabSz="685749">
                <a:lnSpc>
                  <a:spcPts val="900"/>
                </a:lnSpc>
                <a:defRPr/>
              </a:pPr>
              <a:r>
                <a:rPr lang="es" sz="900" dirty="0">
                  <a:solidFill>
                    <a:srgbClr val="FFFFFF"/>
                  </a:solidFill>
                  <a:latin typeface="Calibri"/>
                </a:rPr>
                <a:t>1 × Fase III</a:t>
              </a:r>
            </a:p>
          </p:txBody>
        </p:sp>
      </p:grpSp>
      <p:grpSp>
        <p:nvGrpSpPr>
          <p:cNvPr id="275" name="Group 274">
            <a:extLst>
              <a:ext uri="{FF2B5EF4-FFF2-40B4-BE49-F238E27FC236}">
                <a16:creationId xmlns:a16="http://schemas.microsoft.com/office/drawing/2014/main" xmlns="" id="{75531EDE-AD5C-4303-9FD2-1254FEE240DF}"/>
              </a:ext>
            </a:extLst>
          </p:cNvPr>
          <p:cNvGrpSpPr/>
          <p:nvPr/>
        </p:nvGrpSpPr>
        <p:grpSpPr>
          <a:xfrm>
            <a:off x="5118180" y="1050732"/>
            <a:ext cx="631954" cy="786904"/>
            <a:chOff x="6623427" y="1562729"/>
            <a:chExt cx="842605" cy="831569"/>
          </a:xfrm>
          <a:solidFill>
            <a:schemeClr val="accent2">
              <a:lumMod val="60000"/>
              <a:lumOff val="40000"/>
            </a:schemeClr>
          </a:solidFill>
        </p:grpSpPr>
        <p:cxnSp>
          <p:nvCxnSpPr>
            <p:cNvPr id="276" name="Straight Connector 275">
              <a:extLst>
                <a:ext uri="{FF2B5EF4-FFF2-40B4-BE49-F238E27FC236}">
                  <a16:creationId xmlns:a16="http://schemas.microsoft.com/office/drawing/2014/main" xmlns="" id="{B29A87C4-18E6-4EFE-8A3A-50A8D892645A}"/>
                </a:ext>
              </a:extLst>
            </p:cNvPr>
            <p:cNvCxnSpPr>
              <a:cxnSpLocks/>
            </p:cNvCxnSpPr>
            <p:nvPr/>
          </p:nvCxnSpPr>
          <p:spPr>
            <a:xfrm rot="5400000">
              <a:off x="6846729" y="2196298"/>
              <a:ext cx="396000" cy="0"/>
            </a:xfrm>
            <a:prstGeom prst="line">
              <a:avLst/>
            </a:prstGeom>
            <a:grpFill/>
            <a:ln w="12700" cap="rnd">
              <a:solidFill>
                <a:srgbClr val="EA5532"/>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277" name="Rectangle: Rounded Corners 276">
              <a:extLst>
                <a:ext uri="{FF2B5EF4-FFF2-40B4-BE49-F238E27FC236}">
                  <a16:creationId xmlns:a16="http://schemas.microsoft.com/office/drawing/2014/main" xmlns="" id="{1F7269F8-02DE-4A60-B387-066F8AFB9049}"/>
                </a:ext>
              </a:extLst>
            </p:cNvPr>
            <p:cNvSpPr/>
            <p:nvPr/>
          </p:nvSpPr>
          <p:spPr>
            <a:xfrm>
              <a:off x="6623427" y="1562729"/>
              <a:ext cx="842605" cy="456293"/>
            </a:xfrm>
            <a:prstGeom prst="roundRect">
              <a:avLst>
                <a:gd name="adj" fmla="val 13775"/>
              </a:avLst>
            </a:prstGeom>
            <a:grpFill/>
            <a:ln w="12700">
              <a:solidFill>
                <a:srgbClr val="EA5532"/>
              </a:solidFill>
            </a:ln>
          </p:spPr>
          <p:style>
            <a:lnRef idx="2">
              <a:schemeClr val="accent1"/>
            </a:lnRef>
            <a:fillRef idx="1">
              <a:schemeClr val="lt1"/>
            </a:fillRef>
            <a:effectRef idx="0">
              <a:schemeClr val="accent1"/>
            </a:effectRef>
            <a:fontRef idx="minor">
              <a:schemeClr val="dk1"/>
            </a:fontRef>
          </p:style>
          <p:txBody>
            <a:bodyPr lIns="27000" tIns="27000" rIns="0" bIns="27000" rtlCol="0" anchor="ctr">
              <a:spAutoFit/>
            </a:bodyPr>
            <a:lstStyle/>
            <a:p>
              <a:pPr defTabSz="685749">
                <a:lnSpc>
                  <a:spcPts val="900"/>
                </a:lnSpc>
                <a:defRPr/>
              </a:pPr>
              <a:r>
                <a:rPr lang="es" sz="900" b="1" dirty="0">
                  <a:solidFill>
                    <a:srgbClr val="FFFFFF"/>
                  </a:solidFill>
                  <a:latin typeface="Calibri"/>
                </a:rPr>
                <a:t>Reino Unido</a:t>
              </a:r>
            </a:p>
            <a:p>
              <a:pPr defTabSz="685749">
                <a:lnSpc>
                  <a:spcPts val="900"/>
                </a:lnSpc>
                <a:defRPr/>
              </a:pPr>
              <a:r>
                <a:rPr lang="es" sz="900" dirty="0">
                  <a:solidFill>
                    <a:srgbClr val="FFFFFF"/>
                  </a:solidFill>
                  <a:latin typeface="Calibri"/>
                </a:rPr>
                <a:t>1 × Fase II</a:t>
              </a:r>
            </a:p>
          </p:txBody>
        </p:sp>
      </p:grpSp>
      <p:grpSp>
        <p:nvGrpSpPr>
          <p:cNvPr id="278" name="Group 277">
            <a:extLst>
              <a:ext uri="{FF2B5EF4-FFF2-40B4-BE49-F238E27FC236}">
                <a16:creationId xmlns:a16="http://schemas.microsoft.com/office/drawing/2014/main" xmlns="" id="{6651BE49-0044-46E4-9F90-D04268B14F0F}"/>
              </a:ext>
            </a:extLst>
          </p:cNvPr>
          <p:cNvGrpSpPr/>
          <p:nvPr/>
        </p:nvGrpSpPr>
        <p:grpSpPr>
          <a:xfrm>
            <a:off x="3700524" y="1301537"/>
            <a:ext cx="631954" cy="1340004"/>
            <a:chOff x="4933596" y="2158008"/>
            <a:chExt cx="842605" cy="1786672"/>
          </a:xfrm>
        </p:grpSpPr>
        <p:cxnSp>
          <p:nvCxnSpPr>
            <p:cNvPr id="279" name="Straight Connector 278">
              <a:extLst>
                <a:ext uri="{FF2B5EF4-FFF2-40B4-BE49-F238E27FC236}">
                  <a16:creationId xmlns:a16="http://schemas.microsoft.com/office/drawing/2014/main" xmlns="" id="{44BA3FFC-DEF9-40E9-B053-ACB20B9E0845}"/>
                </a:ext>
              </a:extLst>
            </p:cNvPr>
            <p:cNvCxnSpPr>
              <a:cxnSpLocks/>
            </p:cNvCxnSpPr>
            <p:nvPr/>
          </p:nvCxnSpPr>
          <p:spPr>
            <a:xfrm rot="5400000">
              <a:off x="4652898" y="3242680"/>
              <a:ext cx="1404000" cy="0"/>
            </a:xfrm>
            <a:prstGeom prst="line">
              <a:avLst/>
            </a:prstGeom>
            <a:ln w="12700" cap="rnd">
              <a:solidFill>
                <a:srgbClr val="4C9BCF"/>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280" name="Rectangle: Rounded Corners 279">
              <a:extLst>
                <a:ext uri="{FF2B5EF4-FFF2-40B4-BE49-F238E27FC236}">
                  <a16:creationId xmlns:a16="http://schemas.microsoft.com/office/drawing/2014/main" xmlns="" id="{A6DCA771-C2FC-43C1-A156-227D7EA8E42E}"/>
                </a:ext>
              </a:extLst>
            </p:cNvPr>
            <p:cNvSpPr/>
            <p:nvPr/>
          </p:nvSpPr>
          <p:spPr>
            <a:xfrm>
              <a:off x="4933596" y="2158008"/>
              <a:ext cx="842605" cy="409917"/>
            </a:xfrm>
            <a:prstGeom prst="roundRect">
              <a:avLst>
                <a:gd name="adj" fmla="val 13775"/>
              </a:avLst>
            </a:prstGeom>
            <a:solidFill>
              <a:schemeClr val="accent5">
                <a:lumMod val="60000"/>
                <a:lumOff val="40000"/>
              </a:schemeClr>
            </a:solidFill>
            <a:ln w="12700">
              <a:solidFill>
                <a:srgbClr val="4C9BCF"/>
              </a:solidFill>
            </a:ln>
          </p:spPr>
          <p:style>
            <a:lnRef idx="2">
              <a:schemeClr val="accent1"/>
            </a:lnRef>
            <a:fillRef idx="1">
              <a:schemeClr val="lt1"/>
            </a:fillRef>
            <a:effectRef idx="0">
              <a:schemeClr val="accent1"/>
            </a:effectRef>
            <a:fontRef idx="minor">
              <a:schemeClr val="dk1"/>
            </a:fontRef>
          </p:style>
          <p:txBody>
            <a:bodyPr lIns="27000" tIns="27000" rIns="0" bIns="27000" rtlCol="0" anchor="ctr">
              <a:spAutoFit/>
            </a:bodyPr>
            <a:lstStyle/>
            <a:p>
              <a:pPr defTabSz="685749">
                <a:lnSpc>
                  <a:spcPts val="900"/>
                </a:lnSpc>
                <a:defRPr/>
              </a:pPr>
              <a:r>
                <a:rPr lang="es" sz="900" b="1" dirty="0">
                  <a:solidFill>
                    <a:srgbClr val="4C4948"/>
                  </a:solidFill>
                  <a:latin typeface="Calibri"/>
                </a:rPr>
                <a:t>Nicaragua</a:t>
              </a:r>
            </a:p>
            <a:p>
              <a:pPr defTabSz="685749">
                <a:lnSpc>
                  <a:spcPts val="900"/>
                </a:lnSpc>
                <a:defRPr/>
              </a:pPr>
              <a:r>
                <a:rPr lang="es" sz="900" dirty="0">
                  <a:solidFill>
                    <a:srgbClr val="4C4948"/>
                  </a:solidFill>
                  <a:latin typeface="Calibri"/>
                </a:rPr>
                <a:t>1 × Fase III</a:t>
              </a:r>
            </a:p>
          </p:txBody>
        </p:sp>
      </p:grpSp>
      <p:grpSp>
        <p:nvGrpSpPr>
          <p:cNvPr id="281" name="Group 280">
            <a:extLst>
              <a:ext uri="{FF2B5EF4-FFF2-40B4-BE49-F238E27FC236}">
                <a16:creationId xmlns:a16="http://schemas.microsoft.com/office/drawing/2014/main" xmlns="" id="{829A7066-D7F8-4DC3-9818-C0CB0373F3CD}"/>
              </a:ext>
            </a:extLst>
          </p:cNvPr>
          <p:cNvGrpSpPr/>
          <p:nvPr/>
        </p:nvGrpSpPr>
        <p:grpSpPr>
          <a:xfrm>
            <a:off x="6776954" y="1517451"/>
            <a:ext cx="631954" cy="1078176"/>
            <a:chOff x="4933596" y="2075112"/>
            <a:chExt cx="842605" cy="1437568"/>
          </a:xfrm>
          <a:solidFill>
            <a:schemeClr val="accent5">
              <a:lumMod val="60000"/>
              <a:lumOff val="40000"/>
            </a:schemeClr>
          </a:solidFill>
        </p:grpSpPr>
        <p:cxnSp>
          <p:nvCxnSpPr>
            <p:cNvPr id="282" name="Straight Connector 281">
              <a:extLst>
                <a:ext uri="{FF2B5EF4-FFF2-40B4-BE49-F238E27FC236}">
                  <a16:creationId xmlns:a16="http://schemas.microsoft.com/office/drawing/2014/main" xmlns="" id="{D4E60E38-755A-4121-B6CB-F7528A6366A5}"/>
                </a:ext>
              </a:extLst>
            </p:cNvPr>
            <p:cNvCxnSpPr>
              <a:cxnSpLocks/>
            </p:cNvCxnSpPr>
            <p:nvPr/>
          </p:nvCxnSpPr>
          <p:spPr>
            <a:xfrm rot="5400000">
              <a:off x="4868898" y="3026680"/>
              <a:ext cx="972000" cy="0"/>
            </a:xfrm>
            <a:prstGeom prst="line">
              <a:avLst/>
            </a:prstGeom>
            <a:grpFill/>
            <a:ln w="12700" cap="rnd">
              <a:solidFill>
                <a:srgbClr val="4C9BCF"/>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283" name="Rectangle: Rounded Corners 282">
              <a:extLst>
                <a:ext uri="{FF2B5EF4-FFF2-40B4-BE49-F238E27FC236}">
                  <a16:creationId xmlns:a16="http://schemas.microsoft.com/office/drawing/2014/main" xmlns="" id="{24545319-C008-4931-A85E-E47B5E3911CD}"/>
                </a:ext>
              </a:extLst>
            </p:cNvPr>
            <p:cNvSpPr/>
            <p:nvPr/>
          </p:nvSpPr>
          <p:spPr>
            <a:xfrm>
              <a:off x="4933596" y="2075112"/>
              <a:ext cx="842605" cy="575712"/>
            </a:xfrm>
            <a:prstGeom prst="roundRect">
              <a:avLst>
                <a:gd name="adj" fmla="val 13775"/>
              </a:avLst>
            </a:prstGeom>
            <a:grpFill/>
            <a:ln w="12700">
              <a:solidFill>
                <a:srgbClr val="4C9BCF"/>
              </a:solidFill>
            </a:ln>
          </p:spPr>
          <p:style>
            <a:lnRef idx="2">
              <a:schemeClr val="accent1"/>
            </a:lnRef>
            <a:fillRef idx="1">
              <a:schemeClr val="lt1"/>
            </a:fillRef>
            <a:effectRef idx="0">
              <a:schemeClr val="accent1"/>
            </a:effectRef>
            <a:fontRef idx="minor">
              <a:schemeClr val="dk1"/>
            </a:fontRef>
          </p:style>
          <p:txBody>
            <a:bodyPr lIns="27000" tIns="27000" rIns="0" bIns="27000" rtlCol="0" anchor="ctr">
              <a:spAutoFit/>
            </a:bodyPr>
            <a:lstStyle/>
            <a:p>
              <a:pPr defTabSz="685749">
                <a:lnSpc>
                  <a:spcPts val="900"/>
                </a:lnSpc>
                <a:defRPr/>
              </a:pPr>
              <a:r>
                <a:rPr lang="es" sz="900" b="1">
                  <a:solidFill>
                    <a:srgbClr val="4C4948"/>
                  </a:solidFill>
                  <a:latin typeface="Calibri"/>
                </a:rPr>
                <a:t>Tailandia</a:t>
              </a:r>
            </a:p>
            <a:p>
              <a:pPr defTabSz="685749">
                <a:lnSpc>
                  <a:spcPts val="900"/>
                </a:lnSpc>
                <a:defRPr/>
              </a:pPr>
              <a:r>
                <a:rPr lang="es" sz="900">
                  <a:solidFill>
                    <a:srgbClr val="4C4948"/>
                  </a:solidFill>
                  <a:latin typeface="Calibri"/>
                </a:rPr>
                <a:t>1 × Fase II</a:t>
              </a:r>
            </a:p>
            <a:p>
              <a:pPr defTabSz="685749">
                <a:lnSpc>
                  <a:spcPts val="900"/>
                </a:lnSpc>
                <a:defRPr/>
              </a:pPr>
              <a:r>
                <a:rPr lang="es" sz="900">
                  <a:solidFill>
                    <a:srgbClr val="4C4948"/>
                  </a:solidFill>
                  <a:latin typeface="Calibri"/>
                </a:rPr>
                <a:t>1 × Fase III</a:t>
              </a:r>
            </a:p>
          </p:txBody>
        </p:sp>
      </p:grpSp>
      <p:grpSp>
        <p:nvGrpSpPr>
          <p:cNvPr id="284" name="Group 283">
            <a:extLst>
              <a:ext uri="{FF2B5EF4-FFF2-40B4-BE49-F238E27FC236}">
                <a16:creationId xmlns:a16="http://schemas.microsoft.com/office/drawing/2014/main" xmlns="" id="{BB6C665D-2667-4FB9-8149-1D058875C8E5}"/>
              </a:ext>
            </a:extLst>
          </p:cNvPr>
          <p:cNvGrpSpPr/>
          <p:nvPr/>
        </p:nvGrpSpPr>
        <p:grpSpPr>
          <a:xfrm>
            <a:off x="4076689" y="1657871"/>
            <a:ext cx="1238261" cy="865998"/>
            <a:chOff x="4933596" y="2074631"/>
            <a:chExt cx="1366283" cy="1156589"/>
          </a:xfrm>
        </p:grpSpPr>
        <p:cxnSp>
          <p:nvCxnSpPr>
            <p:cNvPr id="285" name="Straight Connector 284">
              <a:extLst>
                <a:ext uri="{FF2B5EF4-FFF2-40B4-BE49-F238E27FC236}">
                  <a16:creationId xmlns:a16="http://schemas.microsoft.com/office/drawing/2014/main" xmlns="" id="{2F1E9AB1-6F58-4D1B-ABED-B8D6E9C96A12}"/>
                </a:ext>
              </a:extLst>
            </p:cNvPr>
            <p:cNvCxnSpPr>
              <a:cxnSpLocks/>
            </p:cNvCxnSpPr>
            <p:nvPr/>
          </p:nvCxnSpPr>
          <p:spPr>
            <a:xfrm rot="5400000">
              <a:off x="4684605" y="2745220"/>
              <a:ext cx="972000" cy="0"/>
            </a:xfrm>
            <a:prstGeom prst="line">
              <a:avLst/>
            </a:prstGeom>
            <a:ln w="12700" cap="rnd">
              <a:solidFill>
                <a:srgbClr val="4C9BCF"/>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286" name="Rectangle: Rounded Corners 285">
              <a:extLst>
                <a:ext uri="{FF2B5EF4-FFF2-40B4-BE49-F238E27FC236}">
                  <a16:creationId xmlns:a16="http://schemas.microsoft.com/office/drawing/2014/main" xmlns="" id="{EFE0AB5D-B574-4E8C-866E-E8086CCD74B6}"/>
                </a:ext>
              </a:extLst>
            </p:cNvPr>
            <p:cNvSpPr/>
            <p:nvPr/>
          </p:nvSpPr>
          <p:spPr>
            <a:xfrm>
              <a:off x="4933596" y="2074631"/>
              <a:ext cx="1366283" cy="576672"/>
            </a:xfrm>
            <a:prstGeom prst="roundRect">
              <a:avLst>
                <a:gd name="adj" fmla="val 13775"/>
              </a:avLst>
            </a:prstGeom>
            <a:solidFill>
              <a:schemeClr val="accent5">
                <a:lumMod val="60000"/>
                <a:lumOff val="40000"/>
              </a:schemeClr>
            </a:solidFill>
            <a:ln w="12700">
              <a:solidFill>
                <a:srgbClr val="4C9BCF"/>
              </a:solidFill>
            </a:ln>
          </p:spPr>
          <p:style>
            <a:lnRef idx="2">
              <a:schemeClr val="accent1"/>
            </a:lnRef>
            <a:fillRef idx="1">
              <a:schemeClr val="lt1"/>
            </a:fillRef>
            <a:effectRef idx="0">
              <a:schemeClr val="accent1"/>
            </a:effectRef>
            <a:fontRef idx="minor">
              <a:schemeClr val="dk1"/>
            </a:fontRef>
          </p:style>
          <p:txBody>
            <a:bodyPr wrap="square" lIns="27000" tIns="27000" rIns="0" bIns="27000" rtlCol="0" anchor="ctr">
              <a:spAutoFit/>
            </a:bodyPr>
            <a:lstStyle/>
            <a:p>
              <a:pPr defTabSz="685749">
                <a:lnSpc>
                  <a:spcPts val="900"/>
                </a:lnSpc>
                <a:defRPr/>
              </a:pPr>
              <a:r>
                <a:rPr lang="es" sz="900" b="1">
                  <a:solidFill>
                    <a:srgbClr val="4C4948"/>
                  </a:solidFill>
                  <a:latin typeface="Calibri"/>
                </a:rPr>
                <a:t>República Dominicana</a:t>
              </a:r>
            </a:p>
            <a:p>
              <a:pPr defTabSz="685749">
                <a:lnSpc>
                  <a:spcPts val="900"/>
                </a:lnSpc>
                <a:defRPr/>
              </a:pPr>
              <a:r>
                <a:rPr lang="es" sz="900">
                  <a:solidFill>
                    <a:srgbClr val="4C4948"/>
                  </a:solidFill>
                  <a:latin typeface="Calibri"/>
                </a:rPr>
                <a:t>1 × Fase II</a:t>
              </a:r>
            </a:p>
            <a:p>
              <a:pPr defTabSz="685749">
                <a:lnSpc>
                  <a:spcPts val="900"/>
                </a:lnSpc>
                <a:defRPr/>
              </a:pPr>
              <a:r>
                <a:rPr lang="es" sz="900">
                  <a:solidFill>
                    <a:srgbClr val="4C4948"/>
                  </a:solidFill>
                  <a:latin typeface="Calibri"/>
                </a:rPr>
                <a:t>1 × Fase III</a:t>
              </a:r>
            </a:p>
          </p:txBody>
        </p:sp>
      </p:grpSp>
      <p:grpSp>
        <p:nvGrpSpPr>
          <p:cNvPr id="287" name="Group 286">
            <a:extLst>
              <a:ext uri="{FF2B5EF4-FFF2-40B4-BE49-F238E27FC236}">
                <a16:creationId xmlns:a16="http://schemas.microsoft.com/office/drawing/2014/main" xmlns="" id="{D05E252B-3D17-4C2B-BDD9-66074D38C2A1}"/>
              </a:ext>
            </a:extLst>
          </p:cNvPr>
          <p:cNvGrpSpPr/>
          <p:nvPr/>
        </p:nvGrpSpPr>
        <p:grpSpPr>
          <a:xfrm>
            <a:off x="4346774" y="2397127"/>
            <a:ext cx="813162" cy="307438"/>
            <a:chOff x="4743829" y="2253378"/>
            <a:chExt cx="1084216" cy="409917"/>
          </a:xfrm>
        </p:grpSpPr>
        <p:cxnSp>
          <p:nvCxnSpPr>
            <p:cNvPr id="288" name="Straight Connector 287">
              <a:extLst>
                <a:ext uri="{FF2B5EF4-FFF2-40B4-BE49-F238E27FC236}">
                  <a16:creationId xmlns:a16="http://schemas.microsoft.com/office/drawing/2014/main" xmlns="" id="{6DA92043-5FEA-4E06-9D8B-7FCF3D6AE658}"/>
                </a:ext>
              </a:extLst>
            </p:cNvPr>
            <p:cNvCxnSpPr>
              <a:cxnSpLocks/>
            </p:cNvCxnSpPr>
            <p:nvPr/>
          </p:nvCxnSpPr>
          <p:spPr>
            <a:xfrm rot="10800000">
              <a:off x="4743829" y="2462525"/>
              <a:ext cx="972000" cy="0"/>
            </a:xfrm>
            <a:prstGeom prst="line">
              <a:avLst/>
            </a:prstGeom>
            <a:ln w="12700" cap="rnd">
              <a:solidFill>
                <a:srgbClr val="4C9BCF"/>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289" name="Rectangle: Rounded Corners 288">
              <a:extLst>
                <a:ext uri="{FF2B5EF4-FFF2-40B4-BE49-F238E27FC236}">
                  <a16:creationId xmlns:a16="http://schemas.microsoft.com/office/drawing/2014/main" xmlns="" id="{A9C7E553-FDAE-4324-9C6E-DFFA8B435046}"/>
                </a:ext>
              </a:extLst>
            </p:cNvPr>
            <p:cNvSpPr/>
            <p:nvPr/>
          </p:nvSpPr>
          <p:spPr>
            <a:xfrm>
              <a:off x="4933596" y="2253378"/>
              <a:ext cx="894449" cy="409917"/>
            </a:xfrm>
            <a:prstGeom prst="roundRect">
              <a:avLst>
                <a:gd name="adj" fmla="val 13775"/>
              </a:avLst>
            </a:prstGeom>
            <a:solidFill>
              <a:schemeClr val="accent5">
                <a:lumMod val="60000"/>
                <a:lumOff val="40000"/>
              </a:schemeClr>
            </a:solidFill>
            <a:ln w="12700">
              <a:solidFill>
                <a:srgbClr val="4C9BCF"/>
              </a:solidFill>
            </a:ln>
          </p:spPr>
          <p:style>
            <a:lnRef idx="2">
              <a:schemeClr val="accent1"/>
            </a:lnRef>
            <a:fillRef idx="1">
              <a:schemeClr val="lt1"/>
            </a:fillRef>
            <a:effectRef idx="0">
              <a:schemeClr val="accent1"/>
            </a:effectRef>
            <a:fontRef idx="minor">
              <a:schemeClr val="dk1"/>
            </a:fontRef>
          </p:style>
          <p:txBody>
            <a:bodyPr wrap="square" lIns="27000" tIns="27000" rIns="0" bIns="27000" rtlCol="0" anchor="ctr">
              <a:spAutoFit/>
            </a:bodyPr>
            <a:lstStyle/>
            <a:p>
              <a:pPr defTabSz="685749">
                <a:lnSpc>
                  <a:spcPts val="900"/>
                </a:lnSpc>
                <a:defRPr/>
              </a:pPr>
              <a:r>
                <a:rPr lang="es" sz="900" b="1" dirty="0">
                  <a:solidFill>
                    <a:srgbClr val="4C4948"/>
                  </a:solidFill>
                  <a:latin typeface="Calibri"/>
                </a:rPr>
                <a:t>Puerto Rico</a:t>
              </a:r>
            </a:p>
            <a:p>
              <a:pPr defTabSz="685749">
                <a:lnSpc>
                  <a:spcPts val="900"/>
                </a:lnSpc>
                <a:defRPr/>
              </a:pPr>
              <a:r>
                <a:rPr lang="es" sz="900" dirty="0">
                  <a:solidFill>
                    <a:srgbClr val="4C4948"/>
                  </a:solidFill>
                  <a:latin typeface="Calibri"/>
                </a:rPr>
                <a:t>1 × Fase II</a:t>
              </a:r>
            </a:p>
          </p:txBody>
        </p:sp>
      </p:grpSp>
      <p:grpSp>
        <p:nvGrpSpPr>
          <p:cNvPr id="290" name="Group 289">
            <a:extLst>
              <a:ext uri="{FF2B5EF4-FFF2-40B4-BE49-F238E27FC236}">
                <a16:creationId xmlns:a16="http://schemas.microsoft.com/office/drawing/2014/main" xmlns="" id="{3552572A-F5ED-4C4B-A976-BB3284AE0BD8}"/>
              </a:ext>
            </a:extLst>
          </p:cNvPr>
          <p:cNvGrpSpPr/>
          <p:nvPr/>
        </p:nvGrpSpPr>
        <p:grpSpPr>
          <a:xfrm>
            <a:off x="2959444" y="2672468"/>
            <a:ext cx="1132550" cy="431784"/>
            <a:chOff x="4937972" y="2075110"/>
            <a:chExt cx="1510067" cy="575711"/>
          </a:xfrm>
          <a:solidFill>
            <a:schemeClr val="accent5">
              <a:lumMod val="60000"/>
              <a:lumOff val="40000"/>
            </a:schemeClr>
          </a:solidFill>
        </p:grpSpPr>
        <p:cxnSp>
          <p:nvCxnSpPr>
            <p:cNvPr id="291" name="Straight Connector 290">
              <a:extLst>
                <a:ext uri="{FF2B5EF4-FFF2-40B4-BE49-F238E27FC236}">
                  <a16:creationId xmlns:a16="http://schemas.microsoft.com/office/drawing/2014/main" xmlns="" id="{E979E37C-39E9-4CF0-BC38-898CBFF56516}"/>
                </a:ext>
              </a:extLst>
            </p:cNvPr>
            <p:cNvCxnSpPr>
              <a:cxnSpLocks/>
            </p:cNvCxnSpPr>
            <p:nvPr/>
          </p:nvCxnSpPr>
          <p:spPr>
            <a:xfrm>
              <a:off x="5512039" y="2167993"/>
              <a:ext cx="936000" cy="0"/>
            </a:xfrm>
            <a:prstGeom prst="line">
              <a:avLst/>
            </a:prstGeom>
            <a:grpFill/>
            <a:ln w="12700" cap="rnd">
              <a:solidFill>
                <a:srgbClr val="4C9BCF"/>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292" name="Rectangle: Rounded Corners 291">
              <a:extLst>
                <a:ext uri="{FF2B5EF4-FFF2-40B4-BE49-F238E27FC236}">
                  <a16:creationId xmlns:a16="http://schemas.microsoft.com/office/drawing/2014/main" xmlns="" id="{1307F551-41DA-4DCC-B9A7-95D948691DA6}"/>
                </a:ext>
              </a:extLst>
            </p:cNvPr>
            <p:cNvSpPr/>
            <p:nvPr/>
          </p:nvSpPr>
          <p:spPr>
            <a:xfrm>
              <a:off x="4937972" y="2075110"/>
              <a:ext cx="838230" cy="575711"/>
            </a:xfrm>
            <a:prstGeom prst="roundRect">
              <a:avLst>
                <a:gd name="adj" fmla="val 13775"/>
              </a:avLst>
            </a:prstGeom>
            <a:grpFill/>
            <a:ln w="12700">
              <a:solidFill>
                <a:srgbClr val="4C9BCF"/>
              </a:solidFill>
            </a:ln>
          </p:spPr>
          <p:style>
            <a:lnRef idx="2">
              <a:schemeClr val="accent1"/>
            </a:lnRef>
            <a:fillRef idx="1">
              <a:schemeClr val="lt1"/>
            </a:fillRef>
            <a:effectRef idx="0">
              <a:schemeClr val="accent1"/>
            </a:effectRef>
            <a:fontRef idx="minor">
              <a:schemeClr val="dk1"/>
            </a:fontRef>
          </p:style>
          <p:txBody>
            <a:bodyPr wrap="square" lIns="27000" tIns="27000" rIns="0" bIns="27000" rtlCol="0" anchor="ctr">
              <a:spAutoFit/>
            </a:bodyPr>
            <a:lstStyle/>
            <a:p>
              <a:pPr defTabSz="685749">
                <a:lnSpc>
                  <a:spcPts val="900"/>
                </a:lnSpc>
                <a:defRPr/>
              </a:pPr>
              <a:r>
                <a:rPr lang="es" sz="900" b="1">
                  <a:solidFill>
                    <a:srgbClr val="4C4948"/>
                  </a:solidFill>
                  <a:latin typeface="Calibri"/>
                </a:rPr>
                <a:t>Panamá</a:t>
              </a:r>
            </a:p>
            <a:p>
              <a:pPr defTabSz="685749">
                <a:lnSpc>
                  <a:spcPts val="900"/>
                </a:lnSpc>
                <a:defRPr/>
              </a:pPr>
              <a:r>
                <a:rPr lang="es" sz="900">
                  <a:solidFill>
                    <a:srgbClr val="4C4948"/>
                  </a:solidFill>
                  <a:latin typeface="Calibri"/>
                </a:rPr>
                <a:t>1 × Fase II</a:t>
              </a:r>
            </a:p>
            <a:p>
              <a:pPr defTabSz="685749">
                <a:lnSpc>
                  <a:spcPts val="900"/>
                </a:lnSpc>
                <a:defRPr/>
              </a:pPr>
              <a:r>
                <a:rPr lang="es" sz="900">
                  <a:solidFill>
                    <a:srgbClr val="4C4948"/>
                  </a:solidFill>
                  <a:latin typeface="Calibri"/>
                </a:rPr>
                <a:t>1 × Fase III</a:t>
              </a:r>
            </a:p>
          </p:txBody>
        </p:sp>
      </p:grpSp>
      <p:grpSp>
        <p:nvGrpSpPr>
          <p:cNvPr id="293" name="Group 292">
            <a:extLst>
              <a:ext uri="{FF2B5EF4-FFF2-40B4-BE49-F238E27FC236}">
                <a16:creationId xmlns:a16="http://schemas.microsoft.com/office/drawing/2014/main" xmlns="" id="{0217EBED-3643-4834-9C6D-4741914C3F86}"/>
              </a:ext>
            </a:extLst>
          </p:cNvPr>
          <p:cNvGrpSpPr/>
          <p:nvPr/>
        </p:nvGrpSpPr>
        <p:grpSpPr>
          <a:xfrm>
            <a:off x="4683932" y="3067139"/>
            <a:ext cx="813162" cy="307438"/>
            <a:chOff x="4743829" y="2253379"/>
            <a:chExt cx="1084216" cy="409917"/>
          </a:xfrm>
        </p:grpSpPr>
        <p:cxnSp>
          <p:nvCxnSpPr>
            <p:cNvPr id="294" name="Straight Connector 293">
              <a:extLst>
                <a:ext uri="{FF2B5EF4-FFF2-40B4-BE49-F238E27FC236}">
                  <a16:creationId xmlns:a16="http://schemas.microsoft.com/office/drawing/2014/main" xmlns="" id="{7F3542DA-188B-4CC5-AC83-0A3B03F17A7A}"/>
                </a:ext>
              </a:extLst>
            </p:cNvPr>
            <p:cNvCxnSpPr>
              <a:cxnSpLocks/>
            </p:cNvCxnSpPr>
            <p:nvPr/>
          </p:nvCxnSpPr>
          <p:spPr>
            <a:xfrm rot="10800000">
              <a:off x="4743829" y="2462525"/>
              <a:ext cx="972000" cy="0"/>
            </a:xfrm>
            <a:prstGeom prst="line">
              <a:avLst/>
            </a:prstGeom>
            <a:ln w="12700" cap="rnd">
              <a:solidFill>
                <a:srgbClr val="4C9BCF"/>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295" name="Rectangle: Rounded Corners 294">
              <a:extLst>
                <a:ext uri="{FF2B5EF4-FFF2-40B4-BE49-F238E27FC236}">
                  <a16:creationId xmlns:a16="http://schemas.microsoft.com/office/drawing/2014/main" xmlns="" id="{57E35098-0D50-4886-9D42-1172B66D3B70}"/>
                </a:ext>
              </a:extLst>
            </p:cNvPr>
            <p:cNvSpPr/>
            <p:nvPr/>
          </p:nvSpPr>
          <p:spPr>
            <a:xfrm>
              <a:off x="4933596" y="2253379"/>
              <a:ext cx="894449" cy="409917"/>
            </a:xfrm>
            <a:prstGeom prst="roundRect">
              <a:avLst>
                <a:gd name="adj" fmla="val 13775"/>
              </a:avLst>
            </a:prstGeom>
            <a:solidFill>
              <a:schemeClr val="accent5">
                <a:lumMod val="60000"/>
                <a:lumOff val="40000"/>
              </a:schemeClr>
            </a:solidFill>
            <a:ln w="12700">
              <a:solidFill>
                <a:srgbClr val="4C9BCF"/>
              </a:solidFill>
            </a:ln>
          </p:spPr>
          <p:style>
            <a:lnRef idx="2">
              <a:schemeClr val="accent1"/>
            </a:lnRef>
            <a:fillRef idx="1">
              <a:schemeClr val="lt1"/>
            </a:fillRef>
            <a:effectRef idx="0">
              <a:schemeClr val="accent1"/>
            </a:effectRef>
            <a:fontRef idx="minor">
              <a:schemeClr val="dk1"/>
            </a:fontRef>
          </p:style>
          <p:txBody>
            <a:bodyPr wrap="square" lIns="27000" tIns="27000" rIns="0" bIns="27000" rtlCol="0" anchor="ctr">
              <a:spAutoFit/>
            </a:bodyPr>
            <a:lstStyle/>
            <a:p>
              <a:pPr defTabSz="685749">
                <a:lnSpc>
                  <a:spcPts val="900"/>
                </a:lnSpc>
                <a:defRPr/>
              </a:pPr>
              <a:r>
                <a:rPr lang="es" sz="900" b="1" dirty="0">
                  <a:solidFill>
                    <a:srgbClr val="4C4948"/>
                  </a:solidFill>
                  <a:latin typeface="Calibri"/>
                </a:rPr>
                <a:t>Brasil</a:t>
              </a:r>
            </a:p>
            <a:p>
              <a:pPr defTabSz="685749">
                <a:lnSpc>
                  <a:spcPts val="900"/>
                </a:lnSpc>
                <a:defRPr/>
              </a:pPr>
              <a:r>
                <a:rPr lang="es" sz="900" dirty="0">
                  <a:solidFill>
                    <a:srgbClr val="4C4948"/>
                  </a:solidFill>
                  <a:latin typeface="Calibri"/>
                </a:rPr>
                <a:t>1 × Fase III</a:t>
              </a:r>
            </a:p>
          </p:txBody>
        </p:sp>
      </p:grpSp>
      <p:grpSp>
        <p:nvGrpSpPr>
          <p:cNvPr id="296" name="Group 295">
            <a:extLst>
              <a:ext uri="{FF2B5EF4-FFF2-40B4-BE49-F238E27FC236}">
                <a16:creationId xmlns:a16="http://schemas.microsoft.com/office/drawing/2014/main" xmlns="" id="{CC4A4F1D-0E2B-4B34-B14A-B012C77DDE51}"/>
              </a:ext>
            </a:extLst>
          </p:cNvPr>
          <p:cNvGrpSpPr/>
          <p:nvPr/>
        </p:nvGrpSpPr>
        <p:grpSpPr>
          <a:xfrm>
            <a:off x="6502599" y="2772555"/>
            <a:ext cx="631954" cy="575776"/>
            <a:chOff x="8664926" y="3557304"/>
            <a:chExt cx="842605" cy="767701"/>
          </a:xfrm>
          <a:solidFill>
            <a:schemeClr val="accent5">
              <a:lumMod val="60000"/>
              <a:lumOff val="40000"/>
            </a:schemeClr>
          </a:solidFill>
        </p:grpSpPr>
        <p:cxnSp>
          <p:nvCxnSpPr>
            <p:cNvPr id="297" name="Straight Connector 296">
              <a:extLst>
                <a:ext uri="{FF2B5EF4-FFF2-40B4-BE49-F238E27FC236}">
                  <a16:creationId xmlns:a16="http://schemas.microsoft.com/office/drawing/2014/main" xmlns="" id="{5D5D7EB0-F1D3-4539-BA09-8DF7B38BEF5C}"/>
                </a:ext>
              </a:extLst>
            </p:cNvPr>
            <p:cNvCxnSpPr>
              <a:cxnSpLocks/>
            </p:cNvCxnSpPr>
            <p:nvPr/>
          </p:nvCxnSpPr>
          <p:spPr>
            <a:xfrm rot="-5400000">
              <a:off x="8738508" y="3899304"/>
              <a:ext cx="684000" cy="0"/>
            </a:xfrm>
            <a:prstGeom prst="line">
              <a:avLst/>
            </a:prstGeom>
            <a:grpFill/>
            <a:ln w="12700" cap="rnd">
              <a:solidFill>
                <a:srgbClr val="4C9BCF"/>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298" name="Rectangle: Rounded Corners 297">
              <a:extLst>
                <a:ext uri="{FF2B5EF4-FFF2-40B4-BE49-F238E27FC236}">
                  <a16:creationId xmlns:a16="http://schemas.microsoft.com/office/drawing/2014/main" xmlns="" id="{EAC36AE8-4490-4E5B-8C52-287E0F04443F}"/>
                </a:ext>
              </a:extLst>
            </p:cNvPr>
            <p:cNvSpPr/>
            <p:nvPr/>
          </p:nvSpPr>
          <p:spPr>
            <a:xfrm>
              <a:off x="8664926" y="3915088"/>
              <a:ext cx="842605" cy="409917"/>
            </a:xfrm>
            <a:prstGeom prst="roundRect">
              <a:avLst>
                <a:gd name="adj" fmla="val 13775"/>
              </a:avLst>
            </a:prstGeom>
            <a:grpFill/>
            <a:ln w="12700">
              <a:solidFill>
                <a:srgbClr val="4C9BCF"/>
              </a:solidFill>
            </a:ln>
          </p:spPr>
          <p:style>
            <a:lnRef idx="2">
              <a:schemeClr val="accent1"/>
            </a:lnRef>
            <a:fillRef idx="1">
              <a:schemeClr val="lt1"/>
            </a:fillRef>
            <a:effectRef idx="0">
              <a:schemeClr val="accent1"/>
            </a:effectRef>
            <a:fontRef idx="minor">
              <a:schemeClr val="dk1"/>
            </a:fontRef>
          </p:style>
          <p:txBody>
            <a:bodyPr lIns="27000" tIns="27000" rIns="0" bIns="27000" rtlCol="0" anchor="ctr">
              <a:spAutoFit/>
            </a:bodyPr>
            <a:lstStyle/>
            <a:p>
              <a:pPr defTabSz="685749">
                <a:lnSpc>
                  <a:spcPts val="900"/>
                </a:lnSpc>
                <a:defRPr/>
              </a:pPr>
              <a:r>
                <a:rPr lang="es" sz="900" b="1">
                  <a:solidFill>
                    <a:srgbClr val="4C4948"/>
                  </a:solidFill>
                  <a:latin typeface="Calibri"/>
                </a:rPr>
                <a:t>Sri Lanka</a:t>
              </a:r>
            </a:p>
            <a:p>
              <a:pPr defTabSz="685749">
                <a:lnSpc>
                  <a:spcPts val="900"/>
                </a:lnSpc>
                <a:defRPr/>
              </a:pPr>
              <a:r>
                <a:rPr lang="es" sz="900">
                  <a:solidFill>
                    <a:srgbClr val="4C4948"/>
                  </a:solidFill>
                  <a:latin typeface="Calibri"/>
                </a:rPr>
                <a:t>1 × Fase III</a:t>
              </a:r>
            </a:p>
          </p:txBody>
        </p:sp>
      </p:grpSp>
      <p:grpSp>
        <p:nvGrpSpPr>
          <p:cNvPr id="299" name="Group 298">
            <a:extLst>
              <a:ext uri="{FF2B5EF4-FFF2-40B4-BE49-F238E27FC236}">
                <a16:creationId xmlns:a16="http://schemas.microsoft.com/office/drawing/2014/main" xmlns="" id="{2125FB82-30AC-4885-8C18-8A5E183C7E94}"/>
              </a:ext>
            </a:extLst>
          </p:cNvPr>
          <p:cNvGrpSpPr/>
          <p:nvPr/>
        </p:nvGrpSpPr>
        <p:grpSpPr>
          <a:xfrm>
            <a:off x="6883950" y="2848044"/>
            <a:ext cx="631954" cy="899776"/>
            <a:chOff x="8664926" y="3125304"/>
            <a:chExt cx="842605" cy="1199701"/>
          </a:xfrm>
          <a:solidFill>
            <a:schemeClr val="accent5">
              <a:lumMod val="60000"/>
              <a:lumOff val="40000"/>
            </a:schemeClr>
          </a:solidFill>
        </p:grpSpPr>
        <p:cxnSp>
          <p:nvCxnSpPr>
            <p:cNvPr id="300" name="Straight Connector 299">
              <a:extLst>
                <a:ext uri="{FF2B5EF4-FFF2-40B4-BE49-F238E27FC236}">
                  <a16:creationId xmlns:a16="http://schemas.microsoft.com/office/drawing/2014/main" xmlns="" id="{1B797EA6-4793-4E95-88E2-C5668375875D}"/>
                </a:ext>
              </a:extLst>
            </p:cNvPr>
            <p:cNvCxnSpPr>
              <a:cxnSpLocks/>
            </p:cNvCxnSpPr>
            <p:nvPr/>
          </p:nvCxnSpPr>
          <p:spPr>
            <a:xfrm rot="16200000">
              <a:off x="8522508" y="3683304"/>
              <a:ext cx="1116000" cy="0"/>
            </a:xfrm>
            <a:prstGeom prst="line">
              <a:avLst/>
            </a:prstGeom>
            <a:grpFill/>
            <a:ln w="12700" cap="rnd">
              <a:solidFill>
                <a:srgbClr val="4C9BCF"/>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301" name="Rectangle: Rounded Corners 300">
              <a:extLst>
                <a:ext uri="{FF2B5EF4-FFF2-40B4-BE49-F238E27FC236}">
                  <a16:creationId xmlns:a16="http://schemas.microsoft.com/office/drawing/2014/main" xmlns="" id="{16EE2CDC-246B-4983-957D-CF5A3E636136}"/>
                </a:ext>
              </a:extLst>
            </p:cNvPr>
            <p:cNvSpPr/>
            <p:nvPr/>
          </p:nvSpPr>
          <p:spPr>
            <a:xfrm>
              <a:off x="8664926" y="3915088"/>
              <a:ext cx="842605" cy="409917"/>
            </a:xfrm>
            <a:prstGeom prst="roundRect">
              <a:avLst>
                <a:gd name="adj" fmla="val 13775"/>
              </a:avLst>
            </a:prstGeom>
            <a:grpFill/>
            <a:ln w="12700">
              <a:solidFill>
                <a:srgbClr val="4C9BCF"/>
              </a:solidFill>
            </a:ln>
          </p:spPr>
          <p:style>
            <a:lnRef idx="2">
              <a:schemeClr val="accent1"/>
            </a:lnRef>
            <a:fillRef idx="1">
              <a:schemeClr val="lt1"/>
            </a:fillRef>
            <a:effectRef idx="0">
              <a:schemeClr val="accent1"/>
            </a:effectRef>
            <a:fontRef idx="minor">
              <a:schemeClr val="dk1"/>
            </a:fontRef>
          </p:style>
          <p:txBody>
            <a:bodyPr lIns="27000" tIns="27000" rIns="0" bIns="27000" rtlCol="0" anchor="ctr">
              <a:spAutoFit/>
            </a:bodyPr>
            <a:lstStyle/>
            <a:p>
              <a:pPr defTabSz="685749">
                <a:lnSpc>
                  <a:spcPts val="900"/>
                </a:lnSpc>
                <a:defRPr/>
              </a:pPr>
              <a:r>
                <a:rPr lang="es" sz="900" b="1">
                  <a:solidFill>
                    <a:srgbClr val="4C4948"/>
                  </a:solidFill>
                  <a:latin typeface="Calibri"/>
                </a:rPr>
                <a:t>Singapur</a:t>
              </a:r>
            </a:p>
            <a:p>
              <a:pPr defTabSz="685749">
                <a:lnSpc>
                  <a:spcPts val="900"/>
                </a:lnSpc>
                <a:defRPr/>
              </a:pPr>
              <a:r>
                <a:rPr lang="es" sz="900">
                  <a:solidFill>
                    <a:srgbClr val="4C4948"/>
                  </a:solidFill>
                  <a:latin typeface="Calibri"/>
                </a:rPr>
                <a:t>2 × Fase II</a:t>
              </a:r>
            </a:p>
          </p:txBody>
        </p:sp>
      </p:grpSp>
      <p:grpSp>
        <p:nvGrpSpPr>
          <p:cNvPr id="302" name="Group 301">
            <a:extLst>
              <a:ext uri="{FF2B5EF4-FFF2-40B4-BE49-F238E27FC236}">
                <a16:creationId xmlns:a16="http://schemas.microsoft.com/office/drawing/2014/main" xmlns="" id="{574AD413-FC05-4AD1-9790-074529A04990}"/>
              </a:ext>
            </a:extLst>
          </p:cNvPr>
          <p:cNvGrpSpPr/>
          <p:nvPr/>
        </p:nvGrpSpPr>
        <p:grpSpPr>
          <a:xfrm>
            <a:off x="7580505" y="2520235"/>
            <a:ext cx="924553" cy="431784"/>
            <a:chOff x="8274794" y="3832190"/>
            <a:chExt cx="1232737" cy="575711"/>
          </a:xfrm>
        </p:grpSpPr>
        <p:cxnSp>
          <p:nvCxnSpPr>
            <p:cNvPr id="303" name="Straight Connector 302">
              <a:extLst>
                <a:ext uri="{FF2B5EF4-FFF2-40B4-BE49-F238E27FC236}">
                  <a16:creationId xmlns:a16="http://schemas.microsoft.com/office/drawing/2014/main" xmlns="" id="{31B4B617-9E4C-409C-B2DF-CAF63674F226}"/>
                </a:ext>
              </a:extLst>
            </p:cNvPr>
            <p:cNvCxnSpPr>
              <a:cxnSpLocks/>
            </p:cNvCxnSpPr>
            <p:nvPr/>
          </p:nvCxnSpPr>
          <p:spPr>
            <a:xfrm flipH="1">
              <a:off x="8274794" y="4127990"/>
              <a:ext cx="1116000" cy="0"/>
            </a:xfrm>
            <a:prstGeom prst="line">
              <a:avLst/>
            </a:prstGeom>
            <a:ln w="12700" cap="rnd">
              <a:solidFill>
                <a:srgbClr val="4C9BCF"/>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304" name="Rectangle: Rounded Corners 303">
              <a:extLst>
                <a:ext uri="{FF2B5EF4-FFF2-40B4-BE49-F238E27FC236}">
                  <a16:creationId xmlns:a16="http://schemas.microsoft.com/office/drawing/2014/main" xmlns="" id="{C213B784-87DF-4738-A268-A53860002C47}"/>
                </a:ext>
              </a:extLst>
            </p:cNvPr>
            <p:cNvSpPr/>
            <p:nvPr/>
          </p:nvSpPr>
          <p:spPr>
            <a:xfrm>
              <a:off x="8664926" y="3832190"/>
              <a:ext cx="842605" cy="575711"/>
            </a:xfrm>
            <a:prstGeom prst="roundRect">
              <a:avLst>
                <a:gd name="adj" fmla="val 13775"/>
              </a:avLst>
            </a:prstGeom>
            <a:solidFill>
              <a:schemeClr val="accent5">
                <a:lumMod val="60000"/>
                <a:lumOff val="40000"/>
              </a:schemeClr>
            </a:solidFill>
            <a:ln w="12700">
              <a:solidFill>
                <a:srgbClr val="4C9BCF"/>
              </a:solidFill>
            </a:ln>
          </p:spPr>
          <p:style>
            <a:lnRef idx="2">
              <a:schemeClr val="accent1"/>
            </a:lnRef>
            <a:fillRef idx="1">
              <a:schemeClr val="lt1"/>
            </a:fillRef>
            <a:effectRef idx="0">
              <a:schemeClr val="accent1"/>
            </a:effectRef>
            <a:fontRef idx="minor">
              <a:schemeClr val="dk1"/>
            </a:fontRef>
          </p:style>
          <p:txBody>
            <a:bodyPr lIns="27000" tIns="27000" rIns="0" bIns="27000" rtlCol="0" anchor="ctr">
              <a:spAutoFit/>
            </a:bodyPr>
            <a:lstStyle/>
            <a:p>
              <a:pPr defTabSz="685749">
                <a:lnSpc>
                  <a:spcPts val="900"/>
                </a:lnSpc>
                <a:defRPr/>
              </a:pPr>
              <a:r>
                <a:rPr lang="es" sz="900" b="1" dirty="0">
                  <a:solidFill>
                    <a:srgbClr val="4C4948"/>
                  </a:solidFill>
                  <a:latin typeface="Calibri"/>
                </a:rPr>
                <a:t>Filipinas</a:t>
              </a:r>
            </a:p>
            <a:p>
              <a:pPr defTabSz="685749">
                <a:lnSpc>
                  <a:spcPts val="900"/>
                </a:lnSpc>
                <a:defRPr/>
              </a:pPr>
              <a:r>
                <a:rPr lang="es" sz="900" dirty="0">
                  <a:solidFill>
                    <a:srgbClr val="4C4948"/>
                  </a:solidFill>
                  <a:latin typeface="Calibri"/>
                </a:rPr>
                <a:t>1 × Fase II</a:t>
              </a:r>
            </a:p>
            <a:p>
              <a:pPr defTabSz="685749">
                <a:lnSpc>
                  <a:spcPts val="900"/>
                </a:lnSpc>
                <a:defRPr/>
              </a:pPr>
              <a:r>
                <a:rPr lang="es" sz="900" dirty="0">
                  <a:solidFill>
                    <a:srgbClr val="4C4948"/>
                  </a:solidFill>
                  <a:latin typeface="Calibri"/>
                </a:rPr>
                <a:t>1 × Fase III</a:t>
              </a:r>
            </a:p>
          </p:txBody>
        </p:sp>
      </p:grpSp>
      <p:grpSp>
        <p:nvGrpSpPr>
          <p:cNvPr id="305" name="Group 304">
            <a:extLst>
              <a:ext uri="{FF2B5EF4-FFF2-40B4-BE49-F238E27FC236}">
                <a16:creationId xmlns:a16="http://schemas.microsoft.com/office/drawing/2014/main" xmlns="" id="{76DE8D4B-3308-443F-838D-4C00278CE695}"/>
              </a:ext>
            </a:extLst>
          </p:cNvPr>
          <p:cNvGrpSpPr/>
          <p:nvPr/>
        </p:nvGrpSpPr>
        <p:grpSpPr>
          <a:xfrm>
            <a:off x="3581144" y="2829460"/>
            <a:ext cx="688333" cy="880115"/>
            <a:chOff x="5018450" y="1562308"/>
            <a:chExt cx="917777" cy="1173484"/>
          </a:xfrm>
          <a:solidFill>
            <a:schemeClr val="accent5">
              <a:lumMod val="60000"/>
              <a:lumOff val="40000"/>
            </a:schemeClr>
          </a:solidFill>
        </p:grpSpPr>
        <p:cxnSp>
          <p:nvCxnSpPr>
            <p:cNvPr id="306" name="Straight Connector 305">
              <a:extLst>
                <a:ext uri="{FF2B5EF4-FFF2-40B4-BE49-F238E27FC236}">
                  <a16:creationId xmlns:a16="http://schemas.microsoft.com/office/drawing/2014/main" xmlns="" id="{B631361E-C6D2-4360-8111-1C0EF73B2F01}"/>
                </a:ext>
              </a:extLst>
            </p:cNvPr>
            <p:cNvCxnSpPr>
              <a:cxnSpLocks/>
            </p:cNvCxnSpPr>
            <p:nvPr/>
          </p:nvCxnSpPr>
          <p:spPr>
            <a:xfrm flipV="1">
              <a:off x="5854255" y="1562308"/>
              <a:ext cx="0" cy="606348"/>
            </a:xfrm>
            <a:prstGeom prst="line">
              <a:avLst/>
            </a:prstGeom>
            <a:grpFill/>
            <a:ln w="12700" cap="rnd">
              <a:solidFill>
                <a:srgbClr val="4C9BCF"/>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307" name="Rectangle: Rounded Corners 306">
              <a:extLst>
                <a:ext uri="{FF2B5EF4-FFF2-40B4-BE49-F238E27FC236}">
                  <a16:creationId xmlns:a16="http://schemas.microsoft.com/office/drawing/2014/main" xmlns="" id="{BAD99968-CDEE-4AC1-93ED-B29111C4BE3C}"/>
                </a:ext>
              </a:extLst>
            </p:cNvPr>
            <p:cNvSpPr/>
            <p:nvPr/>
          </p:nvSpPr>
          <p:spPr>
            <a:xfrm>
              <a:off x="5018450" y="1994287"/>
              <a:ext cx="917777" cy="741505"/>
            </a:xfrm>
            <a:prstGeom prst="roundRect">
              <a:avLst>
                <a:gd name="adj" fmla="val 13775"/>
              </a:avLst>
            </a:prstGeom>
            <a:grpFill/>
            <a:ln w="12700">
              <a:solidFill>
                <a:srgbClr val="4C9BCF"/>
              </a:solidFill>
            </a:ln>
          </p:spPr>
          <p:style>
            <a:lnRef idx="2">
              <a:schemeClr val="accent1"/>
            </a:lnRef>
            <a:fillRef idx="1">
              <a:schemeClr val="lt1"/>
            </a:fillRef>
            <a:effectRef idx="0">
              <a:schemeClr val="accent1"/>
            </a:effectRef>
            <a:fontRef idx="minor">
              <a:schemeClr val="dk1"/>
            </a:fontRef>
          </p:style>
          <p:txBody>
            <a:bodyPr wrap="square" lIns="27000" tIns="27000" rIns="0" bIns="27000" rtlCol="0" anchor="ctr">
              <a:spAutoFit/>
            </a:bodyPr>
            <a:lstStyle/>
            <a:p>
              <a:pPr defTabSz="685749">
                <a:lnSpc>
                  <a:spcPts val="900"/>
                </a:lnSpc>
                <a:defRPr/>
              </a:pPr>
              <a:r>
                <a:rPr lang="es" sz="900" b="1">
                  <a:solidFill>
                    <a:srgbClr val="4C4948"/>
                  </a:solidFill>
                  <a:latin typeface="Calibri"/>
                </a:rPr>
                <a:t>Colombia</a:t>
              </a:r>
            </a:p>
            <a:p>
              <a:pPr defTabSz="685749">
                <a:lnSpc>
                  <a:spcPts val="900"/>
                </a:lnSpc>
                <a:defRPr/>
              </a:pPr>
              <a:r>
                <a:rPr lang="es" sz="900">
                  <a:solidFill>
                    <a:srgbClr val="4C4948"/>
                  </a:solidFill>
                  <a:latin typeface="Calibri"/>
                </a:rPr>
                <a:t>1 × Fase I‡</a:t>
              </a:r>
              <a:endParaRPr lang="en-US" sz="900" baseline="30000">
                <a:solidFill>
                  <a:srgbClr val="4C4948"/>
                </a:solidFill>
                <a:latin typeface="Calibri"/>
              </a:endParaRPr>
            </a:p>
            <a:p>
              <a:pPr defTabSz="685749">
                <a:lnSpc>
                  <a:spcPts val="900"/>
                </a:lnSpc>
                <a:defRPr/>
              </a:pPr>
              <a:r>
                <a:rPr lang="es" sz="900">
                  <a:solidFill>
                    <a:srgbClr val="4C4948"/>
                  </a:solidFill>
                  <a:latin typeface="Calibri"/>
                </a:rPr>
                <a:t>1 × Fase II</a:t>
              </a:r>
            </a:p>
            <a:p>
              <a:pPr defTabSz="685749">
                <a:lnSpc>
                  <a:spcPts val="900"/>
                </a:lnSpc>
                <a:defRPr/>
              </a:pPr>
              <a:r>
                <a:rPr lang="es" sz="900">
                  <a:solidFill>
                    <a:srgbClr val="4C4948"/>
                  </a:solidFill>
                  <a:latin typeface="Calibri"/>
                </a:rPr>
                <a:t>1 × Fase III</a:t>
              </a:r>
            </a:p>
          </p:txBody>
        </p:sp>
      </p:grpSp>
      <p:sp>
        <p:nvSpPr>
          <p:cNvPr id="308" name="TextBox 307">
            <a:extLst>
              <a:ext uri="{FF2B5EF4-FFF2-40B4-BE49-F238E27FC236}">
                <a16:creationId xmlns:a16="http://schemas.microsoft.com/office/drawing/2014/main" xmlns="" id="{132DE25F-56C4-45DE-9CEF-DCE04142822D}"/>
              </a:ext>
            </a:extLst>
          </p:cNvPr>
          <p:cNvSpPr txBox="1"/>
          <p:nvPr/>
        </p:nvSpPr>
        <p:spPr>
          <a:xfrm>
            <a:off x="3574041" y="3986359"/>
            <a:ext cx="3498073" cy="219291"/>
          </a:xfrm>
          <a:prstGeom prst="rect">
            <a:avLst/>
          </a:prstGeom>
          <a:noFill/>
        </p:spPr>
        <p:txBody>
          <a:bodyPr wrap="none" rtlCol="0">
            <a:spAutoFit/>
          </a:bodyPr>
          <a:lstStyle/>
          <a:p>
            <a:pPr defTabSz="685800">
              <a:defRPr/>
            </a:pPr>
            <a:r>
              <a:rPr lang="es" sz="825" dirty="0">
                <a:solidFill>
                  <a:srgbClr val="34373F"/>
                </a:solidFill>
                <a:latin typeface="Calibri" panose="020F0502020204030204"/>
              </a:rPr>
              <a:t>El estudio de fase I en Colombia representa uno o más sitios de investigación</a:t>
            </a:r>
          </a:p>
        </p:txBody>
      </p:sp>
      <p:sp>
        <p:nvSpPr>
          <p:cNvPr id="312" name="スライド番号プレースホルダ 5">
            <a:extLst>
              <a:ext uri="{FF2B5EF4-FFF2-40B4-BE49-F238E27FC236}">
                <a16:creationId xmlns:a16="http://schemas.microsoft.com/office/drawing/2014/main" xmlns="" id="{7FF4988F-2DAE-4AA2-89AF-4F63A158A3C5}"/>
              </a:ext>
            </a:extLst>
          </p:cNvPr>
          <p:cNvSpPr txBox="1">
            <a:spLocks/>
          </p:cNvSpPr>
          <p:nvPr/>
        </p:nvSpPr>
        <p:spPr>
          <a:xfrm>
            <a:off x="24671" y="4890921"/>
            <a:ext cx="300508" cy="175501"/>
          </a:xfrm>
          <a:prstGeom prst="rect">
            <a:avLst/>
          </a:prstGeom>
        </p:spPr>
        <p:txBody>
          <a:bodyPr vert="horz" lIns="53989" tIns="34283" rIns="0" bIns="34283" rtlCol="0" anchor="ctr"/>
          <a:lstStyle>
            <a:defPPr>
              <a:defRPr lang="en-US"/>
            </a:defPPr>
            <a:lvl1pPr marL="0" algn="l" defTabSz="914400" rtl="0" eaLnBrk="1" latinLnBrk="0" hangingPunct="1">
              <a:defRPr sz="1000" b="1" i="0" kern="1200">
                <a:solidFill>
                  <a:schemeClr val="tx1"/>
                </a:solidFill>
                <a:latin typeface="Calibri" panose="020F0502020204030204" pitchFamily="34" charset="0"/>
                <a:ea typeface="メイリオ" pitchFamily="50" charset="-128"/>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108">
              <a:defRPr/>
            </a:pPr>
            <a:fld id="{E9B57936-92EF-4126-AE48-1D9D36D15E98}" type="slidenum">
              <a:rPr lang="en-US" altLang="ja-JP" sz="900">
                <a:solidFill>
                  <a:srgbClr val="34373F"/>
                </a:solidFill>
                <a:latin typeface="Calibri" panose="020F0502020204030204"/>
              </a:rPr>
              <a:pPr algn="ctr" defTabSz="914108">
                <a:defRPr/>
              </a:pPr>
              <a:t>34</a:t>
            </a:fld>
            <a:endParaRPr lang="en-US" altLang="ja-JP" sz="900">
              <a:solidFill>
                <a:srgbClr val="34373F"/>
              </a:solidFill>
              <a:latin typeface="Calibri" panose="020F0502020204030204"/>
            </a:endParaRPr>
          </a:p>
        </p:txBody>
      </p:sp>
      <p:sp>
        <p:nvSpPr>
          <p:cNvPr id="310" name="TextBox 309">
            <a:extLst>
              <a:ext uri="{FF2B5EF4-FFF2-40B4-BE49-F238E27FC236}">
                <a16:creationId xmlns:a16="http://schemas.microsoft.com/office/drawing/2014/main" xmlns="" id="{8AC8FD0E-AE62-4BE3-A357-13DECAD48F92}"/>
              </a:ext>
            </a:extLst>
          </p:cNvPr>
          <p:cNvSpPr txBox="1"/>
          <p:nvPr/>
        </p:nvSpPr>
        <p:spPr>
          <a:xfrm>
            <a:off x="220276" y="4470151"/>
            <a:ext cx="8718374" cy="403957"/>
          </a:xfrm>
          <a:prstGeom prst="rect">
            <a:avLst/>
          </a:prstGeom>
          <a:noFill/>
        </p:spPr>
        <p:txBody>
          <a:bodyPr wrap="square" anchor="b">
            <a:spAutoFit/>
          </a:bodyPr>
          <a:lstStyle/>
          <a:p>
            <a:pPr defTabSz="685749">
              <a:defRPr/>
            </a:pPr>
            <a:r>
              <a:rPr lang="es" sz="675" dirty="0">
                <a:solidFill>
                  <a:srgbClr val="34373F"/>
                </a:solidFill>
                <a:latin typeface="Calibri"/>
                <a:cs typeface="Times New Roman" panose="02020603050405020304" pitchFamily="18" charset="0"/>
              </a:rPr>
              <a:t>*Estas cifras se refieren a todo el programa de desarrollo clínico y preclínico; †DEN-315 se realizó en una región no endémica de México (país endémico); ‡DEN-102 (Fase I) se realizó en una región no endémica de Colombia. </a:t>
            </a:r>
            <a:r>
              <a:rPr lang="en-US" sz="675" dirty="0">
                <a:solidFill>
                  <a:srgbClr val="34373F"/>
                </a:solidFill>
                <a:latin typeface="Calibri"/>
              </a:rPr>
              <a:t/>
            </a:r>
            <a:br>
              <a:rPr lang="en-US" sz="675" dirty="0">
                <a:solidFill>
                  <a:srgbClr val="34373F"/>
                </a:solidFill>
                <a:latin typeface="Calibri"/>
              </a:rPr>
            </a:br>
            <a:r>
              <a:rPr lang="es" sz="675" dirty="0">
                <a:solidFill>
                  <a:srgbClr val="34373F"/>
                </a:solidFill>
                <a:latin typeface="Calibri"/>
              </a:rPr>
              <a:t>1. NCT01224639; 2. NCT01765426; 3. NCT01542632; 4. NCT01728792; 5. NCT02193087; 6. NCT01511250; 7. NCT02302066; 8. NCT02425098; 9. NCT03746015; 10. NCT02948829; 11. NCT02747927; 12. NCT03999996; 13. NCT03423173; </a:t>
            </a:r>
            <a:r>
              <a:rPr lang="en-US" sz="675" dirty="0">
                <a:solidFill>
                  <a:srgbClr val="34373F"/>
                </a:solidFill>
                <a:latin typeface="Calibri"/>
              </a:rPr>
              <a:t/>
            </a:r>
            <a:br>
              <a:rPr lang="en-US" sz="675" dirty="0">
                <a:solidFill>
                  <a:srgbClr val="34373F"/>
                </a:solidFill>
                <a:latin typeface="Calibri"/>
              </a:rPr>
            </a:br>
            <a:r>
              <a:rPr lang="es" sz="675" dirty="0">
                <a:solidFill>
                  <a:srgbClr val="34373F"/>
                </a:solidFill>
                <a:latin typeface="Calibri"/>
              </a:rPr>
              <a:t>14. NCT03342898; 15. NCT03771963; 16. NCT04313244; 17. NCT03525119; 18. NCT03341637. Todo disponible en: </a:t>
            </a:r>
            <a:r>
              <a:rPr lang="es" sz="675" dirty="0">
                <a:solidFill>
                  <a:srgbClr val="34373F"/>
                </a:solidFill>
                <a:latin typeface="Calibri"/>
                <a:hlinkClick r:id="rId3"/>
              </a:rPr>
              <a:t>www.clinicaltrials.gov</a:t>
            </a:r>
            <a:r>
              <a:rPr lang="es" sz="675" dirty="0">
                <a:solidFill>
                  <a:srgbClr val="34373F"/>
                </a:solidFill>
                <a:latin typeface="Calibri"/>
              </a:rPr>
              <a:t> (consultado en octubre de 2022). </a:t>
            </a:r>
            <a:endParaRPr lang="en-US" sz="675" dirty="0">
              <a:solidFill>
                <a:srgbClr val="34373F"/>
              </a:solidFill>
              <a:latin typeface="Calibri"/>
              <a:cs typeface="Arial" panose="020B0604020202020204" pitchFamily="34" charset="0"/>
            </a:endParaRPr>
          </a:p>
        </p:txBody>
      </p:sp>
      <p:sp>
        <p:nvSpPr>
          <p:cNvPr id="2" name="Rectangle: Rounded Corners 1">
            <a:extLst>
              <a:ext uri="{FF2B5EF4-FFF2-40B4-BE49-F238E27FC236}">
                <a16:creationId xmlns:a16="http://schemas.microsoft.com/office/drawing/2014/main" xmlns="" id="{D7A51E9F-DF7F-4719-85F1-E1464093DA02}"/>
              </a:ext>
            </a:extLst>
          </p:cNvPr>
          <p:cNvSpPr/>
          <p:nvPr/>
        </p:nvSpPr>
        <p:spPr>
          <a:xfrm>
            <a:off x="3062856" y="4190736"/>
            <a:ext cx="801014" cy="188023"/>
          </a:xfrm>
          <a:prstGeom prst="roundRect">
            <a:avLst/>
          </a:prstGeom>
          <a:solidFill>
            <a:schemeClr val="accent2">
              <a:lumMod val="60000"/>
              <a:lumOff val="40000"/>
            </a:schemeClr>
          </a:solidFill>
          <a:ln w="12700">
            <a:solidFill>
              <a:srgbClr val="EA5532"/>
            </a:solidFill>
          </a:ln>
        </p:spPr>
        <p:style>
          <a:lnRef idx="2">
            <a:schemeClr val="accent1"/>
          </a:lnRef>
          <a:fillRef idx="1">
            <a:schemeClr val="lt1"/>
          </a:fillRef>
          <a:effectRef idx="0">
            <a:schemeClr val="accent1"/>
          </a:effectRef>
          <a:fontRef idx="minor">
            <a:schemeClr val="dk1"/>
          </a:fontRef>
        </p:style>
        <p:txBody>
          <a:bodyPr wrap="square" lIns="27000" tIns="27000" rIns="0" bIns="27000" rtlCol="0" anchor="ctr">
            <a:spAutoFit/>
          </a:bodyPr>
          <a:lstStyle/>
          <a:p>
            <a:pPr algn="ctr" defTabSz="685749">
              <a:lnSpc>
                <a:spcPts val="900"/>
              </a:lnSpc>
              <a:defRPr/>
            </a:pPr>
            <a:r>
              <a:rPr lang="es" sz="900" b="1" dirty="0">
                <a:solidFill>
                  <a:srgbClr val="FFFFFF"/>
                </a:solidFill>
                <a:latin typeface="Calibri"/>
              </a:rPr>
              <a:t>No endémico</a:t>
            </a:r>
            <a:endParaRPr lang="en-US" sz="900" b="1" dirty="0">
              <a:solidFill>
                <a:srgbClr val="FFFFFF"/>
              </a:solidFill>
              <a:latin typeface="Calibri"/>
            </a:endParaRPr>
          </a:p>
        </p:txBody>
      </p:sp>
      <p:sp>
        <p:nvSpPr>
          <p:cNvPr id="314" name="Rectangle: Rounded Corners 313">
            <a:extLst>
              <a:ext uri="{FF2B5EF4-FFF2-40B4-BE49-F238E27FC236}">
                <a16:creationId xmlns:a16="http://schemas.microsoft.com/office/drawing/2014/main" xmlns="" id="{8583E43B-BFFE-487E-BED8-E1364C2C7DA9}"/>
              </a:ext>
            </a:extLst>
          </p:cNvPr>
          <p:cNvSpPr/>
          <p:nvPr/>
        </p:nvSpPr>
        <p:spPr>
          <a:xfrm>
            <a:off x="3984893" y="4178979"/>
            <a:ext cx="801014" cy="188023"/>
          </a:xfrm>
          <a:prstGeom prst="roundRect">
            <a:avLst/>
          </a:prstGeom>
          <a:solidFill>
            <a:schemeClr val="accent5">
              <a:lumMod val="60000"/>
              <a:lumOff val="40000"/>
            </a:schemeClr>
          </a:solidFill>
          <a:ln w="12700">
            <a:solidFill>
              <a:srgbClr val="4C9BCF"/>
            </a:solidFill>
          </a:ln>
        </p:spPr>
        <p:style>
          <a:lnRef idx="2">
            <a:schemeClr val="accent1"/>
          </a:lnRef>
          <a:fillRef idx="1">
            <a:schemeClr val="lt1"/>
          </a:fillRef>
          <a:effectRef idx="0">
            <a:schemeClr val="accent1"/>
          </a:effectRef>
          <a:fontRef idx="minor">
            <a:schemeClr val="dk1"/>
          </a:fontRef>
        </p:style>
        <p:txBody>
          <a:bodyPr lIns="27000" tIns="27000" rIns="0" bIns="27000" rtlCol="0" anchor="ctr">
            <a:spAutoFit/>
          </a:bodyPr>
          <a:lstStyle/>
          <a:p>
            <a:pPr algn="ctr" defTabSz="685749">
              <a:lnSpc>
                <a:spcPts val="900"/>
              </a:lnSpc>
              <a:defRPr/>
            </a:pPr>
            <a:r>
              <a:rPr lang="es" sz="900" b="1" dirty="0">
                <a:solidFill>
                  <a:srgbClr val="4C4948"/>
                </a:solidFill>
                <a:latin typeface="Calibri"/>
              </a:rPr>
              <a:t>Endémico</a:t>
            </a:r>
            <a:endParaRPr lang="en-US" sz="900" b="1" dirty="0">
              <a:solidFill>
                <a:srgbClr val="4C4948"/>
              </a:solidFill>
              <a:latin typeface="Calibri"/>
            </a:endParaRPr>
          </a:p>
        </p:txBody>
      </p:sp>
      <p:sp>
        <p:nvSpPr>
          <p:cNvPr id="315" name="TextBox 314">
            <a:extLst>
              <a:ext uri="{FF2B5EF4-FFF2-40B4-BE49-F238E27FC236}">
                <a16:creationId xmlns:a16="http://schemas.microsoft.com/office/drawing/2014/main" xmlns="" id="{54B715A2-B360-482C-8DFC-42B44E3597DA}"/>
              </a:ext>
            </a:extLst>
          </p:cNvPr>
          <p:cNvSpPr txBox="1"/>
          <p:nvPr/>
        </p:nvSpPr>
        <p:spPr>
          <a:xfrm>
            <a:off x="330772" y="4863437"/>
            <a:ext cx="5972175" cy="354050"/>
          </a:xfrm>
          <a:prstGeom prst="rect">
            <a:avLst/>
          </a:prstGeom>
          <a:noFill/>
        </p:spPr>
        <p:txBody>
          <a:bodyPr wrap="square" lIns="27000" tIns="27000" rIns="0" bIns="0" rtlCol="0">
            <a:noAutofit/>
          </a:bodyPr>
          <a:lstStyle/>
          <a:p>
            <a:pPr defTabSz="685800">
              <a:defRPr/>
            </a:pPr>
            <a:r>
              <a:rPr lang="es" sz="750" dirty="0">
                <a:solidFill>
                  <a:srgbClr val="FFFFFF">
                    <a:lumMod val="50000"/>
                  </a:srgbClr>
                </a:solidFill>
                <a:latin typeface="-apple-system"/>
              </a:rPr>
              <a:t>INFORMACIÓN CONFIDENCIAL:</a:t>
            </a:r>
            <a:endParaRPr lang="en-US" sz="750" dirty="0">
              <a:solidFill>
                <a:srgbClr val="FFFFFF">
                  <a:lumMod val="50000"/>
                </a:srgbClr>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xmlns="" id="{57921433-9340-3C84-167D-5AF69E0AA9D6}"/>
              </a:ext>
            </a:extLst>
          </p:cNvPr>
          <p:cNvSpPr txBox="1"/>
          <p:nvPr/>
        </p:nvSpPr>
        <p:spPr>
          <a:xfrm>
            <a:off x="1036722" y="3702736"/>
            <a:ext cx="1023658" cy="542378"/>
          </a:xfrm>
          <a:prstGeom prst="rect">
            <a:avLst/>
          </a:prstGeom>
          <a:noFill/>
        </p:spPr>
        <p:txBody>
          <a:bodyPr wrap="square" lIns="0" tIns="0" rIns="0" bIns="0" rtlCol="0" anchor="t">
            <a:noAutofit/>
          </a:bodyPr>
          <a:lstStyle/>
          <a:p>
            <a:pPr defTabSz="685766">
              <a:lnSpc>
                <a:spcPts val="1650"/>
              </a:lnSpc>
              <a:defRPr/>
            </a:pPr>
            <a:r>
              <a:rPr lang="es" sz="2400" b="1" dirty="0">
                <a:solidFill>
                  <a:srgbClr val="34373F"/>
                </a:solidFill>
                <a:latin typeface="Calibri" panose="020F0502020204030204"/>
                <a:cs typeface="Arial"/>
              </a:rPr>
              <a:t>19</a:t>
            </a:r>
          </a:p>
          <a:p>
            <a:pPr defTabSz="685766">
              <a:lnSpc>
                <a:spcPts val="1650"/>
              </a:lnSpc>
              <a:defRPr/>
            </a:pPr>
            <a:r>
              <a:rPr lang="es" sz="1500" dirty="0">
                <a:solidFill>
                  <a:srgbClr val="34373F"/>
                </a:solidFill>
                <a:latin typeface="Calibri" panose="020F0502020204030204"/>
                <a:cs typeface="Arial"/>
              </a:rPr>
              <a:t>Ensayos clínicos</a:t>
            </a:r>
            <a:endParaRPr lang="en-GB" sz="1500" baseline="30000" dirty="0">
              <a:solidFill>
                <a:srgbClr val="34373F"/>
              </a:solidFill>
              <a:latin typeface="Calibri" panose="020F0502020204030204"/>
              <a:cs typeface="Arial"/>
            </a:endParaRPr>
          </a:p>
          <a:p>
            <a:pPr defTabSz="685766">
              <a:defRPr/>
            </a:pPr>
            <a:endParaRPr lang="en-GB" sz="1350" dirty="0">
              <a:solidFill>
                <a:srgbClr val="34373F"/>
              </a:solidFill>
              <a:latin typeface="Calibri" panose="020F0502020204030204"/>
              <a:cs typeface="Arial"/>
            </a:endParaRPr>
          </a:p>
        </p:txBody>
      </p:sp>
      <p:sp>
        <p:nvSpPr>
          <p:cNvPr id="4" name="Oval 3">
            <a:extLst>
              <a:ext uri="{FF2B5EF4-FFF2-40B4-BE49-F238E27FC236}">
                <a16:creationId xmlns:a16="http://schemas.microsoft.com/office/drawing/2014/main" xmlns="" id="{94C706E6-A40D-2B58-7430-40A715491B4C}"/>
              </a:ext>
            </a:extLst>
          </p:cNvPr>
          <p:cNvSpPr/>
          <p:nvPr/>
        </p:nvSpPr>
        <p:spPr>
          <a:xfrm>
            <a:off x="382201" y="3702736"/>
            <a:ext cx="506074" cy="49916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66">
              <a:defRPr/>
            </a:pPr>
            <a:endParaRPr lang="en-GB" sz="1200">
              <a:solidFill>
                <a:srgbClr val="34373F"/>
              </a:solidFill>
              <a:latin typeface="Calibri" panose="020F0502020204030204"/>
              <a:cs typeface="Arial" panose="020B0604020202020204" pitchFamily="34" charset="0"/>
            </a:endParaRPr>
          </a:p>
        </p:txBody>
      </p:sp>
      <p:sp>
        <p:nvSpPr>
          <p:cNvPr id="5" name="Freeform: Shape 4">
            <a:extLst>
              <a:ext uri="{FF2B5EF4-FFF2-40B4-BE49-F238E27FC236}">
                <a16:creationId xmlns:a16="http://schemas.microsoft.com/office/drawing/2014/main" xmlns="" id="{CA81B96D-6EB8-3D6C-D6A7-BB3845A94072}"/>
              </a:ext>
            </a:extLst>
          </p:cNvPr>
          <p:cNvSpPr/>
          <p:nvPr/>
        </p:nvSpPr>
        <p:spPr>
          <a:xfrm>
            <a:off x="427102" y="3752561"/>
            <a:ext cx="387431" cy="375344"/>
          </a:xfrm>
          <a:custGeom>
            <a:avLst/>
            <a:gdLst>
              <a:gd name="connsiteX0" fmla="*/ 258288 w 516575"/>
              <a:gd name="connsiteY0" fmla="*/ 39510 h 500458"/>
              <a:gd name="connsiteX1" fmla="*/ 40782 w 516575"/>
              <a:gd name="connsiteY1" fmla="*/ 250229 h 500458"/>
              <a:gd name="connsiteX2" fmla="*/ 258288 w 516575"/>
              <a:gd name="connsiteY2" fmla="*/ 460949 h 500458"/>
              <a:gd name="connsiteX3" fmla="*/ 475793 w 516575"/>
              <a:gd name="connsiteY3" fmla="*/ 250229 h 500458"/>
              <a:gd name="connsiteX4" fmla="*/ 258288 w 516575"/>
              <a:gd name="connsiteY4" fmla="*/ 39510 h 500458"/>
              <a:gd name="connsiteX5" fmla="*/ 258288 w 516575"/>
              <a:gd name="connsiteY5" fmla="*/ 500458 h 500458"/>
              <a:gd name="connsiteX6" fmla="*/ 0 w 516575"/>
              <a:gd name="connsiteY6" fmla="*/ 250229 h 500458"/>
              <a:gd name="connsiteX7" fmla="*/ 258288 w 516575"/>
              <a:gd name="connsiteY7" fmla="*/ 0 h 500458"/>
              <a:gd name="connsiteX8" fmla="*/ 516575 w 516575"/>
              <a:gd name="connsiteY8" fmla="*/ 250229 h 500458"/>
              <a:gd name="connsiteX9" fmla="*/ 258288 w 516575"/>
              <a:gd name="connsiteY9" fmla="*/ 500458 h 500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6575" h="500458">
                <a:moveTo>
                  <a:pt x="258288" y="39510"/>
                </a:moveTo>
                <a:cubicBezTo>
                  <a:pt x="137980" y="39510"/>
                  <a:pt x="40782" y="133675"/>
                  <a:pt x="40782" y="250229"/>
                </a:cubicBezTo>
                <a:cubicBezTo>
                  <a:pt x="40782" y="366783"/>
                  <a:pt x="137980" y="460949"/>
                  <a:pt x="258288" y="460949"/>
                </a:cubicBezTo>
                <a:cubicBezTo>
                  <a:pt x="378595" y="460949"/>
                  <a:pt x="475793" y="366783"/>
                  <a:pt x="475793" y="250229"/>
                </a:cubicBezTo>
                <a:cubicBezTo>
                  <a:pt x="475793" y="133675"/>
                  <a:pt x="378595" y="39510"/>
                  <a:pt x="258288" y="39510"/>
                </a:cubicBezTo>
                <a:close/>
                <a:moveTo>
                  <a:pt x="258288" y="500458"/>
                </a:moveTo>
                <a:cubicBezTo>
                  <a:pt x="115550" y="500458"/>
                  <a:pt x="0" y="388514"/>
                  <a:pt x="0" y="250229"/>
                </a:cubicBezTo>
                <a:cubicBezTo>
                  <a:pt x="0" y="111945"/>
                  <a:pt x="115550" y="0"/>
                  <a:pt x="258288" y="0"/>
                </a:cubicBezTo>
                <a:cubicBezTo>
                  <a:pt x="401025" y="0"/>
                  <a:pt x="516575" y="111945"/>
                  <a:pt x="516575" y="250229"/>
                </a:cubicBezTo>
                <a:cubicBezTo>
                  <a:pt x="516575" y="388514"/>
                  <a:pt x="401025" y="500458"/>
                  <a:pt x="258288" y="500458"/>
                </a:cubicBezTo>
                <a:close/>
              </a:path>
            </a:pathLst>
          </a:custGeom>
          <a:solidFill>
            <a:schemeClr val="accent2"/>
          </a:solidFill>
          <a:ln w="12700" cap="flat">
            <a:solidFill>
              <a:schemeClr val="bg1"/>
            </a:solidFill>
            <a:prstDash val="solid"/>
            <a:miter/>
          </a:ln>
        </p:spPr>
        <p:txBody>
          <a:bodyPr rtlCol="0" anchor="ctr"/>
          <a:lstStyle/>
          <a:p>
            <a:pPr defTabSz="685800">
              <a:defRPr/>
            </a:pPr>
            <a:endParaRPr lang="en-GB" sz="1350">
              <a:solidFill>
                <a:srgbClr val="34373F"/>
              </a:solidFill>
              <a:latin typeface="Calibri" panose="020F0502020204030204"/>
            </a:endParaRPr>
          </a:p>
        </p:txBody>
      </p:sp>
      <p:sp>
        <p:nvSpPr>
          <p:cNvPr id="7" name="Freeform: Shape 6">
            <a:extLst>
              <a:ext uri="{FF2B5EF4-FFF2-40B4-BE49-F238E27FC236}">
                <a16:creationId xmlns:a16="http://schemas.microsoft.com/office/drawing/2014/main" xmlns="" id="{0E89EE5F-B0EE-2C9D-C7CF-7BE19E5A2556}"/>
              </a:ext>
            </a:extLst>
          </p:cNvPr>
          <p:cNvSpPr/>
          <p:nvPr/>
        </p:nvSpPr>
        <p:spPr>
          <a:xfrm>
            <a:off x="507995" y="3821704"/>
            <a:ext cx="244694" cy="237059"/>
          </a:xfrm>
          <a:custGeom>
            <a:avLst/>
            <a:gdLst>
              <a:gd name="connsiteX0" fmla="*/ 299070 w 326258"/>
              <a:gd name="connsiteY0" fmla="*/ 105360 h 316079"/>
              <a:gd name="connsiteX1" fmla="*/ 217505 w 326258"/>
              <a:gd name="connsiteY1" fmla="*/ 105360 h 316079"/>
              <a:gd name="connsiteX2" fmla="*/ 217505 w 326258"/>
              <a:gd name="connsiteY2" fmla="*/ 26340 h 316079"/>
              <a:gd name="connsiteX3" fmla="*/ 190317 w 326258"/>
              <a:gd name="connsiteY3" fmla="*/ 0 h 316079"/>
              <a:gd name="connsiteX4" fmla="*/ 135941 w 326258"/>
              <a:gd name="connsiteY4" fmla="*/ 0 h 316079"/>
              <a:gd name="connsiteX5" fmla="*/ 108753 w 326258"/>
              <a:gd name="connsiteY5" fmla="*/ 26340 h 316079"/>
              <a:gd name="connsiteX6" fmla="*/ 108753 w 326258"/>
              <a:gd name="connsiteY6" fmla="*/ 105360 h 316079"/>
              <a:gd name="connsiteX7" fmla="*/ 27188 w 326258"/>
              <a:gd name="connsiteY7" fmla="*/ 105360 h 316079"/>
              <a:gd name="connsiteX8" fmla="*/ 0 w 326258"/>
              <a:gd name="connsiteY8" fmla="*/ 131700 h 316079"/>
              <a:gd name="connsiteX9" fmla="*/ 0 w 326258"/>
              <a:gd name="connsiteY9" fmla="*/ 184379 h 316079"/>
              <a:gd name="connsiteX10" fmla="*/ 27188 w 326258"/>
              <a:gd name="connsiteY10" fmla="*/ 210719 h 316079"/>
              <a:gd name="connsiteX11" fmla="*/ 108753 w 326258"/>
              <a:gd name="connsiteY11" fmla="*/ 210719 h 316079"/>
              <a:gd name="connsiteX12" fmla="*/ 108753 w 326258"/>
              <a:gd name="connsiteY12" fmla="*/ 289739 h 316079"/>
              <a:gd name="connsiteX13" fmla="*/ 135941 w 326258"/>
              <a:gd name="connsiteY13" fmla="*/ 316079 h 316079"/>
              <a:gd name="connsiteX14" fmla="*/ 190317 w 326258"/>
              <a:gd name="connsiteY14" fmla="*/ 316079 h 316079"/>
              <a:gd name="connsiteX15" fmla="*/ 217505 w 326258"/>
              <a:gd name="connsiteY15" fmla="*/ 289739 h 316079"/>
              <a:gd name="connsiteX16" fmla="*/ 217505 w 326258"/>
              <a:gd name="connsiteY16" fmla="*/ 210719 h 316079"/>
              <a:gd name="connsiteX17" fmla="*/ 299070 w 326258"/>
              <a:gd name="connsiteY17" fmla="*/ 210719 h 316079"/>
              <a:gd name="connsiteX18" fmla="*/ 326258 w 326258"/>
              <a:gd name="connsiteY18" fmla="*/ 184379 h 316079"/>
              <a:gd name="connsiteX19" fmla="*/ 326258 w 326258"/>
              <a:gd name="connsiteY19" fmla="*/ 131700 h 316079"/>
              <a:gd name="connsiteX20" fmla="*/ 299070 w 326258"/>
              <a:gd name="connsiteY20" fmla="*/ 105360 h 316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26258" h="316079">
                <a:moveTo>
                  <a:pt x="299070" y="105360"/>
                </a:moveTo>
                <a:lnTo>
                  <a:pt x="217505" y="105360"/>
                </a:lnTo>
                <a:lnTo>
                  <a:pt x="217505" y="26340"/>
                </a:lnTo>
                <a:cubicBezTo>
                  <a:pt x="217505" y="11853"/>
                  <a:pt x="205271" y="0"/>
                  <a:pt x="190317" y="0"/>
                </a:cubicBezTo>
                <a:lnTo>
                  <a:pt x="135941" y="0"/>
                </a:lnTo>
                <a:cubicBezTo>
                  <a:pt x="120987" y="0"/>
                  <a:pt x="108753" y="11853"/>
                  <a:pt x="108753" y="26340"/>
                </a:cubicBezTo>
                <a:lnTo>
                  <a:pt x="108753" y="105360"/>
                </a:lnTo>
                <a:lnTo>
                  <a:pt x="27188" y="105360"/>
                </a:lnTo>
                <a:cubicBezTo>
                  <a:pt x="12235" y="105360"/>
                  <a:pt x="0" y="117213"/>
                  <a:pt x="0" y="131700"/>
                </a:cubicBezTo>
                <a:lnTo>
                  <a:pt x="0" y="184379"/>
                </a:lnTo>
                <a:cubicBezTo>
                  <a:pt x="0" y="198866"/>
                  <a:pt x="12235" y="210719"/>
                  <a:pt x="27188" y="210719"/>
                </a:cubicBezTo>
                <a:lnTo>
                  <a:pt x="108753" y="210719"/>
                </a:lnTo>
                <a:lnTo>
                  <a:pt x="108753" y="289739"/>
                </a:lnTo>
                <a:cubicBezTo>
                  <a:pt x="108753" y="304226"/>
                  <a:pt x="120987" y="316079"/>
                  <a:pt x="135941" y="316079"/>
                </a:cubicBezTo>
                <a:lnTo>
                  <a:pt x="190317" y="316079"/>
                </a:lnTo>
                <a:cubicBezTo>
                  <a:pt x="205271" y="316079"/>
                  <a:pt x="217505" y="304226"/>
                  <a:pt x="217505" y="289739"/>
                </a:cubicBezTo>
                <a:lnTo>
                  <a:pt x="217505" y="210719"/>
                </a:lnTo>
                <a:lnTo>
                  <a:pt x="299070" y="210719"/>
                </a:lnTo>
                <a:cubicBezTo>
                  <a:pt x="314023" y="210719"/>
                  <a:pt x="326258" y="198866"/>
                  <a:pt x="326258" y="184379"/>
                </a:cubicBezTo>
                <a:lnTo>
                  <a:pt x="326258" y="131700"/>
                </a:lnTo>
                <a:cubicBezTo>
                  <a:pt x="326258" y="117213"/>
                  <a:pt x="314023" y="105360"/>
                  <a:pt x="299070" y="105360"/>
                </a:cubicBezTo>
                <a:close/>
              </a:path>
            </a:pathLst>
          </a:custGeom>
          <a:solidFill>
            <a:schemeClr val="tx2">
              <a:lumMod val="20000"/>
              <a:lumOff val="80000"/>
            </a:schemeClr>
          </a:solidFill>
          <a:ln w="12700" cap="flat">
            <a:solidFill>
              <a:schemeClr val="bg1"/>
            </a:solidFill>
            <a:prstDash val="solid"/>
            <a:miter/>
          </a:ln>
        </p:spPr>
        <p:txBody>
          <a:bodyPr rtlCol="0" anchor="ctr"/>
          <a:lstStyle/>
          <a:p>
            <a:pPr defTabSz="685800">
              <a:defRPr/>
            </a:pPr>
            <a:endParaRPr lang="en-GB" sz="1350">
              <a:solidFill>
                <a:srgbClr val="34373F"/>
              </a:solidFill>
              <a:latin typeface="Calibri" panose="020F0502020204030204"/>
            </a:endParaRPr>
          </a:p>
        </p:txBody>
      </p:sp>
    </p:spTree>
    <p:extLst>
      <p:ext uri="{BB962C8B-B14F-4D97-AF65-F5344CB8AC3E}">
        <p14:creationId xmlns:p14="http://schemas.microsoft.com/office/powerpoint/2010/main" val="324160991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229756" y="864929"/>
            <a:ext cx="8803714" cy="800100"/>
          </a:xfrm>
        </p:spPr>
        <p:txBody>
          <a:bodyPr>
            <a:noAutofit/>
          </a:bodyPr>
          <a:lstStyle/>
          <a:p>
            <a:pPr>
              <a:lnSpc>
                <a:spcPct val="115000"/>
              </a:lnSpc>
              <a:spcAft>
                <a:spcPts val="1000"/>
              </a:spcAft>
            </a:pPr>
            <a:r>
              <a:rPr lang="es-ES_tradnl" sz="2400" b="1" dirty="0">
                <a:latin typeface="Times New Roman" pitchFamily="18" charset="0"/>
                <a:cs typeface="Times New Roman" pitchFamily="18" charset="0"/>
              </a:rPr>
              <a:t/>
            </a:r>
            <a:br>
              <a:rPr lang="es-ES_tradnl" sz="2400" b="1" dirty="0">
                <a:latin typeface="Times New Roman" pitchFamily="18" charset="0"/>
                <a:cs typeface="Times New Roman" pitchFamily="18" charset="0"/>
              </a:rPr>
            </a:br>
            <a:r>
              <a:rPr lang="es-ES_tradnl" sz="1800" dirty="0" smtClean="0">
                <a:latin typeface="Calibri" panose="020F0502020204030204" pitchFamily="34" charset="0"/>
                <a:cs typeface="Calibri" panose="020F0502020204030204" pitchFamily="34" charset="0"/>
              </a:rPr>
              <a:t>Produce respuesta </a:t>
            </a:r>
            <a:r>
              <a:rPr lang="es-ES_tradnl" sz="1800" dirty="0">
                <a:latin typeface="Calibri" panose="020F0502020204030204" pitchFamily="34" charset="0"/>
                <a:cs typeface="Calibri" panose="020F0502020204030204" pitchFamily="34" charset="0"/>
              </a:rPr>
              <a:t>de Ac. Neutralizantes contra los cuatro serotipos de Dengue en niños y adolescentes de 2 a 17 años, independientemente de la exposición previa. </a:t>
            </a:r>
            <a:r>
              <a:rPr lang="en-US" sz="1800" b="1" dirty="0">
                <a:latin typeface="Calibri" panose="020F0502020204030204" pitchFamily="34" charset="0"/>
                <a:ea typeface="Calibri"/>
                <a:cs typeface="Calibri" panose="020F0502020204030204" pitchFamily="34" charset="0"/>
              </a:rPr>
              <a:t> </a:t>
            </a:r>
            <a:r>
              <a:rPr lang="es-AR" sz="2000" dirty="0">
                <a:latin typeface="Calibri" panose="020F0502020204030204" pitchFamily="34" charset="0"/>
                <a:ea typeface="Calibri"/>
                <a:cs typeface="Calibri" panose="020F0502020204030204" pitchFamily="34" charset="0"/>
              </a:rPr>
              <a:t/>
            </a:r>
            <a:br>
              <a:rPr lang="es-AR" sz="2000" dirty="0">
                <a:latin typeface="Calibri" panose="020F0502020204030204" pitchFamily="34" charset="0"/>
                <a:ea typeface="Calibri"/>
                <a:cs typeface="Calibri" panose="020F0502020204030204" pitchFamily="34" charset="0"/>
              </a:rPr>
            </a:br>
            <a:endParaRPr lang="es-AR" sz="2000" dirty="0">
              <a:latin typeface="Calibri" panose="020F0502020204030204" pitchFamily="34" charset="0"/>
              <a:cs typeface="Calibri" panose="020F0502020204030204" pitchFamily="34" charset="0"/>
            </a:endParaRPr>
          </a:p>
        </p:txBody>
      </p:sp>
      <p:sp>
        <p:nvSpPr>
          <p:cNvPr id="3" name="2 Marcador de contenido"/>
          <p:cNvSpPr>
            <a:spLocks noGrp="1"/>
          </p:cNvSpPr>
          <p:nvPr>
            <p:ph idx="1"/>
          </p:nvPr>
        </p:nvSpPr>
        <p:spPr>
          <a:xfrm>
            <a:off x="181638" y="1781718"/>
            <a:ext cx="8851832" cy="3243834"/>
          </a:xfrm>
        </p:spPr>
        <p:txBody>
          <a:bodyPr>
            <a:noAutofit/>
          </a:bodyPr>
          <a:lstStyle/>
          <a:p>
            <a:r>
              <a:rPr lang="en-US" sz="1800" dirty="0">
                <a:solidFill>
                  <a:srgbClr val="FF0000"/>
                </a:solidFill>
                <a:latin typeface="Calibri" panose="020F0502020204030204" pitchFamily="34" charset="0"/>
                <a:cs typeface="Calibri" panose="020F0502020204030204" pitchFamily="34" charset="0"/>
              </a:rPr>
              <a:t>Al </a:t>
            </a:r>
            <a:r>
              <a:rPr lang="en-US" sz="1800" dirty="0" err="1">
                <a:solidFill>
                  <a:srgbClr val="FF0000"/>
                </a:solidFill>
                <a:latin typeface="Calibri" panose="020F0502020204030204" pitchFamily="34" charset="0"/>
                <a:cs typeface="Calibri" panose="020F0502020204030204" pitchFamily="34" charset="0"/>
              </a:rPr>
              <a:t>sexto</a:t>
            </a:r>
            <a:r>
              <a:rPr lang="en-US" sz="1800" dirty="0">
                <a:solidFill>
                  <a:srgbClr val="FF0000"/>
                </a:solidFill>
                <a:latin typeface="Calibri" panose="020F0502020204030204" pitchFamily="34" charset="0"/>
                <a:cs typeface="Calibri" panose="020F0502020204030204" pitchFamily="34" charset="0"/>
              </a:rPr>
              <a:t> </a:t>
            </a:r>
            <a:r>
              <a:rPr lang="en-US" sz="1800" dirty="0" err="1">
                <a:solidFill>
                  <a:srgbClr val="FF0000"/>
                </a:solidFill>
                <a:latin typeface="Calibri" panose="020F0502020204030204" pitchFamily="34" charset="0"/>
                <a:cs typeface="Calibri" panose="020F0502020204030204" pitchFamily="34" charset="0"/>
              </a:rPr>
              <a:t>mes</a:t>
            </a:r>
            <a:r>
              <a:rPr lang="en-US" sz="1800" dirty="0">
                <a:solidFill>
                  <a:srgbClr val="FF0000"/>
                </a:solidFill>
                <a:latin typeface="Calibri" panose="020F0502020204030204" pitchFamily="34" charset="0"/>
                <a:cs typeface="Calibri" panose="020F0502020204030204" pitchFamily="34" charset="0"/>
              </a:rPr>
              <a:t>, el 85% de los </a:t>
            </a:r>
            <a:r>
              <a:rPr lang="en-US" sz="1800" dirty="0" err="1">
                <a:solidFill>
                  <a:srgbClr val="FF0000"/>
                </a:solidFill>
                <a:latin typeface="Calibri" panose="020F0502020204030204" pitchFamily="34" charset="0"/>
                <a:cs typeface="Calibri" panose="020F0502020204030204" pitchFamily="34" charset="0"/>
              </a:rPr>
              <a:t>sujetos</a:t>
            </a:r>
            <a:r>
              <a:rPr lang="en-US" sz="1800" dirty="0">
                <a:solidFill>
                  <a:srgbClr val="FF0000"/>
                </a:solidFill>
                <a:latin typeface="Calibri" panose="020F0502020204030204" pitchFamily="34" charset="0"/>
                <a:cs typeface="Calibri" panose="020F0502020204030204" pitchFamily="34" charset="0"/>
              </a:rPr>
              <a:t> </a:t>
            </a:r>
            <a:r>
              <a:rPr lang="en-US" sz="1800" dirty="0" err="1">
                <a:solidFill>
                  <a:srgbClr val="FF0000"/>
                </a:solidFill>
                <a:latin typeface="Calibri" panose="020F0502020204030204" pitchFamily="34" charset="0"/>
                <a:cs typeface="Calibri" panose="020F0502020204030204" pitchFamily="34" charset="0"/>
              </a:rPr>
              <a:t>eran</a:t>
            </a:r>
            <a:r>
              <a:rPr lang="en-US" sz="1800" dirty="0">
                <a:solidFill>
                  <a:srgbClr val="FF0000"/>
                </a:solidFill>
                <a:latin typeface="Calibri" panose="020F0502020204030204" pitchFamily="34" charset="0"/>
                <a:cs typeface="Calibri" panose="020F0502020204030204" pitchFamily="34" charset="0"/>
              </a:rPr>
              <a:t> </a:t>
            </a:r>
            <a:r>
              <a:rPr lang="en-US" sz="1800" dirty="0" err="1">
                <a:solidFill>
                  <a:srgbClr val="FF0000"/>
                </a:solidFill>
                <a:latin typeface="Calibri" panose="020F0502020204030204" pitchFamily="34" charset="0"/>
                <a:cs typeface="Calibri" panose="020F0502020204030204" pitchFamily="34" charset="0"/>
              </a:rPr>
              <a:t>seropositivos</a:t>
            </a:r>
            <a:r>
              <a:rPr lang="en-US" sz="1800" dirty="0">
                <a:solidFill>
                  <a:srgbClr val="FF0000"/>
                </a:solidFill>
                <a:latin typeface="Calibri" panose="020F0502020204030204" pitchFamily="34" charset="0"/>
                <a:cs typeface="Calibri" panose="020F0502020204030204" pitchFamily="34" charset="0"/>
              </a:rPr>
              <a:t> para los </a:t>
            </a:r>
            <a:r>
              <a:rPr lang="en-US" sz="1800" dirty="0" err="1">
                <a:solidFill>
                  <a:srgbClr val="FF0000"/>
                </a:solidFill>
                <a:latin typeface="Calibri" panose="020F0502020204030204" pitchFamily="34" charset="0"/>
                <a:cs typeface="Calibri" panose="020F0502020204030204" pitchFamily="34" charset="0"/>
              </a:rPr>
              <a:t>cuatro</a:t>
            </a:r>
            <a:r>
              <a:rPr lang="en-US" sz="1800" dirty="0">
                <a:solidFill>
                  <a:srgbClr val="FF0000"/>
                </a:solidFill>
                <a:latin typeface="Calibri" panose="020F0502020204030204" pitchFamily="34" charset="0"/>
                <a:cs typeface="Calibri" panose="020F0502020204030204" pitchFamily="34" charset="0"/>
              </a:rPr>
              <a:t> </a:t>
            </a:r>
            <a:r>
              <a:rPr lang="en-US" sz="1800" dirty="0" err="1">
                <a:solidFill>
                  <a:srgbClr val="FF0000"/>
                </a:solidFill>
                <a:latin typeface="Calibri" panose="020F0502020204030204" pitchFamily="34" charset="0"/>
                <a:cs typeface="Calibri" panose="020F0502020204030204" pitchFamily="34" charset="0"/>
              </a:rPr>
              <a:t>serotipos</a:t>
            </a:r>
            <a:r>
              <a:rPr lang="en-US" sz="1800" dirty="0">
                <a:solidFill>
                  <a:srgbClr val="FF0000"/>
                </a:solidFill>
                <a:latin typeface="Calibri" panose="020F0502020204030204" pitchFamily="34" charset="0"/>
                <a:cs typeface="Calibri" panose="020F0502020204030204" pitchFamily="34" charset="0"/>
              </a:rPr>
              <a:t>, </a:t>
            </a:r>
            <a:r>
              <a:rPr lang="en-US" sz="1800" dirty="0" err="1">
                <a:solidFill>
                  <a:srgbClr val="FF0000"/>
                </a:solidFill>
                <a:latin typeface="Calibri" panose="020F0502020204030204" pitchFamily="34" charset="0"/>
                <a:cs typeface="Calibri" panose="020F0502020204030204" pitchFamily="34" charset="0"/>
              </a:rPr>
              <a:t>luego</a:t>
            </a:r>
            <a:r>
              <a:rPr lang="en-US" sz="1800" dirty="0">
                <a:solidFill>
                  <a:srgbClr val="FF0000"/>
                </a:solidFill>
                <a:latin typeface="Calibri" panose="020F0502020204030204" pitchFamily="34" charset="0"/>
                <a:cs typeface="Calibri" panose="020F0502020204030204" pitchFamily="34" charset="0"/>
              </a:rPr>
              <a:t> de dos </a:t>
            </a:r>
            <a:r>
              <a:rPr lang="en-US" sz="1800" dirty="0" err="1">
                <a:solidFill>
                  <a:srgbClr val="FF0000"/>
                </a:solidFill>
                <a:latin typeface="Calibri" panose="020F0502020204030204" pitchFamily="34" charset="0"/>
                <a:cs typeface="Calibri" panose="020F0502020204030204" pitchFamily="34" charset="0"/>
              </a:rPr>
              <a:t>dosis</a:t>
            </a:r>
            <a:r>
              <a:rPr lang="en-US" sz="1800" dirty="0">
                <a:solidFill>
                  <a:srgbClr val="FF0000"/>
                </a:solidFill>
                <a:latin typeface="Calibri" panose="020F0502020204030204" pitchFamily="34" charset="0"/>
                <a:cs typeface="Calibri" panose="020F0502020204030204" pitchFamily="34" charset="0"/>
              </a:rPr>
              <a:t>, </a:t>
            </a:r>
            <a:r>
              <a:rPr lang="en-US" sz="1800" dirty="0" err="1">
                <a:solidFill>
                  <a:srgbClr val="FF0000"/>
                </a:solidFill>
                <a:latin typeface="Calibri" panose="020F0502020204030204" pitchFamily="34" charset="0"/>
                <a:cs typeface="Calibri" panose="020F0502020204030204" pitchFamily="34" charset="0"/>
              </a:rPr>
              <a:t>comparado</a:t>
            </a:r>
            <a:r>
              <a:rPr lang="en-US" sz="1800" dirty="0">
                <a:solidFill>
                  <a:srgbClr val="FF0000"/>
                </a:solidFill>
                <a:latin typeface="Calibri" panose="020F0502020204030204" pitchFamily="34" charset="0"/>
                <a:cs typeface="Calibri" panose="020F0502020204030204" pitchFamily="34" charset="0"/>
              </a:rPr>
              <a:t> con el 68% </a:t>
            </a:r>
            <a:r>
              <a:rPr lang="en-US" sz="1800" dirty="0" err="1">
                <a:solidFill>
                  <a:srgbClr val="FF0000"/>
                </a:solidFill>
                <a:latin typeface="Calibri" panose="020F0502020204030204" pitchFamily="34" charset="0"/>
                <a:cs typeface="Calibri" panose="020F0502020204030204" pitchFamily="34" charset="0"/>
              </a:rPr>
              <a:t>que</a:t>
            </a:r>
            <a:r>
              <a:rPr lang="en-US" sz="1800" dirty="0">
                <a:solidFill>
                  <a:srgbClr val="FF0000"/>
                </a:solidFill>
                <a:latin typeface="Calibri" panose="020F0502020204030204" pitchFamily="34" charset="0"/>
                <a:cs typeface="Calibri" panose="020F0502020204030204" pitchFamily="34" charset="0"/>
              </a:rPr>
              <a:t> </a:t>
            </a:r>
            <a:r>
              <a:rPr lang="en-US" sz="1800" dirty="0" err="1">
                <a:solidFill>
                  <a:srgbClr val="FF0000"/>
                </a:solidFill>
                <a:latin typeface="Calibri" panose="020F0502020204030204" pitchFamily="34" charset="0"/>
                <a:cs typeface="Calibri" panose="020F0502020204030204" pitchFamily="34" charset="0"/>
              </a:rPr>
              <a:t>recibio</a:t>
            </a:r>
            <a:r>
              <a:rPr lang="en-US" sz="1800" dirty="0">
                <a:solidFill>
                  <a:srgbClr val="FF0000"/>
                </a:solidFill>
                <a:latin typeface="Calibri" panose="020F0502020204030204" pitchFamily="34" charset="0"/>
                <a:cs typeface="Calibri" panose="020F0502020204030204" pitchFamily="34" charset="0"/>
              </a:rPr>
              <a:t> </a:t>
            </a:r>
            <a:r>
              <a:rPr lang="en-US" sz="1800" dirty="0" err="1">
                <a:solidFill>
                  <a:srgbClr val="FF0000"/>
                </a:solidFill>
                <a:latin typeface="Calibri" panose="020F0502020204030204" pitchFamily="34" charset="0"/>
                <a:cs typeface="Calibri" panose="020F0502020204030204" pitchFamily="34" charset="0"/>
              </a:rPr>
              <a:t>una</a:t>
            </a:r>
            <a:r>
              <a:rPr lang="en-US" sz="1800" dirty="0">
                <a:solidFill>
                  <a:srgbClr val="FF0000"/>
                </a:solidFill>
                <a:latin typeface="Calibri" panose="020F0502020204030204" pitchFamily="34" charset="0"/>
                <a:cs typeface="Calibri" panose="020F0502020204030204" pitchFamily="34" charset="0"/>
              </a:rPr>
              <a:t> </a:t>
            </a:r>
            <a:r>
              <a:rPr lang="en-US" sz="1800" dirty="0" err="1" smtClean="0">
                <a:solidFill>
                  <a:srgbClr val="FF0000"/>
                </a:solidFill>
                <a:latin typeface="Calibri" panose="020F0502020204030204" pitchFamily="34" charset="0"/>
                <a:cs typeface="Calibri" panose="020F0502020204030204" pitchFamily="34" charset="0"/>
              </a:rPr>
              <a:t>dosis</a:t>
            </a:r>
            <a:r>
              <a:rPr lang="en-US" sz="1800" dirty="0" smtClean="0">
                <a:solidFill>
                  <a:srgbClr val="FF0000"/>
                </a:solidFill>
                <a:latin typeface="Calibri" panose="020F0502020204030204" pitchFamily="34" charset="0"/>
                <a:cs typeface="Calibri" panose="020F0502020204030204" pitchFamily="34" charset="0"/>
              </a:rPr>
              <a:t>.</a:t>
            </a:r>
            <a:endParaRPr lang="en-US" sz="1800" dirty="0">
              <a:solidFill>
                <a:srgbClr val="FF0000"/>
              </a:solidFill>
              <a:latin typeface="Calibri" panose="020F0502020204030204" pitchFamily="34" charset="0"/>
              <a:cs typeface="Calibri" panose="020F0502020204030204" pitchFamily="34" charset="0"/>
            </a:endParaRPr>
          </a:p>
          <a:p>
            <a:pPr marL="109545" indent="0">
              <a:buNone/>
            </a:pPr>
            <a:endParaRPr lang="en-US" sz="1800" dirty="0">
              <a:solidFill>
                <a:srgbClr val="FF0000"/>
              </a:solidFill>
              <a:latin typeface="Calibri" panose="020F0502020204030204" pitchFamily="34" charset="0"/>
              <a:cs typeface="Calibri" panose="020F0502020204030204" pitchFamily="34" charset="0"/>
            </a:endParaRPr>
          </a:p>
          <a:p>
            <a:r>
              <a:rPr lang="en-US" sz="1800" dirty="0">
                <a:latin typeface="Calibri" panose="020F0502020204030204" pitchFamily="34" charset="0"/>
                <a:cs typeface="Calibri" panose="020F0502020204030204" pitchFamily="34" charset="0"/>
              </a:rPr>
              <a:t>Los Ac se </a:t>
            </a:r>
            <a:r>
              <a:rPr lang="en-US" sz="1800" dirty="0" err="1">
                <a:latin typeface="Calibri" panose="020F0502020204030204" pitchFamily="34" charset="0"/>
                <a:cs typeface="Calibri" panose="020F0502020204030204" pitchFamily="34" charset="0"/>
              </a:rPr>
              <a:t>elevan</a:t>
            </a:r>
            <a:r>
              <a:rPr lang="en-US" sz="1800" dirty="0">
                <a:latin typeface="Calibri" panose="020F0502020204030204" pitchFamily="34" charset="0"/>
                <a:cs typeface="Calibri" panose="020F0502020204030204" pitchFamily="34" charset="0"/>
              </a:rPr>
              <a:t> un </a:t>
            </a:r>
            <a:r>
              <a:rPr lang="en-US" sz="1800" dirty="0" err="1">
                <a:latin typeface="Calibri" panose="020F0502020204030204" pitchFamily="34" charset="0"/>
                <a:cs typeface="Calibri" panose="020F0502020204030204" pitchFamily="34" charset="0"/>
              </a:rPr>
              <a:t>mes</a:t>
            </a:r>
            <a:r>
              <a:rPr lang="en-US" sz="1800" dirty="0">
                <a:latin typeface="Calibri" panose="020F0502020204030204" pitchFamily="34" charset="0"/>
                <a:cs typeface="Calibri" panose="020F0502020204030204" pitchFamily="34" charset="0"/>
              </a:rPr>
              <a:t> </a:t>
            </a:r>
            <a:r>
              <a:rPr lang="en-US" sz="1800" dirty="0" err="1">
                <a:latin typeface="Calibri" panose="020F0502020204030204" pitchFamily="34" charset="0"/>
                <a:cs typeface="Calibri" panose="020F0502020204030204" pitchFamily="34" charset="0"/>
              </a:rPr>
              <a:t>después</a:t>
            </a:r>
            <a:r>
              <a:rPr lang="en-US" sz="1800" dirty="0">
                <a:latin typeface="Calibri" panose="020F0502020204030204" pitchFamily="34" charset="0"/>
                <a:cs typeface="Calibri" panose="020F0502020204030204" pitchFamily="34" charset="0"/>
              </a:rPr>
              <a:t> de la </a:t>
            </a:r>
            <a:r>
              <a:rPr lang="en-US" sz="1800" dirty="0" err="1">
                <a:latin typeface="Calibri" panose="020F0502020204030204" pitchFamily="34" charset="0"/>
                <a:cs typeface="Calibri" panose="020F0502020204030204" pitchFamily="34" charset="0"/>
              </a:rPr>
              <a:t>primera</a:t>
            </a:r>
            <a:r>
              <a:rPr lang="en-US" sz="1800" dirty="0">
                <a:latin typeface="Calibri" panose="020F0502020204030204" pitchFamily="34" charset="0"/>
                <a:cs typeface="Calibri" panose="020F0502020204030204" pitchFamily="34" charset="0"/>
              </a:rPr>
              <a:t> </a:t>
            </a:r>
            <a:r>
              <a:rPr lang="en-US" sz="1800" dirty="0" err="1">
                <a:latin typeface="Calibri" panose="020F0502020204030204" pitchFamily="34" charset="0"/>
                <a:cs typeface="Calibri" panose="020F0502020204030204" pitchFamily="34" charset="0"/>
              </a:rPr>
              <a:t>dosis</a:t>
            </a:r>
            <a:r>
              <a:rPr lang="en-US" sz="1800" dirty="0">
                <a:latin typeface="Calibri" panose="020F0502020204030204" pitchFamily="34" charset="0"/>
                <a:cs typeface="Calibri" panose="020F0502020204030204" pitchFamily="34" charset="0"/>
              </a:rPr>
              <a:t> y </a:t>
            </a:r>
            <a:r>
              <a:rPr lang="en-US" sz="1800" dirty="0" err="1">
                <a:latin typeface="Calibri" panose="020F0502020204030204" pitchFamily="34" charset="0"/>
                <a:cs typeface="Calibri" panose="020F0502020204030204" pitchFamily="34" charset="0"/>
              </a:rPr>
              <a:t>permanecen</a:t>
            </a:r>
            <a:r>
              <a:rPr lang="en-US" sz="1800" dirty="0">
                <a:latin typeface="Calibri" panose="020F0502020204030204" pitchFamily="34" charset="0"/>
                <a:cs typeface="Calibri" panose="020F0502020204030204" pitchFamily="34" charset="0"/>
              </a:rPr>
              <a:t> </a:t>
            </a:r>
            <a:r>
              <a:rPr lang="en-US" sz="1800" dirty="0" err="1">
                <a:latin typeface="Calibri" panose="020F0502020204030204" pitchFamily="34" charset="0"/>
                <a:cs typeface="Calibri" panose="020F0502020204030204" pitchFamily="34" charset="0"/>
              </a:rPr>
              <a:t>elevados</a:t>
            </a:r>
            <a:r>
              <a:rPr lang="en-US" sz="1800" dirty="0">
                <a:latin typeface="Calibri" panose="020F0502020204030204" pitchFamily="34" charset="0"/>
                <a:cs typeface="Calibri" panose="020F0502020204030204" pitchFamily="34" charset="0"/>
              </a:rPr>
              <a:t> </a:t>
            </a:r>
            <a:r>
              <a:rPr lang="en-US" sz="1800" dirty="0" err="1">
                <a:latin typeface="Calibri" panose="020F0502020204030204" pitchFamily="34" charset="0"/>
                <a:cs typeface="Calibri" panose="020F0502020204030204" pitchFamily="34" charset="0"/>
              </a:rPr>
              <a:t>por</a:t>
            </a:r>
            <a:r>
              <a:rPr lang="en-US" sz="1800" dirty="0">
                <a:latin typeface="Calibri" panose="020F0502020204030204" pitchFamily="34" charset="0"/>
                <a:cs typeface="Calibri" panose="020F0502020204030204" pitchFamily="34" charset="0"/>
              </a:rPr>
              <a:t> lo </a:t>
            </a:r>
            <a:r>
              <a:rPr lang="en-US" sz="1800" dirty="0" err="1">
                <a:latin typeface="Calibri" panose="020F0502020204030204" pitchFamily="34" charset="0"/>
                <a:cs typeface="Calibri" panose="020F0502020204030204" pitchFamily="34" charset="0"/>
              </a:rPr>
              <a:t>menos</a:t>
            </a:r>
            <a:r>
              <a:rPr lang="en-US" sz="1800" dirty="0">
                <a:latin typeface="Calibri" panose="020F0502020204030204" pitchFamily="34" charset="0"/>
                <a:cs typeface="Calibri" panose="020F0502020204030204" pitchFamily="34" charset="0"/>
              </a:rPr>
              <a:t> 6 </a:t>
            </a:r>
            <a:r>
              <a:rPr lang="en-US" sz="1800" dirty="0" err="1">
                <a:latin typeface="Calibri" panose="020F0502020204030204" pitchFamily="34" charset="0"/>
                <a:cs typeface="Calibri" panose="020F0502020204030204" pitchFamily="34" charset="0"/>
              </a:rPr>
              <a:t>meses</a:t>
            </a:r>
            <a:r>
              <a:rPr lang="en-US" sz="1800" dirty="0">
                <a:latin typeface="Calibri" panose="020F0502020204030204" pitchFamily="34" charset="0"/>
                <a:cs typeface="Calibri" panose="020F0502020204030204" pitchFamily="34" charset="0"/>
              </a:rPr>
              <a:t> y </a:t>
            </a:r>
            <a:r>
              <a:rPr lang="en-US" sz="1800" dirty="0" err="1">
                <a:latin typeface="Calibri" panose="020F0502020204030204" pitchFamily="34" charset="0"/>
                <a:cs typeface="Calibri" panose="020F0502020204030204" pitchFamily="34" charset="0"/>
              </a:rPr>
              <a:t>podría</a:t>
            </a:r>
            <a:r>
              <a:rPr lang="en-US" sz="1800" dirty="0">
                <a:latin typeface="Calibri" panose="020F0502020204030204" pitchFamily="34" charset="0"/>
                <a:cs typeface="Calibri" panose="020F0502020204030204" pitchFamily="34" charset="0"/>
              </a:rPr>
              <a:t> </a:t>
            </a:r>
            <a:r>
              <a:rPr lang="en-US" sz="1800" dirty="0" err="1">
                <a:latin typeface="Calibri" panose="020F0502020204030204" pitchFamily="34" charset="0"/>
                <a:cs typeface="Calibri" panose="020F0502020204030204" pitchFamily="34" charset="0"/>
              </a:rPr>
              <a:t>ser</a:t>
            </a:r>
            <a:r>
              <a:rPr lang="en-US" sz="1800" dirty="0">
                <a:latin typeface="Calibri" panose="020F0502020204030204" pitchFamily="34" charset="0"/>
                <a:cs typeface="Calibri" panose="020F0502020204030204" pitchFamily="34" charset="0"/>
              </a:rPr>
              <a:t> mas </a:t>
            </a:r>
            <a:r>
              <a:rPr lang="en-US" sz="1800" dirty="0" err="1">
                <a:latin typeface="Calibri" panose="020F0502020204030204" pitchFamily="34" charset="0"/>
                <a:cs typeface="Calibri" panose="020F0502020204030204" pitchFamily="34" charset="0"/>
              </a:rPr>
              <a:t>aun</a:t>
            </a:r>
            <a:r>
              <a:rPr lang="en-US" sz="1800" dirty="0">
                <a:latin typeface="Calibri" panose="020F0502020204030204" pitchFamily="34" charset="0"/>
                <a:cs typeface="Calibri" panose="020F0502020204030204" pitchFamily="34" charset="0"/>
              </a:rPr>
              <a:t> (en </a:t>
            </a:r>
            <a:r>
              <a:rPr lang="en-US" sz="1800" dirty="0" err="1">
                <a:latin typeface="Calibri" panose="020F0502020204030204" pitchFamily="34" charset="0"/>
                <a:cs typeface="Calibri" panose="020F0502020204030204" pitchFamily="34" charset="0"/>
              </a:rPr>
              <a:t>seguimiento</a:t>
            </a:r>
            <a:r>
              <a:rPr lang="en-US" sz="1800" dirty="0">
                <a:latin typeface="Calibri" panose="020F0502020204030204" pitchFamily="34" charset="0"/>
                <a:cs typeface="Calibri" panose="020F0502020204030204" pitchFamily="34" charset="0"/>
              </a:rPr>
              <a:t>) </a:t>
            </a:r>
            <a:r>
              <a:rPr lang="en-US" sz="1800" dirty="0" err="1">
                <a:latin typeface="Calibri" panose="020F0502020204030204" pitchFamily="34" charset="0"/>
                <a:cs typeface="Calibri" panose="020F0502020204030204" pitchFamily="34" charset="0"/>
              </a:rPr>
              <a:t>incluyendo</a:t>
            </a:r>
            <a:r>
              <a:rPr lang="en-US" sz="1800" dirty="0">
                <a:latin typeface="Calibri" panose="020F0502020204030204" pitchFamily="34" charset="0"/>
                <a:cs typeface="Calibri" panose="020F0502020204030204" pitchFamily="34" charset="0"/>
              </a:rPr>
              <a:t> los </a:t>
            </a:r>
            <a:r>
              <a:rPr lang="en-US" sz="1800" dirty="0" err="1">
                <a:latin typeface="Calibri" panose="020F0502020204030204" pitchFamily="34" charset="0"/>
                <a:cs typeface="Calibri" panose="020F0502020204030204" pitchFamily="34" charset="0"/>
              </a:rPr>
              <a:t>seronegativos</a:t>
            </a:r>
            <a:r>
              <a:rPr lang="en-US" sz="1800" dirty="0">
                <a:latin typeface="Calibri" panose="020F0502020204030204" pitchFamily="34" charset="0"/>
                <a:cs typeface="Calibri" panose="020F0502020204030204" pitchFamily="34" charset="0"/>
              </a:rPr>
              <a:t> al </a:t>
            </a:r>
            <a:r>
              <a:rPr lang="en-US" sz="1800" dirty="0" err="1">
                <a:latin typeface="Calibri" panose="020F0502020204030204" pitchFamily="34" charset="0"/>
                <a:cs typeface="Calibri" panose="020F0502020204030204" pitchFamily="34" charset="0"/>
              </a:rPr>
              <a:t>momento</a:t>
            </a:r>
            <a:r>
              <a:rPr lang="en-US" sz="1800" dirty="0">
                <a:latin typeface="Calibri" panose="020F0502020204030204" pitchFamily="34" charset="0"/>
                <a:cs typeface="Calibri" panose="020F0502020204030204" pitchFamily="34" charset="0"/>
              </a:rPr>
              <a:t> de la </a:t>
            </a:r>
            <a:r>
              <a:rPr lang="en-US" sz="1800" dirty="0" err="1">
                <a:latin typeface="Calibri" panose="020F0502020204030204" pitchFamily="34" charset="0"/>
                <a:cs typeface="Calibri" panose="020F0502020204030204" pitchFamily="34" charset="0"/>
              </a:rPr>
              <a:t>vacunación</a:t>
            </a:r>
            <a:r>
              <a:rPr lang="en-US" sz="1800" dirty="0">
                <a:latin typeface="Calibri" panose="020F0502020204030204" pitchFamily="34" charset="0"/>
                <a:cs typeface="Calibri" panose="020F0502020204030204" pitchFamily="34" charset="0"/>
              </a:rPr>
              <a:t>. </a:t>
            </a:r>
          </a:p>
          <a:p>
            <a:endParaRPr lang="en-US" sz="1800" dirty="0">
              <a:latin typeface="Calibri" panose="020F0502020204030204" pitchFamily="34" charset="0"/>
              <a:cs typeface="Calibri" panose="020F0502020204030204" pitchFamily="34" charset="0"/>
            </a:endParaRPr>
          </a:p>
          <a:p>
            <a:r>
              <a:rPr lang="en-US" sz="1800" dirty="0" err="1">
                <a:latin typeface="Calibri" panose="020F0502020204030204" pitchFamily="34" charset="0"/>
                <a:cs typeface="Calibri" panose="020F0502020204030204" pitchFamily="34" charset="0"/>
              </a:rPr>
              <a:t>Una</a:t>
            </a:r>
            <a:r>
              <a:rPr lang="en-US" sz="1800" dirty="0">
                <a:latin typeface="Calibri" panose="020F0502020204030204" pitchFamily="34" charset="0"/>
                <a:cs typeface="Calibri" panose="020F0502020204030204" pitchFamily="34" charset="0"/>
              </a:rPr>
              <a:t> </a:t>
            </a:r>
            <a:r>
              <a:rPr lang="en-US" sz="1800" dirty="0" err="1">
                <a:latin typeface="Calibri" panose="020F0502020204030204" pitchFamily="34" charset="0"/>
                <a:cs typeface="Calibri" panose="020F0502020204030204" pitchFamily="34" charset="0"/>
              </a:rPr>
              <a:t>segunda</a:t>
            </a:r>
            <a:r>
              <a:rPr lang="en-US" sz="1800" dirty="0">
                <a:latin typeface="Calibri" panose="020F0502020204030204" pitchFamily="34" charset="0"/>
                <a:cs typeface="Calibri" panose="020F0502020204030204" pitchFamily="34" charset="0"/>
              </a:rPr>
              <a:t> </a:t>
            </a:r>
            <a:r>
              <a:rPr lang="en-US" sz="1800" dirty="0" err="1">
                <a:latin typeface="Calibri" panose="020F0502020204030204" pitchFamily="34" charset="0"/>
                <a:cs typeface="Calibri" panose="020F0502020204030204" pitchFamily="34" charset="0"/>
              </a:rPr>
              <a:t>dosis</a:t>
            </a:r>
            <a:r>
              <a:rPr lang="en-US" sz="1800" dirty="0">
                <a:latin typeface="Calibri" panose="020F0502020204030204" pitchFamily="34" charset="0"/>
                <a:cs typeface="Calibri" panose="020F0502020204030204" pitchFamily="34" charset="0"/>
              </a:rPr>
              <a:t> de TDV induce un </a:t>
            </a:r>
            <a:r>
              <a:rPr lang="en-US" sz="1800" dirty="0" err="1">
                <a:latin typeface="Calibri" panose="020F0502020204030204" pitchFamily="34" charset="0"/>
                <a:cs typeface="Calibri" panose="020F0502020204030204" pitchFamily="34" charset="0"/>
              </a:rPr>
              <a:t>aumento</a:t>
            </a:r>
            <a:r>
              <a:rPr lang="en-US" sz="1800" dirty="0">
                <a:latin typeface="Calibri" panose="020F0502020204030204" pitchFamily="34" charset="0"/>
                <a:cs typeface="Calibri" panose="020F0502020204030204" pitchFamily="34" charset="0"/>
              </a:rPr>
              <a:t> de Ac contra DENV-3 y DENV-4 en </a:t>
            </a:r>
            <a:r>
              <a:rPr lang="en-US" sz="1800" dirty="0" err="1">
                <a:latin typeface="Calibri" panose="020F0502020204030204" pitchFamily="34" charset="0"/>
                <a:cs typeface="Calibri" panose="020F0502020204030204" pitchFamily="34" charset="0"/>
              </a:rPr>
              <a:t>niños</a:t>
            </a:r>
            <a:r>
              <a:rPr lang="en-US" sz="1800" dirty="0">
                <a:latin typeface="Calibri" panose="020F0502020204030204" pitchFamily="34" charset="0"/>
                <a:cs typeface="Calibri" panose="020F0502020204030204" pitchFamily="34" charset="0"/>
              </a:rPr>
              <a:t> </a:t>
            </a:r>
            <a:r>
              <a:rPr lang="en-US" sz="1800" dirty="0" err="1">
                <a:latin typeface="Calibri" panose="020F0502020204030204" pitchFamily="34" charset="0"/>
                <a:cs typeface="Calibri" panose="020F0502020204030204" pitchFamily="34" charset="0"/>
              </a:rPr>
              <a:t>que</a:t>
            </a:r>
            <a:r>
              <a:rPr lang="en-US" sz="1800" dirty="0">
                <a:latin typeface="Calibri" panose="020F0502020204030204" pitchFamily="34" charset="0"/>
                <a:cs typeface="Calibri" panose="020F0502020204030204" pitchFamily="34" charset="0"/>
              </a:rPr>
              <a:t> </a:t>
            </a:r>
            <a:r>
              <a:rPr lang="en-US" sz="1800" dirty="0" err="1">
                <a:latin typeface="Calibri" panose="020F0502020204030204" pitchFamily="34" charset="0"/>
                <a:cs typeface="Calibri" panose="020F0502020204030204" pitchFamily="34" charset="0"/>
              </a:rPr>
              <a:t>eran</a:t>
            </a:r>
            <a:r>
              <a:rPr lang="en-US" sz="1800" dirty="0">
                <a:latin typeface="Calibri" panose="020F0502020204030204" pitchFamily="34" charset="0"/>
                <a:cs typeface="Calibri" panose="020F0502020204030204" pitchFamily="34" charset="0"/>
              </a:rPr>
              <a:t> </a:t>
            </a:r>
            <a:r>
              <a:rPr lang="en-US" sz="1800" dirty="0" err="1">
                <a:latin typeface="Calibri" panose="020F0502020204030204" pitchFamily="34" charset="0"/>
                <a:cs typeface="Calibri" panose="020F0502020204030204" pitchFamily="34" charset="0"/>
              </a:rPr>
              <a:t>seronegativos</a:t>
            </a:r>
            <a:r>
              <a:rPr lang="en-US" sz="1800" dirty="0">
                <a:latin typeface="Calibri" panose="020F0502020204030204" pitchFamily="34" charset="0"/>
                <a:cs typeface="Calibri" panose="020F0502020204030204" pitchFamily="34" charset="0"/>
              </a:rPr>
              <a:t> en el </a:t>
            </a:r>
            <a:r>
              <a:rPr lang="en-US" sz="1800" dirty="0" err="1">
                <a:latin typeface="Calibri" panose="020F0502020204030204" pitchFamily="34" charset="0"/>
                <a:cs typeface="Calibri" panose="020F0502020204030204" pitchFamily="34" charset="0"/>
              </a:rPr>
              <a:t>momento</a:t>
            </a:r>
            <a:r>
              <a:rPr lang="en-US" sz="1800" dirty="0">
                <a:latin typeface="Calibri" panose="020F0502020204030204" pitchFamily="34" charset="0"/>
                <a:cs typeface="Calibri" panose="020F0502020204030204" pitchFamily="34" charset="0"/>
              </a:rPr>
              <a:t> de la </a:t>
            </a:r>
            <a:r>
              <a:rPr lang="en-US" sz="1800" dirty="0" err="1">
                <a:latin typeface="Calibri" panose="020F0502020204030204" pitchFamily="34" charset="0"/>
                <a:cs typeface="Calibri" panose="020F0502020204030204" pitchFamily="34" charset="0"/>
              </a:rPr>
              <a:t>vacunación</a:t>
            </a:r>
            <a:r>
              <a:rPr lang="en-US" sz="1800" dirty="0">
                <a:latin typeface="Calibri" panose="020F0502020204030204" pitchFamily="34" charset="0"/>
                <a:cs typeface="Calibri" panose="020F0502020204030204" pitchFamily="34" charset="0"/>
              </a:rPr>
              <a:t>, </a:t>
            </a:r>
            <a:r>
              <a:rPr lang="en-US" sz="1800" dirty="0" err="1">
                <a:latin typeface="Calibri" panose="020F0502020204030204" pitchFamily="34" charset="0"/>
                <a:cs typeface="Calibri" panose="020F0502020204030204" pitchFamily="34" charset="0"/>
              </a:rPr>
              <a:t>induciendo</a:t>
            </a:r>
            <a:r>
              <a:rPr lang="en-US" sz="1800" dirty="0">
                <a:latin typeface="Calibri" panose="020F0502020204030204" pitchFamily="34" charset="0"/>
                <a:cs typeface="Calibri" panose="020F0502020204030204" pitchFamily="34" charset="0"/>
              </a:rPr>
              <a:t> </a:t>
            </a:r>
            <a:r>
              <a:rPr lang="en-US" sz="1800" dirty="0" err="1">
                <a:latin typeface="Calibri" panose="020F0502020204030204" pitchFamily="34" charset="0"/>
                <a:cs typeface="Calibri" panose="020F0502020204030204" pitchFamily="34" charset="0"/>
              </a:rPr>
              <a:t>mejor</a:t>
            </a:r>
            <a:r>
              <a:rPr lang="en-US" sz="1800" dirty="0">
                <a:latin typeface="Calibri" panose="020F0502020204030204" pitchFamily="34" charset="0"/>
                <a:cs typeface="Calibri" panose="020F0502020204030204" pitchFamily="34" charset="0"/>
              </a:rPr>
              <a:t> </a:t>
            </a:r>
            <a:r>
              <a:rPr lang="en-US" sz="1800" dirty="0" err="1" smtClean="0">
                <a:latin typeface="Calibri" panose="020F0502020204030204" pitchFamily="34" charset="0"/>
                <a:cs typeface="Calibri" panose="020F0502020204030204" pitchFamily="34" charset="0"/>
              </a:rPr>
              <a:t>respuesta</a:t>
            </a:r>
            <a:r>
              <a:rPr lang="en-US" sz="1800" dirty="0" smtClean="0">
                <a:latin typeface="Calibri" panose="020F0502020204030204" pitchFamily="34" charset="0"/>
                <a:cs typeface="Calibri" panose="020F0502020204030204" pitchFamily="34" charset="0"/>
              </a:rPr>
              <a:t> </a:t>
            </a:r>
            <a:r>
              <a:rPr lang="en-US" sz="1800" dirty="0" err="1">
                <a:latin typeface="Calibri" panose="020F0502020204030204" pitchFamily="34" charset="0"/>
                <a:cs typeface="Calibri" panose="020F0502020204030204" pitchFamily="34" charset="0"/>
              </a:rPr>
              <a:t>humoral</a:t>
            </a:r>
            <a:r>
              <a:rPr lang="en-US" sz="1800" dirty="0">
                <a:latin typeface="Calibri" panose="020F0502020204030204" pitchFamily="34" charset="0"/>
                <a:cs typeface="Calibri" panose="020F0502020204030204" pitchFamily="34" charset="0"/>
              </a:rPr>
              <a:t> y </a:t>
            </a:r>
            <a:r>
              <a:rPr lang="en-US" sz="1800" dirty="0" err="1">
                <a:latin typeface="Calibri" panose="020F0502020204030204" pitchFamily="34" charset="0"/>
                <a:cs typeface="Calibri" panose="020F0502020204030204" pitchFamily="34" charset="0"/>
              </a:rPr>
              <a:t>celular</a:t>
            </a:r>
            <a:r>
              <a:rPr lang="en-US" sz="1800" dirty="0">
                <a:latin typeface="Calibri" panose="020F0502020204030204" pitchFamily="34" charset="0"/>
                <a:cs typeface="Calibri" panose="020F0502020204030204" pitchFamily="34" charset="0"/>
              </a:rPr>
              <a:t>.  </a:t>
            </a:r>
            <a:endParaRPr lang="es-AR" sz="1800" dirty="0">
              <a:latin typeface="Calibri" panose="020F0502020204030204" pitchFamily="34" charset="0"/>
              <a:cs typeface="Calibri" panose="020F0502020204030204" pitchFamily="34" charset="0"/>
            </a:endParaRPr>
          </a:p>
        </p:txBody>
      </p:sp>
      <p:pic>
        <p:nvPicPr>
          <p:cNvPr id="205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896714" y="76206"/>
            <a:ext cx="3440836" cy="9397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3 CuadroTexto"/>
          <p:cNvSpPr txBox="1"/>
          <p:nvPr/>
        </p:nvSpPr>
        <p:spPr>
          <a:xfrm>
            <a:off x="229756" y="158636"/>
            <a:ext cx="2771271" cy="523220"/>
          </a:xfrm>
          <a:prstGeom prst="rect">
            <a:avLst/>
          </a:prstGeom>
          <a:noFill/>
        </p:spPr>
        <p:txBody>
          <a:bodyPr wrap="none" rtlCol="0">
            <a:spAutoFit/>
          </a:bodyPr>
          <a:lstStyle/>
          <a:p>
            <a:pPr defTabSz="912690"/>
            <a:r>
              <a:rPr lang="es-AR" sz="2800" b="1" dirty="0" err="1" smtClean="0">
                <a:solidFill>
                  <a:prstClr val="black"/>
                </a:solidFill>
                <a:latin typeface="Calibri" panose="020F0502020204030204" pitchFamily="34" charset="0"/>
                <a:cs typeface="Calibri" panose="020F0502020204030204" pitchFamily="34" charset="0"/>
              </a:rPr>
              <a:t>Inmunogenicidad</a:t>
            </a:r>
            <a:endParaRPr lang="es-ES" sz="2800" b="1" dirty="0">
              <a:solidFill>
                <a:prstClr val="black"/>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11549303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286055" y="156152"/>
            <a:ext cx="8229600" cy="800100"/>
          </a:xfrm>
        </p:spPr>
        <p:txBody>
          <a:bodyPr>
            <a:normAutofit/>
          </a:bodyPr>
          <a:lstStyle/>
          <a:p>
            <a:r>
              <a:rPr lang="es-ES_tradnl" sz="3200" dirty="0"/>
              <a:t>TDV: Seguridad </a:t>
            </a:r>
            <a:endParaRPr lang="es-AR" sz="3200" dirty="0"/>
          </a:p>
        </p:txBody>
      </p:sp>
      <p:sp>
        <p:nvSpPr>
          <p:cNvPr id="3" name="2 Marcador de contenido"/>
          <p:cNvSpPr>
            <a:spLocks noGrp="1"/>
          </p:cNvSpPr>
          <p:nvPr>
            <p:ph idx="1"/>
          </p:nvPr>
        </p:nvSpPr>
        <p:spPr>
          <a:xfrm>
            <a:off x="286055" y="1401217"/>
            <a:ext cx="8604448" cy="3243834"/>
          </a:xfrm>
        </p:spPr>
        <p:txBody>
          <a:bodyPr>
            <a:noAutofit/>
          </a:bodyPr>
          <a:lstStyle/>
          <a:p>
            <a:r>
              <a:rPr lang="en-US" sz="1400" dirty="0"/>
              <a:t> </a:t>
            </a:r>
            <a:r>
              <a:rPr lang="en-US" dirty="0"/>
              <a:t>No </a:t>
            </a:r>
            <a:r>
              <a:rPr lang="es-ES" dirty="0"/>
              <a:t>hubo eventos adversos graves relacionados con TDV. Ambos regímenes TDV fueron bien tolerados en términos de reacciones locales  y eventos adversos sistémicos, sin diferencias importantes con el estado serológico basal observado</a:t>
            </a:r>
            <a:r>
              <a:rPr lang="es-ES" dirty="0" smtClean="0"/>
              <a:t>.</a:t>
            </a:r>
            <a:endParaRPr lang="es-ES" dirty="0"/>
          </a:p>
          <a:p>
            <a:r>
              <a:rPr lang="es-ES" dirty="0"/>
              <a:t>En niños menores de 6 años, la fiebre y la irritabilidad fueron los únicos eventos adversos sistémicos observados con mayor frecuencia</a:t>
            </a:r>
            <a:r>
              <a:rPr lang="es-ES" dirty="0" smtClean="0"/>
              <a:t>.</a:t>
            </a:r>
            <a:endParaRPr lang="es-ES" dirty="0"/>
          </a:p>
          <a:p>
            <a:r>
              <a:rPr lang="es-ES" dirty="0"/>
              <a:t>En los pacientes mayores de 6 años, solo las cefaleas y la mialgia se informaron con mayor frecuencia con TDV que con placebo</a:t>
            </a:r>
          </a:p>
          <a:p>
            <a:endParaRPr lang="es-AR" dirty="0">
              <a:latin typeface="Times New Roman" pitchFamily="18" charset="0"/>
              <a:cs typeface="Times New Roman" pitchFamily="18" charset="0"/>
            </a:endParaRPr>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46691" y="156152"/>
            <a:ext cx="3472132" cy="9491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59000873"/>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1 Título"/>
          <p:cNvSpPr>
            <a:spLocks noGrp="1"/>
          </p:cNvSpPr>
          <p:nvPr>
            <p:ph type="title"/>
          </p:nvPr>
        </p:nvSpPr>
        <p:spPr>
          <a:xfrm>
            <a:off x="350879" y="154113"/>
            <a:ext cx="8676456" cy="800100"/>
          </a:xfrm>
        </p:spPr>
        <p:txBody>
          <a:bodyPr>
            <a:normAutofit/>
          </a:bodyPr>
          <a:lstStyle/>
          <a:p>
            <a:r>
              <a:rPr lang="es-ES" sz="2800" b="1" dirty="0">
                <a:solidFill>
                  <a:schemeClr val="tx1"/>
                </a:solidFill>
                <a:latin typeface="Calibri" panose="020F0502020204030204" pitchFamily="34" charset="0"/>
                <a:cs typeface="Calibri" panose="020F0502020204030204" pitchFamily="34" charset="0"/>
              </a:rPr>
              <a:t>E</a:t>
            </a:r>
            <a:r>
              <a:rPr lang="es-ES" sz="2800" b="1" dirty="0" smtClean="0">
                <a:solidFill>
                  <a:schemeClr val="tx1"/>
                </a:solidFill>
                <a:latin typeface="Calibri" panose="020F0502020204030204" pitchFamily="34" charset="0"/>
                <a:cs typeface="Calibri" panose="020F0502020204030204" pitchFamily="34" charset="0"/>
              </a:rPr>
              <a:t>nsayo </a:t>
            </a:r>
            <a:r>
              <a:rPr lang="es-ES" sz="2800" b="1" dirty="0">
                <a:solidFill>
                  <a:schemeClr val="tx1"/>
                </a:solidFill>
                <a:latin typeface="Calibri" panose="020F0502020204030204" pitchFamily="34" charset="0"/>
                <a:cs typeface="Calibri" panose="020F0502020204030204" pitchFamily="34" charset="0"/>
              </a:rPr>
              <a:t>Fase 3 TIDES (DEN-301)</a:t>
            </a:r>
          </a:p>
        </p:txBody>
      </p:sp>
      <p:sp>
        <p:nvSpPr>
          <p:cNvPr id="3" name="2 Marcador de contenido"/>
          <p:cNvSpPr>
            <a:spLocks noGrp="1"/>
          </p:cNvSpPr>
          <p:nvPr>
            <p:ph idx="1"/>
          </p:nvPr>
        </p:nvSpPr>
        <p:spPr>
          <a:xfrm>
            <a:off x="101600" y="821486"/>
            <a:ext cx="8775700" cy="4083918"/>
          </a:xfrm>
        </p:spPr>
        <p:txBody>
          <a:bodyPr>
            <a:normAutofit fontScale="47500" lnSpcReduction="20000"/>
          </a:bodyPr>
          <a:lstStyle/>
          <a:p>
            <a:endParaRPr lang="es-ES" dirty="0"/>
          </a:p>
          <a:p>
            <a:r>
              <a:rPr lang="es-ES" sz="3400" dirty="0">
                <a:latin typeface="Arial" pitchFamily="34" charset="0"/>
                <a:cs typeface="Arial" pitchFamily="34" charset="0"/>
              </a:rPr>
              <a:t>El ensayo de Fase 3 TIDES, doble ciego, aleatorizado y controlado con placebo está evaluando la seguridad y la eficacia de dos dosis de TAK-003 en la prevención de la fiebre del dengue sintomático confirmada en laboratorio de cualquier gravedad y debido a cualquiera de los cuatro serotipos del virus del dengue en niños y adolescentes.</a:t>
            </a:r>
          </a:p>
          <a:p>
            <a:endParaRPr lang="es-ES" sz="3400" dirty="0">
              <a:latin typeface="Arial" pitchFamily="34" charset="0"/>
              <a:cs typeface="Arial" pitchFamily="34" charset="0"/>
            </a:endParaRPr>
          </a:p>
          <a:p>
            <a:r>
              <a:rPr lang="es-ES" sz="3400" dirty="0">
                <a:latin typeface="Arial" pitchFamily="34" charset="0"/>
                <a:cs typeface="Arial" pitchFamily="34" charset="0"/>
              </a:rPr>
              <a:t>Los participantes del estudio fueron asignados al azar para recibir TAK-003, 0.5 ml o placebo, mediante inyección subcutánea en el Día 1 y el Día 90. </a:t>
            </a:r>
            <a:endParaRPr lang="es-ES" sz="3400" dirty="0" smtClean="0">
              <a:latin typeface="Arial" pitchFamily="34" charset="0"/>
              <a:cs typeface="Arial" pitchFamily="34" charset="0"/>
            </a:endParaRPr>
          </a:p>
          <a:p>
            <a:endParaRPr lang="es-ES" sz="3400" dirty="0" smtClean="0">
              <a:latin typeface="Arial" pitchFamily="34" charset="0"/>
              <a:cs typeface="Arial" pitchFamily="34" charset="0"/>
            </a:endParaRPr>
          </a:p>
          <a:p>
            <a:r>
              <a:rPr lang="es-ES" sz="3400" dirty="0" smtClean="0">
                <a:latin typeface="Arial" pitchFamily="34" charset="0"/>
                <a:cs typeface="Arial" pitchFamily="34" charset="0"/>
              </a:rPr>
              <a:t>Participantes: </a:t>
            </a:r>
            <a:r>
              <a:rPr lang="es" sz="3400" b="1" dirty="0" smtClean="0">
                <a:latin typeface="Arial"/>
              </a:rPr>
              <a:t>4 </a:t>
            </a:r>
            <a:r>
              <a:rPr lang="es" sz="3400" b="1" dirty="0">
                <a:latin typeface="Arial"/>
              </a:rPr>
              <a:t>a 16 años que viven en América Latina y </a:t>
            </a:r>
            <a:r>
              <a:rPr lang="es" sz="3400" b="1" dirty="0" smtClean="0">
                <a:latin typeface="Arial"/>
              </a:rPr>
              <a:t>Asia.</a:t>
            </a:r>
            <a:endParaRPr lang="es-ES" sz="3400" b="1" dirty="0">
              <a:latin typeface="Arial" pitchFamily="34" charset="0"/>
              <a:cs typeface="Arial" pitchFamily="34" charset="0"/>
            </a:endParaRPr>
          </a:p>
          <a:p>
            <a:endParaRPr lang="es-ES" sz="3400" dirty="0">
              <a:latin typeface="Arial" pitchFamily="34" charset="0"/>
              <a:cs typeface="Arial" pitchFamily="34" charset="0"/>
            </a:endParaRPr>
          </a:p>
          <a:p>
            <a:r>
              <a:rPr lang="es-ES" sz="3400" dirty="0" smtClean="0">
                <a:latin typeface="Arial" pitchFamily="34" charset="0"/>
                <a:cs typeface="Arial" pitchFamily="34" charset="0"/>
              </a:rPr>
              <a:t>El </a:t>
            </a:r>
            <a:r>
              <a:rPr lang="es-ES" sz="3400" dirty="0">
                <a:latin typeface="Arial" pitchFamily="34" charset="0"/>
                <a:cs typeface="Arial" pitchFamily="34" charset="0"/>
              </a:rPr>
              <a:t>ensayo se lleva a cabo en sitios en áreas endémicas de dengue </a:t>
            </a:r>
            <a:r>
              <a:rPr lang="es-ES" sz="3400" dirty="0" smtClean="0">
                <a:latin typeface="Arial" pitchFamily="34" charset="0"/>
                <a:cs typeface="Arial" pitchFamily="34" charset="0"/>
              </a:rPr>
              <a:t>en Brasil</a:t>
            </a:r>
            <a:r>
              <a:rPr lang="es-ES" sz="3400" dirty="0">
                <a:latin typeface="Arial" pitchFamily="34" charset="0"/>
                <a:cs typeface="Arial" pitchFamily="34" charset="0"/>
              </a:rPr>
              <a:t>, Colombia, Panamá, República Dominicana y </a:t>
            </a:r>
            <a:r>
              <a:rPr lang="es-ES" sz="3400" dirty="0" smtClean="0">
                <a:latin typeface="Arial" pitchFamily="34" charset="0"/>
                <a:cs typeface="Arial" pitchFamily="34" charset="0"/>
              </a:rPr>
              <a:t>Nicaragua, Filipinas</a:t>
            </a:r>
            <a:r>
              <a:rPr lang="es-ES" sz="3400" dirty="0">
                <a:latin typeface="Arial" pitchFamily="34" charset="0"/>
                <a:cs typeface="Arial" pitchFamily="34" charset="0"/>
              </a:rPr>
              <a:t>, Tailandia y Sri </a:t>
            </a:r>
            <a:r>
              <a:rPr lang="es-ES" sz="3400" dirty="0" smtClean="0">
                <a:latin typeface="Arial" pitchFamily="34" charset="0"/>
                <a:cs typeface="Arial" pitchFamily="34" charset="0"/>
              </a:rPr>
              <a:t>Lanka, </a:t>
            </a:r>
            <a:r>
              <a:rPr lang="es-ES" sz="3400" dirty="0">
                <a:latin typeface="Arial" pitchFamily="34" charset="0"/>
                <a:cs typeface="Arial" pitchFamily="34" charset="0"/>
              </a:rPr>
              <a:t>donde existen necesidades insatisfechas en la prevención del dengue y donde hay dengue grave una de las principales causas de enfermedad grave y muerte entre los niños.</a:t>
            </a:r>
            <a:endParaRPr lang="es-AR" sz="3400" dirty="0">
              <a:latin typeface="Arial" pitchFamily="34" charset="0"/>
              <a:cs typeface="Arial" pitchFamily="34" charset="0"/>
            </a:endParaRPr>
          </a:p>
        </p:txBody>
      </p:sp>
      <p:sp>
        <p:nvSpPr>
          <p:cNvPr id="4" name="3 CuadroTexto"/>
          <p:cNvSpPr txBox="1"/>
          <p:nvPr/>
        </p:nvSpPr>
        <p:spPr>
          <a:xfrm>
            <a:off x="54668" y="4772677"/>
            <a:ext cx="9268879" cy="265454"/>
          </a:xfrm>
          <a:prstGeom prst="rect">
            <a:avLst/>
          </a:prstGeom>
          <a:noFill/>
        </p:spPr>
        <p:txBody>
          <a:bodyPr wrap="none" lIns="91318" tIns="45659" rIns="91318" bIns="45659" rtlCol="0">
            <a:spAutoFit/>
          </a:bodyPr>
          <a:lstStyle/>
          <a:p>
            <a:pPr defTabSz="913028"/>
            <a:r>
              <a:rPr lang="es-AR" sz="1100" dirty="0">
                <a:solidFill>
                  <a:prstClr val="black"/>
                </a:solidFill>
                <a:hlinkClick r:id="rId2"/>
              </a:rPr>
              <a:t>https://www.takedavaccines.com/news/release/takedas-dengue-vaccine-candidate-meets-primary-endpoint-in-pivotal-phase-3-efficacy-trial/</a:t>
            </a:r>
            <a:endParaRPr lang="es-AR" sz="1100" dirty="0">
              <a:solidFill>
                <a:prstClr val="black"/>
              </a:solidFill>
            </a:endParaRPr>
          </a:p>
        </p:txBody>
      </p:sp>
    </p:spTree>
    <p:extLst>
      <p:ext uri="{BB962C8B-B14F-4D97-AF65-F5344CB8AC3E}">
        <p14:creationId xmlns:p14="http://schemas.microsoft.com/office/powerpoint/2010/main" val="1528724372"/>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1 Título"/>
          <p:cNvSpPr>
            <a:spLocks noGrp="1"/>
          </p:cNvSpPr>
          <p:nvPr>
            <p:ph type="title"/>
          </p:nvPr>
        </p:nvSpPr>
        <p:spPr>
          <a:xfrm>
            <a:off x="230436" y="220533"/>
            <a:ext cx="8517632" cy="800100"/>
          </a:xfrm>
        </p:spPr>
        <p:txBody>
          <a:bodyPr>
            <a:normAutofit/>
          </a:bodyPr>
          <a:lstStyle/>
          <a:p>
            <a:r>
              <a:rPr lang="es-ES" sz="2400" b="1" dirty="0">
                <a:solidFill>
                  <a:schemeClr val="tx1"/>
                </a:solidFill>
                <a:latin typeface="Calibri" panose="020F0502020204030204" pitchFamily="34" charset="0"/>
                <a:cs typeface="Calibri" panose="020F0502020204030204" pitchFamily="34" charset="0"/>
              </a:rPr>
              <a:t>Ensayo Fase 3 TIDES (DEN-301)</a:t>
            </a:r>
            <a:endParaRPr lang="es-AR" sz="2400" b="1" dirty="0">
              <a:solidFill>
                <a:schemeClr val="tx1"/>
              </a:solidFill>
            </a:endParaRPr>
          </a:p>
        </p:txBody>
      </p:sp>
      <p:sp>
        <p:nvSpPr>
          <p:cNvPr id="3" name="2 Marcador de contenido"/>
          <p:cNvSpPr>
            <a:spLocks noGrp="1"/>
          </p:cNvSpPr>
          <p:nvPr>
            <p:ph idx="1"/>
          </p:nvPr>
        </p:nvSpPr>
        <p:spPr>
          <a:xfrm>
            <a:off x="140678" y="912683"/>
            <a:ext cx="8792307" cy="3709302"/>
          </a:xfrm>
        </p:spPr>
        <p:txBody>
          <a:bodyPr>
            <a:noAutofit/>
          </a:bodyPr>
          <a:lstStyle/>
          <a:p>
            <a:r>
              <a:rPr lang="es-ES" sz="2000" dirty="0">
                <a:latin typeface="Calibri" pitchFamily="34" charset="0"/>
                <a:cs typeface="Calibri" pitchFamily="34" charset="0"/>
              </a:rPr>
              <a:t>El estudio </a:t>
            </a:r>
            <a:r>
              <a:rPr lang="es-ES" sz="2000" dirty="0" smtClean="0">
                <a:latin typeface="Calibri" pitchFamily="34" charset="0"/>
                <a:cs typeface="Calibri" pitchFamily="34" charset="0"/>
              </a:rPr>
              <a:t>constó </a:t>
            </a:r>
            <a:r>
              <a:rPr lang="es-ES" sz="2000" dirty="0">
                <a:latin typeface="Calibri" pitchFamily="34" charset="0"/>
                <a:cs typeface="Calibri" pitchFamily="34" charset="0"/>
              </a:rPr>
              <a:t>de tres partes</a:t>
            </a:r>
            <a:r>
              <a:rPr lang="es-ES" sz="2000" dirty="0" smtClean="0">
                <a:latin typeface="Calibri" pitchFamily="34" charset="0"/>
                <a:cs typeface="Calibri" pitchFamily="34" charset="0"/>
              </a:rPr>
              <a:t>:</a:t>
            </a:r>
            <a:endParaRPr lang="es-ES" sz="2000" dirty="0">
              <a:latin typeface="Calibri" pitchFamily="34" charset="0"/>
              <a:cs typeface="Calibri" pitchFamily="34" charset="0"/>
            </a:endParaRPr>
          </a:p>
          <a:p>
            <a:pPr marL="109545" indent="0">
              <a:buNone/>
            </a:pPr>
            <a:r>
              <a:rPr lang="es-ES" sz="2000" dirty="0">
                <a:latin typeface="Calibri" pitchFamily="34" charset="0"/>
                <a:cs typeface="Calibri" pitchFamily="34" charset="0"/>
              </a:rPr>
              <a:t>       </a:t>
            </a:r>
            <a:r>
              <a:rPr lang="es-ES" sz="2000" dirty="0" smtClean="0">
                <a:latin typeface="Calibri" pitchFamily="34" charset="0"/>
                <a:cs typeface="Calibri" pitchFamily="34" charset="0"/>
              </a:rPr>
              <a:t>  -</a:t>
            </a:r>
            <a:r>
              <a:rPr lang="es-ES" sz="2000" dirty="0">
                <a:latin typeface="Calibri" pitchFamily="34" charset="0"/>
                <a:cs typeface="Calibri" pitchFamily="34" charset="0"/>
              </a:rPr>
              <a:t>Parte 1, evaluó la eficacia de la vacuna (VE) y </a:t>
            </a:r>
            <a:r>
              <a:rPr lang="es-ES" sz="2000" dirty="0" smtClean="0">
                <a:latin typeface="Calibri" pitchFamily="34" charset="0"/>
                <a:cs typeface="Calibri" pitchFamily="34" charset="0"/>
              </a:rPr>
              <a:t>la seguridad </a:t>
            </a:r>
            <a:r>
              <a:rPr lang="es-ES" sz="2000" dirty="0">
                <a:latin typeface="Calibri" pitchFamily="34" charset="0"/>
                <a:cs typeface="Calibri" pitchFamily="34" charset="0"/>
              </a:rPr>
              <a:t>hasta 15 meses </a:t>
            </a:r>
            <a:r>
              <a:rPr lang="es-ES" sz="2000" dirty="0" smtClean="0">
                <a:latin typeface="Calibri" pitchFamily="34" charset="0"/>
                <a:cs typeface="Calibri" pitchFamily="34" charset="0"/>
              </a:rPr>
              <a:t> </a:t>
            </a:r>
          </a:p>
          <a:p>
            <a:pPr marL="109545" indent="0">
              <a:buNone/>
            </a:pPr>
            <a:r>
              <a:rPr lang="es-ES" sz="2000" dirty="0">
                <a:latin typeface="Calibri" pitchFamily="34" charset="0"/>
                <a:cs typeface="Calibri" pitchFamily="34" charset="0"/>
              </a:rPr>
              <a:t> </a:t>
            </a:r>
            <a:r>
              <a:rPr lang="es-ES" sz="2000" dirty="0" smtClean="0">
                <a:latin typeface="Calibri" pitchFamily="34" charset="0"/>
                <a:cs typeface="Calibri" pitchFamily="34" charset="0"/>
              </a:rPr>
              <a:t>         después </a:t>
            </a:r>
            <a:r>
              <a:rPr lang="es-ES" sz="2000" dirty="0">
                <a:latin typeface="Calibri" pitchFamily="34" charset="0"/>
                <a:cs typeface="Calibri" pitchFamily="34" charset="0"/>
              </a:rPr>
              <a:t>de la primera dosis</a:t>
            </a:r>
            <a:r>
              <a:rPr lang="es-ES" sz="2000" dirty="0" smtClean="0">
                <a:latin typeface="Calibri" pitchFamily="34" charset="0"/>
                <a:cs typeface="Calibri" pitchFamily="34" charset="0"/>
              </a:rPr>
              <a:t>.</a:t>
            </a:r>
            <a:endParaRPr lang="es-ES" sz="2000" dirty="0">
              <a:latin typeface="Calibri" pitchFamily="34" charset="0"/>
              <a:cs typeface="Calibri" pitchFamily="34" charset="0"/>
            </a:endParaRPr>
          </a:p>
          <a:p>
            <a:pPr marL="109545" indent="0">
              <a:buNone/>
            </a:pPr>
            <a:r>
              <a:rPr lang="es-ES" sz="2000" dirty="0">
                <a:latin typeface="Calibri" pitchFamily="34" charset="0"/>
                <a:cs typeface="Calibri" pitchFamily="34" charset="0"/>
              </a:rPr>
              <a:t>        </a:t>
            </a:r>
            <a:r>
              <a:rPr lang="es-ES" sz="2000" dirty="0" smtClean="0">
                <a:latin typeface="Calibri" pitchFamily="34" charset="0"/>
                <a:cs typeface="Calibri" pitchFamily="34" charset="0"/>
              </a:rPr>
              <a:t>- Parte </a:t>
            </a:r>
            <a:r>
              <a:rPr lang="es-ES" sz="2000" dirty="0">
                <a:latin typeface="Calibri" pitchFamily="34" charset="0"/>
                <a:cs typeface="Calibri" pitchFamily="34" charset="0"/>
              </a:rPr>
              <a:t>2 continúa durante seis meses adicionales </a:t>
            </a:r>
            <a:r>
              <a:rPr lang="es-ES" sz="2000" dirty="0" smtClean="0">
                <a:latin typeface="Calibri" pitchFamily="34" charset="0"/>
                <a:cs typeface="Calibri" pitchFamily="34" charset="0"/>
              </a:rPr>
              <a:t>para completar </a:t>
            </a:r>
            <a:r>
              <a:rPr lang="es-ES" sz="2000" dirty="0">
                <a:latin typeface="Calibri" pitchFamily="34" charset="0"/>
                <a:cs typeface="Calibri" pitchFamily="34" charset="0"/>
              </a:rPr>
              <a:t>la </a:t>
            </a:r>
            <a:endParaRPr lang="es-ES" sz="2000" dirty="0" smtClean="0">
              <a:latin typeface="Calibri" pitchFamily="34" charset="0"/>
              <a:cs typeface="Calibri" pitchFamily="34" charset="0"/>
            </a:endParaRPr>
          </a:p>
          <a:p>
            <a:pPr marL="109545" indent="0">
              <a:buNone/>
            </a:pPr>
            <a:r>
              <a:rPr lang="es-ES" sz="2000" dirty="0">
                <a:latin typeface="Calibri" pitchFamily="34" charset="0"/>
                <a:cs typeface="Calibri" pitchFamily="34" charset="0"/>
              </a:rPr>
              <a:t> </a:t>
            </a:r>
            <a:r>
              <a:rPr lang="es-ES" sz="2000" dirty="0" smtClean="0">
                <a:latin typeface="Calibri" pitchFamily="34" charset="0"/>
                <a:cs typeface="Calibri" pitchFamily="34" charset="0"/>
              </a:rPr>
              <a:t>         evaluación </a:t>
            </a:r>
            <a:r>
              <a:rPr lang="es-ES" sz="2000" dirty="0">
                <a:latin typeface="Calibri" pitchFamily="34" charset="0"/>
                <a:cs typeface="Calibri" pitchFamily="34" charset="0"/>
              </a:rPr>
              <a:t>de </a:t>
            </a:r>
            <a:r>
              <a:rPr lang="es-ES" sz="2000" dirty="0" smtClean="0">
                <a:latin typeface="Calibri" pitchFamily="34" charset="0"/>
                <a:cs typeface="Calibri" pitchFamily="34" charset="0"/>
              </a:rPr>
              <a:t>los </a:t>
            </a:r>
            <a:r>
              <a:rPr lang="es-ES" sz="2000" dirty="0">
                <a:latin typeface="Calibri" pitchFamily="34" charset="0"/>
                <a:cs typeface="Calibri" pitchFamily="34" charset="0"/>
              </a:rPr>
              <a:t>puntos finales </a:t>
            </a:r>
            <a:r>
              <a:rPr lang="es-ES" sz="2000" dirty="0" smtClean="0">
                <a:latin typeface="Calibri" pitchFamily="34" charset="0"/>
                <a:cs typeface="Calibri" pitchFamily="34" charset="0"/>
              </a:rPr>
              <a:t>secundarios de </a:t>
            </a:r>
            <a:r>
              <a:rPr lang="es-ES" sz="2000" dirty="0">
                <a:latin typeface="Calibri" pitchFamily="34" charset="0"/>
                <a:cs typeface="Calibri" pitchFamily="34" charset="0"/>
              </a:rPr>
              <a:t>VE por serotipo, estado </a:t>
            </a:r>
            <a:endParaRPr lang="es-ES" sz="2000" dirty="0" smtClean="0">
              <a:latin typeface="Calibri" pitchFamily="34" charset="0"/>
              <a:cs typeface="Calibri" pitchFamily="34" charset="0"/>
            </a:endParaRPr>
          </a:p>
          <a:p>
            <a:pPr marL="109545" indent="0">
              <a:buNone/>
            </a:pPr>
            <a:r>
              <a:rPr lang="es-ES" sz="2000" dirty="0">
                <a:latin typeface="Calibri" pitchFamily="34" charset="0"/>
                <a:cs typeface="Calibri" pitchFamily="34" charset="0"/>
              </a:rPr>
              <a:t> </a:t>
            </a:r>
            <a:r>
              <a:rPr lang="es-ES" sz="2000" dirty="0" smtClean="0">
                <a:latin typeface="Calibri" pitchFamily="34" charset="0"/>
                <a:cs typeface="Calibri" pitchFamily="34" charset="0"/>
              </a:rPr>
              <a:t>          serológico </a:t>
            </a:r>
            <a:r>
              <a:rPr lang="es-ES" sz="2000" dirty="0">
                <a:latin typeface="Calibri" pitchFamily="34" charset="0"/>
                <a:cs typeface="Calibri" pitchFamily="34" charset="0"/>
              </a:rPr>
              <a:t>de referencia </a:t>
            </a:r>
            <a:r>
              <a:rPr lang="es-ES" sz="2000" dirty="0" smtClean="0">
                <a:latin typeface="Calibri" pitchFamily="34" charset="0"/>
                <a:cs typeface="Calibri" pitchFamily="34" charset="0"/>
              </a:rPr>
              <a:t>y </a:t>
            </a:r>
            <a:r>
              <a:rPr lang="es-ES" sz="2000" dirty="0">
                <a:latin typeface="Calibri" pitchFamily="34" charset="0"/>
                <a:cs typeface="Calibri" pitchFamily="34" charset="0"/>
              </a:rPr>
              <a:t>gravedad. </a:t>
            </a:r>
          </a:p>
          <a:p>
            <a:pPr marL="109545" indent="0">
              <a:buNone/>
            </a:pPr>
            <a:r>
              <a:rPr lang="es-ES" sz="2000" dirty="0">
                <a:latin typeface="Calibri" pitchFamily="34" charset="0"/>
                <a:cs typeface="Calibri" pitchFamily="34" charset="0"/>
              </a:rPr>
              <a:t>         </a:t>
            </a:r>
            <a:r>
              <a:rPr lang="es-ES" sz="2000" dirty="0" smtClean="0">
                <a:latin typeface="Calibri" pitchFamily="34" charset="0"/>
                <a:cs typeface="Calibri" pitchFamily="34" charset="0"/>
              </a:rPr>
              <a:t>-Parte </a:t>
            </a:r>
            <a:r>
              <a:rPr lang="es-ES" sz="2000" dirty="0">
                <a:latin typeface="Calibri" pitchFamily="34" charset="0"/>
                <a:cs typeface="Calibri" pitchFamily="34" charset="0"/>
              </a:rPr>
              <a:t>3 evalúa la VE y la seguridad a largo </a:t>
            </a:r>
            <a:r>
              <a:rPr lang="es-ES" sz="2000" dirty="0" smtClean="0">
                <a:latin typeface="Calibri" pitchFamily="34" charset="0"/>
                <a:cs typeface="Calibri" pitchFamily="34" charset="0"/>
              </a:rPr>
              <a:t>plazo siguiendo </a:t>
            </a:r>
            <a:r>
              <a:rPr lang="es-ES" sz="2000" dirty="0">
                <a:latin typeface="Calibri" pitchFamily="34" charset="0"/>
                <a:cs typeface="Calibri" pitchFamily="34" charset="0"/>
              </a:rPr>
              <a:t>a los participantes </a:t>
            </a:r>
            <a:r>
              <a:rPr lang="es-ES" sz="2000" dirty="0" smtClean="0">
                <a:latin typeface="Calibri" pitchFamily="34" charset="0"/>
                <a:cs typeface="Calibri" pitchFamily="34" charset="0"/>
              </a:rPr>
              <a:t> </a:t>
            </a:r>
          </a:p>
          <a:p>
            <a:pPr marL="109545" indent="0">
              <a:buNone/>
            </a:pPr>
            <a:r>
              <a:rPr lang="es-ES" sz="2000" dirty="0">
                <a:latin typeface="Calibri" pitchFamily="34" charset="0"/>
                <a:cs typeface="Calibri" pitchFamily="34" charset="0"/>
              </a:rPr>
              <a:t> </a:t>
            </a:r>
            <a:r>
              <a:rPr lang="es-ES" sz="2000" dirty="0" smtClean="0">
                <a:latin typeface="Calibri" pitchFamily="34" charset="0"/>
                <a:cs typeface="Calibri" pitchFamily="34" charset="0"/>
              </a:rPr>
              <a:t>          durante </a:t>
            </a:r>
            <a:r>
              <a:rPr lang="es-ES" sz="2000" dirty="0">
                <a:latin typeface="Calibri" pitchFamily="34" charset="0"/>
                <a:cs typeface="Calibri" pitchFamily="34" charset="0"/>
              </a:rPr>
              <a:t>tres años </a:t>
            </a:r>
            <a:r>
              <a:rPr lang="es-ES" sz="2000" dirty="0" smtClean="0">
                <a:latin typeface="Calibri" pitchFamily="34" charset="0"/>
                <a:cs typeface="Calibri" pitchFamily="34" charset="0"/>
              </a:rPr>
              <a:t>adicionales.</a:t>
            </a:r>
          </a:p>
          <a:p>
            <a:pPr marL="109545" indent="0">
              <a:buNone/>
            </a:pPr>
            <a:endParaRPr lang="es-ES" sz="2000" dirty="0">
              <a:solidFill>
                <a:srgbClr val="FF0000"/>
              </a:solidFill>
              <a:latin typeface="Calibri" pitchFamily="34" charset="0"/>
              <a:cs typeface="Calibri" pitchFamily="34" charset="0"/>
            </a:endParaRPr>
          </a:p>
          <a:p>
            <a:pPr marL="109545" indent="0">
              <a:buNone/>
            </a:pPr>
            <a:r>
              <a:rPr lang="es-AR" sz="1100" dirty="0">
                <a:latin typeface="Calibri" pitchFamily="34" charset="0"/>
                <a:cs typeface="Calibri" pitchFamily="34" charset="0"/>
                <a:hlinkClick r:id="rId2"/>
              </a:rPr>
              <a:t>https://www.takedavaccines.com/news/release/takedas-dengue-vaccine-candidate-meets-primary-endpoint-in-pivotal-phase-3-efficacy-trial/</a:t>
            </a:r>
            <a:endParaRPr lang="es-AR" sz="1100" dirty="0">
              <a:latin typeface="Calibri" pitchFamily="34" charset="0"/>
              <a:cs typeface="Calibri" pitchFamily="34" charset="0"/>
            </a:endParaRPr>
          </a:p>
          <a:p>
            <a:endParaRPr lang="es-AR" sz="2000" dirty="0">
              <a:latin typeface="Calibri" pitchFamily="34" charset="0"/>
              <a:cs typeface="Calibri" pitchFamily="34" charset="0"/>
            </a:endParaRPr>
          </a:p>
        </p:txBody>
      </p:sp>
    </p:spTree>
    <p:extLst>
      <p:ext uri="{BB962C8B-B14F-4D97-AF65-F5344CB8AC3E}">
        <p14:creationId xmlns:p14="http://schemas.microsoft.com/office/powerpoint/2010/main" val="1056338587"/>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9" name="Text Placeholder 8">
            <a:extLst>
              <a:ext uri="{FF2B5EF4-FFF2-40B4-BE49-F238E27FC236}">
                <a16:creationId xmlns="" xmlns:a16="http://schemas.microsoft.com/office/drawing/2014/main" id="{9DBC23EA-4A1A-85F7-A486-DB24723AEBED}"/>
              </a:ext>
            </a:extLst>
          </p:cNvPr>
          <p:cNvSpPr>
            <a:spLocks noGrp="1"/>
          </p:cNvSpPr>
          <p:nvPr>
            <p:ph type="body" sz="quarter" idx="14"/>
          </p:nvPr>
        </p:nvSpPr>
        <p:spPr>
          <a:xfrm>
            <a:off x="443586" y="4672869"/>
            <a:ext cx="7529513" cy="340727"/>
          </a:xfrm>
        </p:spPr>
        <p:txBody>
          <a:bodyPr/>
          <a:lstStyle/>
          <a:p>
            <a:r>
              <a:rPr lang="es"/>
              <a:t>*n=número de participantes en el conjunto de seguridad. </a:t>
            </a:r>
            <a:r>
              <a:rPr lang="en-US"/>
              <a:t/>
            </a:r>
            <a:br>
              <a:rPr lang="en-US"/>
            </a:br>
            <a:r>
              <a:rPr lang="es"/>
              <a:t> DENV: virus del dengue. </a:t>
            </a:r>
            <a:r>
              <a:rPr lang="en-US"/>
              <a:t/>
            </a:r>
            <a:br>
              <a:rPr lang="en-US"/>
            </a:br>
            <a:r>
              <a:rPr lang="es"/>
              <a:t>Tricou V, Biswal S, Lloyd E, Rauscher M, Folschweiller N. Eficacia y seguridad de la vacuna candidata tetravalente contra el dengue de Takeda (TAK-003) después de 4,5 años de seguimiento. Presentado en la 5ª Cumbre Asiática del Dengue 2022; 13–15 de junio de 2022 Singapur; Grabaciones: </a:t>
            </a:r>
            <a:r>
              <a:rPr lang="es">
                <a:hlinkClick r:id="rId383"/>
              </a:rPr>
              <a:t>adva.asia/5th-asia-dengue-summit-recordings/</a:t>
            </a:r>
            <a:r>
              <a:rPr lang="es"/>
              <a:t>.</a:t>
            </a:r>
          </a:p>
        </p:txBody>
      </p:sp>
      <p:sp>
        <p:nvSpPr>
          <p:cNvPr id="614" name="スライド番号プレースホルダ 5">
            <a:extLst>
              <a:ext uri="{FF2B5EF4-FFF2-40B4-BE49-F238E27FC236}">
                <a16:creationId xmlns="" xmlns:a16="http://schemas.microsoft.com/office/drawing/2014/main" id="{0313588E-4827-45F8-BBAF-37A1270E23B2}"/>
              </a:ext>
            </a:extLst>
          </p:cNvPr>
          <p:cNvSpPr>
            <a:spLocks noGrp="1"/>
          </p:cNvSpPr>
          <p:nvPr>
            <p:ph type="sldNum" sz="quarter" idx="16"/>
          </p:nvPr>
        </p:nvSpPr>
        <p:spPr/>
        <p:txBody>
          <a:bodyPr rIns="0" anchor="ctr" anchorCtr="0"/>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algn="r">
              <a:defRPr/>
            </a:pPr>
            <a:fld id="{E9B57936-92EF-4126-AE48-1D9D36D15E98}" type="slidenum">
              <a:rPr kumimoji="1" lang="en-US" altLang="ja-JP" b="0">
                <a:solidFill>
                  <a:srgbClr val="A1A4AC"/>
                </a:solidFill>
              </a:rPr>
              <a:pPr algn="r">
                <a:defRPr/>
              </a:pPr>
              <a:t>39</a:t>
            </a:fld>
            <a:endParaRPr kumimoji="1" lang="en-US" altLang="ja-JP" b="0">
              <a:solidFill>
                <a:srgbClr val="A1A4AC"/>
              </a:solidFill>
            </a:endParaRPr>
          </a:p>
        </p:txBody>
      </p:sp>
      <p:sp>
        <p:nvSpPr>
          <p:cNvPr id="2" name="Title 1">
            <a:extLst>
              <a:ext uri="{FF2B5EF4-FFF2-40B4-BE49-F238E27FC236}">
                <a16:creationId xmlns="" xmlns:a16="http://schemas.microsoft.com/office/drawing/2014/main" id="{0D70F46A-8390-46E4-B2C7-211DAF898DFB}"/>
              </a:ext>
            </a:extLst>
          </p:cNvPr>
          <p:cNvSpPr>
            <a:spLocks noGrp="1"/>
          </p:cNvSpPr>
          <p:nvPr>
            <p:ph type="title"/>
          </p:nvPr>
        </p:nvSpPr>
        <p:spPr>
          <a:xfrm>
            <a:off x="278361" y="149634"/>
            <a:ext cx="7357234" cy="527957"/>
          </a:xfrm>
        </p:spPr>
        <p:txBody>
          <a:bodyPr/>
          <a:lstStyle/>
          <a:p>
            <a:r>
              <a:rPr lang="es" b="1"/>
              <a:t>Los casos de dengue  en el grupo placebo tienen una distribución de serotipo diferente en América Latina frente a Asia Pacífico</a:t>
            </a:r>
          </a:p>
        </p:txBody>
      </p:sp>
      <p:grpSp>
        <p:nvGrpSpPr>
          <p:cNvPr id="5" name="Group 4">
            <a:extLst>
              <a:ext uri="{FF2B5EF4-FFF2-40B4-BE49-F238E27FC236}">
                <a16:creationId xmlns="" xmlns:a16="http://schemas.microsoft.com/office/drawing/2014/main" id="{FE2F04FD-79C1-464D-BA0D-CC0EE38DEE70}"/>
              </a:ext>
            </a:extLst>
          </p:cNvPr>
          <p:cNvGrpSpPr/>
          <p:nvPr/>
        </p:nvGrpSpPr>
        <p:grpSpPr>
          <a:xfrm>
            <a:off x="2356576" y="413020"/>
            <a:ext cx="6267450" cy="3095366"/>
            <a:chOff x="1453978" y="657841"/>
            <a:chExt cx="8356600" cy="4127154"/>
          </a:xfrm>
        </p:grpSpPr>
        <p:grpSp>
          <p:nvGrpSpPr>
            <p:cNvPr id="10" name="Group 9">
              <a:extLst>
                <a:ext uri="{FF2B5EF4-FFF2-40B4-BE49-F238E27FC236}">
                  <a16:creationId xmlns="" xmlns:a16="http://schemas.microsoft.com/office/drawing/2014/main" id="{DD61D5D4-5F64-4F40-AB6E-A8D6AA08207B}"/>
                </a:ext>
              </a:extLst>
            </p:cNvPr>
            <p:cNvGrpSpPr/>
            <p:nvPr/>
          </p:nvGrpSpPr>
          <p:grpSpPr>
            <a:xfrm>
              <a:off x="1453978" y="657841"/>
              <a:ext cx="8356600" cy="4127154"/>
              <a:chOff x="3042241" y="2559527"/>
              <a:chExt cx="5913608" cy="3540684"/>
            </a:xfrm>
          </p:grpSpPr>
          <p:grpSp>
            <p:nvGrpSpPr>
              <p:cNvPr id="11" name="Group 10">
                <a:extLst>
                  <a:ext uri="{FF2B5EF4-FFF2-40B4-BE49-F238E27FC236}">
                    <a16:creationId xmlns="" xmlns:a16="http://schemas.microsoft.com/office/drawing/2014/main" id="{84671965-47D2-4327-9195-31B89C23D209}"/>
                  </a:ext>
                </a:extLst>
              </p:cNvPr>
              <p:cNvGrpSpPr/>
              <p:nvPr/>
            </p:nvGrpSpPr>
            <p:grpSpPr>
              <a:xfrm>
                <a:off x="3832936" y="3041533"/>
                <a:ext cx="4958754" cy="2913138"/>
                <a:chOff x="3611539" y="1232815"/>
                <a:chExt cx="5320194" cy="3022096"/>
              </a:xfrm>
            </p:grpSpPr>
            <p:sp>
              <p:nvSpPr>
                <p:cNvPr id="13" name="Freeform 4">
                  <a:extLst>
                    <a:ext uri="{FF2B5EF4-FFF2-40B4-BE49-F238E27FC236}">
                      <a16:creationId xmlns="" xmlns:a16="http://schemas.microsoft.com/office/drawing/2014/main" id="{A0794357-C32F-49A4-8BB5-690BE1E80ECE}"/>
                    </a:ext>
                  </a:extLst>
                </p:cNvPr>
                <p:cNvSpPr>
                  <a:spLocks/>
                </p:cNvSpPr>
                <p:nvPr>
                  <p:custDataLst>
                    <p:tags r:id="rId1"/>
                  </p:custDataLst>
                </p:nvPr>
              </p:nvSpPr>
              <p:spPr bwMode="auto">
                <a:xfrm>
                  <a:off x="4917661" y="4209873"/>
                  <a:ext cx="23645" cy="40535"/>
                </a:xfrm>
                <a:custGeom>
                  <a:avLst/>
                  <a:gdLst>
                    <a:gd name="T0" fmla="*/ 0 w 73"/>
                    <a:gd name="T1" fmla="*/ 0 h 20"/>
                    <a:gd name="T2" fmla="*/ 1 w 73"/>
                    <a:gd name="T3" fmla="*/ 5 h 20"/>
                    <a:gd name="T4" fmla="*/ 4 w 73"/>
                    <a:gd name="T5" fmla="*/ 10 h 20"/>
                    <a:gd name="T6" fmla="*/ 8 w 73"/>
                    <a:gd name="T7" fmla="*/ 14 h 20"/>
                    <a:gd name="T8" fmla="*/ 13 w 73"/>
                    <a:gd name="T9" fmla="*/ 20 h 20"/>
                    <a:gd name="T10" fmla="*/ 16 w 73"/>
                    <a:gd name="T11" fmla="*/ 17 h 20"/>
                    <a:gd name="T12" fmla="*/ 19 w 73"/>
                    <a:gd name="T13" fmla="*/ 13 h 20"/>
                    <a:gd name="T14" fmla="*/ 23 w 73"/>
                    <a:gd name="T15" fmla="*/ 11 h 20"/>
                    <a:gd name="T16" fmla="*/ 27 w 73"/>
                    <a:gd name="T17" fmla="*/ 10 h 20"/>
                    <a:gd name="T18" fmla="*/ 36 w 73"/>
                    <a:gd name="T19" fmla="*/ 8 h 20"/>
                    <a:gd name="T20" fmla="*/ 46 w 73"/>
                    <a:gd name="T21" fmla="*/ 7 h 20"/>
                    <a:gd name="T22" fmla="*/ 54 w 73"/>
                    <a:gd name="T23" fmla="*/ 7 h 20"/>
                    <a:gd name="T24" fmla="*/ 63 w 73"/>
                    <a:gd name="T25" fmla="*/ 6 h 20"/>
                    <a:gd name="T26" fmla="*/ 66 w 73"/>
                    <a:gd name="T27" fmla="*/ 5 h 20"/>
                    <a:gd name="T28" fmla="*/ 69 w 73"/>
                    <a:gd name="T29" fmla="*/ 4 h 20"/>
                    <a:gd name="T30" fmla="*/ 71 w 73"/>
                    <a:gd name="T31" fmla="*/ 2 h 20"/>
                    <a:gd name="T32" fmla="*/ 73 w 73"/>
                    <a:gd name="T33" fmla="*/ 0 h 20"/>
                    <a:gd name="T34" fmla="*/ 0 w 73"/>
                    <a:gd name="T3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4" name="Freeform 25">
                  <a:extLst>
                    <a:ext uri="{FF2B5EF4-FFF2-40B4-BE49-F238E27FC236}">
                      <a16:creationId xmlns="" xmlns:a16="http://schemas.microsoft.com/office/drawing/2014/main" id="{75F97D68-2A0E-4CFF-BAF2-F27F6931373C}"/>
                    </a:ext>
                  </a:extLst>
                </p:cNvPr>
                <p:cNvSpPr>
                  <a:spLocks/>
                </p:cNvSpPr>
                <p:nvPr>
                  <p:custDataLst>
                    <p:tags r:id="rId2"/>
                  </p:custDataLst>
                </p:nvPr>
              </p:nvSpPr>
              <p:spPr bwMode="auto">
                <a:xfrm>
                  <a:off x="4930047" y="4214376"/>
                  <a:ext cx="16890" cy="40535"/>
                </a:xfrm>
                <a:custGeom>
                  <a:avLst/>
                  <a:gdLst>
                    <a:gd name="T0" fmla="*/ 0 w 53"/>
                    <a:gd name="T1" fmla="*/ 8 h 19"/>
                    <a:gd name="T2" fmla="*/ 7 w 53"/>
                    <a:gd name="T3" fmla="*/ 13 h 19"/>
                    <a:gd name="T4" fmla="*/ 14 w 53"/>
                    <a:gd name="T5" fmla="*/ 17 h 19"/>
                    <a:gd name="T6" fmla="*/ 22 w 53"/>
                    <a:gd name="T7" fmla="*/ 19 h 19"/>
                    <a:gd name="T8" fmla="*/ 29 w 53"/>
                    <a:gd name="T9" fmla="*/ 19 h 19"/>
                    <a:gd name="T10" fmla="*/ 35 w 53"/>
                    <a:gd name="T11" fmla="*/ 18 h 19"/>
                    <a:gd name="T12" fmla="*/ 42 w 53"/>
                    <a:gd name="T13" fmla="*/ 15 h 19"/>
                    <a:gd name="T14" fmla="*/ 47 w 53"/>
                    <a:gd name="T15" fmla="*/ 12 h 19"/>
                    <a:gd name="T16" fmla="*/ 53 w 53"/>
                    <a:gd name="T17" fmla="*/ 8 h 19"/>
                    <a:gd name="T18" fmla="*/ 47 w 53"/>
                    <a:gd name="T19" fmla="*/ 5 h 19"/>
                    <a:gd name="T20" fmla="*/ 42 w 53"/>
                    <a:gd name="T21" fmla="*/ 2 h 19"/>
                    <a:gd name="T22" fmla="*/ 35 w 53"/>
                    <a:gd name="T23" fmla="*/ 1 h 19"/>
                    <a:gd name="T24" fmla="*/ 29 w 53"/>
                    <a:gd name="T25" fmla="*/ 0 h 19"/>
                    <a:gd name="T26" fmla="*/ 22 w 53"/>
                    <a:gd name="T27" fmla="*/ 0 h 19"/>
                    <a:gd name="T28" fmla="*/ 14 w 53"/>
                    <a:gd name="T29" fmla="*/ 1 h 19"/>
                    <a:gd name="T30" fmla="*/ 7 w 53"/>
                    <a:gd name="T31" fmla="*/ 3 h 19"/>
                    <a:gd name="T32" fmla="*/ 0 w 53"/>
                    <a:gd name="T33"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5" name="Freeform 105">
                  <a:extLst>
                    <a:ext uri="{FF2B5EF4-FFF2-40B4-BE49-F238E27FC236}">
                      <a16:creationId xmlns="" xmlns:a16="http://schemas.microsoft.com/office/drawing/2014/main" id="{611CA37C-619E-40C9-B6B1-FEB48A66AFE5}"/>
                    </a:ext>
                  </a:extLst>
                </p:cNvPr>
                <p:cNvSpPr>
                  <a:spLocks/>
                </p:cNvSpPr>
                <p:nvPr>
                  <p:custDataLst>
                    <p:tags r:id="rId3"/>
                  </p:custDataLst>
                </p:nvPr>
              </p:nvSpPr>
              <p:spPr bwMode="auto">
                <a:xfrm>
                  <a:off x="5407456" y="4191857"/>
                  <a:ext cx="38283" cy="41661"/>
                </a:xfrm>
                <a:custGeom>
                  <a:avLst/>
                  <a:gdLst>
                    <a:gd name="T0" fmla="*/ 0 w 126"/>
                    <a:gd name="T1" fmla="*/ 19 h 62"/>
                    <a:gd name="T2" fmla="*/ 11 w 126"/>
                    <a:gd name="T3" fmla="*/ 20 h 62"/>
                    <a:gd name="T4" fmla="*/ 21 w 126"/>
                    <a:gd name="T5" fmla="*/ 21 h 62"/>
                    <a:gd name="T6" fmla="*/ 29 w 126"/>
                    <a:gd name="T7" fmla="*/ 23 h 62"/>
                    <a:gd name="T8" fmla="*/ 36 w 126"/>
                    <a:gd name="T9" fmla="*/ 26 h 62"/>
                    <a:gd name="T10" fmla="*/ 50 w 126"/>
                    <a:gd name="T11" fmla="*/ 33 h 62"/>
                    <a:gd name="T12" fmla="*/ 61 w 126"/>
                    <a:gd name="T13" fmla="*/ 40 h 62"/>
                    <a:gd name="T14" fmla="*/ 70 w 126"/>
                    <a:gd name="T15" fmla="*/ 48 h 62"/>
                    <a:gd name="T16" fmla="*/ 79 w 126"/>
                    <a:gd name="T17" fmla="*/ 55 h 62"/>
                    <a:gd name="T18" fmla="*/ 84 w 126"/>
                    <a:gd name="T19" fmla="*/ 58 h 62"/>
                    <a:gd name="T20" fmla="*/ 89 w 126"/>
                    <a:gd name="T21" fmla="*/ 60 h 62"/>
                    <a:gd name="T22" fmla="*/ 95 w 126"/>
                    <a:gd name="T23" fmla="*/ 61 h 62"/>
                    <a:gd name="T24" fmla="*/ 100 w 126"/>
                    <a:gd name="T25" fmla="*/ 62 h 62"/>
                    <a:gd name="T26" fmla="*/ 105 w 126"/>
                    <a:gd name="T27" fmla="*/ 61 h 62"/>
                    <a:gd name="T28" fmla="*/ 109 w 126"/>
                    <a:gd name="T29" fmla="*/ 60 h 62"/>
                    <a:gd name="T30" fmla="*/ 113 w 126"/>
                    <a:gd name="T31" fmla="*/ 58 h 62"/>
                    <a:gd name="T32" fmla="*/ 117 w 126"/>
                    <a:gd name="T33" fmla="*/ 56 h 62"/>
                    <a:gd name="T34" fmla="*/ 122 w 126"/>
                    <a:gd name="T35" fmla="*/ 51 h 62"/>
                    <a:gd name="T36" fmla="*/ 126 w 126"/>
                    <a:gd name="T37" fmla="*/ 49 h 62"/>
                    <a:gd name="T38" fmla="*/ 110 w 126"/>
                    <a:gd name="T39" fmla="*/ 33 h 62"/>
                    <a:gd name="T40" fmla="*/ 96 w 126"/>
                    <a:gd name="T41" fmla="*/ 21 h 62"/>
                    <a:gd name="T42" fmla="*/ 89 w 126"/>
                    <a:gd name="T43" fmla="*/ 15 h 62"/>
                    <a:gd name="T44" fmla="*/ 81 w 126"/>
                    <a:gd name="T45" fmla="*/ 9 h 62"/>
                    <a:gd name="T46" fmla="*/ 72 w 126"/>
                    <a:gd name="T47" fmla="*/ 5 h 62"/>
                    <a:gd name="T48" fmla="*/ 61 w 126"/>
                    <a:gd name="T49" fmla="*/ 0 h 62"/>
                    <a:gd name="T50" fmla="*/ 0 w 126"/>
                    <a:gd name="T51" fmla="*/ 0 h 62"/>
                    <a:gd name="T52" fmla="*/ 0 w 126"/>
                    <a:gd name="T53" fmla="*/ 9 h 62"/>
                    <a:gd name="T54" fmla="*/ 0 w 126"/>
                    <a:gd name="T55" fmla="*/ 1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6" name="Freeform 197">
                  <a:extLst>
                    <a:ext uri="{FF2B5EF4-FFF2-40B4-BE49-F238E27FC236}">
                      <a16:creationId xmlns="" xmlns:a16="http://schemas.microsoft.com/office/drawing/2014/main" id="{4F5D68C1-5039-4604-B334-10A1356BF473}"/>
                    </a:ext>
                  </a:extLst>
                </p:cNvPr>
                <p:cNvSpPr>
                  <a:spLocks/>
                </p:cNvSpPr>
                <p:nvPr>
                  <p:custDataLst>
                    <p:tags r:id="rId4"/>
                  </p:custDataLst>
                </p:nvPr>
              </p:nvSpPr>
              <p:spPr bwMode="auto">
                <a:xfrm>
                  <a:off x="4930047" y="4214376"/>
                  <a:ext cx="16890" cy="40535"/>
                </a:xfrm>
                <a:custGeom>
                  <a:avLst/>
                  <a:gdLst>
                    <a:gd name="T0" fmla="*/ 0 w 53"/>
                    <a:gd name="T1" fmla="*/ 8 h 19"/>
                    <a:gd name="T2" fmla="*/ 7 w 53"/>
                    <a:gd name="T3" fmla="*/ 13 h 19"/>
                    <a:gd name="T4" fmla="*/ 14 w 53"/>
                    <a:gd name="T5" fmla="*/ 17 h 19"/>
                    <a:gd name="T6" fmla="*/ 22 w 53"/>
                    <a:gd name="T7" fmla="*/ 19 h 19"/>
                    <a:gd name="T8" fmla="*/ 29 w 53"/>
                    <a:gd name="T9" fmla="*/ 19 h 19"/>
                    <a:gd name="T10" fmla="*/ 35 w 53"/>
                    <a:gd name="T11" fmla="*/ 18 h 19"/>
                    <a:gd name="T12" fmla="*/ 42 w 53"/>
                    <a:gd name="T13" fmla="*/ 15 h 19"/>
                    <a:gd name="T14" fmla="*/ 47 w 53"/>
                    <a:gd name="T15" fmla="*/ 12 h 19"/>
                    <a:gd name="T16" fmla="*/ 53 w 53"/>
                    <a:gd name="T17" fmla="*/ 8 h 19"/>
                    <a:gd name="T18" fmla="*/ 47 w 53"/>
                    <a:gd name="T19" fmla="*/ 5 h 19"/>
                    <a:gd name="T20" fmla="*/ 42 w 53"/>
                    <a:gd name="T21" fmla="*/ 2 h 19"/>
                    <a:gd name="T22" fmla="*/ 35 w 53"/>
                    <a:gd name="T23" fmla="*/ 1 h 19"/>
                    <a:gd name="T24" fmla="*/ 29 w 53"/>
                    <a:gd name="T25" fmla="*/ 0 h 19"/>
                    <a:gd name="T26" fmla="*/ 22 w 53"/>
                    <a:gd name="T27" fmla="*/ 0 h 19"/>
                    <a:gd name="T28" fmla="*/ 14 w 53"/>
                    <a:gd name="T29" fmla="*/ 1 h 19"/>
                    <a:gd name="T30" fmla="*/ 7 w 53"/>
                    <a:gd name="T31" fmla="*/ 3 h 19"/>
                    <a:gd name="T32" fmla="*/ 0 w 53"/>
                    <a:gd name="T33"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7" name="Freeform 198">
                  <a:extLst>
                    <a:ext uri="{FF2B5EF4-FFF2-40B4-BE49-F238E27FC236}">
                      <a16:creationId xmlns="" xmlns:a16="http://schemas.microsoft.com/office/drawing/2014/main" id="{5B158AA8-8119-4325-B2EB-DB7A333405BF}"/>
                    </a:ext>
                  </a:extLst>
                </p:cNvPr>
                <p:cNvSpPr>
                  <a:spLocks/>
                </p:cNvSpPr>
                <p:nvPr>
                  <p:custDataLst>
                    <p:tags r:id="rId5"/>
                  </p:custDataLst>
                </p:nvPr>
              </p:nvSpPr>
              <p:spPr bwMode="auto">
                <a:xfrm>
                  <a:off x="4905275" y="4199739"/>
                  <a:ext cx="24771" cy="41660"/>
                </a:xfrm>
                <a:custGeom>
                  <a:avLst/>
                  <a:gdLst>
                    <a:gd name="T0" fmla="*/ 0 w 80"/>
                    <a:gd name="T1" fmla="*/ 0 h 18"/>
                    <a:gd name="T2" fmla="*/ 1 w 80"/>
                    <a:gd name="T3" fmla="*/ 6 h 18"/>
                    <a:gd name="T4" fmla="*/ 5 w 80"/>
                    <a:gd name="T5" fmla="*/ 12 h 18"/>
                    <a:gd name="T6" fmla="*/ 8 w 80"/>
                    <a:gd name="T7" fmla="*/ 14 h 18"/>
                    <a:gd name="T8" fmla="*/ 11 w 80"/>
                    <a:gd name="T9" fmla="*/ 16 h 18"/>
                    <a:gd name="T10" fmla="*/ 15 w 80"/>
                    <a:gd name="T11" fmla="*/ 18 h 18"/>
                    <a:gd name="T12" fmla="*/ 20 w 80"/>
                    <a:gd name="T13" fmla="*/ 18 h 18"/>
                    <a:gd name="T14" fmla="*/ 22 w 80"/>
                    <a:gd name="T15" fmla="*/ 15 h 18"/>
                    <a:gd name="T16" fmla="*/ 24 w 80"/>
                    <a:gd name="T17" fmla="*/ 13 h 18"/>
                    <a:gd name="T18" fmla="*/ 26 w 80"/>
                    <a:gd name="T19" fmla="*/ 11 h 18"/>
                    <a:gd name="T20" fmla="*/ 31 w 80"/>
                    <a:gd name="T21" fmla="*/ 10 h 18"/>
                    <a:gd name="T22" fmla="*/ 38 w 80"/>
                    <a:gd name="T23" fmla="*/ 8 h 18"/>
                    <a:gd name="T24" fmla="*/ 47 w 80"/>
                    <a:gd name="T25" fmla="*/ 7 h 18"/>
                    <a:gd name="T26" fmla="*/ 57 w 80"/>
                    <a:gd name="T27" fmla="*/ 7 h 18"/>
                    <a:gd name="T28" fmla="*/ 66 w 80"/>
                    <a:gd name="T29" fmla="*/ 6 h 18"/>
                    <a:gd name="T30" fmla="*/ 70 w 80"/>
                    <a:gd name="T31" fmla="*/ 5 h 18"/>
                    <a:gd name="T32" fmla="*/ 74 w 80"/>
                    <a:gd name="T33" fmla="*/ 4 h 18"/>
                    <a:gd name="T34" fmla="*/ 77 w 80"/>
                    <a:gd name="T35" fmla="*/ 2 h 18"/>
                    <a:gd name="T36" fmla="*/ 80 w 80"/>
                    <a:gd name="T37" fmla="*/ 0 h 18"/>
                    <a:gd name="T38" fmla="*/ 0 w 80"/>
                    <a:gd name="T3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8" name="Freeform 199">
                  <a:extLst>
                    <a:ext uri="{FF2B5EF4-FFF2-40B4-BE49-F238E27FC236}">
                      <a16:creationId xmlns="" xmlns:a16="http://schemas.microsoft.com/office/drawing/2014/main" id="{75602037-416B-40EF-AE64-2B39D3BB37E4}"/>
                    </a:ext>
                  </a:extLst>
                </p:cNvPr>
                <p:cNvSpPr>
                  <a:spLocks/>
                </p:cNvSpPr>
                <p:nvPr>
                  <p:custDataLst>
                    <p:tags r:id="rId6"/>
                  </p:custDataLst>
                </p:nvPr>
              </p:nvSpPr>
              <p:spPr bwMode="auto">
                <a:xfrm>
                  <a:off x="4905275" y="4185101"/>
                  <a:ext cx="15763" cy="42787"/>
                </a:xfrm>
                <a:custGeom>
                  <a:avLst/>
                  <a:gdLst>
                    <a:gd name="T0" fmla="*/ 20 w 46"/>
                    <a:gd name="T1" fmla="*/ 0 h 27"/>
                    <a:gd name="T2" fmla="*/ 0 w 46"/>
                    <a:gd name="T3" fmla="*/ 18 h 27"/>
                    <a:gd name="T4" fmla="*/ 9 w 46"/>
                    <a:gd name="T5" fmla="*/ 22 h 27"/>
                    <a:gd name="T6" fmla="*/ 16 w 46"/>
                    <a:gd name="T7" fmla="*/ 25 h 27"/>
                    <a:gd name="T8" fmla="*/ 23 w 46"/>
                    <a:gd name="T9" fmla="*/ 27 h 27"/>
                    <a:gd name="T10" fmla="*/ 29 w 46"/>
                    <a:gd name="T11" fmla="*/ 27 h 27"/>
                    <a:gd name="T12" fmla="*/ 33 w 46"/>
                    <a:gd name="T13" fmla="*/ 27 h 27"/>
                    <a:gd name="T14" fmla="*/ 37 w 46"/>
                    <a:gd name="T15" fmla="*/ 25 h 27"/>
                    <a:gd name="T16" fmla="*/ 42 w 46"/>
                    <a:gd name="T17" fmla="*/ 22 h 27"/>
                    <a:gd name="T18" fmla="*/ 46 w 46"/>
                    <a:gd name="T19" fmla="*/ 18 h 27"/>
                    <a:gd name="T20" fmla="*/ 41 w 46"/>
                    <a:gd name="T21" fmla="*/ 16 h 27"/>
                    <a:gd name="T22" fmla="*/ 33 w 46"/>
                    <a:gd name="T23" fmla="*/ 11 h 27"/>
                    <a:gd name="T24" fmla="*/ 26 w 46"/>
                    <a:gd name="T25" fmla="*/ 5 h 27"/>
                    <a:gd name="T26" fmla="*/ 20 w 46"/>
                    <a:gd name="T27"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9" name="Freeform 200">
                  <a:extLst>
                    <a:ext uri="{FF2B5EF4-FFF2-40B4-BE49-F238E27FC236}">
                      <a16:creationId xmlns="" xmlns:a16="http://schemas.microsoft.com/office/drawing/2014/main" id="{7FC8B8CC-9FE9-44FC-83D2-53D05DDC6840}"/>
                    </a:ext>
                  </a:extLst>
                </p:cNvPr>
                <p:cNvSpPr>
                  <a:spLocks/>
                </p:cNvSpPr>
                <p:nvPr>
                  <p:custDataLst>
                    <p:tags r:id="rId7"/>
                  </p:custDataLst>
                </p:nvPr>
              </p:nvSpPr>
              <p:spPr bwMode="auto">
                <a:xfrm>
                  <a:off x="4883882" y="4180597"/>
                  <a:ext cx="18015" cy="42787"/>
                </a:xfrm>
                <a:custGeom>
                  <a:avLst/>
                  <a:gdLst>
                    <a:gd name="T0" fmla="*/ 34 w 54"/>
                    <a:gd name="T1" fmla="*/ 0 h 39"/>
                    <a:gd name="T2" fmla="*/ 20 w 54"/>
                    <a:gd name="T3" fmla="*/ 4 h 39"/>
                    <a:gd name="T4" fmla="*/ 10 w 54"/>
                    <a:gd name="T5" fmla="*/ 10 h 39"/>
                    <a:gd name="T6" fmla="*/ 6 w 54"/>
                    <a:gd name="T7" fmla="*/ 13 h 39"/>
                    <a:gd name="T8" fmla="*/ 4 w 54"/>
                    <a:gd name="T9" fmla="*/ 16 h 39"/>
                    <a:gd name="T10" fmla="*/ 2 w 54"/>
                    <a:gd name="T11" fmla="*/ 20 h 39"/>
                    <a:gd name="T12" fmla="*/ 0 w 54"/>
                    <a:gd name="T13" fmla="*/ 24 h 39"/>
                    <a:gd name="T14" fmla="*/ 2 w 54"/>
                    <a:gd name="T15" fmla="*/ 28 h 39"/>
                    <a:gd name="T16" fmla="*/ 3 w 54"/>
                    <a:gd name="T17" fmla="*/ 32 h 39"/>
                    <a:gd name="T18" fmla="*/ 5 w 54"/>
                    <a:gd name="T19" fmla="*/ 35 h 39"/>
                    <a:gd name="T20" fmla="*/ 8 w 54"/>
                    <a:gd name="T21" fmla="*/ 37 h 39"/>
                    <a:gd name="T22" fmla="*/ 11 w 54"/>
                    <a:gd name="T23" fmla="*/ 38 h 39"/>
                    <a:gd name="T24" fmla="*/ 16 w 54"/>
                    <a:gd name="T25" fmla="*/ 39 h 39"/>
                    <a:gd name="T26" fmla="*/ 20 w 54"/>
                    <a:gd name="T27" fmla="*/ 39 h 39"/>
                    <a:gd name="T28" fmla="*/ 25 w 54"/>
                    <a:gd name="T29" fmla="*/ 39 h 39"/>
                    <a:gd name="T30" fmla="*/ 30 w 54"/>
                    <a:gd name="T31" fmla="*/ 38 h 39"/>
                    <a:gd name="T32" fmla="*/ 34 w 54"/>
                    <a:gd name="T33" fmla="*/ 37 h 39"/>
                    <a:gd name="T34" fmla="*/ 39 w 54"/>
                    <a:gd name="T35" fmla="*/ 35 h 39"/>
                    <a:gd name="T36" fmla="*/ 43 w 54"/>
                    <a:gd name="T37" fmla="*/ 33 h 39"/>
                    <a:gd name="T38" fmla="*/ 47 w 54"/>
                    <a:gd name="T39" fmla="*/ 30 h 39"/>
                    <a:gd name="T40" fmla="*/ 50 w 54"/>
                    <a:gd name="T41" fmla="*/ 26 h 39"/>
                    <a:gd name="T42" fmla="*/ 52 w 54"/>
                    <a:gd name="T43" fmla="*/ 22 h 39"/>
                    <a:gd name="T44" fmla="*/ 54 w 54"/>
                    <a:gd name="T45" fmla="*/ 18 h 39"/>
                    <a:gd name="T46" fmla="*/ 51 w 54"/>
                    <a:gd name="T47" fmla="*/ 17 h 39"/>
                    <a:gd name="T48" fmla="*/ 48 w 54"/>
                    <a:gd name="T49" fmla="*/ 16 h 39"/>
                    <a:gd name="T50" fmla="*/ 44 w 54"/>
                    <a:gd name="T51" fmla="*/ 14 h 39"/>
                    <a:gd name="T52" fmla="*/ 42 w 54"/>
                    <a:gd name="T53" fmla="*/ 11 h 39"/>
                    <a:gd name="T54" fmla="*/ 39 w 54"/>
                    <a:gd name="T55" fmla="*/ 8 h 39"/>
                    <a:gd name="T56" fmla="*/ 37 w 54"/>
                    <a:gd name="T57" fmla="*/ 5 h 39"/>
                    <a:gd name="T58" fmla="*/ 34 w 54"/>
                    <a:gd name="T59" fmla="*/ 2 h 39"/>
                    <a:gd name="T60" fmla="*/ 34 w 54"/>
                    <a:gd name="T6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20" name="Freeform 201">
                  <a:extLst>
                    <a:ext uri="{FF2B5EF4-FFF2-40B4-BE49-F238E27FC236}">
                      <a16:creationId xmlns="" xmlns:a16="http://schemas.microsoft.com/office/drawing/2014/main" id="{56EBFEAA-0B88-495C-A188-678F0141102F}"/>
                    </a:ext>
                  </a:extLst>
                </p:cNvPr>
                <p:cNvSpPr>
                  <a:spLocks/>
                </p:cNvSpPr>
                <p:nvPr>
                  <p:custDataLst>
                    <p:tags r:id="rId8"/>
                  </p:custDataLst>
                </p:nvPr>
              </p:nvSpPr>
              <p:spPr bwMode="auto">
                <a:xfrm>
                  <a:off x="4865867" y="4173841"/>
                  <a:ext cx="20268" cy="41661"/>
                </a:xfrm>
                <a:custGeom>
                  <a:avLst/>
                  <a:gdLst>
                    <a:gd name="T0" fmla="*/ 0 w 60"/>
                    <a:gd name="T1" fmla="*/ 11 h 15"/>
                    <a:gd name="T2" fmla="*/ 10 w 60"/>
                    <a:gd name="T3" fmla="*/ 13 h 15"/>
                    <a:gd name="T4" fmla="*/ 18 w 60"/>
                    <a:gd name="T5" fmla="*/ 14 h 15"/>
                    <a:gd name="T6" fmla="*/ 27 w 60"/>
                    <a:gd name="T7" fmla="*/ 15 h 15"/>
                    <a:gd name="T8" fmla="*/ 35 w 60"/>
                    <a:gd name="T9" fmla="*/ 15 h 15"/>
                    <a:gd name="T10" fmla="*/ 41 w 60"/>
                    <a:gd name="T11" fmla="*/ 14 h 15"/>
                    <a:gd name="T12" fmla="*/ 48 w 60"/>
                    <a:gd name="T13" fmla="*/ 12 h 15"/>
                    <a:gd name="T14" fmla="*/ 55 w 60"/>
                    <a:gd name="T15" fmla="*/ 9 h 15"/>
                    <a:gd name="T16" fmla="*/ 60 w 60"/>
                    <a:gd name="T17" fmla="*/ 5 h 15"/>
                    <a:gd name="T18" fmla="*/ 57 w 60"/>
                    <a:gd name="T19" fmla="*/ 3 h 15"/>
                    <a:gd name="T20" fmla="*/ 54 w 60"/>
                    <a:gd name="T21" fmla="*/ 0 h 15"/>
                    <a:gd name="T22" fmla="*/ 51 w 60"/>
                    <a:gd name="T23" fmla="*/ 0 h 15"/>
                    <a:gd name="T24" fmla="*/ 47 w 60"/>
                    <a:gd name="T25" fmla="*/ 0 h 15"/>
                    <a:gd name="T26" fmla="*/ 40 w 60"/>
                    <a:gd name="T27" fmla="*/ 0 h 15"/>
                    <a:gd name="T28" fmla="*/ 33 w 60"/>
                    <a:gd name="T29" fmla="*/ 3 h 15"/>
                    <a:gd name="T30" fmla="*/ 24 w 60"/>
                    <a:gd name="T31" fmla="*/ 6 h 15"/>
                    <a:gd name="T32" fmla="*/ 16 w 60"/>
                    <a:gd name="T33" fmla="*/ 8 h 15"/>
                    <a:gd name="T34" fmla="*/ 7 w 60"/>
                    <a:gd name="T35" fmla="*/ 10 h 15"/>
                    <a:gd name="T36" fmla="*/ 0 w 60"/>
                    <a:gd name="T37"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21" name="Freeform 202">
                  <a:extLst>
                    <a:ext uri="{FF2B5EF4-FFF2-40B4-BE49-F238E27FC236}">
                      <a16:creationId xmlns="" xmlns:a16="http://schemas.microsoft.com/office/drawing/2014/main" id="{FA9FF2A6-9489-42AD-B0B2-A79F22B4D74F}"/>
                    </a:ext>
                  </a:extLst>
                </p:cNvPr>
                <p:cNvSpPr>
                  <a:spLocks/>
                </p:cNvSpPr>
                <p:nvPr>
                  <p:custDataLst>
                    <p:tags r:id="rId9"/>
                  </p:custDataLst>
                </p:nvPr>
              </p:nvSpPr>
              <p:spPr bwMode="auto">
                <a:xfrm>
                  <a:off x="4848976" y="4164833"/>
                  <a:ext cx="23646" cy="40535"/>
                </a:xfrm>
                <a:custGeom>
                  <a:avLst/>
                  <a:gdLst>
                    <a:gd name="T0" fmla="*/ 40 w 79"/>
                    <a:gd name="T1" fmla="*/ 0 h 32"/>
                    <a:gd name="T2" fmla="*/ 34 w 79"/>
                    <a:gd name="T3" fmla="*/ 1 h 32"/>
                    <a:gd name="T4" fmla="*/ 30 w 79"/>
                    <a:gd name="T5" fmla="*/ 2 h 32"/>
                    <a:gd name="T6" fmla="*/ 25 w 79"/>
                    <a:gd name="T7" fmla="*/ 4 h 32"/>
                    <a:gd name="T8" fmla="*/ 20 w 79"/>
                    <a:gd name="T9" fmla="*/ 6 h 32"/>
                    <a:gd name="T10" fmla="*/ 15 w 79"/>
                    <a:gd name="T11" fmla="*/ 9 h 32"/>
                    <a:gd name="T12" fmla="*/ 10 w 79"/>
                    <a:gd name="T13" fmla="*/ 11 h 32"/>
                    <a:gd name="T14" fmla="*/ 5 w 79"/>
                    <a:gd name="T15" fmla="*/ 12 h 32"/>
                    <a:gd name="T16" fmla="*/ 0 w 79"/>
                    <a:gd name="T17" fmla="*/ 13 h 32"/>
                    <a:gd name="T18" fmla="*/ 5 w 79"/>
                    <a:gd name="T19" fmla="*/ 21 h 32"/>
                    <a:gd name="T20" fmla="*/ 10 w 79"/>
                    <a:gd name="T21" fmla="*/ 26 h 32"/>
                    <a:gd name="T22" fmla="*/ 12 w 79"/>
                    <a:gd name="T23" fmla="*/ 29 h 32"/>
                    <a:gd name="T24" fmla="*/ 15 w 79"/>
                    <a:gd name="T25" fmla="*/ 31 h 32"/>
                    <a:gd name="T26" fmla="*/ 18 w 79"/>
                    <a:gd name="T27" fmla="*/ 31 h 32"/>
                    <a:gd name="T28" fmla="*/ 20 w 79"/>
                    <a:gd name="T29" fmla="*/ 32 h 32"/>
                    <a:gd name="T30" fmla="*/ 27 w 79"/>
                    <a:gd name="T31" fmla="*/ 31 h 32"/>
                    <a:gd name="T32" fmla="*/ 34 w 79"/>
                    <a:gd name="T33" fmla="*/ 30 h 32"/>
                    <a:gd name="T34" fmla="*/ 41 w 79"/>
                    <a:gd name="T35" fmla="*/ 27 h 32"/>
                    <a:gd name="T36" fmla="*/ 48 w 79"/>
                    <a:gd name="T37" fmla="*/ 24 h 32"/>
                    <a:gd name="T38" fmla="*/ 62 w 79"/>
                    <a:gd name="T39" fmla="*/ 18 h 32"/>
                    <a:gd name="T40" fmla="*/ 79 w 79"/>
                    <a:gd name="T41" fmla="*/ 13 h 32"/>
                    <a:gd name="T42" fmla="*/ 67 w 79"/>
                    <a:gd name="T43" fmla="*/ 6 h 32"/>
                    <a:gd name="T44" fmla="*/ 58 w 79"/>
                    <a:gd name="T45" fmla="*/ 2 h 32"/>
                    <a:gd name="T46" fmla="*/ 49 w 79"/>
                    <a:gd name="T47" fmla="*/ 1 h 32"/>
                    <a:gd name="T48" fmla="*/ 40 w 79"/>
                    <a:gd name="T4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22" name="Freeform 213">
                  <a:extLst>
                    <a:ext uri="{FF2B5EF4-FFF2-40B4-BE49-F238E27FC236}">
                      <a16:creationId xmlns="" xmlns:a16="http://schemas.microsoft.com/office/drawing/2014/main" id="{8FE480C4-4E8F-4ABA-AA6E-4C993B463E8A}"/>
                    </a:ext>
                  </a:extLst>
                </p:cNvPr>
                <p:cNvSpPr>
                  <a:spLocks/>
                </p:cNvSpPr>
                <p:nvPr>
                  <p:custDataLst>
                    <p:tags r:id="rId10"/>
                  </p:custDataLst>
                </p:nvPr>
              </p:nvSpPr>
              <p:spPr bwMode="auto">
                <a:xfrm>
                  <a:off x="4889511" y="4195235"/>
                  <a:ext cx="24771" cy="40535"/>
                </a:xfrm>
                <a:custGeom>
                  <a:avLst/>
                  <a:gdLst>
                    <a:gd name="T0" fmla="*/ 40 w 73"/>
                    <a:gd name="T1" fmla="*/ 0 h 22"/>
                    <a:gd name="T2" fmla="*/ 32 w 73"/>
                    <a:gd name="T3" fmla="*/ 1 h 22"/>
                    <a:gd name="T4" fmla="*/ 26 w 73"/>
                    <a:gd name="T5" fmla="*/ 2 h 22"/>
                    <a:gd name="T6" fmla="*/ 20 w 73"/>
                    <a:gd name="T7" fmla="*/ 5 h 22"/>
                    <a:gd name="T8" fmla="*/ 15 w 73"/>
                    <a:gd name="T9" fmla="*/ 8 h 22"/>
                    <a:gd name="T10" fmla="*/ 6 w 73"/>
                    <a:gd name="T11" fmla="*/ 14 h 22"/>
                    <a:gd name="T12" fmla="*/ 0 w 73"/>
                    <a:gd name="T13" fmla="*/ 19 h 22"/>
                    <a:gd name="T14" fmla="*/ 20 w 73"/>
                    <a:gd name="T15" fmla="*/ 20 h 22"/>
                    <a:gd name="T16" fmla="*/ 39 w 73"/>
                    <a:gd name="T17" fmla="*/ 22 h 22"/>
                    <a:gd name="T18" fmla="*/ 49 w 73"/>
                    <a:gd name="T19" fmla="*/ 22 h 22"/>
                    <a:gd name="T20" fmla="*/ 57 w 73"/>
                    <a:gd name="T21" fmla="*/ 22 h 22"/>
                    <a:gd name="T22" fmla="*/ 65 w 73"/>
                    <a:gd name="T23" fmla="*/ 21 h 22"/>
                    <a:gd name="T24" fmla="*/ 73 w 73"/>
                    <a:gd name="T25" fmla="*/ 19 h 22"/>
                    <a:gd name="T26" fmla="*/ 64 w 73"/>
                    <a:gd name="T27" fmla="*/ 14 h 22"/>
                    <a:gd name="T28" fmla="*/ 56 w 73"/>
                    <a:gd name="T29" fmla="*/ 8 h 22"/>
                    <a:gd name="T30" fmla="*/ 53 w 73"/>
                    <a:gd name="T31" fmla="*/ 5 h 22"/>
                    <a:gd name="T32" fmla="*/ 49 w 73"/>
                    <a:gd name="T33" fmla="*/ 2 h 22"/>
                    <a:gd name="T34" fmla="*/ 44 w 73"/>
                    <a:gd name="T35" fmla="*/ 1 h 22"/>
                    <a:gd name="T36" fmla="*/ 40 w 73"/>
                    <a:gd name="T3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23" name="Freeform 214">
                  <a:extLst>
                    <a:ext uri="{FF2B5EF4-FFF2-40B4-BE49-F238E27FC236}">
                      <a16:creationId xmlns="" xmlns:a16="http://schemas.microsoft.com/office/drawing/2014/main" id="{C01D3015-4C07-47E1-A597-9BC535CE91EE}"/>
                    </a:ext>
                  </a:extLst>
                </p:cNvPr>
                <p:cNvSpPr>
                  <a:spLocks/>
                </p:cNvSpPr>
                <p:nvPr>
                  <p:custDataLst>
                    <p:tags r:id="rId11"/>
                  </p:custDataLst>
                </p:nvPr>
              </p:nvSpPr>
              <p:spPr bwMode="auto">
                <a:xfrm>
                  <a:off x="4916535" y="4153574"/>
                  <a:ext cx="87826" cy="70936"/>
                </a:xfrm>
                <a:custGeom>
                  <a:avLst/>
                  <a:gdLst>
                    <a:gd name="T0" fmla="*/ 235 w 281"/>
                    <a:gd name="T1" fmla="*/ 168 h 193"/>
                    <a:gd name="T2" fmla="*/ 188 w 281"/>
                    <a:gd name="T3" fmla="*/ 171 h 193"/>
                    <a:gd name="T4" fmla="*/ 168 w 281"/>
                    <a:gd name="T5" fmla="*/ 168 h 193"/>
                    <a:gd name="T6" fmla="*/ 155 w 281"/>
                    <a:gd name="T7" fmla="*/ 164 h 193"/>
                    <a:gd name="T8" fmla="*/ 130 w 281"/>
                    <a:gd name="T9" fmla="*/ 135 h 193"/>
                    <a:gd name="T10" fmla="*/ 104 w 281"/>
                    <a:gd name="T11" fmla="*/ 94 h 193"/>
                    <a:gd name="T12" fmla="*/ 94 w 281"/>
                    <a:gd name="T13" fmla="*/ 74 h 193"/>
                    <a:gd name="T14" fmla="*/ 87 w 281"/>
                    <a:gd name="T15" fmla="*/ 51 h 193"/>
                    <a:gd name="T16" fmla="*/ 83 w 281"/>
                    <a:gd name="T17" fmla="*/ 27 h 193"/>
                    <a:gd name="T18" fmla="*/ 43 w 281"/>
                    <a:gd name="T19" fmla="*/ 0 h 193"/>
                    <a:gd name="T20" fmla="*/ 28 w 281"/>
                    <a:gd name="T21" fmla="*/ 52 h 193"/>
                    <a:gd name="T22" fmla="*/ 18 w 281"/>
                    <a:gd name="T23" fmla="*/ 61 h 193"/>
                    <a:gd name="T24" fmla="*/ 6 w 281"/>
                    <a:gd name="T25" fmla="*/ 69 h 193"/>
                    <a:gd name="T26" fmla="*/ 0 w 281"/>
                    <a:gd name="T27" fmla="*/ 73 h 193"/>
                    <a:gd name="T28" fmla="*/ 1 w 281"/>
                    <a:gd name="T29" fmla="*/ 75 h 193"/>
                    <a:gd name="T30" fmla="*/ 9 w 281"/>
                    <a:gd name="T31" fmla="*/ 81 h 193"/>
                    <a:gd name="T32" fmla="*/ 37 w 281"/>
                    <a:gd name="T33" fmla="*/ 111 h 193"/>
                    <a:gd name="T34" fmla="*/ 45 w 281"/>
                    <a:gd name="T35" fmla="*/ 122 h 193"/>
                    <a:gd name="T36" fmla="*/ 53 w 281"/>
                    <a:gd name="T37" fmla="*/ 129 h 193"/>
                    <a:gd name="T38" fmla="*/ 62 w 281"/>
                    <a:gd name="T39" fmla="*/ 134 h 193"/>
                    <a:gd name="T40" fmla="*/ 71 w 281"/>
                    <a:gd name="T41" fmla="*/ 136 h 193"/>
                    <a:gd name="T42" fmla="*/ 76 w 281"/>
                    <a:gd name="T43" fmla="*/ 141 h 193"/>
                    <a:gd name="T44" fmla="*/ 79 w 281"/>
                    <a:gd name="T45" fmla="*/ 148 h 193"/>
                    <a:gd name="T46" fmla="*/ 86 w 281"/>
                    <a:gd name="T47" fmla="*/ 153 h 193"/>
                    <a:gd name="T48" fmla="*/ 99 w 281"/>
                    <a:gd name="T49" fmla="*/ 154 h 193"/>
                    <a:gd name="T50" fmla="*/ 106 w 281"/>
                    <a:gd name="T51" fmla="*/ 157 h 193"/>
                    <a:gd name="T52" fmla="*/ 109 w 281"/>
                    <a:gd name="T53" fmla="*/ 163 h 193"/>
                    <a:gd name="T54" fmla="*/ 109 w 281"/>
                    <a:gd name="T55" fmla="*/ 179 h 193"/>
                    <a:gd name="T56" fmla="*/ 111 w 281"/>
                    <a:gd name="T57" fmla="*/ 189 h 193"/>
                    <a:gd name="T58" fmla="*/ 115 w 281"/>
                    <a:gd name="T59" fmla="*/ 193 h 193"/>
                    <a:gd name="T60" fmla="*/ 129 w 281"/>
                    <a:gd name="T61" fmla="*/ 193 h 193"/>
                    <a:gd name="T62" fmla="*/ 164 w 281"/>
                    <a:gd name="T63" fmla="*/ 191 h 193"/>
                    <a:gd name="T64" fmla="*/ 180 w 281"/>
                    <a:gd name="T65" fmla="*/ 189 h 193"/>
                    <a:gd name="T66" fmla="*/ 192 w 281"/>
                    <a:gd name="T67" fmla="*/ 186 h 193"/>
                    <a:gd name="T68" fmla="*/ 212 w 281"/>
                    <a:gd name="T69" fmla="*/ 188 h 193"/>
                    <a:gd name="T70" fmla="*/ 281 w 281"/>
                    <a:gd name="T71" fmla="*/ 16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grpSp>
              <p:nvGrpSpPr>
                <p:cNvPr id="24" name="Group 438">
                  <a:extLst>
                    <a:ext uri="{FF2B5EF4-FFF2-40B4-BE49-F238E27FC236}">
                      <a16:creationId xmlns="" xmlns:a16="http://schemas.microsoft.com/office/drawing/2014/main" id="{08AB3A2E-A96B-4D92-A84C-C6D58A06931C}"/>
                    </a:ext>
                  </a:extLst>
                </p:cNvPr>
                <p:cNvGrpSpPr>
                  <a:grpSpLocks/>
                </p:cNvGrpSpPr>
                <p:nvPr>
                  <p:custDataLst>
                    <p:tags r:id="rId12"/>
                  </p:custDataLst>
                </p:nvPr>
              </p:nvGrpSpPr>
              <p:grpSpPr bwMode="auto">
                <a:xfrm>
                  <a:off x="4783670" y="3484749"/>
                  <a:ext cx="272484" cy="731879"/>
                  <a:chOff x="1589" y="3126"/>
                  <a:chExt cx="290" cy="657"/>
                </a:xfrm>
                <a:solidFill>
                  <a:srgbClr val="CDCDCD"/>
                </a:solidFill>
              </p:grpSpPr>
              <p:sp>
                <p:nvSpPr>
                  <p:cNvPr id="588" name="Freeform 439">
                    <a:extLst>
                      <a:ext uri="{FF2B5EF4-FFF2-40B4-BE49-F238E27FC236}">
                        <a16:creationId xmlns="" xmlns:a16="http://schemas.microsoft.com/office/drawing/2014/main" id="{17983224-8254-47B7-B14B-CE3417B48B6F}"/>
                      </a:ext>
                    </a:extLst>
                  </p:cNvPr>
                  <p:cNvSpPr>
                    <a:spLocks/>
                  </p:cNvSpPr>
                  <p:nvPr/>
                </p:nvSpPr>
                <p:spPr bwMode="auto">
                  <a:xfrm>
                    <a:off x="1748" y="3531"/>
                    <a:ext cx="15" cy="17"/>
                  </a:xfrm>
                  <a:custGeom>
                    <a:avLst/>
                    <a:gdLst>
                      <a:gd name="T0" fmla="*/ 46 w 46"/>
                      <a:gd name="T1" fmla="*/ 12 h 51"/>
                      <a:gd name="T2" fmla="*/ 19 w 46"/>
                      <a:gd name="T3" fmla="*/ 0 h 51"/>
                      <a:gd name="T4" fmla="*/ 13 w 46"/>
                      <a:gd name="T5" fmla="*/ 5 h 51"/>
                      <a:gd name="T6" fmla="*/ 7 w 46"/>
                      <a:gd name="T7" fmla="*/ 9 h 51"/>
                      <a:gd name="T8" fmla="*/ 4 w 46"/>
                      <a:gd name="T9" fmla="*/ 12 h 51"/>
                      <a:gd name="T10" fmla="*/ 2 w 46"/>
                      <a:gd name="T11" fmla="*/ 14 h 51"/>
                      <a:gd name="T12" fmla="*/ 0 w 46"/>
                      <a:gd name="T13" fmla="*/ 16 h 51"/>
                      <a:gd name="T14" fmla="*/ 0 w 46"/>
                      <a:gd name="T15" fmla="*/ 19 h 51"/>
                      <a:gd name="T16" fmla="*/ 0 w 46"/>
                      <a:gd name="T17" fmla="*/ 24 h 51"/>
                      <a:gd name="T18" fmla="*/ 2 w 46"/>
                      <a:gd name="T19" fmla="*/ 29 h 51"/>
                      <a:gd name="T20" fmla="*/ 4 w 46"/>
                      <a:gd name="T21" fmla="*/ 36 h 51"/>
                      <a:gd name="T22" fmla="*/ 7 w 46"/>
                      <a:gd name="T23" fmla="*/ 41 h 51"/>
                      <a:gd name="T24" fmla="*/ 10 w 46"/>
                      <a:gd name="T25" fmla="*/ 46 h 51"/>
                      <a:gd name="T26" fmla="*/ 13 w 46"/>
                      <a:gd name="T27" fmla="*/ 49 h 51"/>
                      <a:gd name="T28" fmla="*/ 15 w 46"/>
                      <a:gd name="T29" fmla="*/ 50 h 51"/>
                      <a:gd name="T30" fmla="*/ 16 w 46"/>
                      <a:gd name="T31" fmla="*/ 51 h 51"/>
                      <a:gd name="T32" fmla="*/ 18 w 46"/>
                      <a:gd name="T33" fmla="*/ 51 h 51"/>
                      <a:gd name="T34" fmla="*/ 19 w 46"/>
                      <a:gd name="T35" fmla="*/ 50 h 51"/>
                      <a:gd name="T36" fmla="*/ 35 w 46"/>
                      <a:gd name="T37" fmla="*/ 50 h 51"/>
                      <a:gd name="T38" fmla="*/ 46 w 46"/>
                      <a:gd name="T39" fmla="*/ 50 h 51"/>
                      <a:gd name="T40" fmla="*/ 46 w 46"/>
                      <a:gd name="T41" fmla="*/ 37 h 51"/>
                      <a:gd name="T42" fmla="*/ 46 w 46"/>
                      <a:gd name="T43" fmla="*/ 26 h 51"/>
                      <a:gd name="T44" fmla="*/ 46 w 46"/>
                      <a:gd name="T45" fmla="*/ 18 h 51"/>
                      <a:gd name="T46" fmla="*/ 46 w 46"/>
                      <a:gd name="T47"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589" name="Freeform 440">
                    <a:extLst>
                      <a:ext uri="{FF2B5EF4-FFF2-40B4-BE49-F238E27FC236}">
                        <a16:creationId xmlns="" xmlns:a16="http://schemas.microsoft.com/office/drawing/2014/main" id="{A8958688-6CF8-4B7B-9BF4-E34B83ACE25B}"/>
                      </a:ext>
                    </a:extLst>
                  </p:cNvPr>
                  <p:cNvSpPr>
                    <a:spLocks/>
                  </p:cNvSpPr>
                  <p:nvPr/>
                </p:nvSpPr>
                <p:spPr bwMode="auto">
                  <a:xfrm>
                    <a:off x="1759" y="3730"/>
                    <a:ext cx="63" cy="53"/>
                  </a:xfrm>
                  <a:custGeom>
                    <a:avLst/>
                    <a:gdLst>
                      <a:gd name="T0" fmla="*/ 0 w 192"/>
                      <a:gd name="T1" fmla="*/ 0 h 158"/>
                      <a:gd name="T2" fmla="*/ 0 w 192"/>
                      <a:gd name="T3" fmla="*/ 14 h 158"/>
                      <a:gd name="T4" fmla="*/ 2 w 192"/>
                      <a:gd name="T5" fmla="*/ 26 h 158"/>
                      <a:gd name="T6" fmla="*/ 4 w 192"/>
                      <a:gd name="T7" fmla="*/ 38 h 158"/>
                      <a:gd name="T8" fmla="*/ 7 w 192"/>
                      <a:gd name="T9" fmla="*/ 50 h 158"/>
                      <a:gd name="T10" fmla="*/ 11 w 192"/>
                      <a:gd name="T11" fmla="*/ 61 h 158"/>
                      <a:gd name="T12" fmla="*/ 15 w 192"/>
                      <a:gd name="T13" fmla="*/ 71 h 158"/>
                      <a:gd name="T14" fmla="*/ 21 w 192"/>
                      <a:gd name="T15" fmla="*/ 81 h 158"/>
                      <a:gd name="T16" fmla="*/ 25 w 192"/>
                      <a:gd name="T17" fmla="*/ 90 h 158"/>
                      <a:gd name="T18" fmla="*/ 47 w 192"/>
                      <a:gd name="T19" fmla="*/ 122 h 158"/>
                      <a:gd name="T20" fmla="*/ 66 w 192"/>
                      <a:gd name="T21" fmla="*/ 148 h 158"/>
                      <a:gd name="T22" fmla="*/ 72 w 192"/>
                      <a:gd name="T23" fmla="*/ 151 h 158"/>
                      <a:gd name="T24" fmla="*/ 79 w 192"/>
                      <a:gd name="T25" fmla="*/ 153 h 158"/>
                      <a:gd name="T26" fmla="*/ 85 w 192"/>
                      <a:gd name="T27" fmla="*/ 155 h 158"/>
                      <a:gd name="T28" fmla="*/ 92 w 192"/>
                      <a:gd name="T29" fmla="*/ 156 h 158"/>
                      <a:gd name="T30" fmla="*/ 105 w 192"/>
                      <a:gd name="T31" fmla="*/ 158 h 158"/>
                      <a:gd name="T32" fmla="*/ 119 w 192"/>
                      <a:gd name="T33" fmla="*/ 158 h 158"/>
                      <a:gd name="T34" fmla="*/ 152 w 192"/>
                      <a:gd name="T35" fmla="*/ 155 h 158"/>
                      <a:gd name="T36" fmla="*/ 192 w 192"/>
                      <a:gd name="T37" fmla="*/ 154 h 158"/>
                      <a:gd name="T38" fmla="*/ 184 w 192"/>
                      <a:gd name="T39" fmla="*/ 153 h 158"/>
                      <a:gd name="T40" fmla="*/ 176 w 192"/>
                      <a:gd name="T41" fmla="*/ 152 h 158"/>
                      <a:gd name="T42" fmla="*/ 168 w 192"/>
                      <a:gd name="T43" fmla="*/ 151 h 158"/>
                      <a:gd name="T44" fmla="*/ 160 w 192"/>
                      <a:gd name="T45" fmla="*/ 149 h 158"/>
                      <a:gd name="T46" fmla="*/ 145 w 192"/>
                      <a:gd name="T47" fmla="*/ 144 h 158"/>
                      <a:gd name="T48" fmla="*/ 129 w 192"/>
                      <a:gd name="T49" fmla="*/ 138 h 158"/>
                      <a:gd name="T50" fmla="*/ 115 w 192"/>
                      <a:gd name="T51" fmla="*/ 130 h 158"/>
                      <a:gd name="T52" fmla="*/ 101 w 192"/>
                      <a:gd name="T53" fmla="*/ 120 h 158"/>
                      <a:gd name="T54" fmla="*/ 87 w 192"/>
                      <a:gd name="T55" fmla="*/ 110 h 158"/>
                      <a:gd name="T56" fmla="*/ 75 w 192"/>
                      <a:gd name="T57" fmla="*/ 98 h 158"/>
                      <a:gd name="T58" fmla="*/ 63 w 192"/>
                      <a:gd name="T59" fmla="*/ 87 h 158"/>
                      <a:gd name="T60" fmla="*/ 52 w 192"/>
                      <a:gd name="T61" fmla="*/ 75 h 158"/>
                      <a:gd name="T62" fmla="*/ 42 w 192"/>
                      <a:gd name="T63" fmla="*/ 63 h 158"/>
                      <a:gd name="T64" fmla="*/ 35 w 192"/>
                      <a:gd name="T65" fmla="*/ 50 h 158"/>
                      <a:gd name="T66" fmla="*/ 27 w 192"/>
                      <a:gd name="T67" fmla="*/ 38 h 158"/>
                      <a:gd name="T68" fmla="*/ 21 w 192"/>
                      <a:gd name="T69" fmla="*/ 26 h 158"/>
                      <a:gd name="T70" fmla="*/ 16 w 192"/>
                      <a:gd name="T71" fmla="*/ 16 h 158"/>
                      <a:gd name="T72" fmla="*/ 13 w 192"/>
                      <a:gd name="T73" fmla="*/ 6 h 158"/>
                      <a:gd name="T74" fmla="*/ 0 w 192"/>
                      <a:gd name="T75"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590" name="Freeform 441">
                    <a:extLst>
                      <a:ext uri="{FF2B5EF4-FFF2-40B4-BE49-F238E27FC236}">
                        <a16:creationId xmlns="" xmlns:a16="http://schemas.microsoft.com/office/drawing/2014/main" id="{63DA8A8B-96F1-4353-9F8D-354DA2185010}"/>
                      </a:ext>
                    </a:extLst>
                  </p:cNvPr>
                  <p:cNvSpPr>
                    <a:spLocks/>
                  </p:cNvSpPr>
                  <p:nvPr/>
                </p:nvSpPr>
                <p:spPr bwMode="auto">
                  <a:xfrm>
                    <a:off x="1589" y="3126"/>
                    <a:ext cx="290" cy="606"/>
                  </a:xfrm>
                  <a:custGeom>
                    <a:avLst/>
                    <a:gdLst>
                      <a:gd name="T0" fmla="*/ 772 w 884"/>
                      <a:gd name="T1" fmla="*/ 415 h 1818"/>
                      <a:gd name="T2" fmla="*/ 873 w 884"/>
                      <a:gd name="T3" fmla="*/ 342 h 1818"/>
                      <a:gd name="T4" fmla="*/ 884 w 884"/>
                      <a:gd name="T5" fmla="*/ 232 h 1818"/>
                      <a:gd name="T6" fmla="*/ 840 w 884"/>
                      <a:gd name="T7" fmla="*/ 192 h 1818"/>
                      <a:gd name="T8" fmla="*/ 841 w 884"/>
                      <a:gd name="T9" fmla="*/ 262 h 1818"/>
                      <a:gd name="T10" fmla="*/ 774 w 884"/>
                      <a:gd name="T11" fmla="*/ 328 h 1818"/>
                      <a:gd name="T12" fmla="*/ 667 w 884"/>
                      <a:gd name="T13" fmla="*/ 331 h 1818"/>
                      <a:gd name="T14" fmla="*/ 625 w 884"/>
                      <a:gd name="T15" fmla="*/ 290 h 1818"/>
                      <a:gd name="T16" fmla="*/ 658 w 884"/>
                      <a:gd name="T17" fmla="*/ 215 h 1818"/>
                      <a:gd name="T18" fmla="*/ 544 w 884"/>
                      <a:gd name="T19" fmla="*/ 148 h 1818"/>
                      <a:gd name="T20" fmla="*/ 425 w 884"/>
                      <a:gd name="T21" fmla="*/ 87 h 1818"/>
                      <a:gd name="T22" fmla="*/ 373 w 884"/>
                      <a:gd name="T23" fmla="*/ 10 h 1818"/>
                      <a:gd name="T24" fmla="*/ 286 w 884"/>
                      <a:gd name="T25" fmla="*/ 22 h 1818"/>
                      <a:gd name="T26" fmla="*/ 234 w 884"/>
                      <a:gd name="T27" fmla="*/ 24 h 1818"/>
                      <a:gd name="T28" fmla="*/ 171 w 884"/>
                      <a:gd name="T29" fmla="*/ 8 h 1818"/>
                      <a:gd name="T30" fmla="*/ 98 w 884"/>
                      <a:gd name="T31" fmla="*/ 54 h 1818"/>
                      <a:gd name="T32" fmla="*/ 67 w 884"/>
                      <a:gd name="T33" fmla="*/ 116 h 1818"/>
                      <a:gd name="T34" fmla="*/ 27 w 884"/>
                      <a:gd name="T35" fmla="*/ 179 h 1818"/>
                      <a:gd name="T36" fmla="*/ 55 w 884"/>
                      <a:gd name="T37" fmla="*/ 251 h 1818"/>
                      <a:gd name="T38" fmla="*/ 51 w 884"/>
                      <a:gd name="T39" fmla="*/ 319 h 1818"/>
                      <a:gd name="T40" fmla="*/ 0 w 884"/>
                      <a:gd name="T41" fmla="*/ 432 h 1818"/>
                      <a:gd name="T42" fmla="*/ 12 w 884"/>
                      <a:gd name="T43" fmla="*/ 609 h 1818"/>
                      <a:gd name="T44" fmla="*/ 76 w 884"/>
                      <a:gd name="T45" fmla="*/ 696 h 1818"/>
                      <a:gd name="T46" fmla="*/ 60 w 884"/>
                      <a:gd name="T47" fmla="*/ 753 h 1818"/>
                      <a:gd name="T48" fmla="*/ 60 w 884"/>
                      <a:gd name="T49" fmla="*/ 808 h 1818"/>
                      <a:gd name="T50" fmla="*/ 81 w 884"/>
                      <a:gd name="T51" fmla="*/ 850 h 1818"/>
                      <a:gd name="T52" fmla="*/ 53 w 884"/>
                      <a:gd name="T53" fmla="*/ 900 h 1818"/>
                      <a:gd name="T54" fmla="*/ 82 w 884"/>
                      <a:gd name="T55" fmla="*/ 983 h 1818"/>
                      <a:gd name="T56" fmla="*/ 81 w 884"/>
                      <a:gd name="T57" fmla="*/ 1055 h 1818"/>
                      <a:gd name="T58" fmla="*/ 78 w 884"/>
                      <a:gd name="T59" fmla="*/ 1152 h 1818"/>
                      <a:gd name="T60" fmla="*/ 137 w 884"/>
                      <a:gd name="T61" fmla="*/ 1265 h 1818"/>
                      <a:gd name="T62" fmla="*/ 198 w 884"/>
                      <a:gd name="T63" fmla="*/ 1394 h 1818"/>
                      <a:gd name="T64" fmla="*/ 217 w 884"/>
                      <a:gd name="T65" fmla="*/ 1463 h 1818"/>
                      <a:gd name="T66" fmla="*/ 230 w 884"/>
                      <a:gd name="T67" fmla="*/ 1526 h 1818"/>
                      <a:gd name="T68" fmla="*/ 213 w 884"/>
                      <a:gd name="T69" fmla="*/ 1590 h 1818"/>
                      <a:gd name="T70" fmla="*/ 201 w 884"/>
                      <a:gd name="T71" fmla="*/ 1644 h 1818"/>
                      <a:gd name="T72" fmla="*/ 228 w 884"/>
                      <a:gd name="T73" fmla="*/ 1718 h 1818"/>
                      <a:gd name="T74" fmla="*/ 311 w 884"/>
                      <a:gd name="T75" fmla="*/ 1772 h 1818"/>
                      <a:gd name="T76" fmla="*/ 392 w 884"/>
                      <a:gd name="T77" fmla="*/ 1798 h 1818"/>
                      <a:gd name="T78" fmla="*/ 451 w 884"/>
                      <a:gd name="T79" fmla="*/ 1786 h 1818"/>
                      <a:gd name="T80" fmla="*/ 454 w 884"/>
                      <a:gd name="T81" fmla="*/ 1703 h 1818"/>
                      <a:gd name="T82" fmla="*/ 470 w 884"/>
                      <a:gd name="T83" fmla="*/ 1612 h 1818"/>
                      <a:gd name="T84" fmla="*/ 495 w 884"/>
                      <a:gd name="T85" fmla="*/ 1509 h 1818"/>
                      <a:gd name="T86" fmla="*/ 420 w 884"/>
                      <a:gd name="T87" fmla="*/ 1486 h 1818"/>
                      <a:gd name="T88" fmla="*/ 401 w 884"/>
                      <a:gd name="T89" fmla="*/ 1430 h 1818"/>
                      <a:gd name="T90" fmla="*/ 453 w 884"/>
                      <a:gd name="T91" fmla="*/ 1395 h 1818"/>
                      <a:gd name="T92" fmla="*/ 484 w 884"/>
                      <a:gd name="T93" fmla="*/ 1332 h 1818"/>
                      <a:gd name="T94" fmla="*/ 455 w 884"/>
                      <a:gd name="T95" fmla="*/ 1224 h 1818"/>
                      <a:gd name="T96" fmla="*/ 425 w 884"/>
                      <a:gd name="T97" fmla="*/ 1141 h 1818"/>
                      <a:gd name="T98" fmla="*/ 518 w 884"/>
                      <a:gd name="T99" fmla="*/ 1166 h 1818"/>
                      <a:gd name="T100" fmla="*/ 568 w 884"/>
                      <a:gd name="T101" fmla="*/ 1151 h 1818"/>
                      <a:gd name="T102" fmla="*/ 558 w 884"/>
                      <a:gd name="T103" fmla="*/ 1078 h 1818"/>
                      <a:gd name="T104" fmla="*/ 565 w 884"/>
                      <a:gd name="T105" fmla="*/ 1030 h 1818"/>
                      <a:gd name="T106" fmla="*/ 676 w 884"/>
                      <a:gd name="T107" fmla="*/ 1023 h 1818"/>
                      <a:gd name="T108" fmla="*/ 795 w 884"/>
                      <a:gd name="T109" fmla="*/ 973 h 1818"/>
                      <a:gd name="T110" fmla="*/ 816 w 884"/>
                      <a:gd name="T111" fmla="*/ 882 h 1818"/>
                      <a:gd name="T112" fmla="*/ 781 w 884"/>
                      <a:gd name="T113" fmla="*/ 852 h 1818"/>
                      <a:gd name="T114" fmla="*/ 758 w 884"/>
                      <a:gd name="T115" fmla="*/ 810 h 1818"/>
                      <a:gd name="T116" fmla="*/ 692 w 884"/>
                      <a:gd name="T117" fmla="*/ 752 h 1818"/>
                      <a:gd name="T118" fmla="*/ 701 w 884"/>
                      <a:gd name="T119" fmla="*/ 532 h 1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grpSp>
            <p:sp>
              <p:nvSpPr>
                <p:cNvPr id="25" name="Freeform 5">
                  <a:extLst>
                    <a:ext uri="{FF2B5EF4-FFF2-40B4-BE49-F238E27FC236}">
                      <a16:creationId xmlns="" xmlns:a16="http://schemas.microsoft.com/office/drawing/2014/main" id="{9026E195-7772-40B4-9C25-C0C3DFCB1765}"/>
                    </a:ext>
                  </a:extLst>
                </p:cNvPr>
                <p:cNvSpPr>
                  <a:spLocks/>
                </p:cNvSpPr>
                <p:nvPr>
                  <p:custDataLst>
                    <p:tags r:id="rId13"/>
                  </p:custDataLst>
                </p:nvPr>
              </p:nvSpPr>
              <p:spPr bwMode="auto">
                <a:xfrm>
                  <a:off x="3611539" y="1444497"/>
                  <a:ext cx="556228" cy="316397"/>
                </a:xfrm>
                <a:custGeom>
                  <a:avLst/>
                  <a:gdLst>
                    <a:gd name="T0" fmla="*/ 1395 w 1808"/>
                    <a:gd name="T1" fmla="*/ 807 h 850"/>
                    <a:gd name="T2" fmla="*/ 1394 w 1808"/>
                    <a:gd name="T3" fmla="*/ 753 h 850"/>
                    <a:gd name="T4" fmla="*/ 1373 w 1808"/>
                    <a:gd name="T5" fmla="*/ 648 h 850"/>
                    <a:gd name="T6" fmla="*/ 1323 w 1808"/>
                    <a:gd name="T7" fmla="*/ 641 h 850"/>
                    <a:gd name="T8" fmla="*/ 1264 w 1808"/>
                    <a:gd name="T9" fmla="*/ 639 h 850"/>
                    <a:gd name="T10" fmla="*/ 1134 w 1808"/>
                    <a:gd name="T11" fmla="*/ 582 h 850"/>
                    <a:gd name="T12" fmla="*/ 973 w 1808"/>
                    <a:gd name="T13" fmla="*/ 537 h 850"/>
                    <a:gd name="T14" fmla="*/ 943 w 1808"/>
                    <a:gd name="T15" fmla="*/ 504 h 850"/>
                    <a:gd name="T16" fmla="*/ 901 w 1808"/>
                    <a:gd name="T17" fmla="*/ 516 h 850"/>
                    <a:gd name="T18" fmla="*/ 849 w 1808"/>
                    <a:gd name="T19" fmla="*/ 570 h 850"/>
                    <a:gd name="T20" fmla="*/ 675 w 1808"/>
                    <a:gd name="T21" fmla="*/ 619 h 850"/>
                    <a:gd name="T22" fmla="*/ 678 w 1808"/>
                    <a:gd name="T23" fmla="*/ 578 h 850"/>
                    <a:gd name="T24" fmla="*/ 721 w 1808"/>
                    <a:gd name="T25" fmla="*/ 548 h 850"/>
                    <a:gd name="T26" fmla="*/ 786 w 1808"/>
                    <a:gd name="T27" fmla="*/ 545 h 850"/>
                    <a:gd name="T28" fmla="*/ 724 w 1808"/>
                    <a:gd name="T29" fmla="*/ 528 h 850"/>
                    <a:gd name="T30" fmla="*/ 578 w 1808"/>
                    <a:gd name="T31" fmla="*/ 589 h 850"/>
                    <a:gd name="T32" fmla="*/ 547 w 1808"/>
                    <a:gd name="T33" fmla="*/ 625 h 850"/>
                    <a:gd name="T34" fmla="*/ 526 w 1808"/>
                    <a:gd name="T35" fmla="*/ 650 h 850"/>
                    <a:gd name="T36" fmla="*/ 452 w 1808"/>
                    <a:gd name="T37" fmla="*/ 654 h 850"/>
                    <a:gd name="T38" fmla="*/ 383 w 1808"/>
                    <a:gd name="T39" fmla="*/ 702 h 850"/>
                    <a:gd name="T40" fmla="*/ 252 w 1808"/>
                    <a:gd name="T41" fmla="*/ 750 h 850"/>
                    <a:gd name="T42" fmla="*/ 105 w 1808"/>
                    <a:gd name="T43" fmla="*/ 807 h 850"/>
                    <a:gd name="T44" fmla="*/ 4 w 1808"/>
                    <a:gd name="T45" fmla="*/ 813 h 850"/>
                    <a:gd name="T46" fmla="*/ 14 w 1808"/>
                    <a:gd name="T47" fmla="*/ 789 h 850"/>
                    <a:gd name="T48" fmla="*/ 127 w 1808"/>
                    <a:gd name="T49" fmla="*/ 761 h 850"/>
                    <a:gd name="T50" fmla="*/ 265 w 1808"/>
                    <a:gd name="T51" fmla="*/ 696 h 850"/>
                    <a:gd name="T52" fmla="*/ 300 w 1808"/>
                    <a:gd name="T53" fmla="*/ 626 h 850"/>
                    <a:gd name="T54" fmla="*/ 253 w 1808"/>
                    <a:gd name="T55" fmla="*/ 657 h 850"/>
                    <a:gd name="T56" fmla="*/ 150 w 1808"/>
                    <a:gd name="T57" fmla="*/ 643 h 850"/>
                    <a:gd name="T58" fmla="*/ 172 w 1808"/>
                    <a:gd name="T59" fmla="*/ 610 h 850"/>
                    <a:gd name="T60" fmla="*/ 240 w 1808"/>
                    <a:gd name="T61" fmla="*/ 547 h 850"/>
                    <a:gd name="T62" fmla="*/ 152 w 1808"/>
                    <a:gd name="T63" fmla="*/ 575 h 850"/>
                    <a:gd name="T64" fmla="*/ 143 w 1808"/>
                    <a:gd name="T65" fmla="*/ 536 h 850"/>
                    <a:gd name="T66" fmla="*/ 346 w 1808"/>
                    <a:gd name="T67" fmla="*/ 380 h 850"/>
                    <a:gd name="T68" fmla="*/ 444 w 1808"/>
                    <a:gd name="T69" fmla="*/ 382 h 850"/>
                    <a:gd name="T70" fmla="*/ 569 w 1808"/>
                    <a:gd name="T71" fmla="*/ 349 h 850"/>
                    <a:gd name="T72" fmla="*/ 592 w 1808"/>
                    <a:gd name="T73" fmla="*/ 306 h 850"/>
                    <a:gd name="T74" fmla="*/ 506 w 1808"/>
                    <a:gd name="T75" fmla="*/ 331 h 850"/>
                    <a:gd name="T76" fmla="*/ 438 w 1808"/>
                    <a:gd name="T77" fmla="*/ 318 h 850"/>
                    <a:gd name="T78" fmla="*/ 472 w 1808"/>
                    <a:gd name="T79" fmla="*/ 287 h 850"/>
                    <a:gd name="T80" fmla="*/ 711 w 1808"/>
                    <a:gd name="T81" fmla="*/ 238 h 850"/>
                    <a:gd name="T82" fmla="*/ 749 w 1808"/>
                    <a:gd name="T83" fmla="*/ 210 h 850"/>
                    <a:gd name="T84" fmla="*/ 684 w 1808"/>
                    <a:gd name="T85" fmla="*/ 176 h 850"/>
                    <a:gd name="T86" fmla="*/ 739 w 1808"/>
                    <a:gd name="T87" fmla="*/ 109 h 850"/>
                    <a:gd name="T88" fmla="*/ 988 w 1808"/>
                    <a:gd name="T89" fmla="*/ 27 h 850"/>
                    <a:gd name="T90" fmla="*/ 1157 w 1808"/>
                    <a:gd name="T91" fmla="*/ 9 h 850"/>
                    <a:gd name="T92" fmla="*/ 1277 w 1808"/>
                    <a:gd name="T93" fmla="*/ 2 h 850"/>
                    <a:gd name="T94" fmla="*/ 1354 w 1808"/>
                    <a:gd name="T95" fmla="*/ 10 h 850"/>
                    <a:gd name="T96" fmla="*/ 1516 w 1808"/>
                    <a:gd name="T97" fmla="*/ 34 h 850"/>
                    <a:gd name="T98" fmla="*/ 1761 w 1808"/>
                    <a:gd name="T99" fmla="*/ 41 h 850"/>
                    <a:gd name="T100" fmla="*/ 1287 w 1808"/>
                    <a:gd name="T101" fmla="*/ 540 h 850"/>
                    <a:gd name="T102" fmla="*/ 1321 w 1808"/>
                    <a:gd name="T103" fmla="*/ 571 h 850"/>
                    <a:gd name="T104" fmla="*/ 1327 w 1808"/>
                    <a:gd name="T105" fmla="*/ 601 h 850"/>
                    <a:gd name="T106" fmla="*/ 1382 w 1808"/>
                    <a:gd name="T107" fmla="*/ 599 h 850"/>
                    <a:gd name="T108" fmla="*/ 1429 w 1808"/>
                    <a:gd name="T109" fmla="*/ 577 h 850"/>
                    <a:gd name="T110" fmla="*/ 1475 w 1808"/>
                    <a:gd name="T111" fmla="*/ 667 h 850"/>
                    <a:gd name="T112" fmla="*/ 1462 w 1808"/>
                    <a:gd name="T113" fmla="*/ 706 h 850"/>
                    <a:gd name="T114" fmla="*/ 1449 w 1808"/>
                    <a:gd name="T115" fmla="*/ 742 h 850"/>
                    <a:gd name="T116" fmla="*/ 1477 w 1808"/>
                    <a:gd name="T117" fmla="*/ 783 h 850"/>
                    <a:gd name="T118" fmla="*/ 1477 w 1808"/>
                    <a:gd name="T119" fmla="*/ 811 h 850"/>
                    <a:gd name="T120" fmla="*/ 1426 w 1808"/>
                    <a:gd name="T121" fmla="*/ 848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26" name="Freeform 6">
                  <a:extLst>
                    <a:ext uri="{FF2B5EF4-FFF2-40B4-BE49-F238E27FC236}">
                      <a16:creationId xmlns="" xmlns:a16="http://schemas.microsoft.com/office/drawing/2014/main" id="{BA796438-1105-44F6-8301-1737B97FBF23}"/>
                    </a:ext>
                  </a:extLst>
                </p:cNvPr>
                <p:cNvSpPr>
                  <a:spLocks/>
                </p:cNvSpPr>
                <p:nvPr>
                  <p:custDataLst>
                    <p:tags r:id="rId14"/>
                  </p:custDataLst>
                </p:nvPr>
              </p:nvSpPr>
              <p:spPr bwMode="auto">
                <a:xfrm>
                  <a:off x="3938070" y="1881372"/>
                  <a:ext cx="979592" cy="546095"/>
                </a:xfrm>
                <a:custGeom>
                  <a:avLst/>
                  <a:gdLst>
                    <a:gd name="T0" fmla="*/ 2928 w 3175"/>
                    <a:gd name="T1" fmla="*/ 353 h 1472"/>
                    <a:gd name="T2" fmla="*/ 2896 w 3175"/>
                    <a:gd name="T3" fmla="*/ 440 h 1472"/>
                    <a:gd name="T4" fmla="*/ 2843 w 3175"/>
                    <a:gd name="T5" fmla="*/ 462 h 1472"/>
                    <a:gd name="T6" fmla="*/ 2667 w 3175"/>
                    <a:gd name="T7" fmla="*/ 566 h 1472"/>
                    <a:gd name="T8" fmla="*/ 2595 w 3175"/>
                    <a:gd name="T9" fmla="*/ 585 h 1472"/>
                    <a:gd name="T10" fmla="*/ 2570 w 3175"/>
                    <a:gd name="T11" fmla="*/ 677 h 1472"/>
                    <a:gd name="T12" fmla="*/ 2514 w 3175"/>
                    <a:gd name="T13" fmla="*/ 621 h 1472"/>
                    <a:gd name="T14" fmla="*/ 2499 w 3175"/>
                    <a:gd name="T15" fmla="*/ 690 h 1472"/>
                    <a:gd name="T16" fmla="*/ 2465 w 3175"/>
                    <a:gd name="T17" fmla="*/ 744 h 1472"/>
                    <a:gd name="T18" fmla="*/ 2471 w 3175"/>
                    <a:gd name="T19" fmla="*/ 823 h 1472"/>
                    <a:gd name="T20" fmla="*/ 2332 w 3175"/>
                    <a:gd name="T21" fmla="*/ 928 h 1472"/>
                    <a:gd name="T22" fmla="*/ 2165 w 3175"/>
                    <a:gd name="T23" fmla="*/ 1045 h 1472"/>
                    <a:gd name="T24" fmla="*/ 2112 w 3175"/>
                    <a:gd name="T25" fmla="*/ 1195 h 1472"/>
                    <a:gd name="T26" fmla="*/ 2103 w 3175"/>
                    <a:gd name="T27" fmla="*/ 1457 h 1472"/>
                    <a:gd name="T28" fmla="*/ 2026 w 3175"/>
                    <a:gd name="T29" fmla="*/ 1414 h 1472"/>
                    <a:gd name="T30" fmla="*/ 1993 w 3175"/>
                    <a:gd name="T31" fmla="*/ 1326 h 1472"/>
                    <a:gd name="T32" fmla="*/ 1959 w 3175"/>
                    <a:gd name="T33" fmla="*/ 1184 h 1472"/>
                    <a:gd name="T34" fmla="*/ 1832 w 3175"/>
                    <a:gd name="T35" fmla="*/ 1168 h 1472"/>
                    <a:gd name="T36" fmla="*/ 1653 w 3175"/>
                    <a:gd name="T37" fmla="*/ 1143 h 1472"/>
                    <a:gd name="T38" fmla="*/ 1616 w 3175"/>
                    <a:gd name="T39" fmla="*/ 1186 h 1472"/>
                    <a:gd name="T40" fmla="*/ 1548 w 3175"/>
                    <a:gd name="T41" fmla="*/ 1238 h 1472"/>
                    <a:gd name="T42" fmla="*/ 1436 w 3175"/>
                    <a:gd name="T43" fmla="*/ 1192 h 1472"/>
                    <a:gd name="T44" fmla="*/ 1231 w 3175"/>
                    <a:gd name="T45" fmla="*/ 1272 h 1472"/>
                    <a:gd name="T46" fmla="*/ 1160 w 3175"/>
                    <a:gd name="T47" fmla="*/ 1392 h 1472"/>
                    <a:gd name="T48" fmla="*/ 1080 w 3175"/>
                    <a:gd name="T49" fmla="*/ 1382 h 1472"/>
                    <a:gd name="T50" fmla="*/ 1037 w 3175"/>
                    <a:gd name="T51" fmla="*/ 1227 h 1472"/>
                    <a:gd name="T52" fmla="*/ 940 w 3175"/>
                    <a:gd name="T53" fmla="*/ 1190 h 1472"/>
                    <a:gd name="T54" fmla="*/ 867 w 3175"/>
                    <a:gd name="T55" fmla="*/ 1219 h 1472"/>
                    <a:gd name="T56" fmla="*/ 782 w 3175"/>
                    <a:gd name="T57" fmla="*/ 1087 h 1472"/>
                    <a:gd name="T58" fmla="*/ 670 w 3175"/>
                    <a:gd name="T59" fmla="*/ 1065 h 1472"/>
                    <a:gd name="T60" fmla="*/ 462 w 3175"/>
                    <a:gd name="T61" fmla="*/ 1065 h 1472"/>
                    <a:gd name="T62" fmla="*/ 220 w 3175"/>
                    <a:gd name="T63" fmla="*/ 1016 h 1472"/>
                    <a:gd name="T64" fmla="*/ 88 w 3175"/>
                    <a:gd name="T65" fmla="*/ 920 h 1472"/>
                    <a:gd name="T66" fmla="*/ 39 w 3175"/>
                    <a:gd name="T67" fmla="*/ 848 h 1472"/>
                    <a:gd name="T68" fmla="*/ 29 w 3175"/>
                    <a:gd name="T69" fmla="*/ 662 h 1472"/>
                    <a:gd name="T70" fmla="*/ 0 w 3175"/>
                    <a:gd name="T71" fmla="*/ 604 h 1472"/>
                    <a:gd name="T72" fmla="*/ 141 w 3175"/>
                    <a:gd name="T73" fmla="*/ 336 h 1472"/>
                    <a:gd name="T74" fmla="*/ 247 w 3175"/>
                    <a:gd name="T75" fmla="*/ 176 h 1472"/>
                    <a:gd name="T76" fmla="*/ 355 w 3175"/>
                    <a:gd name="T77" fmla="*/ 102 h 1472"/>
                    <a:gd name="T78" fmla="*/ 376 w 3175"/>
                    <a:gd name="T79" fmla="*/ 120 h 1472"/>
                    <a:gd name="T80" fmla="*/ 1827 w 3175"/>
                    <a:gd name="T81" fmla="*/ 0 h 1472"/>
                    <a:gd name="T82" fmla="*/ 1926 w 3175"/>
                    <a:gd name="T83" fmla="*/ 55 h 1472"/>
                    <a:gd name="T84" fmla="*/ 2015 w 3175"/>
                    <a:gd name="T85" fmla="*/ 69 h 1472"/>
                    <a:gd name="T86" fmla="*/ 1929 w 3175"/>
                    <a:gd name="T87" fmla="*/ 128 h 1472"/>
                    <a:gd name="T88" fmla="*/ 1977 w 3175"/>
                    <a:gd name="T89" fmla="*/ 166 h 1472"/>
                    <a:gd name="T90" fmla="*/ 2094 w 3175"/>
                    <a:gd name="T91" fmla="*/ 155 h 1472"/>
                    <a:gd name="T92" fmla="*/ 2284 w 3175"/>
                    <a:gd name="T93" fmla="*/ 193 h 1472"/>
                    <a:gd name="T94" fmla="*/ 2217 w 3175"/>
                    <a:gd name="T95" fmla="*/ 204 h 1472"/>
                    <a:gd name="T96" fmla="*/ 2087 w 3175"/>
                    <a:gd name="T97" fmla="*/ 264 h 1472"/>
                    <a:gd name="T98" fmla="*/ 2021 w 3175"/>
                    <a:gd name="T99" fmla="*/ 355 h 1472"/>
                    <a:gd name="T100" fmla="*/ 2012 w 3175"/>
                    <a:gd name="T101" fmla="*/ 451 h 1472"/>
                    <a:gd name="T102" fmla="*/ 2076 w 3175"/>
                    <a:gd name="T103" fmla="*/ 417 h 1472"/>
                    <a:gd name="T104" fmla="*/ 2205 w 3175"/>
                    <a:gd name="T105" fmla="*/ 252 h 1472"/>
                    <a:gd name="T106" fmla="*/ 2267 w 3175"/>
                    <a:gd name="T107" fmla="*/ 303 h 1472"/>
                    <a:gd name="T108" fmla="*/ 2299 w 3175"/>
                    <a:gd name="T109" fmla="*/ 394 h 1472"/>
                    <a:gd name="T110" fmla="*/ 2206 w 3175"/>
                    <a:gd name="T111" fmla="*/ 454 h 1472"/>
                    <a:gd name="T112" fmla="*/ 2317 w 3175"/>
                    <a:gd name="T113" fmla="*/ 457 h 1472"/>
                    <a:gd name="T114" fmla="*/ 2570 w 3175"/>
                    <a:gd name="T115" fmla="*/ 373 h 1472"/>
                    <a:gd name="T116" fmla="*/ 2730 w 3175"/>
                    <a:gd name="T117" fmla="*/ 252 h 1472"/>
                    <a:gd name="T118" fmla="*/ 3016 w 3175"/>
                    <a:gd name="T119" fmla="*/ 203 h 1472"/>
                    <a:gd name="T120" fmla="*/ 3136 w 3175"/>
                    <a:gd name="T121" fmla="*/ 118 h 1472"/>
                    <a:gd name="T122" fmla="*/ 3149 w 3175"/>
                    <a:gd name="T123" fmla="*/ 184 h 1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9" y="394"/>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27" name="Freeform 7">
                  <a:extLst>
                    <a:ext uri="{FF2B5EF4-FFF2-40B4-BE49-F238E27FC236}">
                      <a16:creationId xmlns="" xmlns:a16="http://schemas.microsoft.com/office/drawing/2014/main" id="{F4ED60A2-6D74-476D-80D7-FAFA590B46E7}"/>
                    </a:ext>
                  </a:extLst>
                </p:cNvPr>
                <p:cNvSpPr>
                  <a:spLocks/>
                </p:cNvSpPr>
                <p:nvPr>
                  <p:custDataLst>
                    <p:tags r:id="rId15"/>
                  </p:custDataLst>
                </p:nvPr>
              </p:nvSpPr>
              <p:spPr bwMode="auto">
                <a:xfrm>
                  <a:off x="4529202" y="2981443"/>
                  <a:ext cx="240957" cy="418860"/>
                </a:xfrm>
                <a:custGeom>
                  <a:avLst/>
                  <a:gdLst>
                    <a:gd name="T0" fmla="*/ 583 w 784"/>
                    <a:gd name="T1" fmla="*/ 277 h 1128"/>
                    <a:gd name="T2" fmla="*/ 549 w 784"/>
                    <a:gd name="T3" fmla="*/ 295 h 1128"/>
                    <a:gd name="T4" fmla="*/ 484 w 784"/>
                    <a:gd name="T5" fmla="*/ 387 h 1128"/>
                    <a:gd name="T6" fmla="*/ 465 w 784"/>
                    <a:gd name="T7" fmla="*/ 457 h 1128"/>
                    <a:gd name="T8" fmla="*/ 481 w 784"/>
                    <a:gd name="T9" fmla="*/ 522 h 1128"/>
                    <a:gd name="T10" fmla="*/ 530 w 784"/>
                    <a:gd name="T11" fmla="*/ 591 h 1128"/>
                    <a:gd name="T12" fmla="*/ 579 w 784"/>
                    <a:gd name="T13" fmla="*/ 616 h 1128"/>
                    <a:gd name="T14" fmla="*/ 625 w 784"/>
                    <a:gd name="T15" fmla="*/ 600 h 1128"/>
                    <a:gd name="T16" fmla="*/ 654 w 784"/>
                    <a:gd name="T17" fmla="*/ 653 h 1128"/>
                    <a:gd name="T18" fmla="*/ 672 w 784"/>
                    <a:gd name="T19" fmla="*/ 683 h 1128"/>
                    <a:gd name="T20" fmla="*/ 714 w 784"/>
                    <a:gd name="T21" fmla="*/ 687 h 1128"/>
                    <a:gd name="T22" fmla="*/ 749 w 784"/>
                    <a:gd name="T23" fmla="*/ 712 h 1128"/>
                    <a:gd name="T24" fmla="*/ 770 w 784"/>
                    <a:gd name="T25" fmla="*/ 756 h 1128"/>
                    <a:gd name="T26" fmla="*/ 761 w 784"/>
                    <a:gd name="T27" fmla="*/ 790 h 1128"/>
                    <a:gd name="T28" fmla="*/ 760 w 784"/>
                    <a:gd name="T29" fmla="*/ 825 h 1128"/>
                    <a:gd name="T30" fmla="*/ 772 w 784"/>
                    <a:gd name="T31" fmla="*/ 882 h 1128"/>
                    <a:gd name="T32" fmla="*/ 758 w 784"/>
                    <a:gd name="T33" fmla="*/ 932 h 1128"/>
                    <a:gd name="T34" fmla="*/ 770 w 784"/>
                    <a:gd name="T35" fmla="*/ 994 h 1128"/>
                    <a:gd name="T36" fmla="*/ 763 w 784"/>
                    <a:gd name="T37" fmla="*/ 1054 h 1128"/>
                    <a:gd name="T38" fmla="*/ 691 w 784"/>
                    <a:gd name="T39" fmla="*/ 1122 h 1128"/>
                    <a:gd name="T40" fmla="*/ 648 w 784"/>
                    <a:gd name="T41" fmla="*/ 1103 h 1128"/>
                    <a:gd name="T42" fmla="*/ 602 w 784"/>
                    <a:gd name="T43" fmla="*/ 1056 h 1128"/>
                    <a:gd name="T44" fmla="*/ 463 w 784"/>
                    <a:gd name="T45" fmla="*/ 998 h 1128"/>
                    <a:gd name="T46" fmla="*/ 425 w 784"/>
                    <a:gd name="T47" fmla="*/ 967 h 1128"/>
                    <a:gd name="T48" fmla="*/ 331 w 784"/>
                    <a:gd name="T49" fmla="*/ 894 h 1128"/>
                    <a:gd name="T50" fmla="*/ 318 w 784"/>
                    <a:gd name="T51" fmla="*/ 867 h 1128"/>
                    <a:gd name="T52" fmla="*/ 328 w 784"/>
                    <a:gd name="T53" fmla="*/ 815 h 1128"/>
                    <a:gd name="T54" fmla="*/ 290 w 784"/>
                    <a:gd name="T55" fmla="*/ 778 h 1128"/>
                    <a:gd name="T56" fmla="*/ 259 w 784"/>
                    <a:gd name="T57" fmla="*/ 745 h 1128"/>
                    <a:gd name="T58" fmla="*/ 243 w 784"/>
                    <a:gd name="T59" fmla="*/ 689 h 1128"/>
                    <a:gd name="T60" fmla="*/ 153 w 784"/>
                    <a:gd name="T61" fmla="*/ 530 h 1128"/>
                    <a:gd name="T62" fmla="*/ 120 w 784"/>
                    <a:gd name="T63" fmla="*/ 487 h 1128"/>
                    <a:gd name="T64" fmla="*/ 90 w 784"/>
                    <a:gd name="T65" fmla="*/ 432 h 1128"/>
                    <a:gd name="T66" fmla="*/ 22 w 784"/>
                    <a:gd name="T67" fmla="*/ 397 h 1128"/>
                    <a:gd name="T68" fmla="*/ 0 w 784"/>
                    <a:gd name="T69" fmla="*/ 363 h 1128"/>
                    <a:gd name="T70" fmla="*/ 13 w 784"/>
                    <a:gd name="T71" fmla="*/ 276 h 1128"/>
                    <a:gd name="T72" fmla="*/ 28 w 784"/>
                    <a:gd name="T73" fmla="*/ 246 h 1128"/>
                    <a:gd name="T74" fmla="*/ 72 w 784"/>
                    <a:gd name="T75" fmla="*/ 222 h 1128"/>
                    <a:gd name="T76" fmla="*/ 95 w 784"/>
                    <a:gd name="T77" fmla="*/ 272 h 1128"/>
                    <a:gd name="T78" fmla="*/ 158 w 784"/>
                    <a:gd name="T79" fmla="*/ 307 h 1128"/>
                    <a:gd name="T80" fmla="*/ 184 w 784"/>
                    <a:gd name="T81" fmla="*/ 271 h 1128"/>
                    <a:gd name="T82" fmla="*/ 201 w 784"/>
                    <a:gd name="T83" fmla="*/ 225 h 1128"/>
                    <a:gd name="T84" fmla="*/ 270 w 784"/>
                    <a:gd name="T85" fmla="*/ 170 h 1128"/>
                    <a:gd name="T86" fmla="*/ 344 w 784"/>
                    <a:gd name="T87" fmla="*/ 120 h 1128"/>
                    <a:gd name="T88" fmla="*/ 357 w 784"/>
                    <a:gd name="T89" fmla="*/ 70 h 1128"/>
                    <a:gd name="T90" fmla="*/ 347 w 784"/>
                    <a:gd name="T91" fmla="*/ 5 h 1128"/>
                    <a:gd name="T92" fmla="*/ 422 w 784"/>
                    <a:gd name="T93" fmla="*/ 53 h 1128"/>
                    <a:gd name="T94" fmla="*/ 467 w 784"/>
                    <a:gd name="T95" fmla="*/ 107 h 1128"/>
                    <a:gd name="T96" fmla="*/ 506 w 784"/>
                    <a:gd name="T97" fmla="*/ 154 h 1128"/>
                    <a:gd name="T98" fmla="*/ 561 w 784"/>
                    <a:gd name="T99" fmla="*/ 157 h 1128"/>
                    <a:gd name="T100" fmla="*/ 617 w 784"/>
                    <a:gd name="T101" fmla="*/ 149 h 1128"/>
                    <a:gd name="T102" fmla="*/ 640 w 784"/>
                    <a:gd name="T103" fmla="*/ 156 h 1128"/>
                    <a:gd name="T104" fmla="*/ 654 w 784"/>
                    <a:gd name="T105" fmla="*/ 193 h 1128"/>
                    <a:gd name="T106" fmla="*/ 627 w 784"/>
                    <a:gd name="T107" fmla="*/ 210 h 1128"/>
                    <a:gd name="T108" fmla="*/ 627 w 784"/>
                    <a:gd name="T109" fmla="*/ 240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28" name="Freeform 8">
                  <a:extLst>
                    <a:ext uri="{FF2B5EF4-FFF2-40B4-BE49-F238E27FC236}">
                      <a16:creationId xmlns="" xmlns:a16="http://schemas.microsoft.com/office/drawing/2014/main" id="{6AAF57F6-EA3D-46F1-BD57-1B19FCBE4FE7}"/>
                    </a:ext>
                  </a:extLst>
                </p:cNvPr>
                <p:cNvSpPr>
                  <a:spLocks/>
                </p:cNvSpPr>
                <p:nvPr>
                  <p:custDataLst>
                    <p:tags r:id="rId16"/>
                  </p:custDataLst>
                </p:nvPr>
              </p:nvSpPr>
              <p:spPr bwMode="auto">
                <a:xfrm>
                  <a:off x="4742010" y="3381160"/>
                  <a:ext cx="185784" cy="801688"/>
                </a:xfrm>
                <a:custGeom>
                  <a:avLst/>
                  <a:gdLst>
                    <a:gd name="T0" fmla="*/ 418 w 598"/>
                    <a:gd name="T1" fmla="*/ 2021 h 2158"/>
                    <a:gd name="T2" fmla="*/ 342 w 598"/>
                    <a:gd name="T3" fmla="*/ 1955 h 2158"/>
                    <a:gd name="T4" fmla="*/ 339 w 598"/>
                    <a:gd name="T5" fmla="*/ 1893 h 2158"/>
                    <a:gd name="T6" fmla="*/ 345 w 598"/>
                    <a:gd name="T7" fmla="*/ 1843 h 2158"/>
                    <a:gd name="T8" fmla="*/ 362 w 598"/>
                    <a:gd name="T9" fmla="*/ 1791 h 2158"/>
                    <a:gd name="T10" fmla="*/ 354 w 598"/>
                    <a:gd name="T11" fmla="*/ 1740 h 2158"/>
                    <a:gd name="T12" fmla="*/ 332 w 598"/>
                    <a:gd name="T13" fmla="*/ 1683 h 2158"/>
                    <a:gd name="T14" fmla="*/ 303 w 598"/>
                    <a:gd name="T15" fmla="*/ 1581 h 2158"/>
                    <a:gd name="T16" fmla="*/ 226 w 598"/>
                    <a:gd name="T17" fmla="*/ 1460 h 2158"/>
                    <a:gd name="T18" fmla="*/ 206 w 598"/>
                    <a:gd name="T19" fmla="*/ 1381 h 2158"/>
                    <a:gd name="T20" fmla="*/ 217 w 598"/>
                    <a:gd name="T21" fmla="*/ 1299 h 2158"/>
                    <a:gd name="T22" fmla="*/ 208 w 598"/>
                    <a:gd name="T23" fmla="*/ 1235 h 2158"/>
                    <a:gd name="T24" fmla="*/ 185 w 598"/>
                    <a:gd name="T25" fmla="*/ 1165 h 2158"/>
                    <a:gd name="T26" fmla="*/ 211 w 598"/>
                    <a:gd name="T27" fmla="*/ 1123 h 2158"/>
                    <a:gd name="T28" fmla="*/ 195 w 598"/>
                    <a:gd name="T29" fmla="*/ 1082 h 2158"/>
                    <a:gd name="T30" fmla="*/ 211 w 598"/>
                    <a:gd name="T31" fmla="*/ 1025 h 2158"/>
                    <a:gd name="T32" fmla="*/ 210 w 598"/>
                    <a:gd name="T33" fmla="*/ 993 h 2158"/>
                    <a:gd name="T34" fmla="*/ 187 w 598"/>
                    <a:gd name="T35" fmla="*/ 927 h 2158"/>
                    <a:gd name="T36" fmla="*/ 136 w 598"/>
                    <a:gd name="T37" fmla="*/ 852 h 2158"/>
                    <a:gd name="T38" fmla="*/ 134 w 598"/>
                    <a:gd name="T39" fmla="*/ 686 h 2158"/>
                    <a:gd name="T40" fmla="*/ 183 w 598"/>
                    <a:gd name="T41" fmla="*/ 584 h 2158"/>
                    <a:gd name="T42" fmla="*/ 189 w 598"/>
                    <a:gd name="T43" fmla="*/ 522 h 2158"/>
                    <a:gd name="T44" fmla="*/ 160 w 598"/>
                    <a:gd name="T45" fmla="*/ 459 h 2158"/>
                    <a:gd name="T46" fmla="*/ 182 w 598"/>
                    <a:gd name="T47" fmla="*/ 406 h 2158"/>
                    <a:gd name="T48" fmla="*/ 229 w 598"/>
                    <a:gd name="T49" fmla="*/ 346 h 2158"/>
                    <a:gd name="T50" fmla="*/ 200 w 598"/>
                    <a:gd name="T51" fmla="*/ 308 h 2158"/>
                    <a:gd name="T52" fmla="*/ 148 w 598"/>
                    <a:gd name="T53" fmla="*/ 222 h 2158"/>
                    <a:gd name="T54" fmla="*/ 129 w 598"/>
                    <a:gd name="T55" fmla="*/ 125 h 2158"/>
                    <a:gd name="T56" fmla="*/ 91 w 598"/>
                    <a:gd name="T57" fmla="*/ 37 h 2158"/>
                    <a:gd name="T58" fmla="*/ 0 w 598"/>
                    <a:gd name="T59" fmla="*/ 44 h 2158"/>
                    <a:gd name="T60" fmla="*/ 31 w 598"/>
                    <a:gd name="T61" fmla="*/ 200 h 2158"/>
                    <a:gd name="T62" fmla="*/ 42 w 598"/>
                    <a:gd name="T63" fmla="*/ 304 h 2158"/>
                    <a:gd name="T64" fmla="*/ 27 w 598"/>
                    <a:gd name="T65" fmla="*/ 374 h 2158"/>
                    <a:gd name="T66" fmla="*/ 52 w 598"/>
                    <a:gd name="T67" fmla="*/ 524 h 2158"/>
                    <a:gd name="T68" fmla="*/ 46 w 598"/>
                    <a:gd name="T69" fmla="*/ 649 h 2158"/>
                    <a:gd name="T70" fmla="*/ 36 w 598"/>
                    <a:gd name="T71" fmla="*/ 718 h 2158"/>
                    <a:gd name="T72" fmla="*/ 52 w 598"/>
                    <a:gd name="T73" fmla="*/ 767 h 2158"/>
                    <a:gd name="T74" fmla="*/ 64 w 598"/>
                    <a:gd name="T75" fmla="*/ 871 h 2158"/>
                    <a:gd name="T76" fmla="*/ 81 w 598"/>
                    <a:gd name="T77" fmla="*/ 913 h 2158"/>
                    <a:gd name="T78" fmla="*/ 73 w 598"/>
                    <a:gd name="T79" fmla="*/ 1045 h 2158"/>
                    <a:gd name="T80" fmla="*/ 63 w 598"/>
                    <a:gd name="T81" fmla="*/ 1152 h 2158"/>
                    <a:gd name="T82" fmla="*/ 40 w 598"/>
                    <a:gd name="T83" fmla="*/ 1188 h 2158"/>
                    <a:gd name="T84" fmla="*/ 60 w 598"/>
                    <a:gd name="T85" fmla="*/ 1258 h 2158"/>
                    <a:gd name="T86" fmla="*/ 106 w 598"/>
                    <a:gd name="T87" fmla="*/ 1343 h 2158"/>
                    <a:gd name="T88" fmla="*/ 93 w 598"/>
                    <a:gd name="T89" fmla="*/ 1396 h 2158"/>
                    <a:gd name="T90" fmla="*/ 106 w 598"/>
                    <a:gd name="T91" fmla="*/ 1449 h 2158"/>
                    <a:gd name="T92" fmla="*/ 164 w 598"/>
                    <a:gd name="T93" fmla="*/ 1467 h 2158"/>
                    <a:gd name="T94" fmla="*/ 209 w 598"/>
                    <a:gd name="T95" fmla="*/ 1621 h 2158"/>
                    <a:gd name="T96" fmla="*/ 227 w 598"/>
                    <a:gd name="T97" fmla="*/ 1709 h 2158"/>
                    <a:gd name="T98" fmla="*/ 151 w 598"/>
                    <a:gd name="T99" fmla="*/ 1749 h 2158"/>
                    <a:gd name="T100" fmla="*/ 207 w 598"/>
                    <a:gd name="T101" fmla="*/ 1776 h 2158"/>
                    <a:gd name="T102" fmla="*/ 250 w 598"/>
                    <a:gd name="T103" fmla="*/ 1820 h 2158"/>
                    <a:gd name="T104" fmla="*/ 275 w 598"/>
                    <a:gd name="T105" fmla="*/ 1871 h 2158"/>
                    <a:gd name="T106" fmla="*/ 308 w 598"/>
                    <a:gd name="T107" fmla="*/ 1961 h 2158"/>
                    <a:gd name="T108" fmla="*/ 359 w 598"/>
                    <a:gd name="T109" fmla="*/ 2013 h 2158"/>
                    <a:gd name="T110" fmla="*/ 393 w 598"/>
                    <a:gd name="T111" fmla="*/ 2048 h 2158"/>
                    <a:gd name="T112" fmla="*/ 424 w 598"/>
                    <a:gd name="T113" fmla="*/ 2074 h 2158"/>
                    <a:gd name="T114" fmla="*/ 465 w 598"/>
                    <a:gd name="T115" fmla="*/ 2110 h 2158"/>
                    <a:gd name="T116" fmla="*/ 519 w 598"/>
                    <a:gd name="T117" fmla="*/ 2140 h 2158"/>
                    <a:gd name="T118" fmla="*/ 538 w 598"/>
                    <a:gd name="T119" fmla="*/ 2151 h 2158"/>
                    <a:gd name="T120" fmla="*/ 586 w 598"/>
                    <a:gd name="T121" fmla="*/ 2098 h 2158"/>
                    <a:gd name="T122" fmla="*/ 591 w 598"/>
                    <a:gd name="T123" fmla="*/ 2071 h 2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29" name="Freeform 9">
                  <a:extLst>
                    <a:ext uri="{FF2B5EF4-FFF2-40B4-BE49-F238E27FC236}">
                      <a16:creationId xmlns="" xmlns:a16="http://schemas.microsoft.com/office/drawing/2014/main" id="{2A7D9DA4-86EC-42D9-90CC-4B8D916FFC66}"/>
                    </a:ext>
                  </a:extLst>
                </p:cNvPr>
                <p:cNvSpPr>
                  <a:spLocks/>
                </p:cNvSpPr>
                <p:nvPr>
                  <p:custDataLst>
                    <p:tags r:id="rId17"/>
                  </p:custDataLst>
                </p:nvPr>
              </p:nvSpPr>
              <p:spPr bwMode="auto">
                <a:xfrm>
                  <a:off x="4674452" y="2872223"/>
                  <a:ext cx="685713" cy="853483"/>
                </a:xfrm>
                <a:custGeom>
                  <a:avLst/>
                  <a:gdLst>
                    <a:gd name="T0" fmla="*/ 440 w 2226"/>
                    <a:gd name="T1" fmla="*/ 896 h 2292"/>
                    <a:gd name="T2" fmla="*/ 505 w 2226"/>
                    <a:gd name="T3" fmla="*/ 985 h 2292"/>
                    <a:gd name="T4" fmla="*/ 572 w 2226"/>
                    <a:gd name="T5" fmla="*/ 1054 h 2292"/>
                    <a:gd name="T6" fmla="*/ 716 w 2226"/>
                    <a:gd name="T7" fmla="*/ 1098 h 2292"/>
                    <a:gd name="T8" fmla="*/ 798 w 2226"/>
                    <a:gd name="T9" fmla="*/ 1204 h 2292"/>
                    <a:gd name="T10" fmla="*/ 846 w 2226"/>
                    <a:gd name="T11" fmla="*/ 1292 h 2292"/>
                    <a:gd name="T12" fmla="*/ 939 w 2226"/>
                    <a:gd name="T13" fmla="*/ 1355 h 2292"/>
                    <a:gd name="T14" fmla="*/ 957 w 2226"/>
                    <a:gd name="T15" fmla="*/ 1466 h 2292"/>
                    <a:gd name="T16" fmla="*/ 976 w 2226"/>
                    <a:gd name="T17" fmla="*/ 1541 h 2292"/>
                    <a:gd name="T18" fmla="*/ 992 w 2226"/>
                    <a:gd name="T19" fmla="*/ 1632 h 2292"/>
                    <a:gd name="T20" fmla="*/ 1131 w 2226"/>
                    <a:gd name="T21" fmla="*/ 1698 h 2292"/>
                    <a:gd name="T22" fmla="*/ 1193 w 2226"/>
                    <a:gd name="T23" fmla="*/ 1805 h 2292"/>
                    <a:gd name="T24" fmla="*/ 1243 w 2226"/>
                    <a:gd name="T25" fmla="*/ 1864 h 2292"/>
                    <a:gd name="T26" fmla="*/ 1183 w 2226"/>
                    <a:gd name="T27" fmla="*/ 2003 h 2292"/>
                    <a:gd name="T28" fmla="*/ 1084 w 2226"/>
                    <a:gd name="T29" fmla="*/ 2128 h 2292"/>
                    <a:gd name="T30" fmla="*/ 1180 w 2226"/>
                    <a:gd name="T31" fmla="*/ 2161 h 2292"/>
                    <a:gd name="T32" fmla="*/ 1296 w 2226"/>
                    <a:gd name="T33" fmla="*/ 2234 h 2292"/>
                    <a:gd name="T34" fmla="*/ 1419 w 2226"/>
                    <a:gd name="T35" fmla="*/ 2198 h 2292"/>
                    <a:gd name="T36" fmla="*/ 1518 w 2226"/>
                    <a:gd name="T37" fmla="*/ 2036 h 2292"/>
                    <a:gd name="T38" fmla="*/ 1512 w 2226"/>
                    <a:gd name="T39" fmla="*/ 1918 h 2292"/>
                    <a:gd name="T40" fmla="*/ 1561 w 2226"/>
                    <a:gd name="T41" fmla="*/ 1793 h 2292"/>
                    <a:gd name="T42" fmla="*/ 1706 w 2226"/>
                    <a:gd name="T43" fmla="*/ 1727 h 2292"/>
                    <a:gd name="T44" fmla="*/ 1798 w 2226"/>
                    <a:gd name="T45" fmla="*/ 1681 h 2292"/>
                    <a:gd name="T46" fmla="*/ 1897 w 2226"/>
                    <a:gd name="T47" fmla="*/ 1641 h 2292"/>
                    <a:gd name="T48" fmla="*/ 1982 w 2226"/>
                    <a:gd name="T49" fmla="*/ 1400 h 2292"/>
                    <a:gd name="T50" fmla="*/ 2014 w 2226"/>
                    <a:gd name="T51" fmla="*/ 1288 h 2292"/>
                    <a:gd name="T52" fmla="*/ 2002 w 2226"/>
                    <a:gd name="T53" fmla="*/ 1090 h 2292"/>
                    <a:gd name="T54" fmla="*/ 2073 w 2226"/>
                    <a:gd name="T55" fmla="*/ 1009 h 2292"/>
                    <a:gd name="T56" fmla="*/ 2190 w 2226"/>
                    <a:gd name="T57" fmla="*/ 877 h 2292"/>
                    <a:gd name="T58" fmla="*/ 2222 w 2226"/>
                    <a:gd name="T59" fmla="*/ 732 h 2292"/>
                    <a:gd name="T60" fmla="*/ 2157 w 2226"/>
                    <a:gd name="T61" fmla="*/ 599 h 2292"/>
                    <a:gd name="T62" fmla="*/ 2059 w 2226"/>
                    <a:gd name="T63" fmla="*/ 563 h 2292"/>
                    <a:gd name="T64" fmla="*/ 1921 w 2226"/>
                    <a:gd name="T65" fmla="*/ 462 h 2292"/>
                    <a:gd name="T66" fmla="*/ 1742 w 2226"/>
                    <a:gd name="T67" fmla="*/ 450 h 2292"/>
                    <a:gd name="T68" fmla="*/ 1670 w 2226"/>
                    <a:gd name="T69" fmla="*/ 447 h 2292"/>
                    <a:gd name="T70" fmla="*/ 1636 w 2226"/>
                    <a:gd name="T71" fmla="*/ 394 h 2292"/>
                    <a:gd name="T72" fmla="*/ 1512 w 2226"/>
                    <a:gd name="T73" fmla="*/ 348 h 2292"/>
                    <a:gd name="T74" fmla="*/ 1411 w 2226"/>
                    <a:gd name="T75" fmla="*/ 409 h 2292"/>
                    <a:gd name="T76" fmla="*/ 1338 w 2226"/>
                    <a:gd name="T77" fmla="*/ 405 h 2292"/>
                    <a:gd name="T78" fmla="*/ 1247 w 2226"/>
                    <a:gd name="T79" fmla="*/ 384 h 2292"/>
                    <a:gd name="T80" fmla="*/ 1317 w 2226"/>
                    <a:gd name="T81" fmla="*/ 268 h 2292"/>
                    <a:gd name="T82" fmla="*/ 1338 w 2226"/>
                    <a:gd name="T83" fmla="*/ 184 h 2292"/>
                    <a:gd name="T84" fmla="*/ 1291 w 2226"/>
                    <a:gd name="T85" fmla="*/ 68 h 2292"/>
                    <a:gd name="T86" fmla="*/ 1124 w 2226"/>
                    <a:gd name="T87" fmla="*/ 135 h 2292"/>
                    <a:gd name="T88" fmla="*/ 1003 w 2226"/>
                    <a:gd name="T89" fmla="*/ 170 h 2292"/>
                    <a:gd name="T90" fmla="*/ 960 w 2226"/>
                    <a:gd name="T91" fmla="*/ 187 h 2292"/>
                    <a:gd name="T92" fmla="*/ 812 w 2226"/>
                    <a:gd name="T93" fmla="*/ 176 h 2292"/>
                    <a:gd name="T94" fmla="*/ 811 w 2226"/>
                    <a:gd name="T95" fmla="*/ 67 h 2292"/>
                    <a:gd name="T96" fmla="*/ 745 w 2226"/>
                    <a:gd name="T97" fmla="*/ 0 h 2292"/>
                    <a:gd name="T98" fmla="*/ 700 w 2226"/>
                    <a:gd name="T99" fmla="*/ 31 h 2292"/>
                    <a:gd name="T100" fmla="*/ 589 w 2226"/>
                    <a:gd name="T101" fmla="*/ 70 h 2292"/>
                    <a:gd name="T102" fmla="*/ 560 w 2226"/>
                    <a:gd name="T103" fmla="*/ 198 h 2292"/>
                    <a:gd name="T104" fmla="*/ 453 w 2226"/>
                    <a:gd name="T105" fmla="*/ 258 h 2292"/>
                    <a:gd name="T106" fmla="*/ 286 w 2226"/>
                    <a:gd name="T107" fmla="*/ 197 h 2292"/>
                    <a:gd name="T108" fmla="*/ 253 w 2226"/>
                    <a:gd name="T109" fmla="*/ 240 h 2292"/>
                    <a:gd name="T110" fmla="*/ 198 w 2226"/>
                    <a:gd name="T111" fmla="*/ 311 h 2292"/>
                    <a:gd name="T112" fmla="*/ 246 w 2226"/>
                    <a:gd name="T113" fmla="*/ 388 h 2292"/>
                    <a:gd name="T114" fmla="*/ 194 w 2226"/>
                    <a:gd name="T115" fmla="*/ 560 h 2292"/>
                    <a:gd name="T116" fmla="*/ 100 w 2226"/>
                    <a:gd name="T117" fmla="*/ 567 h 2292"/>
                    <a:gd name="T118" fmla="*/ 16 w 2226"/>
                    <a:gd name="T119" fmla="*/ 687 h 2292"/>
                    <a:gd name="T120" fmla="*/ 22 w 2226"/>
                    <a:gd name="T121" fmla="*/ 824 h 2292"/>
                    <a:gd name="T122" fmla="*/ 120 w 2226"/>
                    <a:gd name="T123" fmla="*/ 905 h 2292"/>
                    <a:gd name="T124" fmla="*/ 191 w 2226"/>
                    <a:gd name="T125" fmla="*/ 949 h 2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chemeClr val="accent1"/>
                </a:solidFill>
                <a:ln w="3175" cap="flat" cmpd="sng">
                  <a:solidFill>
                    <a:srgbClr val="FFFFFF"/>
                  </a:solidFill>
                  <a:prstDash val="solid"/>
                  <a:round/>
                  <a:headEnd type="none" w="med" len="med"/>
                  <a:tailEnd type="none" w="med" len="med"/>
                </a:ln>
                <a:effectLst/>
              </p:spPr>
              <p:txBody>
                <a:bodyPr/>
                <a:lstStyle/>
                <a:p>
                  <a:pPr defTabSz="913137">
                    <a:defRPr/>
                  </a:pPr>
                  <a:endParaRPr lang="en-US" kern="0">
                    <a:solidFill>
                      <a:sysClr val="windowText" lastClr="000000"/>
                    </a:solidFill>
                    <a:cs typeface="Calibri" panose="020F0502020204030204" pitchFamily="34" charset="0"/>
                  </a:endParaRPr>
                </a:p>
              </p:txBody>
            </p:sp>
            <p:sp>
              <p:nvSpPr>
                <p:cNvPr id="30" name="Freeform 10">
                  <a:extLst>
                    <a:ext uri="{FF2B5EF4-FFF2-40B4-BE49-F238E27FC236}">
                      <a16:creationId xmlns="" xmlns:a16="http://schemas.microsoft.com/office/drawing/2014/main" id="{12B4F8D9-E33C-475F-8669-10980A51FAA4}"/>
                    </a:ext>
                  </a:extLst>
                </p:cNvPr>
                <p:cNvSpPr>
                  <a:spLocks/>
                </p:cNvSpPr>
                <p:nvPr>
                  <p:custDataLst>
                    <p:tags r:id="rId18"/>
                  </p:custDataLst>
                </p:nvPr>
              </p:nvSpPr>
              <p:spPr bwMode="auto">
                <a:xfrm>
                  <a:off x="6173114" y="2124581"/>
                  <a:ext cx="49543" cy="34906"/>
                </a:xfrm>
                <a:custGeom>
                  <a:avLst/>
                  <a:gdLst>
                    <a:gd name="T0" fmla="*/ 94 w 161"/>
                    <a:gd name="T1" fmla="*/ 0 h 93"/>
                    <a:gd name="T2" fmla="*/ 107 w 161"/>
                    <a:gd name="T3" fmla="*/ 18 h 93"/>
                    <a:gd name="T4" fmla="*/ 112 w 161"/>
                    <a:gd name="T5" fmla="*/ 12 h 93"/>
                    <a:gd name="T6" fmla="*/ 117 w 161"/>
                    <a:gd name="T7" fmla="*/ 8 h 93"/>
                    <a:gd name="T8" fmla="*/ 122 w 161"/>
                    <a:gd name="T9" fmla="*/ 5 h 93"/>
                    <a:gd name="T10" fmla="*/ 127 w 161"/>
                    <a:gd name="T11" fmla="*/ 3 h 93"/>
                    <a:gd name="T12" fmla="*/ 137 w 161"/>
                    <a:gd name="T13" fmla="*/ 1 h 93"/>
                    <a:gd name="T14" fmla="*/ 148 w 161"/>
                    <a:gd name="T15" fmla="*/ 0 h 93"/>
                    <a:gd name="T16" fmla="*/ 151 w 161"/>
                    <a:gd name="T17" fmla="*/ 0 h 93"/>
                    <a:gd name="T18" fmla="*/ 161 w 161"/>
                    <a:gd name="T19" fmla="*/ 0 h 93"/>
                    <a:gd name="T20" fmla="*/ 161 w 161"/>
                    <a:gd name="T21" fmla="*/ 92 h 93"/>
                    <a:gd name="T22" fmla="*/ 155 w 161"/>
                    <a:gd name="T23" fmla="*/ 93 h 93"/>
                    <a:gd name="T24" fmla="*/ 150 w 161"/>
                    <a:gd name="T25" fmla="*/ 93 h 93"/>
                    <a:gd name="T26" fmla="*/ 145 w 161"/>
                    <a:gd name="T27" fmla="*/ 92 h 93"/>
                    <a:gd name="T28" fmla="*/ 140 w 161"/>
                    <a:gd name="T29" fmla="*/ 91 h 93"/>
                    <a:gd name="T30" fmla="*/ 129 w 161"/>
                    <a:gd name="T31" fmla="*/ 88 h 93"/>
                    <a:gd name="T32" fmla="*/ 120 w 161"/>
                    <a:gd name="T33" fmla="*/ 82 h 93"/>
                    <a:gd name="T34" fmla="*/ 111 w 161"/>
                    <a:gd name="T35" fmla="*/ 75 h 93"/>
                    <a:gd name="T36" fmla="*/ 104 w 161"/>
                    <a:gd name="T37" fmla="*/ 67 h 93"/>
                    <a:gd name="T38" fmla="*/ 97 w 161"/>
                    <a:gd name="T39" fmla="*/ 59 h 93"/>
                    <a:gd name="T40" fmla="*/ 94 w 161"/>
                    <a:gd name="T41" fmla="*/ 49 h 93"/>
                    <a:gd name="T42" fmla="*/ 92 w 161"/>
                    <a:gd name="T43" fmla="*/ 50 h 93"/>
                    <a:gd name="T44" fmla="*/ 89 w 161"/>
                    <a:gd name="T45" fmla="*/ 51 h 93"/>
                    <a:gd name="T46" fmla="*/ 86 w 161"/>
                    <a:gd name="T47" fmla="*/ 51 h 93"/>
                    <a:gd name="T48" fmla="*/ 84 w 161"/>
                    <a:gd name="T49" fmla="*/ 51 h 93"/>
                    <a:gd name="T50" fmla="*/ 78 w 161"/>
                    <a:gd name="T51" fmla="*/ 50 h 93"/>
                    <a:gd name="T52" fmla="*/ 74 w 161"/>
                    <a:gd name="T53" fmla="*/ 49 h 93"/>
                    <a:gd name="T54" fmla="*/ 65 w 161"/>
                    <a:gd name="T55" fmla="*/ 48 h 93"/>
                    <a:gd name="T56" fmla="*/ 55 w 161"/>
                    <a:gd name="T57" fmla="*/ 45 h 93"/>
                    <a:gd name="T58" fmla="*/ 44 w 161"/>
                    <a:gd name="T59" fmla="*/ 40 h 93"/>
                    <a:gd name="T60" fmla="*/ 32 w 161"/>
                    <a:gd name="T61" fmla="*/ 34 h 93"/>
                    <a:gd name="T62" fmla="*/ 21 w 161"/>
                    <a:gd name="T63" fmla="*/ 26 h 93"/>
                    <a:gd name="T64" fmla="*/ 12 w 161"/>
                    <a:gd name="T65" fmla="*/ 18 h 93"/>
                    <a:gd name="T66" fmla="*/ 8 w 161"/>
                    <a:gd name="T67" fmla="*/ 14 h 93"/>
                    <a:gd name="T68" fmla="*/ 5 w 161"/>
                    <a:gd name="T69" fmla="*/ 9 h 93"/>
                    <a:gd name="T70" fmla="*/ 3 w 161"/>
                    <a:gd name="T71" fmla="*/ 5 h 93"/>
                    <a:gd name="T72" fmla="*/ 0 w 161"/>
                    <a:gd name="T73" fmla="*/ 0 h 93"/>
                    <a:gd name="T74" fmla="*/ 94 w 161"/>
                    <a:gd name="T75"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1" name="Freeform 11">
                  <a:extLst>
                    <a:ext uri="{FF2B5EF4-FFF2-40B4-BE49-F238E27FC236}">
                      <a16:creationId xmlns="" xmlns:a16="http://schemas.microsoft.com/office/drawing/2014/main" id="{721804ED-2E84-4D13-BC5D-AB9676A48EF3}"/>
                    </a:ext>
                  </a:extLst>
                </p:cNvPr>
                <p:cNvSpPr>
                  <a:spLocks/>
                </p:cNvSpPr>
                <p:nvPr>
                  <p:custDataLst>
                    <p:tags r:id="rId19"/>
                  </p:custDataLst>
                </p:nvPr>
              </p:nvSpPr>
              <p:spPr bwMode="auto">
                <a:xfrm>
                  <a:off x="5817308" y="2035630"/>
                  <a:ext cx="58550" cy="113723"/>
                </a:xfrm>
                <a:custGeom>
                  <a:avLst/>
                  <a:gdLst>
                    <a:gd name="T0" fmla="*/ 38 w 192"/>
                    <a:gd name="T1" fmla="*/ 3 h 307"/>
                    <a:gd name="T2" fmla="*/ 37 w 192"/>
                    <a:gd name="T3" fmla="*/ 0 h 307"/>
                    <a:gd name="T4" fmla="*/ 57 w 192"/>
                    <a:gd name="T5" fmla="*/ 3 h 307"/>
                    <a:gd name="T6" fmla="*/ 110 w 192"/>
                    <a:gd name="T7" fmla="*/ 14 h 307"/>
                    <a:gd name="T8" fmla="*/ 155 w 192"/>
                    <a:gd name="T9" fmla="*/ 25 h 307"/>
                    <a:gd name="T10" fmla="*/ 181 w 192"/>
                    <a:gd name="T11" fmla="*/ 28 h 307"/>
                    <a:gd name="T12" fmla="*/ 192 w 192"/>
                    <a:gd name="T13" fmla="*/ 35 h 307"/>
                    <a:gd name="T14" fmla="*/ 188 w 192"/>
                    <a:gd name="T15" fmla="*/ 47 h 307"/>
                    <a:gd name="T16" fmla="*/ 175 w 192"/>
                    <a:gd name="T17" fmla="*/ 82 h 307"/>
                    <a:gd name="T18" fmla="*/ 158 w 192"/>
                    <a:gd name="T19" fmla="*/ 127 h 307"/>
                    <a:gd name="T20" fmla="*/ 147 w 192"/>
                    <a:gd name="T21" fmla="*/ 165 h 307"/>
                    <a:gd name="T22" fmla="*/ 146 w 192"/>
                    <a:gd name="T23" fmla="*/ 207 h 307"/>
                    <a:gd name="T24" fmla="*/ 144 w 192"/>
                    <a:gd name="T25" fmla="*/ 249 h 307"/>
                    <a:gd name="T26" fmla="*/ 134 w 192"/>
                    <a:gd name="T27" fmla="*/ 277 h 307"/>
                    <a:gd name="T28" fmla="*/ 106 w 192"/>
                    <a:gd name="T29" fmla="*/ 296 h 307"/>
                    <a:gd name="T30" fmla="*/ 83 w 192"/>
                    <a:gd name="T31" fmla="*/ 303 h 307"/>
                    <a:gd name="T32" fmla="*/ 72 w 192"/>
                    <a:gd name="T33" fmla="*/ 307 h 307"/>
                    <a:gd name="T34" fmla="*/ 52 w 192"/>
                    <a:gd name="T35" fmla="*/ 305 h 307"/>
                    <a:gd name="T36" fmla="*/ 32 w 192"/>
                    <a:gd name="T37" fmla="*/ 291 h 307"/>
                    <a:gd name="T38" fmla="*/ 30 w 192"/>
                    <a:gd name="T39" fmla="*/ 277 h 307"/>
                    <a:gd name="T40" fmla="*/ 22 w 192"/>
                    <a:gd name="T41" fmla="*/ 257 h 307"/>
                    <a:gd name="T42" fmla="*/ 10 w 192"/>
                    <a:gd name="T43" fmla="*/ 231 h 307"/>
                    <a:gd name="T44" fmla="*/ 2 w 192"/>
                    <a:gd name="T45" fmla="*/ 211 h 307"/>
                    <a:gd name="T46" fmla="*/ 0 w 192"/>
                    <a:gd name="T47" fmla="*/ 197 h 307"/>
                    <a:gd name="T48" fmla="*/ 0 w 192"/>
                    <a:gd name="T49" fmla="*/ 180 h 307"/>
                    <a:gd name="T50" fmla="*/ 2 w 192"/>
                    <a:gd name="T51" fmla="*/ 165 h 307"/>
                    <a:gd name="T52" fmla="*/ 11 w 192"/>
                    <a:gd name="T53" fmla="*/ 145 h 307"/>
                    <a:gd name="T54" fmla="*/ 33 w 192"/>
                    <a:gd name="T55" fmla="*/ 109 h 307"/>
                    <a:gd name="T56" fmla="*/ 48 w 192"/>
                    <a:gd name="T57" fmla="*/ 81 h 307"/>
                    <a:gd name="T58" fmla="*/ 52 w 192"/>
                    <a:gd name="T59" fmla="*/ 62 h 307"/>
                    <a:gd name="T60" fmla="*/ 53 w 192"/>
                    <a:gd name="T61" fmla="*/ 41 h 307"/>
                    <a:gd name="T62" fmla="*/ 55 w 192"/>
                    <a:gd name="T63" fmla="*/ 30 h 307"/>
                    <a:gd name="T64" fmla="*/ 57 w 192"/>
                    <a:gd name="T65" fmla="*/ 26 h 307"/>
                    <a:gd name="T66" fmla="*/ 60 w 192"/>
                    <a:gd name="T67" fmla="*/ 22 h 307"/>
                    <a:gd name="T68" fmla="*/ 44 w 192"/>
                    <a:gd name="T69" fmla="*/ 7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2" name="Freeform 12">
                  <a:extLst>
                    <a:ext uri="{FF2B5EF4-FFF2-40B4-BE49-F238E27FC236}">
                      <a16:creationId xmlns="" xmlns:a16="http://schemas.microsoft.com/office/drawing/2014/main" id="{E164846A-5691-4755-81BA-5133E8734EEF}"/>
                    </a:ext>
                  </a:extLst>
                </p:cNvPr>
                <p:cNvSpPr>
                  <a:spLocks/>
                </p:cNvSpPr>
                <p:nvPr>
                  <p:custDataLst>
                    <p:tags r:id="rId20"/>
                  </p:custDataLst>
                </p:nvPr>
              </p:nvSpPr>
              <p:spPr bwMode="auto">
                <a:xfrm>
                  <a:off x="5874733" y="1670817"/>
                  <a:ext cx="121604" cy="191415"/>
                </a:xfrm>
                <a:custGeom>
                  <a:avLst/>
                  <a:gdLst>
                    <a:gd name="T0" fmla="*/ 26 w 398"/>
                    <a:gd name="T1" fmla="*/ 2 h 518"/>
                    <a:gd name="T2" fmla="*/ 95 w 398"/>
                    <a:gd name="T3" fmla="*/ 13 h 518"/>
                    <a:gd name="T4" fmla="*/ 116 w 398"/>
                    <a:gd name="T5" fmla="*/ 23 h 518"/>
                    <a:gd name="T6" fmla="*/ 80 w 398"/>
                    <a:gd name="T7" fmla="*/ 47 h 518"/>
                    <a:gd name="T8" fmla="*/ 64 w 398"/>
                    <a:gd name="T9" fmla="*/ 62 h 518"/>
                    <a:gd name="T10" fmla="*/ 77 w 398"/>
                    <a:gd name="T11" fmla="*/ 69 h 518"/>
                    <a:gd name="T12" fmla="*/ 167 w 398"/>
                    <a:gd name="T13" fmla="*/ 79 h 518"/>
                    <a:gd name="T14" fmla="*/ 210 w 398"/>
                    <a:gd name="T15" fmla="*/ 109 h 518"/>
                    <a:gd name="T16" fmla="*/ 154 w 398"/>
                    <a:gd name="T17" fmla="*/ 127 h 518"/>
                    <a:gd name="T18" fmla="*/ 147 w 398"/>
                    <a:gd name="T19" fmla="*/ 138 h 518"/>
                    <a:gd name="T20" fmla="*/ 191 w 398"/>
                    <a:gd name="T21" fmla="*/ 143 h 518"/>
                    <a:gd name="T22" fmla="*/ 211 w 398"/>
                    <a:gd name="T23" fmla="*/ 156 h 518"/>
                    <a:gd name="T24" fmla="*/ 243 w 398"/>
                    <a:gd name="T25" fmla="*/ 191 h 518"/>
                    <a:gd name="T26" fmla="*/ 258 w 398"/>
                    <a:gd name="T27" fmla="*/ 212 h 518"/>
                    <a:gd name="T28" fmla="*/ 260 w 398"/>
                    <a:gd name="T29" fmla="*/ 237 h 518"/>
                    <a:gd name="T30" fmla="*/ 272 w 398"/>
                    <a:gd name="T31" fmla="*/ 254 h 518"/>
                    <a:gd name="T32" fmla="*/ 286 w 398"/>
                    <a:gd name="T33" fmla="*/ 279 h 518"/>
                    <a:gd name="T34" fmla="*/ 306 w 398"/>
                    <a:gd name="T35" fmla="*/ 297 h 518"/>
                    <a:gd name="T36" fmla="*/ 327 w 398"/>
                    <a:gd name="T37" fmla="*/ 320 h 518"/>
                    <a:gd name="T38" fmla="*/ 346 w 398"/>
                    <a:gd name="T39" fmla="*/ 337 h 518"/>
                    <a:gd name="T40" fmla="*/ 370 w 398"/>
                    <a:gd name="T41" fmla="*/ 341 h 518"/>
                    <a:gd name="T42" fmla="*/ 396 w 398"/>
                    <a:gd name="T43" fmla="*/ 365 h 518"/>
                    <a:gd name="T44" fmla="*/ 395 w 398"/>
                    <a:gd name="T45" fmla="*/ 395 h 518"/>
                    <a:gd name="T46" fmla="*/ 382 w 398"/>
                    <a:gd name="T47" fmla="*/ 404 h 518"/>
                    <a:gd name="T48" fmla="*/ 367 w 398"/>
                    <a:gd name="T49" fmla="*/ 415 h 518"/>
                    <a:gd name="T50" fmla="*/ 368 w 398"/>
                    <a:gd name="T51" fmla="*/ 426 h 518"/>
                    <a:gd name="T52" fmla="*/ 376 w 398"/>
                    <a:gd name="T53" fmla="*/ 443 h 518"/>
                    <a:gd name="T54" fmla="*/ 359 w 398"/>
                    <a:gd name="T55" fmla="*/ 463 h 518"/>
                    <a:gd name="T56" fmla="*/ 146 w 398"/>
                    <a:gd name="T57" fmla="*/ 500 h 518"/>
                    <a:gd name="T58" fmla="*/ 68 w 398"/>
                    <a:gd name="T59" fmla="*/ 508 h 518"/>
                    <a:gd name="T60" fmla="*/ 53 w 398"/>
                    <a:gd name="T61" fmla="*/ 518 h 518"/>
                    <a:gd name="T62" fmla="*/ 58 w 398"/>
                    <a:gd name="T63" fmla="*/ 493 h 518"/>
                    <a:gd name="T64" fmla="*/ 71 w 398"/>
                    <a:gd name="T65" fmla="*/ 476 h 518"/>
                    <a:gd name="T66" fmla="*/ 114 w 398"/>
                    <a:gd name="T67" fmla="*/ 458 h 518"/>
                    <a:gd name="T68" fmla="*/ 172 w 398"/>
                    <a:gd name="T69" fmla="*/ 439 h 518"/>
                    <a:gd name="T70" fmla="*/ 179 w 398"/>
                    <a:gd name="T71" fmla="*/ 426 h 518"/>
                    <a:gd name="T72" fmla="*/ 171 w 398"/>
                    <a:gd name="T73" fmla="*/ 434 h 518"/>
                    <a:gd name="T74" fmla="*/ 111 w 398"/>
                    <a:gd name="T75" fmla="*/ 432 h 518"/>
                    <a:gd name="T76" fmla="*/ 76 w 398"/>
                    <a:gd name="T77" fmla="*/ 420 h 518"/>
                    <a:gd name="T78" fmla="*/ 77 w 398"/>
                    <a:gd name="T79" fmla="*/ 402 h 518"/>
                    <a:gd name="T80" fmla="*/ 95 w 398"/>
                    <a:gd name="T81" fmla="*/ 391 h 518"/>
                    <a:gd name="T82" fmla="*/ 87 w 398"/>
                    <a:gd name="T83" fmla="*/ 352 h 518"/>
                    <a:gd name="T84" fmla="*/ 105 w 398"/>
                    <a:gd name="T85" fmla="*/ 329 h 518"/>
                    <a:gd name="T86" fmla="*/ 154 w 398"/>
                    <a:gd name="T87" fmla="*/ 309 h 518"/>
                    <a:gd name="T88" fmla="*/ 172 w 398"/>
                    <a:gd name="T89" fmla="*/ 291 h 518"/>
                    <a:gd name="T90" fmla="*/ 148 w 398"/>
                    <a:gd name="T91" fmla="*/ 271 h 518"/>
                    <a:gd name="T92" fmla="*/ 139 w 398"/>
                    <a:gd name="T93" fmla="*/ 247 h 518"/>
                    <a:gd name="T94" fmla="*/ 94 w 398"/>
                    <a:gd name="T95" fmla="*/ 239 h 518"/>
                    <a:gd name="T96" fmla="*/ 80 w 398"/>
                    <a:gd name="T97" fmla="*/ 216 h 518"/>
                    <a:gd name="T98" fmla="*/ 90 w 398"/>
                    <a:gd name="T99" fmla="*/ 192 h 518"/>
                    <a:gd name="T100" fmla="*/ 100 w 398"/>
                    <a:gd name="T101" fmla="*/ 168 h 518"/>
                    <a:gd name="T102" fmla="*/ 73 w 398"/>
                    <a:gd name="T103" fmla="*/ 186 h 518"/>
                    <a:gd name="T104" fmla="*/ 22 w 398"/>
                    <a:gd name="T105" fmla="*/ 162 h 518"/>
                    <a:gd name="T106" fmla="*/ 20 w 398"/>
                    <a:gd name="T107" fmla="*/ 142 h 518"/>
                    <a:gd name="T108" fmla="*/ 14 w 398"/>
                    <a:gd name="T109" fmla="*/ 131 h 518"/>
                    <a:gd name="T110" fmla="*/ 20 w 398"/>
                    <a:gd name="T111" fmla="*/ 63 h 518"/>
                    <a:gd name="T112" fmla="*/ 19 w 398"/>
                    <a:gd name="T113" fmla="*/ 49 h 518"/>
                    <a:gd name="T114" fmla="*/ 4 w 398"/>
                    <a:gd name="T115" fmla="*/ 40 h 518"/>
                    <a:gd name="T116" fmla="*/ 20 w 398"/>
                    <a:gd name="T117" fmla="*/ 19 h 518"/>
                    <a:gd name="T118" fmla="*/ 3 w 398"/>
                    <a:gd name="T119" fmla="*/ 9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33" name="Freeform 13">
                  <a:extLst>
                    <a:ext uri="{FF2B5EF4-FFF2-40B4-BE49-F238E27FC236}">
                      <a16:creationId xmlns="" xmlns:a16="http://schemas.microsoft.com/office/drawing/2014/main" id="{ABB25273-1CC7-4496-9C31-C0D9532DB0E6}"/>
                    </a:ext>
                  </a:extLst>
                </p:cNvPr>
                <p:cNvSpPr>
                  <a:spLocks/>
                </p:cNvSpPr>
                <p:nvPr>
                  <p:custDataLst>
                    <p:tags r:id="rId21"/>
                  </p:custDataLst>
                </p:nvPr>
              </p:nvSpPr>
              <p:spPr bwMode="auto">
                <a:xfrm>
                  <a:off x="6129202" y="1885876"/>
                  <a:ext cx="120478" cy="54046"/>
                </a:xfrm>
                <a:custGeom>
                  <a:avLst/>
                  <a:gdLst>
                    <a:gd name="T0" fmla="*/ 190 w 382"/>
                    <a:gd name="T1" fmla="*/ 21 h 148"/>
                    <a:gd name="T2" fmla="*/ 177 w 382"/>
                    <a:gd name="T3" fmla="*/ 31 h 148"/>
                    <a:gd name="T4" fmla="*/ 174 w 382"/>
                    <a:gd name="T5" fmla="*/ 45 h 148"/>
                    <a:gd name="T6" fmla="*/ 168 w 382"/>
                    <a:gd name="T7" fmla="*/ 53 h 148"/>
                    <a:gd name="T8" fmla="*/ 166 w 382"/>
                    <a:gd name="T9" fmla="*/ 61 h 148"/>
                    <a:gd name="T10" fmla="*/ 177 w 382"/>
                    <a:gd name="T11" fmla="*/ 74 h 148"/>
                    <a:gd name="T12" fmla="*/ 155 w 382"/>
                    <a:gd name="T13" fmla="*/ 86 h 148"/>
                    <a:gd name="T14" fmla="*/ 108 w 382"/>
                    <a:gd name="T15" fmla="*/ 96 h 148"/>
                    <a:gd name="T16" fmla="*/ 77 w 382"/>
                    <a:gd name="T17" fmla="*/ 97 h 148"/>
                    <a:gd name="T18" fmla="*/ 52 w 382"/>
                    <a:gd name="T19" fmla="*/ 95 h 148"/>
                    <a:gd name="T20" fmla="*/ 4 w 382"/>
                    <a:gd name="T21" fmla="*/ 111 h 148"/>
                    <a:gd name="T22" fmla="*/ 0 w 382"/>
                    <a:gd name="T23" fmla="*/ 129 h 148"/>
                    <a:gd name="T24" fmla="*/ 4 w 382"/>
                    <a:gd name="T25" fmla="*/ 131 h 148"/>
                    <a:gd name="T26" fmla="*/ 12 w 382"/>
                    <a:gd name="T27" fmla="*/ 131 h 148"/>
                    <a:gd name="T28" fmla="*/ 51 w 382"/>
                    <a:gd name="T29" fmla="*/ 129 h 148"/>
                    <a:gd name="T30" fmla="*/ 114 w 382"/>
                    <a:gd name="T31" fmla="*/ 127 h 148"/>
                    <a:gd name="T32" fmla="*/ 123 w 382"/>
                    <a:gd name="T33" fmla="*/ 134 h 148"/>
                    <a:gd name="T34" fmla="*/ 137 w 382"/>
                    <a:gd name="T35" fmla="*/ 141 h 148"/>
                    <a:gd name="T36" fmla="*/ 159 w 382"/>
                    <a:gd name="T37" fmla="*/ 147 h 148"/>
                    <a:gd name="T38" fmla="*/ 185 w 382"/>
                    <a:gd name="T39" fmla="*/ 148 h 148"/>
                    <a:gd name="T40" fmla="*/ 210 w 382"/>
                    <a:gd name="T41" fmla="*/ 148 h 148"/>
                    <a:gd name="T42" fmla="*/ 233 w 382"/>
                    <a:gd name="T43" fmla="*/ 148 h 148"/>
                    <a:gd name="T44" fmla="*/ 255 w 382"/>
                    <a:gd name="T45" fmla="*/ 148 h 148"/>
                    <a:gd name="T46" fmla="*/ 275 w 382"/>
                    <a:gd name="T47" fmla="*/ 143 h 148"/>
                    <a:gd name="T48" fmla="*/ 301 w 382"/>
                    <a:gd name="T49" fmla="*/ 134 h 148"/>
                    <a:gd name="T50" fmla="*/ 334 w 382"/>
                    <a:gd name="T51" fmla="*/ 121 h 148"/>
                    <a:gd name="T52" fmla="*/ 353 w 382"/>
                    <a:gd name="T53" fmla="*/ 103 h 148"/>
                    <a:gd name="T54" fmla="*/ 372 w 382"/>
                    <a:gd name="T55" fmla="*/ 72 h 148"/>
                    <a:gd name="T56" fmla="*/ 376 w 382"/>
                    <a:gd name="T57" fmla="*/ 52 h 148"/>
                    <a:gd name="T58" fmla="*/ 363 w 382"/>
                    <a:gd name="T59" fmla="*/ 44 h 148"/>
                    <a:gd name="T60" fmla="*/ 357 w 382"/>
                    <a:gd name="T61" fmla="*/ 32 h 148"/>
                    <a:gd name="T62" fmla="*/ 347 w 382"/>
                    <a:gd name="T63" fmla="*/ 22 h 148"/>
                    <a:gd name="T64" fmla="*/ 334 w 382"/>
                    <a:gd name="T65" fmla="*/ 17 h 148"/>
                    <a:gd name="T66" fmla="*/ 319 w 382"/>
                    <a:gd name="T67" fmla="*/ 8 h 148"/>
                    <a:gd name="T68" fmla="*/ 203 w 382"/>
                    <a:gd name="T69" fmla="*/ 1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4" name="Freeform 14">
                  <a:extLst>
                    <a:ext uri="{FF2B5EF4-FFF2-40B4-BE49-F238E27FC236}">
                      <a16:creationId xmlns="" xmlns:a16="http://schemas.microsoft.com/office/drawing/2014/main" id="{21491021-E4A0-4B20-8555-5A0CA4E04F7A}"/>
                    </a:ext>
                  </a:extLst>
                </p:cNvPr>
                <p:cNvSpPr>
                  <a:spLocks/>
                </p:cNvSpPr>
                <p:nvPr>
                  <p:custDataLst>
                    <p:tags r:id="rId22"/>
                  </p:custDataLst>
                </p:nvPr>
              </p:nvSpPr>
              <p:spPr bwMode="auto">
                <a:xfrm>
                  <a:off x="7187611" y="1778910"/>
                  <a:ext cx="908655" cy="736382"/>
                </a:xfrm>
                <a:custGeom>
                  <a:avLst/>
                  <a:gdLst>
                    <a:gd name="T0" fmla="*/ 373 w 2936"/>
                    <a:gd name="T1" fmla="*/ 1071 h 1983"/>
                    <a:gd name="T2" fmla="*/ 385 w 2936"/>
                    <a:gd name="T3" fmla="*/ 1182 h 1983"/>
                    <a:gd name="T4" fmla="*/ 478 w 2936"/>
                    <a:gd name="T5" fmla="*/ 1358 h 1983"/>
                    <a:gd name="T6" fmla="*/ 768 w 2936"/>
                    <a:gd name="T7" fmla="*/ 1492 h 1983"/>
                    <a:gd name="T8" fmla="*/ 1036 w 2936"/>
                    <a:gd name="T9" fmla="*/ 1552 h 1983"/>
                    <a:gd name="T10" fmla="*/ 1124 w 2936"/>
                    <a:gd name="T11" fmla="*/ 1529 h 1983"/>
                    <a:gd name="T12" fmla="*/ 1401 w 2936"/>
                    <a:gd name="T13" fmla="*/ 1448 h 1983"/>
                    <a:gd name="T14" fmla="*/ 1547 w 2936"/>
                    <a:gd name="T15" fmla="*/ 1542 h 1983"/>
                    <a:gd name="T16" fmla="*/ 1577 w 2936"/>
                    <a:gd name="T17" fmla="*/ 1697 h 1983"/>
                    <a:gd name="T18" fmla="*/ 1607 w 2936"/>
                    <a:gd name="T19" fmla="*/ 1773 h 1983"/>
                    <a:gd name="T20" fmla="*/ 1706 w 2936"/>
                    <a:gd name="T21" fmla="*/ 1912 h 1983"/>
                    <a:gd name="T22" fmla="*/ 1842 w 2936"/>
                    <a:gd name="T23" fmla="*/ 1859 h 1983"/>
                    <a:gd name="T24" fmla="*/ 2072 w 2936"/>
                    <a:gd name="T25" fmla="*/ 1854 h 1983"/>
                    <a:gd name="T26" fmla="*/ 2265 w 2936"/>
                    <a:gd name="T27" fmla="*/ 1983 h 1983"/>
                    <a:gd name="T28" fmla="*/ 2357 w 2936"/>
                    <a:gd name="T29" fmla="*/ 1910 h 1983"/>
                    <a:gd name="T30" fmla="*/ 2457 w 2936"/>
                    <a:gd name="T31" fmla="*/ 1866 h 1983"/>
                    <a:gd name="T32" fmla="*/ 2546 w 2936"/>
                    <a:gd name="T33" fmla="*/ 1826 h 1983"/>
                    <a:gd name="T34" fmla="*/ 2683 w 2936"/>
                    <a:gd name="T35" fmla="*/ 1732 h 1983"/>
                    <a:gd name="T36" fmla="*/ 2719 w 2936"/>
                    <a:gd name="T37" fmla="*/ 1616 h 1983"/>
                    <a:gd name="T38" fmla="*/ 2794 w 2936"/>
                    <a:gd name="T39" fmla="*/ 1420 h 1983"/>
                    <a:gd name="T40" fmla="*/ 2705 w 2936"/>
                    <a:gd name="T41" fmla="*/ 1375 h 1983"/>
                    <a:gd name="T42" fmla="*/ 2640 w 2936"/>
                    <a:gd name="T43" fmla="*/ 1273 h 1983"/>
                    <a:gd name="T44" fmla="*/ 2669 w 2936"/>
                    <a:gd name="T45" fmla="*/ 1227 h 1983"/>
                    <a:gd name="T46" fmla="*/ 2532 w 2936"/>
                    <a:gd name="T47" fmla="*/ 1061 h 1983"/>
                    <a:gd name="T48" fmla="*/ 2583 w 2936"/>
                    <a:gd name="T49" fmla="*/ 993 h 1983"/>
                    <a:gd name="T50" fmla="*/ 2453 w 2936"/>
                    <a:gd name="T51" fmla="*/ 962 h 1983"/>
                    <a:gd name="T52" fmla="*/ 2333 w 2936"/>
                    <a:gd name="T53" fmla="*/ 887 h 1983"/>
                    <a:gd name="T54" fmla="*/ 2368 w 2936"/>
                    <a:gd name="T55" fmla="*/ 836 h 1983"/>
                    <a:gd name="T56" fmla="*/ 2443 w 2936"/>
                    <a:gd name="T57" fmla="*/ 756 h 1983"/>
                    <a:gd name="T58" fmla="*/ 2496 w 2936"/>
                    <a:gd name="T59" fmla="*/ 780 h 1983"/>
                    <a:gd name="T60" fmla="*/ 2532 w 2936"/>
                    <a:gd name="T61" fmla="*/ 853 h 1983"/>
                    <a:gd name="T62" fmla="*/ 2689 w 2936"/>
                    <a:gd name="T63" fmla="*/ 763 h 1983"/>
                    <a:gd name="T64" fmla="*/ 2828 w 2936"/>
                    <a:gd name="T65" fmla="*/ 673 h 1983"/>
                    <a:gd name="T66" fmla="*/ 2886 w 2936"/>
                    <a:gd name="T67" fmla="*/ 564 h 1983"/>
                    <a:gd name="T68" fmla="*/ 2928 w 2936"/>
                    <a:gd name="T69" fmla="*/ 494 h 1983"/>
                    <a:gd name="T70" fmla="*/ 2893 w 2936"/>
                    <a:gd name="T71" fmla="*/ 307 h 1983"/>
                    <a:gd name="T72" fmla="*/ 2722 w 2936"/>
                    <a:gd name="T73" fmla="*/ 341 h 1983"/>
                    <a:gd name="T74" fmla="*/ 2461 w 2936"/>
                    <a:gd name="T75" fmla="*/ 205 h 1983"/>
                    <a:gd name="T76" fmla="*/ 2300 w 2936"/>
                    <a:gd name="T77" fmla="*/ 89 h 1983"/>
                    <a:gd name="T78" fmla="*/ 1980 w 2936"/>
                    <a:gd name="T79" fmla="*/ 53 h 1983"/>
                    <a:gd name="T80" fmla="*/ 2007 w 2936"/>
                    <a:gd name="T81" fmla="*/ 155 h 1983"/>
                    <a:gd name="T82" fmla="*/ 1952 w 2936"/>
                    <a:gd name="T83" fmla="*/ 227 h 1983"/>
                    <a:gd name="T84" fmla="*/ 2025 w 2936"/>
                    <a:gd name="T85" fmla="*/ 350 h 1983"/>
                    <a:gd name="T86" fmla="*/ 2146 w 2936"/>
                    <a:gd name="T87" fmla="*/ 370 h 1983"/>
                    <a:gd name="T88" fmla="*/ 2041 w 2936"/>
                    <a:gd name="T89" fmla="*/ 455 h 1983"/>
                    <a:gd name="T90" fmla="*/ 1891 w 2936"/>
                    <a:gd name="T91" fmla="*/ 570 h 1983"/>
                    <a:gd name="T92" fmla="*/ 1630 w 2936"/>
                    <a:gd name="T93" fmla="*/ 713 h 1983"/>
                    <a:gd name="T94" fmla="*/ 1228 w 2936"/>
                    <a:gd name="T95" fmla="*/ 659 h 1983"/>
                    <a:gd name="T96" fmla="*/ 1036 w 2936"/>
                    <a:gd name="T97" fmla="*/ 560 h 1983"/>
                    <a:gd name="T98" fmla="*/ 752 w 2936"/>
                    <a:gd name="T99" fmla="*/ 495 h 1983"/>
                    <a:gd name="T100" fmla="*/ 686 w 2936"/>
                    <a:gd name="T101" fmla="*/ 379 h 1983"/>
                    <a:gd name="T102" fmla="*/ 512 w 2936"/>
                    <a:gd name="T103" fmla="*/ 299 h 1983"/>
                    <a:gd name="T104" fmla="*/ 430 w 2936"/>
                    <a:gd name="T105" fmla="*/ 311 h 1983"/>
                    <a:gd name="T106" fmla="*/ 423 w 2936"/>
                    <a:gd name="T107" fmla="*/ 388 h 1983"/>
                    <a:gd name="T108" fmla="*/ 305 w 2936"/>
                    <a:gd name="T109" fmla="*/ 382 h 1983"/>
                    <a:gd name="T110" fmla="*/ 227 w 2936"/>
                    <a:gd name="T111" fmla="*/ 507 h 1983"/>
                    <a:gd name="T112" fmla="*/ 260 w 2936"/>
                    <a:gd name="T113" fmla="*/ 595 h 1983"/>
                    <a:gd name="T114" fmla="*/ 252 w 2936"/>
                    <a:gd name="T115" fmla="*/ 716 h 1983"/>
                    <a:gd name="T116" fmla="*/ 118 w 2936"/>
                    <a:gd name="T117" fmla="*/ 781 h 1983"/>
                    <a:gd name="T118" fmla="*/ 40 w 2936"/>
                    <a:gd name="T119" fmla="*/ 894 h 1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35" name="Freeform 15">
                  <a:extLst>
                    <a:ext uri="{FF2B5EF4-FFF2-40B4-BE49-F238E27FC236}">
                      <a16:creationId xmlns="" xmlns:a16="http://schemas.microsoft.com/office/drawing/2014/main" id="{A058CFFF-B3C9-4FD7-A846-54E275F294DF}"/>
                    </a:ext>
                  </a:extLst>
                </p:cNvPr>
                <p:cNvSpPr>
                  <a:spLocks/>
                </p:cNvSpPr>
                <p:nvPr>
                  <p:custDataLst>
                    <p:tags r:id="rId23"/>
                  </p:custDataLst>
                </p:nvPr>
              </p:nvSpPr>
              <p:spPr bwMode="auto">
                <a:xfrm>
                  <a:off x="6259814" y="1453505"/>
                  <a:ext cx="156509" cy="193666"/>
                </a:xfrm>
                <a:custGeom>
                  <a:avLst/>
                  <a:gdLst>
                    <a:gd name="T0" fmla="*/ 345 w 504"/>
                    <a:gd name="T1" fmla="*/ 493 h 524"/>
                    <a:gd name="T2" fmla="*/ 256 w 504"/>
                    <a:gd name="T3" fmla="*/ 505 h 524"/>
                    <a:gd name="T4" fmla="*/ 235 w 504"/>
                    <a:gd name="T5" fmla="*/ 517 h 524"/>
                    <a:gd name="T6" fmla="*/ 210 w 504"/>
                    <a:gd name="T7" fmla="*/ 522 h 524"/>
                    <a:gd name="T8" fmla="*/ 155 w 504"/>
                    <a:gd name="T9" fmla="*/ 524 h 524"/>
                    <a:gd name="T10" fmla="*/ 106 w 504"/>
                    <a:gd name="T11" fmla="*/ 522 h 524"/>
                    <a:gd name="T12" fmla="*/ 94 w 504"/>
                    <a:gd name="T13" fmla="*/ 516 h 524"/>
                    <a:gd name="T14" fmla="*/ 71 w 504"/>
                    <a:gd name="T15" fmla="*/ 509 h 524"/>
                    <a:gd name="T16" fmla="*/ 36 w 504"/>
                    <a:gd name="T17" fmla="*/ 496 h 524"/>
                    <a:gd name="T18" fmla="*/ 22 w 504"/>
                    <a:gd name="T19" fmla="*/ 486 h 524"/>
                    <a:gd name="T20" fmla="*/ 20 w 504"/>
                    <a:gd name="T21" fmla="*/ 477 h 524"/>
                    <a:gd name="T22" fmla="*/ 27 w 504"/>
                    <a:gd name="T23" fmla="*/ 463 h 524"/>
                    <a:gd name="T24" fmla="*/ 32 w 504"/>
                    <a:gd name="T25" fmla="*/ 445 h 524"/>
                    <a:gd name="T26" fmla="*/ 28 w 504"/>
                    <a:gd name="T27" fmla="*/ 432 h 524"/>
                    <a:gd name="T28" fmla="*/ 10 w 504"/>
                    <a:gd name="T29" fmla="*/ 417 h 524"/>
                    <a:gd name="T30" fmla="*/ 1 w 504"/>
                    <a:gd name="T31" fmla="*/ 407 h 524"/>
                    <a:gd name="T32" fmla="*/ 1 w 504"/>
                    <a:gd name="T33" fmla="*/ 391 h 524"/>
                    <a:gd name="T34" fmla="*/ 17 w 504"/>
                    <a:gd name="T35" fmla="*/ 360 h 524"/>
                    <a:gd name="T36" fmla="*/ 48 w 504"/>
                    <a:gd name="T37" fmla="*/ 328 h 524"/>
                    <a:gd name="T38" fmla="*/ 86 w 504"/>
                    <a:gd name="T39" fmla="*/ 299 h 524"/>
                    <a:gd name="T40" fmla="*/ 124 w 504"/>
                    <a:gd name="T41" fmla="*/ 279 h 524"/>
                    <a:gd name="T42" fmla="*/ 160 w 504"/>
                    <a:gd name="T43" fmla="*/ 272 h 524"/>
                    <a:gd name="T44" fmla="*/ 155 w 504"/>
                    <a:gd name="T45" fmla="*/ 264 h 524"/>
                    <a:gd name="T46" fmla="*/ 142 w 504"/>
                    <a:gd name="T47" fmla="*/ 259 h 524"/>
                    <a:gd name="T48" fmla="*/ 133 w 504"/>
                    <a:gd name="T49" fmla="*/ 251 h 524"/>
                    <a:gd name="T50" fmla="*/ 127 w 504"/>
                    <a:gd name="T51" fmla="*/ 229 h 524"/>
                    <a:gd name="T52" fmla="*/ 124 w 504"/>
                    <a:gd name="T53" fmla="*/ 195 h 524"/>
                    <a:gd name="T54" fmla="*/ 115 w 504"/>
                    <a:gd name="T55" fmla="*/ 161 h 524"/>
                    <a:gd name="T56" fmla="*/ 100 w 504"/>
                    <a:gd name="T57" fmla="*/ 134 h 524"/>
                    <a:gd name="T58" fmla="*/ 68 w 504"/>
                    <a:gd name="T59" fmla="*/ 90 h 524"/>
                    <a:gd name="T60" fmla="*/ 86 w 504"/>
                    <a:gd name="T61" fmla="*/ 60 h 524"/>
                    <a:gd name="T62" fmla="*/ 106 w 504"/>
                    <a:gd name="T63" fmla="*/ 56 h 524"/>
                    <a:gd name="T64" fmla="*/ 130 w 504"/>
                    <a:gd name="T65" fmla="*/ 58 h 524"/>
                    <a:gd name="T66" fmla="*/ 139 w 504"/>
                    <a:gd name="T67" fmla="*/ 61 h 524"/>
                    <a:gd name="T68" fmla="*/ 160 w 504"/>
                    <a:gd name="T69" fmla="*/ 56 h 524"/>
                    <a:gd name="T70" fmla="*/ 164 w 504"/>
                    <a:gd name="T71" fmla="*/ 33 h 524"/>
                    <a:gd name="T72" fmla="*/ 171 w 504"/>
                    <a:gd name="T73" fmla="*/ 13 h 524"/>
                    <a:gd name="T74" fmla="*/ 187 w 504"/>
                    <a:gd name="T75" fmla="*/ 0 h 524"/>
                    <a:gd name="T76" fmla="*/ 225 w 504"/>
                    <a:gd name="T77" fmla="*/ 0 h 524"/>
                    <a:gd name="T78" fmla="*/ 254 w 504"/>
                    <a:gd name="T79" fmla="*/ 8 h 524"/>
                    <a:gd name="T80" fmla="*/ 280 w 504"/>
                    <a:gd name="T81" fmla="*/ 21 h 524"/>
                    <a:gd name="T82" fmla="*/ 279 w 504"/>
                    <a:gd name="T83" fmla="*/ 62 h 524"/>
                    <a:gd name="T84" fmla="*/ 292 w 504"/>
                    <a:gd name="T85" fmla="*/ 77 h 524"/>
                    <a:gd name="T86" fmla="*/ 319 w 504"/>
                    <a:gd name="T87" fmla="*/ 94 h 524"/>
                    <a:gd name="T88" fmla="*/ 356 w 504"/>
                    <a:gd name="T89" fmla="*/ 119 h 524"/>
                    <a:gd name="T90" fmla="*/ 346 w 504"/>
                    <a:gd name="T91" fmla="*/ 135 h 524"/>
                    <a:gd name="T92" fmla="*/ 340 w 504"/>
                    <a:gd name="T93" fmla="*/ 153 h 524"/>
                    <a:gd name="T94" fmla="*/ 344 w 504"/>
                    <a:gd name="T95" fmla="*/ 176 h 524"/>
                    <a:gd name="T96" fmla="*/ 363 w 504"/>
                    <a:gd name="T97" fmla="*/ 200 h 524"/>
                    <a:gd name="T98" fmla="*/ 378 w 504"/>
                    <a:gd name="T99" fmla="*/ 210 h 524"/>
                    <a:gd name="T100" fmla="*/ 386 w 504"/>
                    <a:gd name="T101" fmla="*/ 256 h 524"/>
                    <a:gd name="T102" fmla="*/ 404 w 504"/>
                    <a:gd name="T103" fmla="*/ 289 h 524"/>
                    <a:gd name="T104" fmla="*/ 432 w 504"/>
                    <a:gd name="T105" fmla="*/ 315 h 524"/>
                    <a:gd name="T106" fmla="*/ 463 w 504"/>
                    <a:gd name="T107" fmla="*/ 335 h 524"/>
                    <a:gd name="T108" fmla="*/ 466 w 504"/>
                    <a:gd name="T109" fmla="*/ 390 h 524"/>
                    <a:gd name="T110" fmla="*/ 397 w 504"/>
                    <a:gd name="T111" fmla="*/ 457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6" name="Freeform 16">
                  <a:extLst>
                    <a:ext uri="{FF2B5EF4-FFF2-40B4-BE49-F238E27FC236}">
                      <a16:creationId xmlns="" xmlns:a16="http://schemas.microsoft.com/office/drawing/2014/main" id="{EF2100FA-559C-4159-839C-28F51F798E4A}"/>
                    </a:ext>
                  </a:extLst>
                </p:cNvPr>
                <p:cNvSpPr>
                  <a:spLocks/>
                </p:cNvSpPr>
                <p:nvPr>
                  <p:custDataLst>
                    <p:tags r:id="rId24"/>
                  </p:custDataLst>
                </p:nvPr>
              </p:nvSpPr>
              <p:spPr bwMode="auto">
                <a:xfrm>
                  <a:off x="6072903" y="1749635"/>
                  <a:ext cx="129486" cy="168895"/>
                </a:xfrm>
                <a:custGeom>
                  <a:avLst/>
                  <a:gdLst>
                    <a:gd name="T0" fmla="*/ 426 w 438"/>
                    <a:gd name="T1" fmla="*/ 190 h 451"/>
                    <a:gd name="T2" fmla="*/ 408 w 438"/>
                    <a:gd name="T3" fmla="*/ 128 h 451"/>
                    <a:gd name="T4" fmla="*/ 387 w 438"/>
                    <a:gd name="T5" fmla="*/ 85 h 451"/>
                    <a:gd name="T6" fmla="*/ 367 w 438"/>
                    <a:gd name="T7" fmla="*/ 62 h 451"/>
                    <a:gd name="T8" fmla="*/ 356 w 438"/>
                    <a:gd name="T9" fmla="*/ 58 h 451"/>
                    <a:gd name="T10" fmla="*/ 335 w 438"/>
                    <a:gd name="T11" fmla="*/ 45 h 451"/>
                    <a:gd name="T12" fmla="*/ 314 w 438"/>
                    <a:gd name="T13" fmla="*/ 38 h 451"/>
                    <a:gd name="T14" fmla="*/ 293 w 438"/>
                    <a:gd name="T15" fmla="*/ 38 h 451"/>
                    <a:gd name="T16" fmla="*/ 276 w 438"/>
                    <a:gd name="T17" fmla="*/ 42 h 451"/>
                    <a:gd name="T18" fmla="*/ 251 w 438"/>
                    <a:gd name="T19" fmla="*/ 58 h 451"/>
                    <a:gd name="T20" fmla="*/ 235 w 438"/>
                    <a:gd name="T21" fmla="*/ 67 h 451"/>
                    <a:gd name="T22" fmla="*/ 217 w 438"/>
                    <a:gd name="T23" fmla="*/ 66 h 451"/>
                    <a:gd name="T24" fmla="*/ 174 w 438"/>
                    <a:gd name="T25" fmla="*/ 37 h 451"/>
                    <a:gd name="T26" fmla="*/ 113 w 438"/>
                    <a:gd name="T27" fmla="*/ 0 h 451"/>
                    <a:gd name="T28" fmla="*/ 95 w 438"/>
                    <a:gd name="T29" fmla="*/ 23 h 451"/>
                    <a:gd name="T30" fmla="*/ 93 w 438"/>
                    <a:gd name="T31" fmla="*/ 43 h 451"/>
                    <a:gd name="T32" fmla="*/ 98 w 438"/>
                    <a:gd name="T33" fmla="*/ 52 h 451"/>
                    <a:gd name="T34" fmla="*/ 119 w 438"/>
                    <a:gd name="T35" fmla="*/ 69 h 451"/>
                    <a:gd name="T36" fmla="*/ 99 w 438"/>
                    <a:gd name="T37" fmla="*/ 73 h 451"/>
                    <a:gd name="T38" fmla="*/ 66 w 438"/>
                    <a:gd name="T39" fmla="*/ 93 h 451"/>
                    <a:gd name="T40" fmla="*/ 58 w 438"/>
                    <a:gd name="T41" fmla="*/ 119 h 451"/>
                    <a:gd name="T42" fmla="*/ 45 w 438"/>
                    <a:gd name="T43" fmla="*/ 138 h 451"/>
                    <a:gd name="T44" fmla="*/ 35 w 438"/>
                    <a:gd name="T45" fmla="*/ 156 h 451"/>
                    <a:gd name="T46" fmla="*/ 33 w 438"/>
                    <a:gd name="T47" fmla="*/ 179 h 451"/>
                    <a:gd name="T48" fmla="*/ 7 w 438"/>
                    <a:gd name="T49" fmla="*/ 238 h 451"/>
                    <a:gd name="T50" fmla="*/ 15 w 438"/>
                    <a:gd name="T51" fmla="*/ 246 h 451"/>
                    <a:gd name="T52" fmla="*/ 26 w 438"/>
                    <a:gd name="T53" fmla="*/ 247 h 451"/>
                    <a:gd name="T54" fmla="*/ 33 w 438"/>
                    <a:gd name="T55" fmla="*/ 346 h 451"/>
                    <a:gd name="T56" fmla="*/ 93 w 438"/>
                    <a:gd name="T57" fmla="*/ 353 h 451"/>
                    <a:gd name="T58" fmla="*/ 104 w 438"/>
                    <a:gd name="T59" fmla="*/ 376 h 451"/>
                    <a:gd name="T60" fmla="*/ 89 w 438"/>
                    <a:gd name="T61" fmla="*/ 425 h 451"/>
                    <a:gd name="T62" fmla="*/ 109 w 438"/>
                    <a:gd name="T63" fmla="*/ 447 h 451"/>
                    <a:gd name="T64" fmla="*/ 152 w 438"/>
                    <a:gd name="T65" fmla="*/ 447 h 451"/>
                    <a:gd name="T66" fmla="*/ 205 w 438"/>
                    <a:gd name="T67" fmla="*/ 444 h 451"/>
                    <a:gd name="T68" fmla="*/ 276 w 438"/>
                    <a:gd name="T69" fmla="*/ 446 h 451"/>
                    <a:gd name="T70" fmla="*/ 343 w 438"/>
                    <a:gd name="T71" fmla="*/ 442 h 451"/>
                    <a:gd name="T72" fmla="*/ 372 w 438"/>
                    <a:gd name="T73" fmla="*/ 432 h 451"/>
                    <a:gd name="T74" fmla="*/ 359 w 438"/>
                    <a:gd name="T75" fmla="*/ 413 h 451"/>
                    <a:gd name="T76" fmla="*/ 369 w 438"/>
                    <a:gd name="T77" fmla="*/ 403 h 451"/>
                    <a:gd name="T78" fmla="*/ 372 w 438"/>
                    <a:gd name="T79" fmla="*/ 382 h 451"/>
                    <a:gd name="T80" fmla="*/ 380 w 438"/>
                    <a:gd name="T81" fmla="*/ 367 h 451"/>
                    <a:gd name="T82" fmla="*/ 343 w 438"/>
                    <a:gd name="T83" fmla="*/ 344 h 451"/>
                    <a:gd name="T84" fmla="*/ 325 w 438"/>
                    <a:gd name="T85" fmla="*/ 323 h 451"/>
                    <a:gd name="T86" fmla="*/ 311 w 438"/>
                    <a:gd name="T87" fmla="*/ 294 h 451"/>
                    <a:gd name="T88" fmla="*/ 294 w 438"/>
                    <a:gd name="T89" fmla="*/ 277 h 451"/>
                    <a:gd name="T90" fmla="*/ 314 w 438"/>
                    <a:gd name="T91" fmla="*/ 275 h 451"/>
                    <a:gd name="T92" fmla="*/ 346 w 438"/>
                    <a:gd name="T93" fmla="*/ 271 h 451"/>
                    <a:gd name="T94" fmla="*/ 369 w 438"/>
                    <a:gd name="T95" fmla="*/ 260 h 451"/>
                    <a:gd name="T96" fmla="*/ 407 w 438"/>
                    <a:gd name="T97" fmla="*/ 240 h 451"/>
                    <a:gd name="T98" fmla="*/ 438 w 438"/>
                    <a:gd name="T99" fmla="*/ 235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7" name="Freeform 17">
                  <a:extLst>
                    <a:ext uri="{FF2B5EF4-FFF2-40B4-BE49-F238E27FC236}">
                      <a16:creationId xmlns="" xmlns:a16="http://schemas.microsoft.com/office/drawing/2014/main" id="{DC636D60-752A-4813-BCAC-5B93496B871E}"/>
                    </a:ext>
                  </a:extLst>
                </p:cNvPr>
                <p:cNvSpPr>
                  <a:spLocks/>
                </p:cNvSpPr>
                <p:nvPr>
                  <p:custDataLst>
                    <p:tags r:id="rId25"/>
                  </p:custDataLst>
                </p:nvPr>
              </p:nvSpPr>
              <p:spPr bwMode="auto">
                <a:xfrm>
                  <a:off x="6090919" y="1932041"/>
                  <a:ext cx="177903" cy="194792"/>
                </a:xfrm>
                <a:custGeom>
                  <a:avLst/>
                  <a:gdLst>
                    <a:gd name="T0" fmla="*/ 327 w 578"/>
                    <a:gd name="T1" fmla="*/ 88 h 524"/>
                    <a:gd name="T2" fmla="*/ 312 w 578"/>
                    <a:gd name="T3" fmla="*/ 85 h 524"/>
                    <a:gd name="T4" fmla="*/ 301 w 578"/>
                    <a:gd name="T5" fmla="*/ 79 h 524"/>
                    <a:gd name="T6" fmla="*/ 275 w 578"/>
                    <a:gd name="T7" fmla="*/ 66 h 524"/>
                    <a:gd name="T8" fmla="*/ 251 w 578"/>
                    <a:gd name="T9" fmla="*/ 78 h 524"/>
                    <a:gd name="T10" fmla="*/ 246 w 578"/>
                    <a:gd name="T11" fmla="*/ 105 h 524"/>
                    <a:gd name="T12" fmla="*/ 253 w 578"/>
                    <a:gd name="T13" fmla="*/ 153 h 524"/>
                    <a:gd name="T14" fmla="*/ 270 w 578"/>
                    <a:gd name="T15" fmla="*/ 172 h 524"/>
                    <a:gd name="T16" fmla="*/ 287 w 578"/>
                    <a:gd name="T17" fmla="*/ 178 h 524"/>
                    <a:gd name="T18" fmla="*/ 298 w 578"/>
                    <a:gd name="T19" fmla="*/ 191 h 524"/>
                    <a:gd name="T20" fmla="*/ 351 w 578"/>
                    <a:gd name="T21" fmla="*/ 225 h 524"/>
                    <a:gd name="T22" fmla="*/ 449 w 578"/>
                    <a:gd name="T23" fmla="*/ 309 h 524"/>
                    <a:gd name="T24" fmla="*/ 477 w 578"/>
                    <a:gd name="T25" fmla="*/ 322 h 524"/>
                    <a:gd name="T26" fmla="*/ 504 w 578"/>
                    <a:gd name="T27" fmla="*/ 328 h 524"/>
                    <a:gd name="T28" fmla="*/ 536 w 578"/>
                    <a:gd name="T29" fmla="*/ 356 h 524"/>
                    <a:gd name="T30" fmla="*/ 578 w 578"/>
                    <a:gd name="T31" fmla="*/ 376 h 524"/>
                    <a:gd name="T32" fmla="*/ 565 w 578"/>
                    <a:gd name="T33" fmla="*/ 407 h 524"/>
                    <a:gd name="T34" fmla="*/ 526 w 578"/>
                    <a:gd name="T35" fmla="*/ 383 h 524"/>
                    <a:gd name="T36" fmla="*/ 508 w 578"/>
                    <a:gd name="T37" fmla="*/ 376 h 524"/>
                    <a:gd name="T38" fmla="*/ 498 w 578"/>
                    <a:gd name="T39" fmla="*/ 397 h 524"/>
                    <a:gd name="T40" fmla="*/ 506 w 578"/>
                    <a:gd name="T41" fmla="*/ 426 h 524"/>
                    <a:gd name="T42" fmla="*/ 514 w 578"/>
                    <a:gd name="T43" fmla="*/ 442 h 524"/>
                    <a:gd name="T44" fmla="*/ 500 w 578"/>
                    <a:gd name="T45" fmla="*/ 468 h 524"/>
                    <a:gd name="T46" fmla="*/ 483 w 578"/>
                    <a:gd name="T47" fmla="*/ 505 h 524"/>
                    <a:gd name="T48" fmla="*/ 465 w 578"/>
                    <a:gd name="T49" fmla="*/ 522 h 524"/>
                    <a:gd name="T50" fmla="*/ 436 w 578"/>
                    <a:gd name="T51" fmla="*/ 505 h 524"/>
                    <a:gd name="T52" fmla="*/ 456 w 578"/>
                    <a:gd name="T53" fmla="*/ 484 h 524"/>
                    <a:gd name="T54" fmla="*/ 465 w 578"/>
                    <a:gd name="T55" fmla="*/ 467 h 524"/>
                    <a:gd name="T56" fmla="*/ 461 w 578"/>
                    <a:gd name="T57" fmla="*/ 441 h 524"/>
                    <a:gd name="T58" fmla="*/ 427 w 578"/>
                    <a:gd name="T59" fmla="*/ 395 h 524"/>
                    <a:gd name="T60" fmla="*/ 385 w 578"/>
                    <a:gd name="T61" fmla="*/ 369 h 524"/>
                    <a:gd name="T62" fmla="*/ 355 w 578"/>
                    <a:gd name="T63" fmla="*/ 356 h 524"/>
                    <a:gd name="T64" fmla="*/ 318 w 578"/>
                    <a:gd name="T65" fmla="*/ 330 h 524"/>
                    <a:gd name="T66" fmla="*/ 268 w 578"/>
                    <a:gd name="T67" fmla="*/ 315 h 524"/>
                    <a:gd name="T68" fmla="*/ 218 w 578"/>
                    <a:gd name="T69" fmla="*/ 285 h 524"/>
                    <a:gd name="T70" fmla="*/ 162 w 578"/>
                    <a:gd name="T71" fmla="*/ 229 h 524"/>
                    <a:gd name="T72" fmla="*/ 126 w 578"/>
                    <a:gd name="T73" fmla="*/ 168 h 524"/>
                    <a:gd name="T74" fmla="*/ 77 w 578"/>
                    <a:gd name="T75" fmla="*/ 154 h 524"/>
                    <a:gd name="T76" fmla="*/ 51 w 578"/>
                    <a:gd name="T77" fmla="*/ 157 h 524"/>
                    <a:gd name="T78" fmla="*/ 15 w 578"/>
                    <a:gd name="T79" fmla="*/ 165 h 524"/>
                    <a:gd name="T80" fmla="*/ 3 w 578"/>
                    <a:gd name="T81" fmla="*/ 133 h 524"/>
                    <a:gd name="T82" fmla="*/ 1 w 578"/>
                    <a:gd name="T83" fmla="*/ 93 h 524"/>
                    <a:gd name="T84" fmla="*/ 6 w 578"/>
                    <a:gd name="T85" fmla="*/ 49 h 524"/>
                    <a:gd name="T86" fmla="*/ 45 w 578"/>
                    <a:gd name="T87" fmla="*/ 41 h 524"/>
                    <a:gd name="T88" fmla="*/ 68 w 578"/>
                    <a:gd name="T89" fmla="*/ 33 h 524"/>
                    <a:gd name="T90" fmla="*/ 83 w 578"/>
                    <a:gd name="T91" fmla="*/ 48 h 524"/>
                    <a:gd name="T92" fmla="*/ 104 w 578"/>
                    <a:gd name="T93" fmla="*/ 44 h 524"/>
                    <a:gd name="T94" fmla="*/ 149 w 578"/>
                    <a:gd name="T95" fmla="*/ 16 h 524"/>
                    <a:gd name="T96" fmla="*/ 239 w 578"/>
                    <a:gd name="T97" fmla="*/ 0 h 524"/>
                    <a:gd name="T98" fmla="*/ 257 w 578"/>
                    <a:gd name="T99" fmla="*/ 13 h 524"/>
                    <a:gd name="T100" fmla="*/ 332 w 578"/>
                    <a:gd name="T101" fmla="*/ 19 h 524"/>
                    <a:gd name="T102" fmla="*/ 322 w 578"/>
                    <a:gd name="T103" fmla="*/ 65 h 524"/>
                    <a:gd name="T104" fmla="*/ 325 w 578"/>
                    <a:gd name="T105" fmla="*/ 90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8" name="Freeform 18">
                  <a:extLst>
                    <a:ext uri="{FF2B5EF4-FFF2-40B4-BE49-F238E27FC236}">
                      <a16:creationId xmlns="" xmlns:a16="http://schemas.microsoft.com/office/drawing/2014/main" id="{C9C0C18F-ADF6-4CC9-A6B8-3C8F0DB48464}"/>
                    </a:ext>
                  </a:extLst>
                </p:cNvPr>
                <p:cNvSpPr>
                  <a:spLocks/>
                </p:cNvSpPr>
                <p:nvPr>
                  <p:custDataLst>
                    <p:tags r:id="rId26"/>
                  </p:custDataLst>
                </p:nvPr>
              </p:nvSpPr>
              <p:spPr bwMode="auto">
                <a:xfrm>
                  <a:off x="6103304" y="2051394"/>
                  <a:ext cx="23646" cy="58550"/>
                </a:xfrm>
                <a:custGeom>
                  <a:avLst/>
                  <a:gdLst>
                    <a:gd name="T0" fmla="*/ 0 w 79"/>
                    <a:gd name="T1" fmla="*/ 37 h 160"/>
                    <a:gd name="T2" fmla="*/ 6 w 79"/>
                    <a:gd name="T3" fmla="*/ 37 h 160"/>
                    <a:gd name="T4" fmla="*/ 11 w 79"/>
                    <a:gd name="T5" fmla="*/ 36 h 160"/>
                    <a:gd name="T6" fmla="*/ 16 w 79"/>
                    <a:gd name="T7" fmla="*/ 35 h 160"/>
                    <a:gd name="T8" fmla="*/ 19 w 79"/>
                    <a:gd name="T9" fmla="*/ 33 h 160"/>
                    <a:gd name="T10" fmla="*/ 26 w 79"/>
                    <a:gd name="T11" fmla="*/ 28 h 160"/>
                    <a:gd name="T12" fmla="*/ 31 w 79"/>
                    <a:gd name="T13" fmla="*/ 22 h 160"/>
                    <a:gd name="T14" fmla="*/ 37 w 79"/>
                    <a:gd name="T15" fmla="*/ 16 h 160"/>
                    <a:gd name="T16" fmla="*/ 41 w 79"/>
                    <a:gd name="T17" fmla="*/ 10 h 160"/>
                    <a:gd name="T18" fmla="*/ 46 w 79"/>
                    <a:gd name="T19" fmla="*/ 5 h 160"/>
                    <a:gd name="T20" fmla="*/ 53 w 79"/>
                    <a:gd name="T21" fmla="*/ 0 h 160"/>
                    <a:gd name="T22" fmla="*/ 57 w 79"/>
                    <a:gd name="T23" fmla="*/ 3 h 160"/>
                    <a:gd name="T24" fmla="*/ 62 w 79"/>
                    <a:gd name="T25" fmla="*/ 7 h 160"/>
                    <a:gd name="T26" fmla="*/ 64 w 79"/>
                    <a:gd name="T27" fmla="*/ 10 h 160"/>
                    <a:gd name="T28" fmla="*/ 66 w 79"/>
                    <a:gd name="T29" fmla="*/ 14 h 160"/>
                    <a:gd name="T30" fmla="*/ 69 w 79"/>
                    <a:gd name="T31" fmla="*/ 22 h 160"/>
                    <a:gd name="T32" fmla="*/ 72 w 79"/>
                    <a:gd name="T33" fmla="*/ 32 h 160"/>
                    <a:gd name="T34" fmla="*/ 73 w 79"/>
                    <a:gd name="T35" fmla="*/ 40 h 160"/>
                    <a:gd name="T36" fmla="*/ 74 w 79"/>
                    <a:gd name="T37" fmla="*/ 49 h 160"/>
                    <a:gd name="T38" fmla="*/ 76 w 79"/>
                    <a:gd name="T39" fmla="*/ 58 h 160"/>
                    <a:gd name="T40" fmla="*/ 79 w 79"/>
                    <a:gd name="T41" fmla="*/ 67 h 160"/>
                    <a:gd name="T42" fmla="*/ 79 w 79"/>
                    <a:gd name="T43" fmla="*/ 98 h 160"/>
                    <a:gd name="T44" fmla="*/ 68 w 79"/>
                    <a:gd name="T45" fmla="*/ 115 h 160"/>
                    <a:gd name="T46" fmla="*/ 59 w 79"/>
                    <a:gd name="T47" fmla="*/ 129 h 160"/>
                    <a:gd name="T48" fmla="*/ 53 w 79"/>
                    <a:gd name="T49" fmla="*/ 136 h 160"/>
                    <a:gd name="T50" fmla="*/ 50 w 79"/>
                    <a:gd name="T51" fmla="*/ 144 h 160"/>
                    <a:gd name="T52" fmla="*/ 48 w 79"/>
                    <a:gd name="T53" fmla="*/ 151 h 160"/>
                    <a:gd name="T54" fmla="*/ 46 w 79"/>
                    <a:gd name="T55" fmla="*/ 160 h 160"/>
                    <a:gd name="T56" fmla="*/ 40 w 79"/>
                    <a:gd name="T57" fmla="*/ 155 h 160"/>
                    <a:gd name="T58" fmla="*/ 33 w 79"/>
                    <a:gd name="T59" fmla="*/ 150 h 160"/>
                    <a:gd name="T60" fmla="*/ 28 w 79"/>
                    <a:gd name="T61" fmla="*/ 144 h 160"/>
                    <a:gd name="T62" fmla="*/ 22 w 79"/>
                    <a:gd name="T63" fmla="*/ 137 h 160"/>
                    <a:gd name="T64" fmla="*/ 18 w 79"/>
                    <a:gd name="T65" fmla="*/ 130 h 160"/>
                    <a:gd name="T66" fmla="*/ 15 w 79"/>
                    <a:gd name="T67" fmla="*/ 123 h 160"/>
                    <a:gd name="T68" fmla="*/ 11 w 79"/>
                    <a:gd name="T69" fmla="*/ 115 h 160"/>
                    <a:gd name="T70" fmla="*/ 8 w 79"/>
                    <a:gd name="T71" fmla="*/ 108 h 160"/>
                    <a:gd name="T72" fmla="*/ 4 w 79"/>
                    <a:gd name="T73" fmla="*/ 91 h 160"/>
                    <a:gd name="T74" fmla="*/ 1 w 79"/>
                    <a:gd name="T75" fmla="*/ 73 h 160"/>
                    <a:gd name="T76" fmla="*/ 0 w 79"/>
                    <a:gd name="T77" fmla="*/ 55 h 160"/>
                    <a:gd name="T78" fmla="*/ 0 w 79"/>
                    <a:gd name="T79" fmla="*/ 3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grpSp>
              <p:nvGrpSpPr>
                <p:cNvPr id="39" name="Group 19">
                  <a:extLst>
                    <a:ext uri="{FF2B5EF4-FFF2-40B4-BE49-F238E27FC236}">
                      <a16:creationId xmlns="" xmlns:a16="http://schemas.microsoft.com/office/drawing/2014/main" id="{3AB5BEEF-4635-41B5-B1E6-01DDBBA6E860}"/>
                    </a:ext>
                  </a:extLst>
                </p:cNvPr>
                <p:cNvGrpSpPr>
                  <a:grpSpLocks/>
                </p:cNvGrpSpPr>
                <p:nvPr>
                  <p:custDataLst>
                    <p:tags r:id="rId27"/>
                  </p:custDataLst>
                </p:nvPr>
              </p:nvGrpSpPr>
              <p:grpSpPr bwMode="auto">
                <a:xfrm>
                  <a:off x="7748343" y="2803540"/>
                  <a:ext cx="335538" cy="150880"/>
                  <a:chOff x="4488" y="2394"/>
                  <a:chExt cx="358" cy="124"/>
                </a:xfrm>
                <a:solidFill>
                  <a:srgbClr val="CDCDCD"/>
                </a:solidFill>
              </p:grpSpPr>
              <p:sp>
                <p:nvSpPr>
                  <p:cNvPr id="586" name="Freeform 20">
                    <a:extLst>
                      <a:ext uri="{FF2B5EF4-FFF2-40B4-BE49-F238E27FC236}">
                        <a16:creationId xmlns="" xmlns:a16="http://schemas.microsoft.com/office/drawing/2014/main" id="{681B6ACB-8197-478F-B496-B834ABD77310}"/>
                      </a:ext>
                    </a:extLst>
                  </p:cNvPr>
                  <p:cNvSpPr>
                    <a:spLocks/>
                  </p:cNvSpPr>
                  <p:nvPr/>
                </p:nvSpPr>
                <p:spPr bwMode="auto">
                  <a:xfrm>
                    <a:off x="4675" y="2394"/>
                    <a:ext cx="171" cy="124"/>
                  </a:xfrm>
                  <a:custGeom>
                    <a:avLst/>
                    <a:gdLst>
                      <a:gd name="T0" fmla="*/ 424 w 512"/>
                      <a:gd name="T1" fmla="*/ 198 h 408"/>
                      <a:gd name="T2" fmla="*/ 387 w 512"/>
                      <a:gd name="T3" fmla="*/ 193 h 408"/>
                      <a:gd name="T4" fmla="*/ 367 w 512"/>
                      <a:gd name="T5" fmla="*/ 203 h 408"/>
                      <a:gd name="T6" fmla="*/ 354 w 512"/>
                      <a:gd name="T7" fmla="*/ 217 h 408"/>
                      <a:gd name="T8" fmla="*/ 347 w 512"/>
                      <a:gd name="T9" fmla="*/ 254 h 408"/>
                      <a:gd name="T10" fmla="*/ 327 w 512"/>
                      <a:gd name="T11" fmla="*/ 306 h 408"/>
                      <a:gd name="T12" fmla="*/ 305 w 512"/>
                      <a:gd name="T13" fmla="*/ 335 h 408"/>
                      <a:gd name="T14" fmla="*/ 289 w 512"/>
                      <a:gd name="T15" fmla="*/ 350 h 408"/>
                      <a:gd name="T16" fmla="*/ 271 w 512"/>
                      <a:gd name="T17" fmla="*/ 359 h 408"/>
                      <a:gd name="T18" fmla="*/ 256 w 512"/>
                      <a:gd name="T19" fmla="*/ 368 h 408"/>
                      <a:gd name="T20" fmla="*/ 253 w 512"/>
                      <a:gd name="T21" fmla="*/ 376 h 408"/>
                      <a:gd name="T22" fmla="*/ 215 w 512"/>
                      <a:gd name="T23" fmla="*/ 370 h 408"/>
                      <a:gd name="T24" fmla="*/ 183 w 512"/>
                      <a:gd name="T25" fmla="*/ 367 h 408"/>
                      <a:gd name="T26" fmla="*/ 155 w 512"/>
                      <a:gd name="T27" fmla="*/ 373 h 408"/>
                      <a:gd name="T28" fmla="*/ 138 w 512"/>
                      <a:gd name="T29" fmla="*/ 388 h 408"/>
                      <a:gd name="T30" fmla="*/ 97 w 512"/>
                      <a:gd name="T31" fmla="*/ 405 h 408"/>
                      <a:gd name="T32" fmla="*/ 62 w 512"/>
                      <a:gd name="T33" fmla="*/ 407 h 408"/>
                      <a:gd name="T34" fmla="*/ 45 w 512"/>
                      <a:gd name="T35" fmla="*/ 400 h 408"/>
                      <a:gd name="T36" fmla="*/ 15 w 512"/>
                      <a:gd name="T37" fmla="*/ 368 h 408"/>
                      <a:gd name="T38" fmla="*/ 2 w 512"/>
                      <a:gd name="T39" fmla="*/ 344 h 408"/>
                      <a:gd name="T40" fmla="*/ 8 w 512"/>
                      <a:gd name="T41" fmla="*/ 335 h 408"/>
                      <a:gd name="T42" fmla="*/ 34 w 512"/>
                      <a:gd name="T43" fmla="*/ 344 h 408"/>
                      <a:gd name="T44" fmla="*/ 53 w 512"/>
                      <a:gd name="T45" fmla="*/ 336 h 408"/>
                      <a:gd name="T46" fmla="*/ 56 w 512"/>
                      <a:gd name="T47" fmla="*/ 314 h 408"/>
                      <a:gd name="T48" fmla="*/ 71 w 512"/>
                      <a:gd name="T49" fmla="*/ 300 h 408"/>
                      <a:gd name="T50" fmla="*/ 82 w 512"/>
                      <a:gd name="T51" fmla="*/ 286 h 408"/>
                      <a:gd name="T52" fmla="*/ 89 w 512"/>
                      <a:gd name="T53" fmla="*/ 272 h 408"/>
                      <a:gd name="T54" fmla="*/ 101 w 512"/>
                      <a:gd name="T55" fmla="*/ 262 h 408"/>
                      <a:gd name="T56" fmla="*/ 137 w 512"/>
                      <a:gd name="T57" fmla="*/ 246 h 408"/>
                      <a:gd name="T58" fmla="*/ 175 w 512"/>
                      <a:gd name="T59" fmla="*/ 232 h 408"/>
                      <a:gd name="T60" fmla="*/ 202 w 512"/>
                      <a:gd name="T61" fmla="*/ 217 h 408"/>
                      <a:gd name="T62" fmla="*/ 213 w 512"/>
                      <a:gd name="T63" fmla="*/ 205 h 408"/>
                      <a:gd name="T64" fmla="*/ 219 w 512"/>
                      <a:gd name="T65" fmla="*/ 191 h 408"/>
                      <a:gd name="T66" fmla="*/ 227 w 512"/>
                      <a:gd name="T67" fmla="*/ 161 h 408"/>
                      <a:gd name="T68" fmla="*/ 229 w 512"/>
                      <a:gd name="T69" fmla="*/ 149 h 408"/>
                      <a:gd name="T70" fmla="*/ 231 w 512"/>
                      <a:gd name="T71" fmla="*/ 152 h 408"/>
                      <a:gd name="T72" fmla="*/ 239 w 512"/>
                      <a:gd name="T73" fmla="*/ 143 h 408"/>
                      <a:gd name="T74" fmla="*/ 237 w 512"/>
                      <a:gd name="T75" fmla="*/ 155 h 408"/>
                      <a:gd name="T76" fmla="*/ 240 w 512"/>
                      <a:gd name="T77" fmla="*/ 174 h 408"/>
                      <a:gd name="T78" fmla="*/ 251 w 512"/>
                      <a:gd name="T79" fmla="*/ 193 h 408"/>
                      <a:gd name="T80" fmla="*/ 272 w 512"/>
                      <a:gd name="T81" fmla="*/ 205 h 408"/>
                      <a:gd name="T82" fmla="*/ 306 w 512"/>
                      <a:gd name="T83" fmla="*/ 204 h 408"/>
                      <a:gd name="T84" fmla="*/ 320 w 512"/>
                      <a:gd name="T85" fmla="*/ 205 h 408"/>
                      <a:gd name="T86" fmla="*/ 327 w 512"/>
                      <a:gd name="T87" fmla="*/ 198 h 408"/>
                      <a:gd name="T88" fmla="*/ 324 w 512"/>
                      <a:gd name="T89" fmla="*/ 176 h 408"/>
                      <a:gd name="T90" fmla="*/ 299 w 512"/>
                      <a:gd name="T91" fmla="*/ 130 h 408"/>
                      <a:gd name="T92" fmla="*/ 319 w 512"/>
                      <a:gd name="T93" fmla="*/ 109 h 408"/>
                      <a:gd name="T94" fmla="*/ 344 w 512"/>
                      <a:gd name="T95" fmla="*/ 66 h 408"/>
                      <a:gd name="T96" fmla="*/ 374 w 512"/>
                      <a:gd name="T97" fmla="*/ 22 h 408"/>
                      <a:gd name="T98" fmla="*/ 399 w 512"/>
                      <a:gd name="T99" fmla="*/ 0 h 408"/>
                      <a:gd name="T100" fmla="*/ 401 w 512"/>
                      <a:gd name="T101" fmla="*/ 23 h 408"/>
                      <a:gd name="T102" fmla="*/ 413 w 512"/>
                      <a:gd name="T103" fmla="*/ 50 h 408"/>
                      <a:gd name="T104" fmla="*/ 439 w 512"/>
                      <a:gd name="T105" fmla="*/ 75 h 408"/>
                      <a:gd name="T106" fmla="*/ 486 w 512"/>
                      <a:gd name="T107" fmla="*/ 106 h 408"/>
                      <a:gd name="T108" fmla="*/ 508 w 512"/>
                      <a:gd name="T109" fmla="*/ 132 h 408"/>
                      <a:gd name="T110" fmla="*/ 499 w 512"/>
                      <a:gd name="T111" fmla="*/ 149 h 408"/>
                      <a:gd name="T112" fmla="*/ 478 w 512"/>
                      <a:gd name="T113" fmla="*/ 152 h 408"/>
                      <a:gd name="T114" fmla="*/ 458 w 512"/>
                      <a:gd name="T115" fmla="*/ 18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587" name="Freeform 21">
                    <a:extLst>
                      <a:ext uri="{FF2B5EF4-FFF2-40B4-BE49-F238E27FC236}">
                        <a16:creationId xmlns="" xmlns:a16="http://schemas.microsoft.com/office/drawing/2014/main" id="{9438061F-C2B7-4DEF-9F2E-2B414337FFB6}"/>
                      </a:ext>
                    </a:extLst>
                  </p:cNvPr>
                  <p:cNvSpPr>
                    <a:spLocks/>
                  </p:cNvSpPr>
                  <p:nvPr/>
                </p:nvSpPr>
                <p:spPr bwMode="auto">
                  <a:xfrm>
                    <a:off x="4488" y="2420"/>
                    <a:ext cx="77" cy="89"/>
                  </a:xfrm>
                  <a:custGeom>
                    <a:avLst/>
                    <a:gdLst>
                      <a:gd name="T0" fmla="*/ 151 w 232"/>
                      <a:gd name="T1" fmla="*/ 24 h 289"/>
                      <a:gd name="T2" fmla="*/ 165 w 232"/>
                      <a:gd name="T3" fmla="*/ 48 h 289"/>
                      <a:gd name="T4" fmla="*/ 174 w 232"/>
                      <a:gd name="T5" fmla="*/ 56 h 289"/>
                      <a:gd name="T6" fmla="*/ 181 w 232"/>
                      <a:gd name="T7" fmla="*/ 60 h 289"/>
                      <a:gd name="T8" fmla="*/ 186 w 232"/>
                      <a:gd name="T9" fmla="*/ 166 h 289"/>
                      <a:gd name="T10" fmla="*/ 189 w 232"/>
                      <a:gd name="T11" fmla="*/ 196 h 289"/>
                      <a:gd name="T12" fmla="*/ 193 w 232"/>
                      <a:gd name="T13" fmla="*/ 207 h 289"/>
                      <a:gd name="T14" fmla="*/ 199 w 232"/>
                      <a:gd name="T15" fmla="*/ 216 h 289"/>
                      <a:gd name="T16" fmla="*/ 232 w 232"/>
                      <a:gd name="T17" fmla="*/ 246 h 289"/>
                      <a:gd name="T18" fmla="*/ 219 w 232"/>
                      <a:gd name="T19" fmla="*/ 288 h 289"/>
                      <a:gd name="T20" fmla="*/ 186 w 232"/>
                      <a:gd name="T21" fmla="*/ 282 h 289"/>
                      <a:gd name="T22" fmla="*/ 151 w 232"/>
                      <a:gd name="T23" fmla="*/ 264 h 289"/>
                      <a:gd name="T24" fmla="*/ 113 w 232"/>
                      <a:gd name="T25" fmla="*/ 235 h 289"/>
                      <a:gd name="T26" fmla="*/ 81 w 232"/>
                      <a:gd name="T27" fmla="*/ 207 h 289"/>
                      <a:gd name="T28" fmla="*/ 56 w 232"/>
                      <a:gd name="T29" fmla="*/ 176 h 289"/>
                      <a:gd name="T30" fmla="*/ 31 w 232"/>
                      <a:gd name="T31" fmla="*/ 145 h 289"/>
                      <a:gd name="T32" fmla="*/ 9 w 232"/>
                      <a:gd name="T33" fmla="*/ 126 h 289"/>
                      <a:gd name="T34" fmla="*/ 2 w 232"/>
                      <a:gd name="T35" fmla="*/ 117 h 289"/>
                      <a:gd name="T36" fmla="*/ 0 w 232"/>
                      <a:gd name="T37" fmla="*/ 109 h 289"/>
                      <a:gd name="T38" fmla="*/ 0 w 232"/>
                      <a:gd name="T39" fmla="*/ 100 h 289"/>
                      <a:gd name="T40" fmla="*/ 3 w 232"/>
                      <a:gd name="T41" fmla="*/ 92 h 289"/>
                      <a:gd name="T42" fmla="*/ 11 w 232"/>
                      <a:gd name="T43" fmla="*/ 79 h 289"/>
                      <a:gd name="T44" fmla="*/ 12 w 232"/>
                      <a:gd name="T45" fmla="*/ 52 h 289"/>
                      <a:gd name="T46" fmla="*/ 7 w 232"/>
                      <a:gd name="T47" fmla="*/ 15 h 289"/>
                      <a:gd name="T48" fmla="*/ 13 w 232"/>
                      <a:gd name="T49" fmla="*/ 0 h 289"/>
                      <a:gd name="T50" fmla="*/ 26 w 232"/>
                      <a:gd name="T51" fmla="*/ 3 h 289"/>
                      <a:gd name="T52" fmla="*/ 42 w 232"/>
                      <a:gd name="T53" fmla="*/ 10 h 289"/>
                      <a:gd name="T54" fmla="*/ 59 w 232"/>
                      <a:gd name="T55" fmla="*/ 21 h 289"/>
                      <a:gd name="T56" fmla="*/ 73 w 232"/>
                      <a:gd name="T57" fmla="*/ 28 h 289"/>
                      <a:gd name="T58" fmla="*/ 81 w 232"/>
                      <a:gd name="T59" fmla="*/ 31 h 289"/>
                      <a:gd name="T60" fmla="*/ 91 w 232"/>
                      <a:gd name="T61" fmla="*/ 31 h 289"/>
                      <a:gd name="T62" fmla="*/ 105 w 232"/>
                      <a:gd name="T63" fmla="*/ 26 h 289"/>
                      <a:gd name="T64" fmla="*/ 120 w 232"/>
                      <a:gd name="T65" fmla="*/ 19 h 289"/>
                      <a:gd name="T66" fmla="*/ 133 w 232"/>
                      <a:gd name="T67" fmla="*/ 1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grpSp>
            <p:sp>
              <p:nvSpPr>
                <p:cNvPr id="40" name="Freeform 22">
                  <a:extLst>
                    <a:ext uri="{FF2B5EF4-FFF2-40B4-BE49-F238E27FC236}">
                      <a16:creationId xmlns="" xmlns:a16="http://schemas.microsoft.com/office/drawing/2014/main" id="{C7181057-CCDE-4792-8564-6F15CD689127}"/>
                    </a:ext>
                  </a:extLst>
                </p:cNvPr>
                <p:cNvSpPr>
                  <a:spLocks/>
                </p:cNvSpPr>
                <p:nvPr>
                  <p:custDataLst>
                    <p:tags r:id="rId28"/>
                  </p:custDataLst>
                </p:nvPr>
              </p:nvSpPr>
              <p:spPr bwMode="auto">
                <a:xfrm>
                  <a:off x="6345388" y="1296996"/>
                  <a:ext cx="2174242" cy="762279"/>
                </a:xfrm>
                <a:custGeom>
                  <a:avLst/>
                  <a:gdLst>
                    <a:gd name="T0" fmla="*/ 725 w 7049"/>
                    <a:gd name="T1" fmla="*/ 1733 h 2048"/>
                    <a:gd name="T2" fmla="*/ 1070 w 7049"/>
                    <a:gd name="T3" fmla="*/ 1937 h 2048"/>
                    <a:gd name="T4" fmla="*/ 1212 w 7049"/>
                    <a:gd name="T5" fmla="*/ 1814 h 2048"/>
                    <a:gd name="T6" fmla="*/ 1674 w 7049"/>
                    <a:gd name="T7" fmla="*/ 1469 h 2048"/>
                    <a:gd name="T8" fmla="*/ 2618 w 7049"/>
                    <a:gd name="T9" fmla="*/ 1315 h 2048"/>
                    <a:gd name="T10" fmla="*/ 3350 w 7049"/>
                    <a:gd name="T11" fmla="*/ 1494 h 2048"/>
                    <a:gd name="T12" fmla="*/ 3676 w 7049"/>
                    <a:gd name="T13" fmla="*/ 1438 h 2048"/>
                    <a:gd name="T14" fmla="*/ 4136 w 7049"/>
                    <a:gd name="T15" fmla="*/ 1492 h 2048"/>
                    <a:gd name="T16" fmla="*/ 4577 w 7049"/>
                    <a:gd name="T17" fmla="*/ 1509 h 2048"/>
                    <a:gd name="T18" fmla="*/ 4759 w 7049"/>
                    <a:gd name="T19" fmla="*/ 1372 h 2048"/>
                    <a:gd name="T20" fmla="*/ 5156 w 7049"/>
                    <a:gd name="T21" fmla="*/ 1476 h 2048"/>
                    <a:gd name="T22" fmla="*/ 5614 w 7049"/>
                    <a:gd name="T23" fmla="*/ 1598 h 2048"/>
                    <a:gd name="T24" fmla="*/ 5604 w 7049"/>
                    <a:gd name="T25" fmla="*/ 1844 h 2048"/>
                    <a:gd name="T26" fmla="*/ 5853 w 7049"/>
                    <a:gd name="T27" fmla="*/ 1612 h 2048"/>
                    <a:gd name="T28" fmla="*/ 5570 w 7049"/>
                    <a:gd name="T29" fmla="*/ 1256 h 2048"/>
                    <a:gd name="T30" fmla="*/ 5331 w 7049"/>
                    <a:gd name="T31" fmla="*/ 1147 h 2048"/>
                    <a:gd name="T32" fmla="*/ 5857 w 7049"/>
                    <a:gd name="T33" fmla="*/ 982 h 2048"/>
                    <a:gd name="T34" fmla="*/ 5974 w 7049"/>
                    <a:gd name="T35" fmla="*/ 822 h 2048"/>
                    <a:gd name="T36" fmla="*/ 6132 w 7049"/>
                    <a:gd name="T37" fmla="*/ 761 h 2048"/>
                    <a:gd name="T38" fmla="*/ 6195 w 7049"/>
                    <a:gd name="T39" fmla="*/ 974 h 2048"/>
                    <a:gd name="T40" fmla="*/ 6352 w 7049"/>
                    <a:gd name="T41" fmla="*/ 1251 h 2048"/>
                    <a:gd name="T42" fmla="*/ 6575 w 7049"/>
                    <a:gd name="T43" fmla="*/ 1410 h 2048"/>
                    <a:gd name="T44" fmla="*/ 6566 w 7049"/>
                    <a:gd name="T45" fmla="*/ 1214 h 2048"/>
                    <a:gd name="T46" fmla="*/ 6373 w 7049"/>
                    <a:gd name="T47" fmla="*/ 1037 h 2048"/>
                    <a:gd name="T48" fmla="*/ 6547 w 7049"/>
                    <a:gd name="T49" fmla="*/ 885 h 2048"/>
                    <a:gd name="T50" fmla="*/ 6801 w 7049"/>
                    <a:gd name="T51" fmla="*/ 784 h 2048"/>
                    <a:gd name="T52" fmla="*/ 6628 w 7049"/>
                    <a:gd name="T53" fmla="*/ 618 h 2048"/>
                    <a:gd name="T54" fmla="*/ 6799 w 7049"/>
                    <a:gd name="T55" fmla="*/ 636 h 2048"/>
                    <a:gd name="T56" fmla="*/ 6861 w 7049"/>
                    <a:gd name="T57" fmla="*/ 543 h 2048"/>
                    <a:gd name="T58" fmla="*/ 6500 w 7049"/>
                    <a:gd name="T59" fmla="*/ 462 h 2048"/>
                    <a:gd name="T60" fmla="*/ 5843 w 7049"/>
                    <a:gd name="T61" fmla="*/ 410 h 2048"/>
                    <a:gd name="T62" fmla="*/ 5693 w 7049"/>
                    <a:gd name="T63" fmla="*/ 415 h 2048"/>
                    <a:gd name="T64" fmla="*/ 4991 w 7049"/>
                    <a:gd name="T65" fmla="*/ 351 h 2048"/>
                    <a:gd name="T66" fmla="*/ 4728 w 7049"/>
                    <a:gd name="T67" fmla="*/ 290 h 2048"/>
                    <a:gd name="T68" fmla="*/ 4412 w 7049"/>
                    <a:gd name="T69" fmla="*/ 290 h 2048"/>
                    <a:gd name="T70" fmla="*/ 4009 w 7049"/>
                    <a:gd name="T71" fmla="*/ 318 h 2048"/>
                    <a:gd name="T72" fmla="*/ 3574 w 7049"/>
                    <a:gd name="T73" fmla="*/ 261 h 2048"/>
                    <a:gd name="T74" fmla="*/ 3290 w 7049"/>
                    <a:gd name="T75" fmla="*/ 244 h 2048"/>
                    <a:gd name="T76" fmla="*/ 3008 w 7049"/>
                    <a:gd name="T77" fmla="*/ 235 h 2048"/>
                    <a:gd name="T78" fmla="*/ 2724 w 7049"/>
                    <a:gd name="T79" fmla="*/ 58 h 2048"/>
                    <a:gd name="T80" fmla="*/ 2617 w 7049"/>
                    <a:gd name="T81" fmla="*/ 140 h 2048"/>
                    <a:gd name="T82" fmla="*/ 2134 w 7049"/>
                    <a:gd name="T83" fmla="*/ 167 h 2048"/>
                    <a:gd name="T84" fmla="*/ 2159 w 7049"/>
                    <a:gd name="T85" fmla="*/ 200 h 2048"/>
                    <a:gd name="T86" fmla="*/ 2198 w 7049"/>
                    <a:gd name="T87" fmla="*/ 342 h 2048"/>
                    <a:gd name="T88" fmla="*/ 1933 w 7049"/>
                    <a:gd name="T89" fmla="*/ 256 h 2048"/>
                    <a:gd name="T90" fmla="*/ 1787 w 7049"/>
                    <a:gd name="T91" fmla="*/ 273 h 2048"/>
                    <a:gd name="T92" fmla="*/ 1917 w 7049"/>
                    <a:gd name="T93" fmla="*/ 446 h 2048"/>
                    <a:gd name="T94" fmla="*/ 2076 w 7049"/>
                    <a:gd name="T95" fmla="*/ 529 h 2048"/>
                    <a:gd name="T96" fmla="*/ 1883 w 7049"/>
                    <a:gd name="T97" fmla="*/ 593 h 2048"/>
                    <a:gd name="T98" fmla="*/ 1832 w 7049"/>
                    <a:gd name="T99" fmla="*/ 464 h 2048"/>
                    <a:gd name="T100" fmla="*/ 1621 w 7049"/>
                    <a:gd name="T101" fmla="*/ 231 h 2048"/>
                    <a:gd name="T102" fmla="*/ 1623 w 7049"/>
                    <a:gd name="T103" fmla="*/ 451 h 2048"/>
                    <a:gd name="T104" fmla="*/ 1238 w 7049"/>
                    <a:gd name="T105" fmla="*/ 397 h 2048"/>
                    <a:gd name="T106" fmla="*/ 1198 w 7049"/>
                    <a:gd name="T107" fmla="*/ 477 h 2048"/>
                    <a:gd name="T108" fmla="*/ 908 w 7049"/>
                    <a:gd name="T109" fmla="*/ 500 h 2048"/>
                    <a:gd name="T110" fmla="*/ 692 w 7049"/>
                    <a:gd name="T111" fmla="*/ 483 h 2048"/>
                    <a:gd name="T112" fmla="*/ 602 w 7049"/>
                    <a:gd name="T113" fmla="*/ 585 h 2048"/>
                    <a:gd name="T114" fmla="*/ 407 w 7049"/>
                    <a:gd name="T115" fmla="*/ 739 h 2048"/>
                    <a:gd name="T116" fmla="*/ 390 w 7049"/>
                    <a:gd name="T117" fmla="*/ 612 h 2048"/>
                    <a:gd name="T118" fmla="*/ 150 w 7049"/>
                    <a:gd name="T119" fmla="*/ 440 h 2048"/>
                    <a:gd name="T120" fmla="*/ 71 w 7049"/>
                    <a:gd name="T121" fmla="*/ 605 h 2048"/>
                    <a:gd name="T122" fmla="*/ 112 w 7049"/>
                    <a:gd name="T123" fmla="*/ 958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41" name="Freeform 23">
                  <a:extLst>
                    <a:ext uri="{FF2B5EF4-FFF2-40B4-BE49-F238E27FC236}">
                      <a16:creationId xmlns="" xmlns:a16="http://schemas.microsoft.com/office/drawing/2014/main" id="{04D52CE7-5FAE-4753-91B4-B357C298E2EE}"/>
                    </a:ext>
                  </a:extLst>
                </p:cNvPr>
                <p:cNvSpPr>
                  <a:spLocks/>
                </p:cNvSpPr>
                <p:nvPr>
                  <p:custDataLst>
                    <p:tags r:id="rId29"/>
                  </p:custDataLst>
                </p:nvPr>
              </p:nvSpPr>
              <p:spPr bwMode="auto">
                <a:xfrm>
                  <a:off x="5822939" y="1997347"/>
                  <a:ext cx="199296" cy="175651"/>
                </a:xfrm>
                <a:custGeom>
                  <a:avLst/>
                  <a:gdLst>
                    <a:gd name="T0" fmla="*/ 406 w 647"/>
                    <a:gd name="T1" fmla="*/ 27 h 470"/>
                    <a:gd name="T2" fmla="*/ 428 w 647"/>
                    <a:gd name="T3" fmla="*/ 45 h 470"/>
                    <a:gd name="T4" fmla="*/ 458 w 647"/>
                    <a:gd name="T5" fmla="*/ 60 h 470"/>
                    <a:gd name="T6" fmla="*/ 512 w 647"/>
                    <a:gd name="T7" fmla="*/ 78 h 470"/>
                    <a:gd name="T8" fmla="*/ 538 w 647"/>
                    <a:gd name="T9" fmla="*/ 81 h 470"/>
                    <a:gd name="T10" fmla="*/ 562 w 647"/>
                    <a:gd name="T11" fmla="*/ 99 h 470"/>
                    <a:gd name="T12" fmla="*/ 567 w 647"/>
                    <a:gd name="T13" fmla="*/ 97 h 470"/>
                    <a:gd name="T14" fmla="*/ 575 w 647"/>
                    <a:gd name="T15" fmla="*/ 85 h 470"/>
                    <a:gd name="T16" fmla="*/ 583 w 647"/>
                    <a:gd name="T17" fmla="*/ 78 h 470"/>
                    <a:gd name="T18" fmla="*/ 603 w 647"/>
                    <a:gd name="T19" fmla="*/ 80 h 470"/>
                    <a:gd name="T20" fmla="*/ 624 w 647"/>
                    <a:gd name="T21" fmla="*/ 79 h 470"/>
                    <a:gd name="T22" fmla="*/ 640 w 647"/>
                    <a:gd name="T23" fmla="*/ 84 h 470"/>
                    <a:gd name="T24" fmla="*/ 646 w 647"/>
                    <a:gd name="T25" fmla="*/ 103 h 470"/>
                    <a:gd name="T26" fmla="*/ 646 w 647"/>
                    <a:gd name="T27" fmla="*/ 123 h 470"/>
                    <a:gd name="T28" fmla="*/ 618 w 647"/>
                    <a:gd name="T29" fmla="*/ 131 h 470"/>
                    <a:gd name="T30" fmla="*/ 586 w 647"/>
                    <a:gd name="T31" fmla="*/ 146 h 470"/>
                    <a:gd name="T32" fmla="*/ 560 w 647"/>
                    <a:gd name="T33" fmla="*/ 165 h 470"/>
                    <a:gd name="T34" fmla="*/ 504 w 647"/>
                    <a:gd name="T35" fmla="*/ 214 h 470"/>
                    <a:gd name="T36" fmla="*/ 489 w 647"/>
                    <a:gd name="T37" fmla="*/ 227 h 470"/>
                    <a:gd name="T38" fmla="*/ 474 w 647"/>
                    <a:gd name="T39" fmla="*/ 254 h 470"/>
                    <a:gd name="T40" fmla="*/ 473 w 647"/>
                    <a:gd name="T41" fmla="*/ 282 h 470"/>
                    <a:gd name="T42" fmla="*/ 473 w 647"/>
                    <a:gd name="T43" fmla="*/ 311 h 470"/>
                    <a:gd name="T44" fmla="*/ 463 w 647"/>
                    <a:gd name="T45" fmla="*/ 340 h 470"/>
                    <a:gd name="T46" fmla="*/ 450 w 647"/>
                    <a:gd name="T47" fmla="*/ 354 h 470"/>
                    <a:gd name="T48" fmla="*/ 411 w 647"/>
                    <a:gd name="T49" fmla="*/ 384 h 470"/>
                    <a:gd name="T50" fmla="*/ 383 w 647"/>
                    <a:gd name="T51" fmla="*/ 411 h 470"/>
                    <a:gd name="T52" fmla="*/ 374 w 647"/>
                    <a:gd name="T53" fmla="*/ 425 h 470"/>
                    <a:gd name="T54" fmla="*/ 369 w 647"/>
                    <a:gd name="T55" fmla="*/ 432 h 470"/>
                    <a:gd name="T56" fmla="*/ 310 w 647"/>
                    <a:gd name="T57" fmla="*/ 429 h 470"/>
                    <a:gd name="T58" fmla="*/ 257 w 647"/>
                    <a:gd name="T59" fmla="*/ 434 h 470"/>
                    <a:gd name="T60" fmla="*/ 224 w 647"/>
                    <a:gd name="T61" fmla="*/ 446 h 470"/>
                    <a:gd name="T62" fmla="*/ 193 w 647"/>
                    <a:gd name="T63" fmla="*/ 467 h 470"/>
                    <a:gd name="T64" fmla="*/ 179 w 647"/>
                    <a:gd name="T65" fmla="*/ 469 h 470"/>
                    <a:gd name="T66" fmla="*/ 169 w 647"/>
                    <a:gd name="T67" fmla="*/ 461 h 470"/>
                    <a:gd name="T68" fmla="*/ 153 w 647"/>
                    <a:gd name="T69" fmla="*/ 432 h 470"/>
                    <a:gd name="T70" fmla="*/ 140 w 647"/>
                    <a:gd name="T71" fmla="*/ 414 h 470"/>
                    <a:gd name="T72" fmla="*/ 122 w 647"/>
                    <a:gd name="T73" fmla="*/ 400 h 470"/>
                    <a:gd name="T74" fmla="*/ 114 w 647"/>
                    <a:gd name="T75" fmla="*/ 379 h 470"/>
                    <a:gd name="T76" fmla="*/ 126 w 647"/>
                    <a:gd name="T77" fmla="*/ 336 h 470"/>
                    <a:gd name="T78" fmla="*/ 127 w 647"/>
                    <a:gd name="T79" fmla="*/ 267 h 470"/>
                    <a:gd name="T80" fmla="*/ 147 w 647"/>
                    <a:gd name="T81" fmla="*/ 206 h 470"/>
                    <a:gd name="T82" fmla="*/ 168 w 647"/>
                    <a:gd name="T83" fmla="*/ 149 h 470"/>
                    <a:gd name="T84" fmla="*/ 172 w 647"/>
                    <a:gd name="T85" fmla="*/ 131 h 470"/>
                    <a:gd name="T86" fmla="*/ 116 w 647"/>
                    <a:gd name="T87" fmla="*/ 123 h 470"/>
                    <a:gd name="T88" fmla="*/ 62 w 647"/>
                    <a:gd name="T89" fmla="*/ 109 h 470"/>
                    <a:gd name="T90" fmla="*/ 17 w 647"/>
                    <a:gd name="T91" fmla="*/ 93 h 470"/>
                    <a:gd name="T92" fmla="*/ 0 w 647"/>
                    <a:gd name="T93" fmla="*/ 38 h 470"/>
                    <a:gd name="T94" fmla="*/ 23 w 647"/>
                    <a:gd name="T95" fmla="*/ 34 h 470"/>
                    <a:gd name="T96" fmla="*/ 51 w 647"/>
                    <a:gd name="T97" fmla="*/ 20 h 470"/>
                    <a:gd name="T98" fmla="*/ 73 w 647"/>
                    <a:gd name="T99" fmla="*/ 4 h 470"/>
                    <a:gd name="T100" fmla="*/ 86 w 647"/>
                    <a:gd name="T101" fmla="*/ 0 h 470"/>
                    <a:gd name="T102" fmla="*/ 132 w 647"/>
                    <a:gd name="T103" fmla="*/ 7 h 470"/>
                    <a:gd name="T104" fmla="*/ 171 w 647"/>
                    <a:gd name="T105" fmla="*/ 17 h 470"/>
                    <a:gd name="T106" fmla="*/ 209 w 647"/>
                    <a:gd name="T107" fmla="*/ 20 h 470"/>
                    <a:gd name="T108" fmla="*/ 235 w 647"/>
                    <a:gd name="T109" fmla="*/ 29 h 470"/>
                    <a:gd name="T110" fmla="*/ 258 w 647"/>
                    <a:gd name="T111" fmla="*/ 37 h 470"/>
                    <a:gd name="T112" fmla="*/ 385 w 647"/>
                    <a:gd name="T113" fmla="*/ 26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42" name="Freeform 24">
                  <a:extLst>
                    <a:ext uri="{FF2B5EF4-FFF2-40B4-BE49-F238E27FC236}">
                      <a16:creationId xmlns="" xmlns:a16="http://schemas.microsoft.com/office/drawing/2014/main" id="{4F8E7BB7-BEFA-4D27-99DF-FBD2578FE4F7}"/>
                    </a:ext>
                  </a:extLst>
                </p:cNvPr>
                <p:cNvSpPr>
                  <a:spLocks/>
                </p:cNvSpPr>
                <p:nvPr>
                  <p:custDataLst>
                    <p:tags r:id="rId30"/>
                  </p:custDataLst>
                </p:nvPr>
              </p:nvSpPr>
              <p:spPr bwMode="auto">
                <a:xfrm>
                  <a:off x="7689792" y="2520921"/>
                  <a:ext cx="147501" cy="323153"/>
                </a:xfrm>
                <a:custGeom>
                  <a:avLst/>
                  <a:gdLst>
                    <a:gd name="T0" fmla="*/ 379 w 479"/>
                    <a:gd name="T1" fmla="*/ 357 h 868"/>
                    <a:gd name="T2" fmla="*/ 333 w 479"/>
                    <a:gd name="T3" fmla="*/ 370 h 868"/>
                    <a:gd name="T4" fmla="*/ 314 w 479"/>
                    <a:gd name="T5" fmla="*/ 390 h 868"/>
                    <a:gd name="T6" fmla="*/ 316 w 479"/>
                    <a:gd name="T7" fmla="*/ 428 h 868"/>
                    <a:gd name="T8" fmla="*/ 352 w 479"/>
                    <a:gd name="T9" fmla="*/ 492 h 868"/>
                    <a:gd name="T10" fmla="*/ 359 w 479"/>
                    <a:gd name="T11" fmla="*/ 530 h 868"/>
                    <a:gd name="T12" fmla="*/ 366 w 479"/>
                    <a:gd name="T13" fmla="*/ 555 h 868"/>
                    <a:gd name="T14" fmla="*/ 323 w 479"/>
                    <a:gd name="T15" fmla="*/ 526 h 868"/>
                    <a:gd name="T16" fmla="*/ 309 w 479"/>
                    <a:gd name="T17" fmla="*/ 492 h 868"/>
                    <a:gd name="T18" fmla="*/ 269 w 479"/>
                    <a:gd name="T19" fmla="*/ 467 h 868"/>
                    <a:gd name="T20" fmla="*/ 210 w 479"/>
                    <a:gd name="T21" fmla="*/ 439 h 868"/>
                    <a:gd name="T22" fmla="*/ 193 w 479"/>
                    <a:gd name="T23" fmla="*/ 406 h 868"/>
                    <a:gd name="T24" fmla="*/ 156 w 479"/>
                    <a:gd name="T25" fmla="*/ 477 h 868"/>
                    <a:gd name="T26" fmla="*/ 156 w 479"/>
                    <a:gd name="T27" fmla="*/ 524 h 868"/>
                    <a:gd name="T28" fmla="*/ 132 w 479"/>
                    <a:gd name="T29" fmla="*/ 575 h 868"/>
                    <a:gd name="T30" fmla="*/ 128 w 479"/>
                    <a:gd name="T31" fmla="*/ 621 h 868"/>
                    <a:gd name="T32" fmla="*/ 154 w 479"/>
                    <a:gd name="T33" fmla="*/ 650 h 868"/>
                    <a:gd name="T34" fmla="*/ 175 w 479"/>
                    <a:gd name="T35" fmla="*/ 685 h 868"/>
                    <a:gd name="T36" fmla="*/ 185 w 479"/>
                    <a:gd name="T37" fmla="*/ 730 h 868"/>
                    <a:gd name="T38" fmla="*/ 226 w 479"/>
                    <a:gd name="T39" fmla="*/ 780 h 868"/>
                    <a:gd name="T40" fmla="*/ 281 w 479"/>
                    <a:gd name="T41" fmla="*/ 825 h 868"/>
                    <a:gd name="T42" fmla="*/ 340 w 479"/>
                    <a:gd name="T43" fmla="*/ 850 h 868"/>
                    <a:gd name="T44" fmla="*/ 298 w 479"/>
                    <a:gd name="T45" fmla="*/ 867 h 868"/>
                    <a:gd name="T46" fmla="*/ 269 w 479"/>
                    <a:gd name="T47" fmla="*/ 864 h 868"/>
                    <a:gd name="T48" fmla="*/ 229 w 479"/>
                    <a:gd name="T49" fmla="*/ 841 h 868"/>
                    <a:gd name="T50" fmla="*/ 200 w 479"/>
                    <a:gd name="T51" fmla="*/ 823 h 868"/>
                    <a:gd name="T52" fmla="*/ 137 w 479"/>
                    <a:gd name="T53" fmla="*/ 759 h 868"/>
                    <a:gd name="T54" fmla="*/ 83 w 479"/>
                    <a:gd name="T55" fmla="*/ 730 h 868"/>
                    <a:gd name="T56" fmla="*/ 74 w 479"/>
                    <a:gd name="T57" fmla="*/ 688 h 868"/>
                    <a:gd name="T58" fmla="*/ 80 w 479"/>
                    <a:gd name="T59" fmla="*/ 653 h 868"/>
                    <a:gd name="T60" fmla="*/ 88 w 479"/>
                    <a:gd name="T61" fmla="*/ 617 h 868"/>
                    <a:gd name="T62" fmla="*/ 120 w 479"/>
                    <a:gd name="T63" fmla="*/ 498 h 868"/>
                    <a:gd name="T64" fmla="*/ 108 w 479"/>
                    <a:gd name="T65" fmla="*/ 404 h 868"/>
                    <a:gd name="T66" fmla="*/ 62 w 479"/>
                    <a:gd name="T67" fmla="*/ 319 h 868"/>
                    <a:gd name="T68" fmla="*/ 64 w 479"/>
                    <a:gd name="T69" fmla="*/ 285 h 868"/>
                    <a:gd name="T70" fmla="*/ 74 w 479"/>
                    <a:gd name="T71" fmla="*/ 265 h 868"/>
                    <a:gd name="T72" fmla="*/ 56 w 479"/>
                    <a:gd name="T73" fmla="*/ 202 h 868"/>
                    <a:gd name="T74" fmla="*/ 23 w 479"/>
                    <a:gd name="T75" fmla="*/ 158 h 868"/>
                    <a:gd name="T76" fmla="*/ 1 w 479"/>
                    <a:gd name="T77" fmla="*/ 102 h 868"/>
                    <a:gd name="T78" fmla="*/ 11 w 479"/>
                    <a:gd name="T79" fmla="*/ 44 h 868"/>
                    <a:gd name="T80" fmla="*/ 49 w 479"/>
                    <a:gd name="T81" fmla="*/ 16 h 868"/>
                    <a:gd name="T82" fmla="*/ 120 w 479"/>
                    <a:gd name="T83" fmla="*/ 0 h 868"/>
                    <a:gd name="T84" fmla="*/ 156 w 479"/>
                    <a:gd name="T85" fmla="*/ 28 h 868"/>
                    <a:gd name="T86" fmla="*/ 179 w 479"/>
                    <a:gd name="T87" fmla="*/ 36 h 868"/>
                    <a:gd name="T88" fmla="*/ 197 w 479"/>
                    <a:gd name="T89" fmla="*/ 136 h 868"/>
                    <a:gd name="T90" fmla="*/ 213 w 479"/>
                    <a:gd name="T91" fmla="*/ 166 h 868"/>
                    <a:gd name="T92" fmla="*/ 231 w 479"/>
                    <a:gd name="T93" fmla="*/ 155 h 868"/>
                    <a:gd name="T94" fmla="*/ 258 w 479"/>
                    <a:gd name="T95" fmla="*/ 126 h 868"/>
                    <a:gd name="T96" fmla="*/ 281 w 479"/>
                    <a:gd name="T97" fmla="*/ 141 h 868"/>
                    <a:gd name="T98" fmla="*/ 298 w 479"/>
                    <a:gd name="T99" fmla="*/ 136 h 868"/>
                    <a:gd name="T100" fmla="*/ 316 w 479"/>
                    <a:gd name="T101" fmla="*/ 108 h 868"/>
                    <a:gd name="T102" fmla="*/ 346 w 479"/>
                    <a:gd name="T103" fmla="*/ 108 h 868"/>
                    <a:gd name="T104" fmla="*/ 387 w 479"/>
                    <a:gd name="T105" fmla="*/ 157 h 868"/>
                    <a:gd name="T106" fmla="*/ 454 w 479"/>
                    <a:gd name="T107" fmla="*/ 246 h 868"/>
                    <a:gd name="T108" fmla="*/ 478 w 479"/>
                    <a:gd name="T109" fmla="*/ 307 h 868"/>
                    <a:gd name="T110" fmla="*/ 468 w 479"/>
                    <a:gd name="T111" fmla="*/ 33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FF0000"/>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43" name="Line 26" descr="Dunkel horizontal">
                  <a:extLst>
                    <a:ext uri="{FF2B5EF4-FFF2-40B4-BE49-F238E27FC236}">
                      <a16:creationId xmlns="" xmlns:a16="http://schemas.microsoft.com/office/drawing/2014/main" id="{26BC10BC-1CD5-4554-85FC-0B88748B150C}"/>
                    </a:ext>
                  </a:extLst>
                </p:cNvPr>
                <p:cNvSpPr>
                  <a:spLocks noChangeShapeType="1"/>
                </p:cNvSpPr>
                <p:nvPr>
                  <p:custDataLst>
                    <p:tags r:id="rId31"/>
                  </p:custDataLst>
                </p:nvPr>
              </p:nvSpPr>
              <p:spPr bwMode="auto">
                <a:xfrm>
                  <a:off x="3838984" y="2031126"/>
                  <a:ext cx="2252" cy="6756"/>
                </a:xfrm>
                <a:prstGeom prst="line">
                  <a:avLst/>
                </a:prstGeom>
                <a:solidFill>
                  <a:srgbClr val="CDCDCD"/>
                </a:solidFill>
                <a:ln w="3175">
                  <a:solidFill>
                    <a:srgbClr val="FFFFFF"/>
                  </a:solidFill>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44" name="Freeform 27">
                  <a:extLst>
                    <a:ext uri="{FF2B5EF4-FFF2-40B4-BE49-F238E27FC236}">
                      <a16:creationId xmlns="" xmlns:a16="http://schemas.microsoft.com/office/drawing/2014/main" id="{BC601393-7C34-4D0E-B57D-683D11111C19}"/>
                    </a:ext>
                  </a:extLst>
                </p:cNvPr>
                <p:cNvSpPr>
                  <a:spLocks/>
                </p:cNvSpPr>
                <p:nvPr>
                  <p:custDataLst>
                    <p:tags r:id="rId32"/>
                  </p:custDataLst>
                </p:nvPr>
              </p:nvSpPr>
              <p:spPr bwMode="auto">
                <a:xfrm>
                  <a:off x="3841237" y="2028874"/>
                  <a:ext cx="2252" cy="39409"/>
                </a:xfrm>
                <a:custGeom>
                  <a:avLst/>
                  <a:gdLst>
                    <a:gd name="T0" fmla="*/ 0 w 6"/>
                    <a:gd name="T1" fmla="*/ 24 h 24"/>
                    <a:gd name="T2" fmla="*/ 0 w 6"/>
                    <a:gd name="T3" fmla="*/ 19 h 24"/>
                    <a:gd name="T4" fmla="*/ 1 w 6"/>
                    <a:gd name="T5" fmla="*/ 14 h 24"/>
                    <a:gd name="T6" fmla="*/ 3 w 6"/>
                    <a:gd name="T7" fmla="*/ 8 h 24"/>
                    <a:gd name="T8" fmla="*/ 6 w 6"/>
                    <a:gd name="T9" fmla="*/ 0 h 24"/>
                  </a:gdLst>
                  <a:ahLst/>
                  <a:cxnLst>
                    <a:cxn ang="0">
                      <a:pos x="T0" y="T1"/>
                    </a:cxn>
                    <a:cxn ang="0">
                      <a:pos x="T2" y="T3"/>
                    </a:cxn>
                    <a:cxn ang="0">
                      <a:pos x="T4" y="T5"/>
                    </a:cxn>
                    <a:cxn ang="0">
                      <a:pos x="T6" y="T7"/>
                    </a:cxn>
                    <a:cxn ang="0">
                      <a:pos x="T8" y="T9"/>
                    </a:cxn>
                  </a:cxnLst>
                  <a:rect l="0" t="0" r="r" b="b"/>
                  <a:pathLst>
                    <a:path w="6" h="24">
                      <a:moveTo>
                        <a:pt x="0" y="24"/>
                      </a:moveTo>
                      <a:lnTo>
                        <a:pt x="0" y="19"/>
                      </a:lnTo>
                      <a:lnTo>
                        <a:pt x="1" y="14"/>
                      </a:lnTo>
                      <a:lnTo>
                        <a:pt x="3" y="8"/>
                      </a:lnTo>
                      <a:lnTo>
                        <a:pt x="6"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45" name="Freeform 28">
                  <a:extLst>
                    <a:ext uri="{FF2B5EF4-FFF2-40B4-BE49-F238E27FC236}">
                      <a16:creationId xmlns="" xmlns:a16="http://schemas.microsoft.com/office/drawing/2014/main" id="{CB809646-2988-462A-9195-A2E794E913EF}"/>
                    </a:ext>
                  </a:extLst>
                </p:cNvPr>
                <p:cNvSpPr>
                  <a:spLocks/>
                </p:cNvSpPr>
                <p:nvPr>
                  <p:custDataLst>
                    <p:tags r:id="rId33"/>
                  </p:custDataLst>
                </p:nvPr>
              </p:nvSpPr>
              <p:spPr bwMode="auto">
                <a:xfrm>
                  <a:off x="3824346" y="2067157"/>
                  <a:ext cx="16890" cy="40535"/>
                </a:xfrm>
                <a:custGeom>
                  <a:avLst/>
                  <a:gdLst>
                    <a:gd name="T0" fmla="*/ 0 w 47"/>
                    <a:gd name="T1" fmla="*/ 24 h 67"/>
                    <a:gd name="T2" fmla="*/ 0 w 47"/>
                    <a:gd name="T3" fmla="*/ 30 h 67"/>
                    <a:gd name="T4" fmla="*/ 2 w 47"/>
                    <a:gd name="T5" fmla="*/ 36 h 67"/>
                    <a:gd name="T6" fmla="*/ 3 w 47"/>
                    <a:gd name="T7" fmla="*/ 42 h 67"/>
                    <a:gd name="T8" fmla="*/ 5 w 47"/>
                    <a:gd name="T9" fmla="*/ 47 h 67"/>
                    <a:gd name="T10" fmla="*/ 9 w 47"/>
                    <a:gd name="T11" fmla="*/ 58 h 67"/>
                    <a:gd name="T12" fmla="*/ 14 w 47"/>
                    <a:gd name="T13" fmla="*/ 67 h 67"/>
                    <a:gd name="T14" fmla="*/ 47 w 47"/>
                    <a:gd name="T15" fmla="*/ 67 h 67"/>
                    <a:gd name="T16" fmla="*/ 47 w 47"/>
                    <a:gd name="T17" fmla="*/ 0 h 67"/>
                    <a:gd name="T18" fmla="*/ 36 w 47"/>
                    <a:gd name="T19" fmla="*/ 2 h 67"/>
                    <a:gd name="T20" fmla="*/ 26 w 47"/>
                    <a:gd name="T21" fmla="*/ 4 h 67"/>
                    <a:gd name="T22" fmla="*/ 18 w 47"/>
                    <a:gd name="T23" fmla="*/ 7 h 67"/>
                    <a:gd name="T24" fmla="*/ 11 w 47"/>
                    <a:gd name="T25" fmla="*/ 9 h 67"/>
                    <a:gd name="T26" fmla="*/ 6 w 47"/>
                    <a:gd name="T27" fmla="*/ 12 h 67"/>
                    <a:gd name="T28" fmla="*/ 3 w 47"/>
                    <a:gd name="T29" fmla="*/ 16 h 67"/>
                    <a:gd name="T30" fmla="*/ 0 w 47"/>
                    <a:gd name="T31" fmla="*/ 20 h 67"/>
                    <a:gd name="T32" fmla="*/ 0 w 47"/>
                    <a:gd name="T33" fmla="*/ 2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46" name="Freeform 29">
                  <a:extLst>
                    <a:ext uri="{FF2B5EF4-FFF2-40B4-BE49-F238E27FC236}">
                      <a16:creationId xmlns="" xmlns:a16="http://schemas.microsoft.com/office/drawing/2014/main" id="{6D40FFD4-8EDA-41E7-9FA2-725033ADE857}"/>
                    </a:ext>
                  </a:extLst>
                </p:cNvPr>
                <p:cNvSpPr>
                  <a:spLocks/>
                </p:cNvSpPr>
                <p:nvPr>
                  <p:custDataLst>
                    <p:tags r:id="rId34"/>
                  </p:custDataLst>
                </p:nvPr>
              </p:nvSpPr>
              <p:spPr bwMode="auto">
                <a:xfrm>
                  <a:off x="4764529" y="2063779"/>
                  <a:ext cx="34905" cy="40535"/>
                </a:xfrm>
                <a:custGeom>
                  <a:avLst/>
                  <a:gdLst>
                    <a:gd name="T0" fmla="*/ 0 w 112"/>
                    <a:gd name="T1" fmla="*/ 36 h 36"/>
                    <a:gd name="T2" fmla="*/ 59 w 112"/>
                    <a:gd name="T3" fmla="*/ 36 h 36"/>
                    <a:gd name="T4" fmla="*/ 67 w 112"/>
                    <a:gd name="T5" fmla="*/ 30 h 36"/>
                    <a:gd name="T6" fmla="*/ 75 w 112"/>
                    <a:gd name="T7" fmla="*/ 26 h 36"/>
                    <a:gd name="T8" fmla="*/ 84 w 112"/>
                    <a:gd name="T9" fmla="*/ 23 h 36"/>
                    <a:gd name="T10" fmla="*/ 91 w 112"/>
                    <a:gd name="T11" fmla="*/ 20 h 36"/>
                    <a:gd name="T12" fmla="*/ 98 w 112"/>
                    <a:gd name="T13" fmla="*/ 17 h 36"/>
                    <a:gd name="T14" fmla="*/ 104 w 112"/>
                    <a:gd name="T15" fmla="*/ 13 h 36"/>
                    <a:gd name="T16" fmla="*/ 107 w 112"/>
                    <a:gd name="T17" fmla="*/ 11 h 36"/>
                    <a:gd name="T18" fmla="*/ 109 w 112"/>
                    <a:gd name="T19" fmla="*/ 8 h 36"/>
                    <a:gd name="T20" fmla="*/ 111 w 112"/>
                    <a:gd name="T21" fmla="*/ 4 h 36"/>
                    <a:gd name="T22" fmla="*/ 112 w 112"/>
                    <a:gd name="T23" fmla="*/ 0 h 36"/>
                    <a:gd name="T24" fmla="*/ 100 w 112"/>
                    <a:gd name="T25" fmla="*/ 0 h 36"/>
                    <a:gd name="T26" fmla="*/ 85 w 112"/>
                    <a:gd name="T27" fmla="*/ 1 h 36"/>
                    <a:gd name="T28" fmla="*/ 67 w 112"/>
                    <a:gd name="T29" fmla="*/ 3 h 36"/>
                    <a:gd name="T30" fmla="*/ 48 w 112"/>
                    <a:gd name="T31" fmla="*/ 7 h 36"/>
                    <a:gd name="T32" fmla="*/ 40 w 112"/>
                    <a:gd name="T33" fmla="*/ 9 h 36"/>
                    <a:gd name="T34" fmla="*/ 31 w 112"/>
                    <a:gd name="T35" fmla="*/ 11 h 36"/>
                    <a:gd name="T36" fmla="*/ 23 w 112"/>
                    <a:gd name="T37" fmla="*/ 14 h 36"/>
                    <a:gd name="T38" fmla="*/ 17 w 112"/>
                    <a:gd name="T39" fmla="*/ 18 h 36"/>
                    <a:gd name="T40" fmla="*/ 10 w 112"/>
                    <a:gd name="T41" fmla="*/ 22 h 36"/>
                    <a:gd name="T42" fmla="*/ 6 w 112"/>
                    <a:gd name="T43" fmla="*/ 26 h 36"/>
                    <a:gd name="T44" fmla="*/ 1 w 112"/>
                    <a:gd name="T45" fmla="*/ 31 h 36"/>
                    <a:gd name="T46" fmla="*/ 0 w 112"/>
                    <a:gd name="T4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47" name="Freeform 30">
                  <a:extLst>
                    <a:ext uri="{FF2B5EF4-FFF2-40B4-BE49-F238E27FC236}">
                      <a16:creationId xmlns="" xmlns:a16="http://schemas.microsoft.com/office/drawing/2014/main" id="{A01A588D-9C57-4837-98D9-A47AFC6D17D7}"/>
                    </a:ext>
                  </a:extLst>
                </p:cNvPr>
                <p:cNvSpPr>
                  <a:spLocks/>
                </p:cNvSpPr>
                <p:nvPr>
                  <p:custDataLst>
                    <p:tags r:id="rId35"/>
                  </p:custDataLst>
                </p:nvPr>
              </p:nvSpPr>
              <p:spPr bwMode="auto">
                <a:xfrm>
                  <a:off x="6706822" y="1749635"/>
                  <a:ext cx="620408" cy="320900"/>
                </a:xfrm>
                <a:custGeom>
                  <a:avLst/>
                  <a:gdLst>
                    <a:gd name="T0" fmla="*/ 433 w 2006"/>
                    <a:gd name="T1" fmla="*/ 765 h 863"/>
                    <a:gd name="T2" fmla="*/ 412 w 2006"/>
                    <a:gd name="T3" fmla="*/ 764 h 863"/>
                    <a:gd name="T4" fmla="*/ 390 w 2006"/>
                    <a:gd name="T5" fmla="*/ 794 h 863"/>
                    <a:gd name="T6" fmla="*/ 375 w 2006"/>
                    <a:gd name="T7" fmla="*/ 792 h 863"/>
                    <a:gd name="T8" fmla="*/ 370 w 2006"/>
                    <a:gd name="T9" fmla="*/ 751 h 863"/>
                    <a:gd name="T10" fmla="*/ 324 w 2006"/>
                    <a:gd name="T11" fmla="*/ 724 h 863"/>
                    <a:gd name="T12" fmla="*/ 312 w 2006"/>
                    <a:gd name="T13" fmla="*/ 708 h 863"/>
                    <a:gd name="T14" fmla="*/ 288 w 2006"/>
                    <a:gd name="T15" fmla="*/ 692 h 863"/>
                    <a:gd name="T16" fmla="*/ 251 w 2006"/>
                    <a:gd name="T17" fmla="*/ 641 h 863"/>
                    <a:gd name="T18" fmla="*/ 232 w 2006"/>
                    <a:gd name="T19" fmla="*/ 610 h 863"/>
                    <a:gd name="T20" fmla="*/ 253 w 2006"/>
                    <a:gd name="T21" fmla="*/ 594 h 863"/>
                    <a:gd name="T22" fmla="*/ 279 w 2006"/>
                    <a:gd name="T23" fmla="*/ 573 h 863"/>
                    <a:gd name="T24" fmla="*/ 338 w 2006"/>
                    <a:gd name="T25" fmla="*/ 544 h 863"/>
                    <a:gd name="T26" fmla="*/ 319 w 2006"/>
                    <a:gd name="T27" fmla="*/ 487 h 863"/>
                    <a:gd name="T28" fmla="*/ 258 w 2006"/>
                    <a:gd name="T29" fmla="*/ 475 h 863"/>
                    <a:gd name="T30" fmla="*/ 209 w 2006"/>
                    <a:gd name="T31" fmla="*/ 470 h 863"/>
                    <a:gd name="T32" fmla="*/ 157 w 2006"/>
                    <a:gd name="T33" fmla="*/ 495 h 863"/>
                    <a:gd name="T34" fmla="*/ 106 w 2006"/>
                    <a:gd name="T35" fmla="*/ 505 h 863"/>
                    <a:gd name="T36" fmla="*/ 27 w 2006"/>
                    <a:gd name="T37" fmla="*/ 413 h 863"/>
                    <a:gd name="T38" fmla="*/ 20 w 2006"/>
                    <a:gd name="T39" fmla="*/ 283 h 863"/>
                    <a:gd name="T40" fmla="*/ 113 w 2006"/>
                    <a:gd name="T41" fmla="*/ 259 h 863"/>
                    <a:gd name="T42" fmla="*/ 292 w 2006"/>
                    <a:gd name="T43" fmla="*/ 222 h 863"/>
                    <a:gd name="T44" fmla="*/ 498 w 2006"/>
                    <a:gd name="T45" fmla="*/ 253 h 863"/>
                    <a:gd name="T46" fmla="*/ 717 w 2006"/>
                    <a:gd name="T47" fmla="*/ 253 h 863"/>
                    <a:gd name="T48" fmla="*/ 658 w 2006"/>
                    <a:gd name="T49" fmla="*/ 185 h 863"/>
                    <a:gd name="T50" fmla="*/ 830 w 2006"/>
                    <a:gd name="T51" fmla="*/ 68 h 863"/>
                    <a:gd name="T52" fmla="*/ 1050 w 2006"/>
                    <a:gd name="T53" fmla="*/ 13 h 863"/>
                    <a:gd name="T54" fmla="*/ 1176 w 2006"/>
                    <a:gd name="T55" fmla="*/ 61 h 863"/>
                    <a:gd name="T56" fmla="*/ 1296 w 2006"/>
                    <a:gd name="T57" fmla="*/ 111 h 863"/>
                    <a:gd name="T58" fmla="*/ 1442 w 2006"/>
                    <a:gd name="T59" fmla="*/ 99 h 863"/>
                    <a:gd name="T60" fmla="*/ 1647 w 2006"/>
                    <a:gd name="T61" fmla="*/ 271 h 863"/>
                    <a:gd name="T62" fmla="*/ 1793 w 2006"/>
                    <a:gd name="T63" fmla="*/ 265 h 863"/>
                    <a:gd name="T64" fmla="*/ 2000 w 2006"/>
                    <a:gd name="T65" fmla="*/ 339 h 863"/>
                    <a:gd name="T66" fmla="*/ 2002 w 2006"/>
                    <a:gd name="T67" fmla="*/ 381 h 863"/>
                    <a:gd name="T68" fmla="*/ 1981 w 2006"/>
                    <a:gd name="T69" fmla="*/ 399 h 863"/>
                    <a:gd name="T70" fmla="*/ 1960 w 2006"/>
                    <a:gd name="T71" fmla="*/ 404 h 863"/>
                    <a:gd name="T72" fmla="*/ 1963 w 2006"/>
                    <a:gd name="T73" fmla="*/ 425 h 863"/>
                    <a:gd name="T74" fmla="*/ 1985 w 2006"/>
                    <a:gd name="T75" fmla="*/ 466 h 863"/>
                    <a:gd name="T76" fmla="*/ 1979 w 2006"/>
                    <a:gd name="T77" fmla="*/ 478 h 863"/>
                    <a:gd name="T78" fmla="*/ 1939 w 2006"/>
                    <a:gd name="T79" fmla="*/ 481 h 863"/>
                    <a:gd name="T80" fmla="*/ 1893 w 2006"/>
                    <a:gd name="T81" fmla="*/ 474 h 863"/>
                    <a:gd name="T82" fmla="*/ 1864 w 2006"/>
                    <a:gd name="T83" fmla="*/ 474 h 863"/>
                    <a:gd name="T84" fmla="*/ 1878 w 2006"/>
                    <a:gd name="T85" fmla="*/ 548 h 863"/>
                    <a:gd name="T86" fmla="*/ 1880 w 2006"/>
                    <a:gd name="T87" fmla="*/ 586 h 863"/>
                    <a:gd name="T88" fmla="*/ 1789 w 2006"/>
                    <a:gd name="T89" fmla="*/ 588 h 863"/>
                    <a:gd name="T90" fmla="*/ 1768 w 2006"/>
                    <a:gd name="T91" fmla="*/ 604 h 863"/>
                    <a:gd name="T92" fmla="*/ 1795 w 2006"/>
                    <a:gd name="T93" fmla="*/ 619 h 863"/>
                    <a:gd name="T94" fmla="*/ 1814 w 2006"/>
                    <a:gd name="T95" fmla="*/ 650 h 863"/>
                    <a:gd name="T96" fmla="*/ 1834 w 2006"/>
                    <a:gd name="T97" fmla="*/ 689 h 863"/>
                    <a:gd name="T98" fmla="*/ 1837 w 2006"/>
                    <a:gd name="T99" fmla="*/ 706 h 863"/>
                    <a:gd name="T100" fmla="*/ 1837 w 2006"/>
                    <a:gd name="T101" fmla="*/ 754 h 863"/>
                    <a:gd name="T102" fmla="*/ 1741 w 2006"/>
                    <a:gd name="T103" fmla="*/ 740 h 863"/>
                    <a:gd name="T104" fmla="*/ 1475 w 2006"/>
                    <a:gd name="T105" fmla="*/ 764 h 863"/>
                    <a:gd name="T106" fmla="*/ 1316 w 2006"/>
                    <a:gd name="T107" fmla="*/ 795 h 863"/>
                    <a:gd name="T108" fmla="*/ 1142 w 2006"/>
                    <a:gd name="T109" fmla="*/ 838 h 863"/>
                    <a:gd name="T110" fmla="*/ 963 w 2006"/>
                    <a:gd name="T111" fmla="*/ 697 h 863"/>
                    <a:gd name="T112" fmla="*/ 684 w 2006"/>
                    <a:gd name="T113" fmla="*/ 586 h 863"/>
                    <a:gd name="T114" fmla="*/ 584 w 2006"/>
                    <a:gd name="T115" fmla="*/ 832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48" name="Freeform 31">
                  <a:extLst>
                    <a:ext uri="{FF2B5EF4-FFF2-40B4-BE49-F238E27FC236}">
                      <a16:creationId xmlns="" xmlns:a16="http://schemas.microsoft.com/office/drawing/2014/main" id="{DAE3A21D-972B-437F-A1AE-776915B4D317}"/>
                    </a:ext>
                  </a:extLst>
                </p:cNvPr>
                <p:cNvSpPr>
                  <a:spLocks/>
                </p:cNvSpPr>
                <p:nvPr>
                  <p:custDataLst>
                    <p:tags r:id="rId36"/>
                  </p:custDataLst>
                </p:nvPr>
              </p:nvSpPr>
              <p:spPr bwMode="auto">
                <a:xfrm>
                  <a:off x="6870088" y="1964694"/>
                  <a:ext cx="290499" cy="176777"/>
                </a:xfrm>
                <a:custGeom>
                  <a:avLst/>
                  <a:gdLst>
                    <a:gd name="T0" fmla="*/ 638 w 950"/>
                    <a:gd name="T1" fmla="*/ 443 h 468"/>
                    <a:gd name="T2" fmla="*/ 558 w 950"/>
                    <a:gd name="T3" fmla="*/ 418 h 468"/>
                    <a:gd name="T4" fmla="*/ 471 w 950"/>
                    <a:gd name="T5" fmla="*/ 376 h 468"/>
                    <a:gd name="T6" fmla="*/ 392 w 950"/>
                    <a:gd name="T7" fmla="*/ 307 h 468"/>
                    <a:gd name="T8" fmla="*/ 305 w 950"/>
                    <a:gd name="T9" fmla="*/ 258 h 468"/>
                    <a:gd name="T10" fmla="*/ 253 w 950"/>
                    <a:gd name="T11" fmla="*/ 209 h 468"/>
                    <a:gd name="T12" fmla="*/ 186 w 950"/>
                    <a:gd name="T13" fmla="*/ 172 h 468"/>
                    <a:gd name="T14" fmla="*/ 133 w 950"/>
                    <a:gd name="T15" fmla="*/ 190 h 468"/>
                    <a:gd name="T16" fmla="*/ 99 w 950"/>
                    <a:gd name="T17" fmla="*/ 240 h 468"/>
                    <a:gd name="T18" fmla="*/ 40 w 950"/>
                    <a:gd name="T19" fmla="*/ 246 h 468"/>
                    <a:gd name="T20" fmla="*/ 0 w 950"/>
                    <a:gd name="T21" fmla="*/ 24 h 468"/>
                    <a:gd name="T22" fmla="*/ 79 w 950"/>
                    <a:gd name="T23" fmla="*/ 6 h 468"/>
                    <a:gd name="T24" fmla="*/ 133 w 950"/>
                    <a:gd name="T25" fmla="*/ 55 h 468"/>
                    <a:gd name="T26" fmla="*/ 157 w 950"/>
                    <a:gd name="T27" fmla="*/ 15 h 468"/>
                    <a:gd name="T28" fmla="*/ 332 w 950"/>
                    <a:gd name="T29" fmla="*/ 117 h 468"/>
                    <a:gd name="T30" fmla="*/ 438 w 950"/>
                    <a:gd name="T31" fmla="*/ 117 h 468"/>
                    <a:gd name="T32" fmla="*/ 525 w 950"/>
                    <a:gd name="T33" fmla="*/ 135 h 468"/>
                    <a:gd name="T34" fmla="*/ 597 w 950"/>
                    <a:gd name="T35" fmla="*/ 228 h 468"/>
                    <a:gd name="T36" fmla="*/ 671 w 950"/>
                    <a:gd name="T37" fmla="*/ 252 h 468"/>
                    <a:gd name="T38" fmla="*/ 730 w 950"/>
                    <a:gd name="T39" fmla="*/ 258 h 468"/>
                    <a:gd name="T40" fmla="*/ 791 w 950"/>
                    <a:gd name="T41" fmla="*/ 215 h 468"/>
                    <a:gd name="T42" fmla="*/ 843 w 950"/>
                    <a:gd name="T43" fmla="*/ 196 h 468"/>
                    <a:gd name="T44" fmla="*/ 824 w 950"/>
                    <a:gd name="T45" fmla="*/ 252 h 468"/>
                    <a:gd name="T46" fmla="*/ 870 w 950"/>
                    <a:gd name="T47" fmla="*/ 240 h 468"/>
                    <a:gd name="T48" fmla="*/ 950 w 950"/>
                    <a:gd name="T49" fmla="*/ 283 h 468"/>
                    <a:gd name="T50" fmla="*/ 883 w 950"/>
                    <a:gd name="T51" fmla="*/ 320 h 468"/>
                    <a:gd name="T52" fmla="*/ 824 w 950"/>
                    <a:gd name="T53" fmla="*/ 283 h 468"/>
                    <a:gd name="T54" fmla="*/ 764 w 950"/>
                    <a:gd name="T55" fmla="*/ 277 h 468"/>
                    <a:gd name="T56" fmla="*/ 737 w 950"/>
                    <a:gd name="T57" fmla="*/ 320 h 468"/>
                    <a:gd name="T58" fmla="*/ 684 w 950"/>
                    <a:gd name="T59" fmla="*/ 357 h 468"/>
                    <a:gd name="T60" fmla="*/ 710 w 950"/>
                    <a:gd name="T61" fmla="*/ 388 h 468"/>
                    <a:gd name="T62" fmla="*/ 743 w 950"/>
                    <a:gd name="T63" fmla="*/ 437 h 468"/>
                    <a:gd name="T64" fmla="*/ 717 w 950"/>
                    <a:gd name="T65" fmla="*/ 468 h 468"/>
                    <a:gd name="T66" fmla="*/ 703 w 950"/>
                    <a:gd name="T67" fmla="*/ 465 h 468"/>
                    <a:gd name="T68" fmla="*/ 684 w 950"/>
                    <a:gd name="T69" fmla="*/ 461 h 468"/>
                    <a:gd name="T70" fmla="*/ 658 w 950"/>
                    <a:gd name="T71" fmla="*/ 461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49" name="Freeform 32">
                  <a:extLst>
                    <a:ext uri="{FF2B5EF4-FFF2-40B4-BE49-F238E27FC236}">
                      <a16:creationId xmlns="" xmlns:a16="http://schemas.microsoft.com/office/drawing/2014/main" id="{E5025B04-9247-4C9E-A70E-45EABB2225B5}"/>
                    </a:ext>
                  </a:extLst>
                </p:cNvPr>
                <p:cNvSpPr>
                  <a:spLocks/>
                </p:cNvSpPr>
                <p:nvPr>
                  <p:custDataLst>
                    <p:tags r:id="rId37"/>
                  </p:custDataLst>
                </p:nvPr>
              </p:nvSpPr>
              <p:spPr bwMode="auto">
                <a:xfrm>
                  <a:off x="6024486" y="2676305"/>
                  <a:ext cx="210556" cy="204926"/>
                </a:xfrm>
                <a:custGeom>
                  <a:avLst/>
                  <a:gdLst>
                    <a:gd name="T0" fmla="*/ 6 w 671"/>
                    <a:gd name="T1" fmla="*/ 383 h 549"/>
                    <a:gd name="T2" fmla="*/ 8 w 671"/>
                    <a:gd name="T3" fmla="*/ 316 h 549"/>
                    <a:gd name="T4" fmla="*/ 17 w 671"/>
                    <a:gd name="T5" fmla="*/ 287 h 549"/>
                    <a:gd name="T6" fmla="*/ 52 w 671"/>
                    <a:gd name="T7" fmla="*/ 238 h 549"/>
                    <a:gd name="T8" fmla="*/ 71 w 671"/>
                    <a:gd name="T9" fmla="*/ 205 h 549"/>
                    <a:gd name="T10" fmla="*/ 73 w 671"/>
                    <a:gd name="T11" fmla="*/ 167 h 549"/>
                    <a:gd name="T12" fmla="*/ 73 w 671"/>
                    <a:gd name="T13" fmla="*/ 137 h 549"/>
                    <a:gd name="T14" fmla="*/ 54 w 671"/>
                    <a:gd name="T15" fmla="*/ 108 h 549"/>
                    <a:gd name="T16" fmla="*/ 61 w 671"/>
                    <a:gd name="T17" fmla="*/ 79 h 549"/>
                    <a:gd name="T18" fmla="*/ 76 w 671"/>
                    <a:gd name="T19" fmla="*/ 50 h 549"/>
                    <a:gd name="T20" fmla="*/ 96 w 671"/>
                    <a:gd name="T21" fmla="*/ 25 h 549"/>
                    <a:gd name="T22" fmla="*/ 120 w 671"/>
                    <a:gd name="T23" fmla="*/ 7 h 549"/>
                    <a:gd name="T24" fmla="*/ 146 w 671"/>
                    <a:gd name="T25" fmla="*/ 0 h 549"/>
                    <a:gd name="T26" fmla="*/ 173 w 671"/>
                    <a:gd name="T27" fmla="*/ 5 h 549"/>
                    <a:gd name="T28" fmla="*/ 206 w 671"/>
                    <a:gd name="T29" fmla="*/ 26 h 549"/>
                    <a:gd name="T30" fmla="*/ 236 w 671"/>
                    <a:gd name="T31" fmla="*/ 45 h 549"/>
                    <a:gd name="T32" fmla="*/ 259 w 671"/>
                    <a:gd name="T33" fmla="*/ 50 h 549"/>
                    <a:gd name="T34" fmla="*/ 272 w 671"/>
                    <a:gd name="T35" fmla="*/ 44 h 549"/>
                    <a:gd name="T36" fmla="*/ 284 w 671"/>
                    <a:gd name="T37" fmla="*/ 35 h 549"/>
                    <a:gd name="T38" fmla="*/ 300 w 671"/>
                    <a:gd name="T39" fmla="*/ 32 h 549"/>
                    <a:gd name="T40" fmla="*/ 318 w 671"/>
                    <a:gd name="T41" fmla="*/ 39 h 549"/>
                    <a:gd name="T42" fmla="*/ 337 w 671"/>
                    <a:gd name="T43" fmla="*/ 65 h 549"/>
                    <a:gd name="T44" fmla="*/ 353 w 671"/>
                    <a:gd name="T45" fmla="*/ 79 h 549"/>
                    <a:gd name="T46" fmla="*/ 370 w 671"/>
                    <a:gd name="T47" fmla="*/ 81 h 549"/>
                    <a:gd name="T48" fmla="*/ 381 w 671"/>
                    <a:gd name="T49" fmla="*/ 75 h 549"/>
                    <a:gd name="T50" fmla="*/ 397 w 671"/>
                    <a:gd name="T51" fmla="*/ 56 h 549"/>
                    <a:gd name="T52" fmla="*/ 419 w 671"/>
                    <a:gd name="T53" fmla="*/ 38 h 549"/>
                    <a:gd name="T54" fmla="*/ 458 w 671"/>
                    <a:gd name="T55" fmla="*/ 22 h 549"/>
                    <a:gd name="T56" fmla="*/ 487 w 671"/>
                    <a:gd name="T57" fmla="*/ 25 h 549"/>
                    <a:gd name="T58" fmla="*/ 511 w 671"/>
                    <a:gd name="T59" fmla="*/ 35 h 549"/>
                    <a:gd name="T60" fmla="*/ 537 w 671"/>
                    <a:gd name="T61" fmla="*/ 43 h 549"/>
                    <a:gd name="T62" fmla="*/ 571 w 671"/>
                    <a:gd name="T63" fmla="*/ 39 h 549"/>
                    <a:gd name="T64" fmla="*/ 646 w 671"/>
                    <a:gd name="T65" fmla="*/ 67 h 549"/>
                    <a:gd name="T66" fmla="*/ 665 w 671"/>
                    <a:gd name="T67" fmla="*/ 105 h 549"/>
                    <a:gd name="T68" fmla="*/ 623 w 671"/>
                    <a:gd name="T69" fmla="*/ 183 h 549"/>
                    <a:gd name="T70" fmla="*/ 593 w 671"/>
                    <a:gd name="T71" fmla="*/ 233 h 549"/>
                    <a:gd name="T72" fmla="*/ 570 w 671"/>
                    <a:gd name="T73" fmla="*/ 291 h 549"/>
                    <a:gd name="T74" fmla="*/ 550 w 671"/>
                    <a:gd name="T75" fmla="*/ 343 h 549"/>
                    <a:gd name="T76" fmla="*/ 525 w 671"/>
                    <a:gd name="T77" fmla="*/ 407 h 549"/>
                    <a:gd name="T78" fmla="*/ 516 w 671"/>
                    <a:gd name="T79" fmla="*/ 422 h 549"/>
                    <a:gd name="T80" fmla="*/ 500 w 671"/>
                    <a:gd name="T81" fmla="*/ 439 h 549"/>
                    <a:gd name="T82" fmla="*/ 482 w 671"/>
                    <a:gd name="T83" fmla="*/ 443 h 549"/>
                    <a:gd name="T84" fmla="*/ 459 w 671"/>
                    <a:gd name="T85" fmla="*/ 432 h 549"/>
                    <a:gd name="T86" fmla="*/ 440 w 671"/>
                    <a:gd name="T87" fmla="*/ 421 h 549"/>
                    <a:gd name="T88" fmla="*/ 408 w 671"/>
                    <a:gd name="T89" fmla="*/ 424 h 549"/>
                    <a:gd name="T90" fmla="*/ 381 w 671"/>
                    <a:gd name="T91" fmla="*/ 441 h 549"/>
                    <a:gd name="T92" fmla="*/ 364 w 671"/>
                    <a:gd name="T93" fmla="*/ 469 h 549"/>
                    <a:gd name="T94" fmla="*/ 342 w 671"/>
                    <a:gd name="T95" fmla="*/ 521 h 549"/>
                    <a:gd name="T96" fmla="*/ 325 w 671"/>
                    <a:gd name="T97" fmla="*/ 549 h 549"/>
                    <a:gd name="T98" fmla="*/ 229 w 671"/>
                    <a:gd name="T99" fmla="*/ 546 h 549"/>
                    <a:gd name="T100" fmla="*/ 217 w 671"/>
                    <a:gd name="T101" fmla="*/ 548 h 549"/>
                    <a:gd name="T102" fmla="*/ 179 w 671"/>
                    <a:gd name="T103" fmla="*/ 543 h 549"/>
                    <a:gd name="T104" fmla="*/ 161 w 671"/>
                    <a:gd name="T105" fmla="*/ 540 h 549"/>
                    <a:gd name="T106" fmla="*/ 144 w 671"/>
                    <a:gd name="T107" fmla="*/ 531 h 549"/>
                    <a:gd name="T108" fmla="*/ 129 w 671"/>
                    <a:gd name="T109" fmla="*/ 515 h 549"/>
                    <a:gd name="T110" fmla="*/ 119 w 671"/>
                    <a:gd name="T111" fmla="*/ 496 h 549"/>
                    <a:gd name="T112" fmla="*/ 113 w 671"/>
                    <a:gd name="T113" fmla="*/ 472 h 549"/>
                    <a:gd name="T114" fmla="*/ 100 w 671"/>
                    <a:gd name="T115" fmla="*/ 460 h 549"/>
                    <a:gd name="T116" fmla="*/ 83 w 671"/>
                    <a:gd name="T117" fmla="*/ 447 h 549"/>
                    <a:gd name="T118" fmla="*/ 63 w 671"/>
                    <a:gd name="T119" fmla="*/ 432 h 549"/>
                    <a:gd name="T120" fmla="*/ 39 w 671"/>
                    <a:gd name="T121" fmla="*/ 429 h 549"/>
                    <a:gd name="T122" fmla="*/ 0 w 671"/>
                    <a:gd name="T123" fmla="*/ 438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0" name="Freeform 33">
                  <a:extLst>
                    <a:ext uri="{FF2B5EF4-FFF2-40B4-BE49-F238E27FC236}">
                      <a16:creationId xmlns="" xmlns:a16="http://schemas.microsoft.com/office/drawing/2014/main" id="{CE34DA58-E96D-4CD3-8697-51AE9C34F98B}"/>
                    </a:ext>
                  </a:extLst>
                </p:cNvPr>
                <p:cNvSpPr>
                  <a:spLocks/>
                </p:cNvSpPr>
                <p:nvPr>
                  <p:custDataLst>
                    <p:tags r:id="rId38"/>
                  </p:custDataLst>
                </p:nvPr>
              </p:nvSpPr>
              <p:spPr bwMode="auto">
                <a:xfrm>
                  <a:off x="6622375" y="2580598"/>
                  <a:ext cx="108093" cy="120478"/>
                </a:xfrm>
                <a:custGeom>
                  <a:avLst/>
                  <a:gdLst>
                    <a:gd name="T0" fmla="*/ 326 w 358"/>
                    <a:gd name="T1" fmla="*/ 324 h 327"/>
                    <a:gd name="T2" fmla="*/ 331 w 358"/>
                    <a:gd name="T3" fmla="*/ 321 h 327"/>
                    <a:gd name="T4" fmla="*/ 337 w 358"/>
                    <a:gd name="T5" fmla="*/ 318 h 327"/>
                    <a:gd name="T6" fmla="*/ 346 w 358"/>
                    <a:gd name="T7" fmla="*/ 318 h 327"/>
                    <a:gd name="T8" fmla="*/ 356 w 358"/>
                    <a:gd name="T9" fmla="*/ 324 h 327"/>
                    <a:gd name="T10" fmla="*/ 319 w 358"/>
                    <a:gd name="T11" fmla="*/ 285 h 327"/>
                    <a:gd name="T12" fmla="*/ 278 w 358"/>
                    <a:gd name="T13" fmla="*/ 235 h 327"/>
                    <a:gd name="T14" fmla="*/ 253 w 358"/>
                    <a:gd name="T15" fmla="*/ 204 h 327"/>
                    <a:gd name="T16" fmla="*/ 232 w 358"/>
                    <a:gd name="T17" fmla="*/ 186 h 327"/>
                    <a:gd name="T18" fmla="*/ 219 w 358"/>
                    <a:gd name="T19" fmla="*/ 181 h 327"/>
                    <a:gd name="T20" fmla="*/ 208 w 358"/>
                    <a:gd name="T21" fmla="*/ 180 h 327"/>
                    <a:gd name="T22" fmla="*/ 201 w 358"/>
                    <a:gd name="T23" fmla="*/ 179 h 327"/>
                    <a:gd name="T24" fmla="*/ 199 w 358"/>
                    <a:gd name="T25" fmla="*/ 174 h 327"/>
                    <a:gd name="T26" fmla="*/ 198 w 358"/>
                    <a:gd name="T27" fmla="*/ 170 h 327"/>
                    <a:gd name="T28" fmla="*/ 195 w 358"/>
                    <a:gd name="T29" fmla="*/ 169 h 327"/>
                    <a:gd name="T30" fmla="*/ 184 w 358"/>
                    <a:gd name="T31" fmla="*/ 172 h 327"/>
                    <a:gd name="T32" fmla="*/ 171 w 358"/>
                    <a:gd name="T33" fmla="*/ 172 h 327"/>
                    <a:gd name="T34" fmla="*/ 165 w 358"/>
                    <a:gd name="T35" fmla="*/ 168 h 327"/>
                    <a:gd name="T36" fmla="*/ 160 w 358"/>
                    <a:gd name="T37" fmla="*/ 161 h 327"/>
                    <a:gd name="T38" fmla="*/ 152 w 358"/>
                    <a:gd name="T39" fmla="*/ 144 h 327"/>
                    <a:gd name="T40" fmla="*/ 143 w 358"/>
                    <a:gd name="T41" fmla="*/ 131 h 327"/>
                    <a:gd name="T42" fmla="*/ 133 w 358"/>
                    <a:gd name="T43" fmla="*/ 119 h 327"/>
                    <a:gd name="T44" fmla="*/ 127 w 358"/>
                    <a:gd name="T45" fmla="*/ 105 h 327"/>
                    <a:gd name="T46" fmla="*/ 122 w 358"/>
                    <a:gd name="T47" fmla="*/ 84 h 327"/>
                    <a:gd name="T48" fmla="*/ 119 w 358"/>
                    <a:gd name="T49" fmla="*/ 53 h 327"/>
                    <a:gd name="T50" fmla="*/ 117 w 358"/>
                    <a:gd name="T51" fmla="*/ 23 h 327"/>
                    <a:gd name="T52" fmla="*/ 112 w 358"/>
                    <a:gd name="T53" fmla="*/ 0 h 327"/>
                    <a:gd name="T54" fmla="*/ 73 w 358"/>
                    <a:gd name="T55" fmla="*/ 26 h 327"/>
                    <a:gd name="T56" fmla="*/ 61 w 358"/>
                    <a:gd name="T57" fmla="*/ 33 h 327"/>
                    <a:gd name="T58" fmla="*/ 33 w 358"/>
                    <a:gd name="T59" fmla="*/ 50 h 327"/>
                    <a:gd name="T60" fmla="*/ 21 w 358"/>
                    <a:gd name="T61" fmla="*/ 61 h 327"/>
                    <a:gd name="T62" fmla="*/ 17 w 358"/>
                    <a:gd name="T63" fmla="*/ 72 h 327"/>
                    <a:gd name="T64" fmla="*/ 16 w 358"/>
                    <a:gd name="T65" fmla="*/ 83 h 327"/>
                    <a:gd name="T66" fmla="*/ 20 w 358"/>
                    <a:gd name="T67" fmla="*/ 93 h 327"/>
                    <a:gd name="T68" fmla="*/ 22 w 358"/>
                    <a:gd name="T69" fmla="*/ 100 h 327"/>
                    <a:gd name="T70" fmla="*/ 20 w 358"/>
                    <a:gd name="T71" fmla="*/ 110 h 327"/>
                    <a:gd name="T72" fmla="*/ 15 w 358"/>
                    <a:gd name="T73" fmla="*/ 123 h 327"/>
                    <a:gd name="T74" fmla="*/ 7 w 358"/>
                    <a:gd name="T75" fmla="*/ 136 h 327"/>
                    <a:gd name="T76" fmla="*/ 0 w 358"/>
                    <a:gd name="T77" fmla="*/ 155 h 327"/>
                    <a:gd name="T78" fmla="*/ 0 w 358"/>
                    <a:gd name="T79" fmla="*/ 174 h 327"/>
                    <a:gd name="T80" fmla="*/ 5 w 358"/>
                    <a:gd name="T81" fmla="*/ 182 h 327"/>
                    <a:gd name="T82" fmla="*/ 11 w 358"/>
                    <a:gd name="T83" fmla="*/ 187 h 327"/>
                    <a:gd name="T84" fmla="*/ 20 w 358"/>
                    <a:gd name="T85" fmla="*/ 186 h 327"/>
                    <a:gd name="T86" fmla="*/ 44 w 358"/>
                    <a:gd name="T87" fmla="*/ 168 h 327"/>
                    <a:gd name="T88" fmla="*/ 60 w 358"/>
                    <a:gd name="T89" fmla="*/ 161 h 327"/>
                    <a:gd name="T90" fmla="*/ 76 w 358"/>
                    <a:gd name="T91" fmla="*/ 150 h 327"/>
                    <a:gd name="T92" fmla="*/ 93 w 358"/>
                    <a:gd name="T93" fmla="*/ 159 h 327"/>
                    <a:gd name="T94" fmla="*/ 110 w 358"/>
                    <a:gd name="T95" fmla="*/ 164 h 327"/>
                    <a:gd name="T96" fmla="*/ 142 w 358"/>
                    <a:gd name="T97" fmla="*/ 180 h 327"/>
                    <a:gd name="T98" fmla="*/ 163 w 358"/>
                    <a:gd name="T99" fmla="*/ 190 h 327"/>
                    <a:gd name="T100" fmla="*/ 196 w 358"/>
                    <a:gd name="T101" fmla="*/ 209 h 327"/>
                    <a:gd name="T102" fmla="*/ 219 w 358"/>
                    <a:gd name="T103" fmla="*/ 225 h 327"/>
                    <a:gd name="T104" fmla="*/ 245 w 358"/>
                    <a:gd name="T105" fmla="*/ 244 h 327"/>
                    <a:gd name="T106" fmla="*/ 256 w 358"/>
                    <a:gd name="T107" fmla="*/ 254 h 327"/>
                    <a:gd name="T108" fmla="*/ 267 w 358"/>
                    <a:gd name="T109" fmla="*/ 270 h 327"/>
                    <a:gd name="T110" fmla="*/ 269 w 358"/>
                    <a:gd name="T111" fmla="*/ 279 h 327"/>
                    <a:gd name="T112" fmla="*/ 269 w 358"/>
                    <a:gd name="T113" fmla="*/ 286 h 327"/>
                    <a:gd name="T114" fmla="*/ 270 w 358"/>
                    <a:gd name="T115" fmla="*/ 290 h 327"/>
                    <a:gd name="T116" fmla="*/ 276 w 358"/>
                    <a:gd name="T117" fmla="*/ 292 h 327"/>
                    <a:gd name="T118" fmla="*/ 292 w 358"/>
                    <a:gd name="T119" fmla="*/ 302 h 327"/>
                    <a:gd name="T120" fmla="*/ 318 w 358"/>
                    <a:gd name="T121" fmla="*/ 32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1" name="Freeform 34">
                  <a:extLst>
                    <a:ext uri="{FF2B5EF4-FFF2-40B4-BE49-F238E27FC236}">
                      <a16:creationId xmlns="" xmlns:a16="http://schemas.microsoft.com/office/drawing/2014/main" id="{ABB70122-29E5-4E6D-B14F-F58068C22D0A}"/>
                    </a:ext>
                  </a:extLst>
                </p:cNvPr>
                <p:cNvSpPr>
                  <a:spLocks/>
                </p:cNvSpPr>
                <p:nvPr>
                  <p:custDataLst>
                    <p:tags r:id="rId39"/>
                  </p:custDataLst>
                </p:nvPr>
              </p:nvSpPr>
              <p:spPr bwMode="auto">
                <a:xfrm>
                  <a:off x="6240672" y="1874616"/>
                  <a:ext cx="88952" cy="40535"/>
                </a:xfrm>
                <a:custGeom>
                  <a:avLst/>
                  <a:gdLst>
                    <a:gd name="T0" fmla="*/ 126 w 292"/>
                    <a:gd name="T1" fmla="*/ 0 h 99"/>
                    <a:gd name="T2" fmla="*/ 153 w 292"/>
                    <a:gd name="T3" fmla="*/ 0 h 99"/>
                    <a:gd name="T4" fmla="*/ 198 w 292"/>
                    <a:gd name="T5" fmla="*/ 1 h 99"/>
                    <a:gd name="T6" fmla="*/ 250 w 292"/>
                    <a:gd name="T7" fmla="*/ 6 h 99"/>
                    <a:gd name="T8" fmla="*/ 292 w 292"/>
                    <a:gd name="T9" fmla="*/ 7 h 99"/>
                    <a:gd name="T10" fmla="*/ 290 w 292"/>
                    <a:gd name="T11" fmla="*/ 20 h 99"/>
                    <a:gd name="T12" fmla="*/ 285 w 292"/>
                    <a:gd name="T13" fmla="*/ 33 h 99"/>
                    <a:gd name="T14" fmla="*/ 279 w 292"/>
                    <a:gd name="T15" fmla="*/ 55 h 99"/>
                    <a:gd name="T16" fmla="*/ 135 w 292"/>
                    <a:gd name="T17" fmla="*/ 70 h 99"/>
                    <a:gd name="T18" fmla="*/ 99 w 292"/>
                    <a:gd name="T19" fmla="*/ 89 h 99"/>
                    <a:gd name="T20" fmla="*/ 79 w 292"/>
                    <a:gd name="T21" fmla="*/ 96 h 99"/>
                    <a:gd name="T22" fmla="*/ 66 w 292"/>
                    <a:gd name="T23" fmla="*/ 98 h 99"/>
                    <a:gd name="T24" fmla="*/ 55 w 292"/>
                    <a:gd name="T25" fmla="*/ 98 h 99"/>
                    <a:gd name="T26" fmla="*/ 45 w 292"/>
                    <a:gd name="T27" fmla="*/ 94 h 99"/>
                    <a:gd name="T28" fmla="*/ 33 w 292"/>
                    <a:gd name="T29" fmla="*/ 86 h 99"/>
                    <a:gd name="T30" fmla="*/ 20 w 292"/>
                    <a:gd name="T31" fmla="*/ 77 h 99"/>
                    <a:gd name="T32" fmla="*/ 7 w 292"/>
                    <a:gd name="T33" fmla="*/ 69 h 99"/>
                    <a:gd name="T34" fmla="*/ 1 w 292"/>
                    <a:gd name="T35" fmla="*/ 57 h 99"/>
                    <a:gd name="T36" fmla="*/ 0 w 292"/>
                    <a:gd name="T37" fmla="*/ 42 h 99"/>
                    <a:gd name="T38" fmla="*/ 1 w 292"/>
                    <a:gd name="T39" fmla="*/ 25 h 99"/>
                    <a:gd name="T40" fmla="*/ 3 w 292"/>
                    <a:gd name="T41" fmla="*/ 20 h 99"/>
                    <a:gd name="T42" fmla="*/ 9 w 292"/>
                    <a:gd name="T43" fmla="*/ 18 h 99"/>
                    <a:gd name="T44" fmla="*/ 15 w 292"/>
                    <a:gd name="T45" fmla="*/ 21 h 99"/>
                    <a:gd name="T46" fmla="*/ 25 w 292"/>
                    <a:gd name="T47" fmla="*/ 28 h 99"/>
                    <a:gd name="T48" fmla="*/ 35 w 292"/>
                    <a:gd name="T49" fmla="*/ 32 h 99"/>
                    <a:gd name="T50" fmla="*/ 45 w 292"/>
                    <a:gd name="T51" fmla="*/ 34 h 99"/>
                    <a:gd name="T52" fmla="*/ 54 w 292"/>
                    <a:gd name="T53" fmla="*/ 33 h 99"/>
                    <a:gd name="T54" fmla="*/ 67 w 292"/>
                    <a:gd name="T55" fmla="*/ 29 h 99"/>
                    <a:gd name="T56" fmla="*/ 81 w 292"/>
                    <a:gd name="T57" fmla="*/ 19 h 99"/>
                    <a:gd name="T58" fmla="*/ 88 w 292"/>
                    <a:gd name="T59" fmla="*/ 11 h 99"/>
                    <a:gd name="T60" fmla="*/ 94 w 292"/>
                    <a:gd name="T61" fmla="*/ 6 h 99"/>
                    <a:gd name="T62" fmla="*/ 109 w 292"/>
                    <a:gd name="T63" fmla="*/ 1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52" name="Freeform 35">
                  <a:extLst>
                    <a:ext uri="{FF2B5EF4-FFF2-40B4-BE49-F238E27FC236}">
                      <a16:creationId xmlns="" xmlns:a16="http://schemas.microsoft.com/office/drawing/2014/main" id="{8BFD7B71-3F89-48F6-B45B-FD3A062762E9}"/>
                    </a:ext>
                  </a:extLst>
                </p:cNvPr>
                <p:cNvSpPr>
                  <a:spLocks/>
                </p:cNvSpPr>
                <p:nvPr>
                  <p:custDataLst>
                    <p:tags r:id="rId40"/>
                  </p:custDataLst>
                </p:nvPr>
              </p:nvSpPr>
              <p:spPr bwMode="auto">
                <a:xfrm>
                  <a:off x="6853198" y="2385805"/>
                  <a:ext cx="13512" cy="40535"/>
                </a:xfrm>
                <a:custGeom>
                  <a:avLst/>
                  <a:gdLst>
                    <a:gd name="T0" fmla="*/ 39 w 43"/>
                    <a:gd name="T1" fmla="*/ 93 h 93"/>
                    <a:gd name="T2" fmla="*/ 31 w 43"/>
                    <a:gd name="T3" fmla="*/ 91 h 93"/>
                    <a:gd name="T4" fmla="*/ 26 w 43"/>
                    <a:gd name="T5" fmla="*/ 89 h 93"/>
                    <a:gd name="T6" fmla="*/ 21 w 43"/>
                    <a:gd name="T7" fmla="*/ 87 h 93"/>
                    <a:gd name="T8" fmla="*/ 18 w 43"/>
                    <a:gd name="T9" fmla="*/ 84 h 93"/>
                    <a:gd name="T10" fmla="*/ 15 w 43"/>
                    <a:gd name="T11" fmla="*/ 79 h 93"/>
                    <a:gd name="T12" fmla="*/ 14 w 43"/>
                    <a:gd name="T13" fmla="*/ 73 h 93"/>
                    <a:gd name="T14" fmla="*/ 13 w 43"/>
                    <a:gd name="T15" fmla="*/ 65 h 93"/>
                    <a:gd name="T16" fmla="*/ 11 w 43"/>
                    <a:gd name="T17" fmla="*/ 55 h 93"/>
                    <a:gd name="T18" fmla="*/ 11 w 43"/>
                    <a:gd name="T19" fmla="*/ 48 h 93"/>
                    <a:gd name="T20" fmla="*/ 9 w 43"/>
                    <a:gd name="T21" fmla="*/ 42 h 93"/>
                    <a:gd name="T22" fmla="*/ 6 w 43"/>
                    <a:gd name="T23" fmla="*/ 38 h 93"/>
                    <a:gd name="T24" fmla="*/ 4 w 43"/>
                    <a:gd name="T25" fmla="*/ 36 h 93"/>
                    <a:gd name="T26" fmla="*/ 2 w 43"/>
                    <a:gd name="T27" fmla="*/ 34 h 93"/>
                    <a:gd name="T28" fmla="*/ 0 w 43"/>
                    <a:gd name="T29" fmla="*/ 32 h 93"/>
                    <a:gd name="T30" fmla="*/ 2 w 43"/>
                    <a:gd name="T31" fmla="*/ 29 h 93"/>
                    <a:gd name="T32" fmla="*/ 5 w 43"/>
                    <a:gd name="T33" fmla="*/ 24 h 93"/>
                    <a:gd name="T34" fmla="*/ 6 w 43"/>
                    <a:gd name="T35" fmla="*/ 28 h 93"/>
                    <a:gd name="T36" fmla="*/ 7 w 43"/>
                    <a:gd name="T37" fmla="*/ 29 h 93"/>
                    <a:gd name="T38" fmla="*/ 8 w 43"/>
                    <a:gd name="T39" fmla="*/ 30 h 93"/>
                    <a:gd name="T40" fmla="*/ 9 w 43"/>
                    <a:gd name="T41" fmla="*/ 29 h 93"/>
                    <a:gd name="T42" fmla="*/ 11 w 43"/>
                    <a:gd name="T43" fmla="*/ 25 h 93"/>
                    <a:gd name="T44" fmla="*/ 14 w 43"/>
                    <a:gd name="T45" fmla="*/ 19 h 93"/>
                    <a:gd name="T46" fmla="*/ 16 w 43"/>
                    <a:gd name="T47" fmla="*/ 12 h 93"/>
                    <a:gd name="T48" fmla="*/ 20 w 43"/>
                    <a:gd name="T49" fmla="*/ 6 h 93"/>
                    <a:gd name="T50" fmla="*/ 22 w 43"/>
                    <a:gd name="T51" fmla="*/ 4 h 93"/>
                    <a:gd name="T52" fmla="*/ 25 w 43"/>
                    <a:gd name="T53" fmla="*/ 2 h 93"/>
                    <a:gd name="T54" fmla="*/ 28 w 43"/>
                    <a:gd name="T55" fmla="*/ 0 h 93"/>
                    <a:gd name="T56" fmla="*/ 32 w 43"/>
                    <a:gd name="T57" fmla="*/ 0 h 93"/>
                    <a:gd name="T58" fmla="*/ 33 w 43"/>
                    <a:gd name="T59" fmla="*/ 10 h 93"/>
                    <a:gd name="T60" fmla="*/ 33 w 43"/>
                    <a:gd name="T61" fmla="*/ 16 h 93"/>
                    <a:gd name="T62" fmla="*/ 33 w 43"/>
                    <a:gd name="T63" fmla="*/ 20 h 93"/>
                    <a:gd name="T64" fmla="*/ 32 w 43"/>
                    <a:gd name="T65" fmla="*/ 23 h 93"/>
                    <a:gd name="T66" fmla="*/ 32 w 43"/>
                    <a:gd name="T67" fmla="*/ 27 h 93"/>
                    <a:gd name="T68" fmla="*/ 32 w 43"/>
                    <a:gd name="T69" fmla="*/ 31 h 93"/>
                    <a:gd name="T70" fmla="*/ 35 w 43"/>
                    <a:gd name="T71" fmla="*/ 36 h 93"/>
                    <a:gd name="T72" fmla="*/ 39 w 43"/>
                    <a:gd name="T73" fmla="*/ 43 h 93"/>
                    <a:gd name="T74" fmla="*/ 38 w 43"/>
                    <a:gd name="T75" fmla="*/ 44 h 93"/>
                    <a:gd name="T76" fmla="*/ 37 w 43"/>
                    <a:gd name="T77" fmla="*/ 45 h 93"/>
                    <a:gd name="T78" fmla="*/ 37 w 43"/>
                    <a:gd name="T79" fmla="*/ 48 h 93"/>
                    <a:gd name="T80" fmla="*/ 38 w 43"/>
                    <a:gd name="T81" fmla="*/ 51 h 93"/>
                    <a:gd name="T82" fmla="*/ 39 w 43"/>
                    <a:gd name="T83" fmla="*/ 59 h 93"/>
                    <a:gd name="T84" fmla="*/ 41 w 43"/>
                    <a:gd name="T85" fmla="*/ 68 h 93"/>
                    <a:gd name="T86" fmla="*/ 42 w 43"/>
                    <a:gd name="T87" fmla="*/ 76 h 93"/>
                    <a:gd name="T88" fmla="*/ 43 w 43"/>
                    <a:gd name="T89" fmla="*/ 85 h 93"/>
                    <a:gd name="T90" fmla="*/ 43 w 43"/>
                    <a:gd name="T91" fmla="*/ 88 h 93"/>
                    <a:gd name="T92" fmla="*/ 42 w 43"/>
                    <a:gd name="T93" fmla="*/ 91 h 93"/>
                    <a:gd name="T94" fmla="*/ 40 w 43"/>
                    <a:gd name="T95" fmla="*/ 92 h 93"/>
                    <a:gd name="T96" fmla="*/ 39 w 43"/>
                    <a:gd name="T9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3" name="Freeform 36">
                  <a:extLst>
                    <a:ext uri="{FF2B5EF4-FFF2-40B4-BE49-F238E27FC236}">
                      <a16:creationId xmlns="" xmlns:a16="http://schemas.microsoft.com/office/drawing/2014/main" id="{EE7D2AA5-68E3-4E32-A9EA-DB1DBE708093}"/>
                    </a:ext>
                  </a:extLst>
                </p:cNvPr>
                <p:cNvSpPr>
                  <a:spLocks/>
                </p:cNvSpPr>
                <p:nvPr>
                  <p:custDataLst>
                    <p:tags r:id="rId41"/>
                  </p:custDataLst>
                </p:nvPr>
              </p:nvSpPr>
              <p:spPr bwMode="auto">
                <a:xfrm>
                  <a:off x="6937646" y="2389183"/>
                  <a:ext cx="10134" cy="40535"/>
                </a:xfrm>
                <a:custGeom>
                  <a:avLst/>
                  <a:gdLst>
                    <a:gd name="T0" fmla="*/ 40 w 40"/>
                    <a:gd name="T1" fmla="*/ 56 h 56"/>
                    <a:gd name="T2" fmla="*/ 37 w 40"/>
                    <a:gd name="T3" fmla="*/ 46 h 56"/>
                    <a:gd name="T4" fmla="*/ 33 w 40"/>
                    <a:gd name="T5" fmla="*/ 38 h 56"/>
                    <a:gd name="T6" fmla="*/ 28 w 40"/>
                    <a:gd name="T7" fmla="*/ 32 h 56"/>
                    <a:gd name="T8" fmla="*/ 23 w 40"/>
                    <a:gd name="T9" fmla="*/ 28 h 56"/>
                    <a:gd name="T10" fmla="*/ 11 w 40"/>
                    <a:gd name="T11" fmla="*/ 21 h 56"/>
                    <a:gd name="T12" fmla="*/ 0 w 40"/>
                    <a:gd name="T13" fmla="*/ 12 h 56"/>
                    <a:gd name="T14" fmla="*/ 13 w 40"/>
                    <a:gd name="T15" fmla="*/ 4 h 56"/>
                    <a:gd name="T16" fmla="*/ 20 w 40"/>
                    <a:gd name="T17" fmla="*/ 0 h 56"/>
                    <a:gd name="T18" fmla="*/ 28 w 40"/>
                    <a:gd name="T19" fmla="*/ 12 h 56"/>
                    <a:gd name="T20" fmla="*/ 35 w 40"/>
                    <a:gd name="T21" fmla="*/ 22 h 56"/>
                    <a:gd name="T22" fmla="*/ 37 w 40"/>
                    <a:gd name="T23" fmla="*/ 25 h 56"/>
                    <a:gd name="T24" fmla="*/ 39 w 40"/>
                    <a:gd name="T25" fmla="*/ 29 h 56"/>
                    <a:gd name="T26" fmla="*/ 39 w 40"/>
                    <a:gd name="T27" fmla="*/ 33 h 56"/>
                    <a:gd name="T28" fmla="*/ 40 w 40"/>
                    <a:gd name="T29" fmla="*/ 37 h 56"/>
                    <a:gd name="T30" fmla="*/ 40 w 40"/>
                    <a:gd name="T31" fmla="*/ 44 h 56"/>
                    <a:gd name="T32" fmla="*/ 40 w 40"/>
                    <a:gd name="T33" fmla="*/ 46 h 56"/>
                    <a:gd name="T34" fmla="*/ 40 w 40"/>
                    <a:gd name="T35" fmla="*/ 49 h 56"/>
                    <a:gd name="T36" fmla="*/ 40 w 40"/>
                    <a:gd name="T3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4" name="Freeform 37">
                  <a:extLst>
                    <a:ext uri="{FF2B5EF4-FFF2-40B4-BE49-F238E27FC236}">
                      <a16:creationId xmlns="" xmlns:a16="http://schemas.microsoft.com/office/drawing/2014/main" id="{4C71C39E-16BC-444F-A4E6-56651A6D134F}"/>
                    </a:ext>
                  </a:extLst>
                </p:cNvPr>
                <p:cNvSpPr>
                  <a:spLocks/>
                </p:cNvSpPr>
                <p:nvPr>
                  <p:custDataLst>
                    <p:tags r:id="rId42"/>
                  </p:custDataLst>
                </p:nvPr>
              </p:nvSpPr>
              <p:spPr bwMode="auto">
                <a:xfrm>
                  <a:off x="7992677" y="2857586"/>
                  <a:ext cx="31527" cy="40535"/>
                </a:xfrm>
                <a:custGeom>
                  <a:avLst/>
                  <a:gdLst>
                    <a:gd name="T0" fmla="*/ 0 w 106"/>
                    <a:gd name="T1" fmla="*/ 7 h 71"/>
                    <a:gd name="T2" fmla="*/ 12 w 106"/>
                    <a:gd name="T3" fmla="*/ 10 h 71"/>
                    <a:gd name="T4" fmla="*/ 24 w 106"/>
                    <a:gd name="T5" fmla="*/ 12 h 71"/>
                    <a:gd name="T6" fmla="*/ 35 w 106"/>
                    <a:gd name="T7" fmla="*/ 13 h 71"/>
                    <a:gd name="T8" fmla="*/ 45 w 106"/>
                    <a:gd name="T9" fmla="*/ 13 h 71"/>
                    <a:gd name="T10" fmla="*/ 54 w 106"/>
                    <a:gd name="T11" fmla="*/ 11 h 71"/>
                    <a:gd name="T12" fmla="*/ 61 w 106"/>
                    <a:gd name="T13" fmla="*/ 8 h 71"/>
                    <a:gd name="T14" fmla="*/ 68 w 106"/>
                    <a:gd name="T15" fmla="*/ 5 h 71"/>
                    <a:gd name="T16" fmla="*/ 74 w 106"/>
                    <a:gd name="T17" fmla="*/ 0 h 71"/>
                    <a:gd name="T18" fmla="*/ 84 w 106"/>
                    <a:gd name="T19" fmla="*/ 16 h 71"/>
                    <a:gd name="T20" fmla="*/ 94 w 106"/>
                    <a:gd name="T21" fmla="*/ 30 h 71"/>
                    <a:gd name="T22" fmla="*/ 101 w 106"/>
                    <a:gd name="T23" fmla="*/ 44 h 71"/>
                    <a:gd name="T24" fmla="*/ 105 w 106"/>
                    <a:gd name="T25" fmla="*/ 55 h 71"/>
                    <a:gd name="T26" fmla="*/ 106 w 106"/>
                    <a:gd name="T27" fmla="*/ 60 h 71"/>
                    <a:gd name="T28" fmla="*/ 106 w 106"/>
                    <a:gd name="T29" fmla="*/ 63 h 71"/>
                    <a:gd name="T30" fmla="*/ 105 w 106"/>
                    <a:gd name="T31" fmla="*/ 67 h 71"/>
                    <a:gd name="T32" fmla="*/ 103 w 106"/>
                    <a:gd name="T33" fmla="*/ 69 h 71"/>
                    <a:gd name="T34" fmla="*/ 101 w 106"/>
                    <a:gd name="T35" fmla="*/ 70 h 71"/>
                    <a:gd name="T36" fmla="*/ 98 w 106"/>
                    <a:gd name="T37" fmla="*/ 70 h 71"/>
                    <a:gd name="T38" fmla="*/ 92 w 106"/>
                    <a:gd name="T39" fmla="*/ 70 h 71"/>
                    <a:gd name="T40" fmla="*/ 87 w 106"/>
                    <a:gd name="T41" fmla="*/ 68 h 71"/>
                    <a:gd name="T42" fmla="*/ 74 w 106"/>
                    <a:gd name="T43" fmla="*/ 70 h 71"/>
                    <a:gd name="T44" fmla="*/ 63 w 106"/>
                    <a:gd name="T45" fmla="*/ 71 h 71"/>
                    <a:gd name="T46" fmla="*/ 53 w 106"/>
                    <a:gd name="T47" fmla="*/ 69 h 71"/>
                    <a:gd name="T48" fmla="*/ 45 w 106"/>
                    <a:gd name="T49" fmla="*/ 66 h 71"/>
                    <a:gd name="T50" fmla="*/ 37 w 106"/>
                    <a:gd name="T51" fmla="*/ 62 h 71"/>
                    <a:gd name="T52" fmla="*/ 32 w 106"/>
                    <a:gd name="T53" fmla="*/ 57 h 71"/>
                    <a:gd name="T54" fmla="*/ 27 w 106"/>
                    <a:gd name="T55" fmla="*/ 51 h 71"/>
                    <a:gd name="T56" fmla="*/ 24 w 106"/>
                    <a:gd name="T57" fmla="*/ 45 h 71"/>
                    <a:gd name="T58" fmla="*/ 21 w 106"/>
                    <a:gd name="T59" fmla="*/ 38 h 71"/>
                    <a:gd name="T60" fmla="*/ 20 w 106"/>
                    <a:gd name="T61" fmla="*/ 30 h 71"/>
                    <a:gd name="T62" fmla="*/ 19 w 106"/>
                    <a:gd name="T63" fmla="*/ 24 h 71"/>
                    <a:gd name="T64" fmla="*/ 18 w 106"/>
                    <a:gd name="T65" fmla="*/ 19 h 71"/>
                    <a:gd name="T66" fmla="*/ 18 w 106"/>
                    <a:gd name="T67" fmla="*/ 14 h 71"/>
                    <a:gd name="T68" fmla="*/ 19 w 106"/>
                    <a:gd name="T69" fmla="*/ 10 h 71"/>
                    <a:gd name="T70" fmla="*/ 20 w 106"/>
                    <a:gd name="T71" fmla="*/ 7 h 71"/>
                    <a:gd name="T72" fmla="*/ 21 w 106"/>
                    <a:gd name="T73" fmla="*/ 7 h 71"/>
                    <a:gd name="T74" fmla="*/ 20 w 106"/>
                    <a:gd name="T75" fmla="*/ 10 h 71"/>
                    <a:gd name="T76" fmla="*/ 19 w 106"/>
                    <a:gd name="T77" fmla="*/ 16 h 71"/>
                    <a:gd name="T78" fmla="*/ 19 w 106"/>
                    <a:gd name="T79" fmla="*/ 17 h 71"/>
                    <a:gd name="T80" fmla="*/ 19 w 106"/>
                    <a:gd name="T81" fmla="*/ 17 h 71"/>
                    <a:gd name="T82" fmla="*/ 20 w 106"/>
                    <a:gd name="T83" fmla="*/ 17 h 71"/>
                    <a:gd name="T84" fmla="*/ 21 w 106"/>
                    <a:gd name="T85" fmla="*/ 17 h 71"/>
                    <a:gd name="T86" fmla="*/ 23 w 106"/>
                    <a:gd name="T87" fmla="*/ 13 h 71"/>
                    <a:gd name="T88" fmla="*/ 27 w 106"/>
                    <a:gd name="T89" fmla="*/ 7 h 71"/>
                    <a:gd name="T90" fmla="*/ 0 w 106"/>
                    <a:gd name="T91" fmla="*/ 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19" y="17"/>
                      </a:lnTo>
                      <a:lnTo>
                        <a:pt x="20" y="17"/>
                      </a:lnTo>
                      <a:lnTo>
                        <a:pt x="21" y="17"/>
                      </a:lnTo>
                      <a:lnTo>
                        <a:pt x="23" y="13"/>
                      </a:lnTo>
                      <a:lnTo>
                        <a:pt x="27" y="7"/>
                      </a:lnTo>
                      <a:lnTo>
                        <a:pt x="0" y="7"/>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grpSp>
              <p:nvGrpSpPr>
                <p:cNvPr id="55" name="Group 38">
                  <a:extLst>
                    <a:ext uri="{FF2B5EF4-FFF2-40B4-BE49-F238E27FC236}">
                      <a16:creationId xmlns="" xmlns:a16="http://schemas.microsoft.com/office/drawing/2014/main" id="{42DC5ECB-A1CF-46A5-82AB-567B4B230003}"/>
                    </a:ext>
                  </a:extLst>
                </p:cNvPr>
                <p:cNvGrpSpPr>
                  <a:grpSpLocks/>
                </p:cNvGrpSpPr>
                <p:nvPr>
                  <p:custDataLst>
                    <p:tags r:id="rId43"/>
                  </p:custDataLst>
                </p:nvPr>
              </p:nvGrpSpPr>
              <p:grpSpPr bwMode="auto">
                <a:xfrm>
                  <a:off x="5050525" y="4140062"/>
                  <a:ext cx="46164" cy="39409"/>
                  <a:chOff x="1654" y="3671"/>
                  <a:chExt cx="49" cy="17"/>
                </a:xfrm>
                <a:solidFill>
                  <a:srgbClr val="CDCDCD"/>
                </a:solidFill>
              </p:grpSpPr>
              <p:sp>
                <p:nvSpPr>
                  <p:cNvPr id="584" name="Freeform 39">
                    <a:extLst>
                      <a:ext uri="{FF2B5EF4-FFF2-40B4-BE49-F238E27FC236}">
                        <a16:creationId xmlns="" xmlns:a16="http://schemas.microsoft.com/office/drawing/2014/main" id="{36299EAD-C993-438F-B251-BDBA8CDF36DC}"/>
                      </a:ext>
                    </a:extLst>
                  </p:cNvPr>
                  <p:cNvSpPr>
                    <a:spLocks/>
                  </p:cNvSpPr>
                  <p:nvPr/>
                </p:nvSpPr>
                <p:spPr bwMode="auto">
                  <a:xfrm>
                    <a:off x="1654" y="3672"/>
                    <a:ext cx="20" cy="14"/>
                  </a:xfrm>
                  <a:custGeom>
                    <a:avLst/>
                    <a:gdLst>
                      <a:gd name="T0" fmla="*/ 26 w 59"/>
                      <a:gd name="T1" fmla="*/ 43 h 43"/>
                      <a:gd name="T2" fmla="*/ 59 w 59"/>
                      <a:gd name="T3" fmla="*/ 18 h 43"/>
                      <a:gd name="T4" fmla="*/ 55 w 59"/>
                      <a:gd name="T5" fmla="*/ 14 h 43"/>
                      <a:gd name="T6" fmla="*/ 51 w 59"/>
                      <a:gd name="T7" fmla="*/ 9 h 43"/>
                      <a:gd name="T8" fmla="*/ 47 w 59"/>
                      <a:gd name="T9" fmla="*/ 5 h 43"/>
                      <a:gd name="T10" fmla="*/ 46 w 59"/>
                      <a:gd name="T11" fmla="*/ 0 h 43"/>
                      <a:gd name="T12" fmla="*/ 41 w 59"/>
                      <a:gd name="T13" fmla="*/ 1 h 43"/>
                      <a:gd name="T14" fmla="*/ 34 w 59"/>
                      <a:gd name="T15" fmla="*/ 4 h 43"/>
                      <a:gd name="T16" fmla="*/ 31 w 59"/>
                      <a:gd name="T17" fmla="*/ 6 h 43"/>
                      <a:gd name="T18" fmla="*/ 29 w 59"/>
                      <a:gd name="T19" fmla="*/ 8 h 43"/>
                      <a:gd name="T20" fmla="*/ 26 w 59"/>
                      <a:gd name="T21" fmla="*/ 10 h 43"/>
                      <a:gd name="T22" fmla="*/ 26 w 59"/>
                      <a:gd name="T23" fmla="*/ 12 h 43"/>
                      <a:gd name="T24" fmla="*/ 20 w 59"/>
                      <a:gd name="T25" fmla="*/ 13 h 43"/>
                      <a:gd name="T26" fmla="*/ 13 w 59"/>
                      <a:gd name="T27" fmla="*/ 16 h 43"/>
                      <a:gd name="T28" fmla="*/ 6 w 59"/>
                      <a:gd name="T29" fmla="*/ 20 h 43"/>
                      <a:gd name="T30" fmla="*/ 0 w 59"/>
                      <a:gd name="T31" fmla="*/ 24 h 43"/>
                      <a:gd name="T32" fmla="*/ 5 w 59"/>
                      <a:gd name="T33" fmla="*/ 29 h 43"/>
                      <a:gd name="T34" fmla="*/ 10 w 59"/>
                      <a:gd name="T35" fmla="*/ 34 h 43"/>
                      <a:gd name="T36" fmla="*/ 18 w 59"/>
                      <a:gd name="T37" fmla="*/ 39 h 43"/>
                      <a:gd name="T38" fmla="*/ 26 w 59"/>
                      <a:gd name="T39"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85" name="Freeform 40">
                    <a:extLst>
                      <a:ext uri="{FF2B5EF4-FFF2-40B4-BE49-F238E27FC236}">
                        <a16:creationId xmlns="" xmlns:a16="http://schemas.microsoft.com/office/drawing/2014/main" id="{EB80AA0F-6863-4983-B33A-4345134553BE}"/>
                      </a:ext>
                    </a:extLst>
                  </p:cNvPr>
                  <p:cNvSpPr>
                    <a:spLocks/>
                  </p:cNvSpPr>
                  <p:nvPr/>
                </p:nvSpPr>
                <p:spPr bwMode="auto">
                  <a:xfrm>
                    <a:off x="1681" y="3671"/>
                    <a:ext cx="22" cy="17"/>
                  </a:xfrm>
                  <a:custGeom>
                    <a:avLst/>
                    <a:gdLst>
                      <a:gd name="T0" fmla="*/ 0 w 67"/>
                      <a:gd name="T1" fmla="*/ 2 h 51"/>
                      <a:gd name="T2" fmla="*/ 24 w 67"/>
                      <a:gd name="T3" fmla="*/ 1 h 51"/>
                      <a:gd name="T4" fmla="*/ 39 w 67"/>
                      <a:gd name="T5" fmla="*/ 0 h 51"/>
                      <a:gd name="T6" fmla="*/ 45 w 67"/>
                      <a:gd name="T7" fmla="*/ 1 h 51"/>
                      <a:gd name="T8" fmla="*/ 51 w 67"/>
                      <a:gd name="T9" fmla="*/ 2 h 51"/>
                      <a:gd name="T10" fmla="*/ 58 w 67"/>
                      <a:gd name="T11" fmla="*/ 4 h 51"/>
                      <a:gd name="T12" fmla="*/ 67 w 67"/>
                      <a:gd name="T13" fmla="*/ 8 h 51"/>
                      <a:gd name="T14" fmla="*/ 55 w 67"/>
                      <a:gd name="T15" fmla="*/ 13 h 51"/>
                      <a:gd name="T16" fmla="*/ 46 w 67"/>
                      <a:gd name="T17" fmla="*/ 19 h 51"/>
                      <a:gd name="T18" fmla="*/ 42 w 67"/>
                      <a:gd name="T19" fmla="*/ 22 h 51"/>
                      <a:gd name="T20" fmla="*/ 36 w 67"/>
                      <a:gd name="T21" fmla="*/ 24 h 51"/>
                      <a:gd name="T22" fmla="*/ 29 w 67"/>
                      <a:gd name="T23" fmla="*/ 26 h 51"/>
                      <a:gd name="T24" fmla="*/ 20 w 67"/>
                      <a:gd name="T25" fmla="*/ 26 h 51"/>
                      <a:gd name="T26" fmla="*/ 24 w 67"/>
                      <a:gd name="T27" fmla="*/ 26 h 51"/>
                      <a:gd name="T28" fmla="*/ 34 w 67"/>
                      <a:gd name="T29" fmla="*/ 26 h 51"/>
                      <a:gd name="T30" fmla="*/ 29 w 67"/>
                      <a:gd name="T31" fmla="*/ 34 h 51"/>
                      <a:gd name="T32" fmla="*/ 25 w 67"/>
                      <a:gd name="T33" fmla="*/ 40 h 51"/>
                      <a:gd name="T34" fmla="*/ 22 w 67"/>
                      <a:gd name="T35" fmla="*/ 44 h 51"/>
                      <a:gd name="T36" fmla="*/ 20 w 67"/>
                      <a:gd name="T37" fmla="*/ 46 h 51"/>
                      <a:gd name="T38" fmla="*/ 12 w 67"/>
                      <a:gd name="T39" fmla="*/ 48 h 51"/>
                      <a:gd name="T40" fmla="*/ 0 w 67"/>
                      <a:gd name="T41" fmla="*/ 51 h 51"/>
                      <a:gd name="T42" fmla="*/ 0 w 67"/>
                      <a:gd name="T43" fmla="*/ 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grpSp>
            <p:sp>
              <p:nvSpPr>
                <p:cNvPr id="56" name="Freeform 41">
                  <a:extLst>
                    <a:ext uri="{FF2B5EF4-FFF2-40B4-BE49-F238E27FC236}">
                      <a16:creationId xmlns="" xmlns:a16="http://schemas.microsoft.com/office/drawing/2014/main" id="{D3BF1F67-4F0F-482C-BED3-8D31362D9CCF}"/>
                    </a:ext>
                  </a:extLst>
                </p:cNvPr>
                <p:cNvSpPr>
                  <a:spLocks/>
                </p:cNvSpPr>
                <p:nvPr>
                  <p:custDataLst>
                    <p:tags r:id="rId44"/>
                  </p:custDataLst>
                </p:nvPr>
              </p:nvSpPr>
              <p:spPr bwMode="auto">
                <a:xfrm>
                  <a:off x="4800561" y="2576094"/>
                  <a:ext cx="22520" cy="41660"/>
                </a:xfrm>
                <a:custGeom>
                  <a:avLst/>
                  <a:gdLst>
                    <a:gd name="T0" fmla="*/ 0 w 80"/>
                    <a:gd name="T1" fmla="*/ 15 h 34"/>
                    <a:gd name="T2" fmla="*/ 1 w 80"/>
                    <a:gd name="T3" fmla="*/ 19 h 34"/>
                    <a:gd name="T4" fmla="*/ 2 w 80"/>
                    <a:gd name="T5" fmla="*/ 21 h 34"/>
                    <a:gd name="T6" fmla="*/ 4 w 80"/>
                    <a:gd name="T7" fmla="*/ 24 h 34"/>
                    <a:gd name="T8" fmla="*/ 7 w 80"/>
                    <a:gd name="T9" fmla="*/ 26 h 34"/>
                    <a:gd name="T10" fmla="*/ 13 w 80"/>
                    <a:gd name="T11" fmla="*/ 29 h 34"/>
                    <a:gd name="T12" fmla="*/ 22 w 80"/>
                    <a:gd name="T13" fmla="*/ 31 h 34"/>
                    <a:gd name="T14" fmla="*/ 40 w 80"/>
                    <a:gd name="T15" fmla="*/ 33 h 34"/>
                    <a:gd name="T16" fmla="*/ 54 w 80"/>
                    <a:gd name="T17" fmla="*/ 34 h 34"/>
                    <a:gd name="T18" fmla="*/ 58 w 80"/>
                    <a:gd name="T19" fmla="*/ 33 h 34"/>
                    <a:gd name="T20" fmla="*/ 62 w 80"/>
                    <a:gd name="T21" fmla="*/ 32 h 34"/>
                    <a:gd name="T22" fmla="*/ 65 w 80"/>
                    <a:gd name="T23" fmla="*/ 29 h 34"/>
                    <a:gd name="T24" fmla="*/ 67 w 80"/>
                    <a:gd name="T25" fmla="*/ 27 h 34"/>
                    <a:gd name="T26" fmla="*/ 73 w 80"/>
                    <a:gd name="T27" fmla="*/ 21 h 34"/>
                    <a:gd name="T28" fmla="*/ 80 w 80"/>
                    <a:gd name="T29" fmla="*/ 15 h 34"/>
                    <a:gd name="T30" fmla="*/ 75 w 80"/>
                    <a:gd name="T31" fmla="*/ 10 h 34"/>
                    <a:gd name="T32" fmla="*/ 70 w 80"/>
                    <a:gd name="T33" fmla="*/ 7 h 34"/>
                    <a:gd name="T34" fmla="*/ 65 w 80"/>
                    <a:gd name="T35" fmla="*/ 4 h 34"/>
                    <a:gd name="T36" fmla="*/ 60 w 80"/>
                    <a:gd name="T37" fmla="*/ 2 h 34"/>
                    <a:gd name="T38" fmla="*/ 55 w 80"/>
                    <a:gd name="T39" fmla="*/ 0 h 34"/>
                    <a:gd name="T40" fmla="*/ 51 w 80"/>
                    <a:gd name="T41" fmla="*/ 0 h 34"/>
                    <a:gd name="T42" fmla="*/ 45 w 80"/>
                    <a:gd name="T43" fmla="*/ 1 h 34"/>
                    <a:gd name="T44" fmla="*/ 41 w 80"/>
                    <a:gd name="T45" fmla="*/ 2 h 34"/>
                    <a:gd name="T46" fmla="*/ 34 w 80"/>
                    <a:gd name="T47" fmla="*/ 2 h 34"/>
                    <a:gd name="T48" fmla="*/ 21 w 80"/>
                    <a:gd name="T49" fmla="*/ 2 h 34"/>
                    <a:gd name="T50" fmla="*/ 13 w 80"/>
                    <a:gd name="T51" fmla="*/ 3 h 34"/>
                    <a:gd name="T52" fmla="*/ 7 w 80"/>
                    <a:gd name="T53" fmla="*/ 5 h 34"/>
                    <a:gd name="T54" fmla="*/ 4 w 80"/>
                    <a:gd name="T55" fmla="*/ 7 h 34"/>
                    <a:gd name="T56" fmla="*/ 2 w 80"/>
                    <a:gd name="T57" fmla="*/ 9 h 34"/>
                    <a:gd name="T58" fmla="*/ 1 w 80"/>
                    <a:gd name="T59" fmla="*/ 11 h 34"/>
                    <a:gd name="T60" fmla="*/ 0 w 80"/>
                    <a:gd name="T61" fmla="*/ 1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7" name="Freeform 42">
                  <a:extLst>
                    <a:ext uri="{FF2B5EF4-FFF2-40B4-BE49-F238E27FC236}">
                      <a16:creationId xmlns="" xmlns:a16="http://schemas.microsoft.com/office/drawing/2014/main" id="{DFE99517-C0E7-4AD9-BED6-1201424E168B}"/>
                    </a:ext>
                  </a:extLst>
                </p:cNvPr>
                <p:cNvSpPr>
                  <a:spLocks/>
                </p:cNvSpPr>
                <p:nvPr>
                  <p:custDataLst>
                    <p:tags r:id="rId45"/>
                  </p:custDataLst>
                </p:nvPr>
              </p:nvSpPr>
              <p:spPr bwMode="auto">
                <a:xfrm>
                  <a:off x="4839969" y="2580598"/>
                  <a:ext cx="1126" cy="41660"/>
                </a:xfrm>
                <a:custGeom>
                  <a:avLst/>
                  <a:gdLst>
                    <a:gd name="T0" fmla="*/ 0 w 7"/>
                    <a:gd name="T1" fmla="*/ 0 h 13"/>
                    <a:gd name="T2" fmla="*/ 7 w 7"/>
                    <a:gd name="T3" fmla="*/ 13 h 13"/>
                    <a:gd name="T4" fmla="*/ 7 w 7"/>
                    <a:gd name="T5" fmla="*/ 7 h 13"/>
                  </a:gdLst>
                  <a:ahLst/>
                  <a:cxnLst>
                    <a:cxn ang="0">
                      <a:pos x="T0" y="T1"/>
                    </a:cxn>
                    <a:cxn ang="0">
                      <a:pos x="T2" y="T3"/>
                    </a:cxn>
                    <a:cxn ang="0">
                      <a:pos x="T4" y="T5"/>
                    </a:cxn>
                  </a:cxnLst>
                  <a:rect l="0" t="0" r="r" b="b"/>
                  <a:pathLst>
                    <a:path w="7" h="13">
                      <a:moveTo>
                        <a:pt x="0" y="0"/>
                      </a:moveTo>
                      <a:lnTo>
                        <a:pt x="7" y="13"/>
                      </a:lnTo>
                      <a:lnTo>
                        <a:pt x="7" y="7"/>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8" name="Freeform 43">
                  <a:extLst>
                    <a:ext uri="{FF2B5EF4-FFF2-40B4-BE49-F238E27FC236}">
                      <a16:creationId xmlns="" xmlns:a16="http://schemas.microsoft.com/office/drawing/2014/main" id="{82209552-7630-4411-862B-FF002CD534E8}"/>
                    </a:ext>
                  </a:extLst>
                </p:cNvPr>
                <p:cNvSpPr>
                  <a:spLocks/>
                </p:cNvSpPr>
                <p:nvPr>
                  <p:custDataLst>
                    <p:tags r:id="rId46"/>
                  </p:custDataLst>
                </p:nvPr>
              </p:nvSpPr>
              <p:spPr bwMode="auto">
                <a:xfrm>
                  <a:off x="4848976" y="2581724"/>
                  <a:ext cx="4504" cy="41661"/>
                </a:xfrm>
                <a:custGeom>
                  <a:avLst/>
                  <a:gdLst>
                    <a:gd name="T0" fmla="*/ 0 w 20"/>
                    <a:gd name="T1" fmla="*/ 0 h 6"/>
                    <a:gd name="T2" fmla="*/ 7 w 20"/>
                    <a:gd name="T3" fmla="*/ 3 h 6"/>
                    <a:gd name="T4" fmla="*/ 20 w 20"/>
                    <a:gd name="T5" fmla="*/ 6 h 6"/>
                    <a:gd name="T6" fmla="*/ 0 w 20"/>
                    <a:gd name="T7" fmla="*/ 0 h 6"/>
                  </a:gdLst>
                  <a:ahLst/>
                  <a:cxnLst>
                    <a:cxn ang="0">
                      <a:pos x="T0" y="T1"/>
                    </a:cxn>
                    <a:cxn ang="0">
                      <a:pos x="T2" y="T3"/>
                    </a:cxn>
                    <a:cxn ang="0">
                      <a:pos x="T4" y="T5"/>
                    </a:cxn>
                    <a:cxn ang="0">
                      <a:pos x="T6" y="T7"/>
                    </a:cxn>
                  </a:cxnLst>
                  <a:rect l="0" t="0" r="r" b="b"/>
                  <a:pathLst>
                    <a:path w="20" h="6">
                      <a:moveTo>
                        <a:pt x="0" y="0"/>
                      </a:moveTo>
                      <a:lnTo>
                        <a:pt x="7" y="3"/>
                      </a:lnTo>
                      <a:lnTo>
                        <a:pt x="20" y="6"/>
                      </a:lnTo>
                      <a:lnTo>
                        <a:pt x="0"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9" name="Freeform 44">
                  <a:extLst>
                    <a:ext uri="{FF2B5EF4-FFF2-40B4-BE49-F238E27FC236}">
                      <a16:creationId xmlns="" xmlns:a16="http://schemas.microsoft.com/office/drawing/2014/main" id="{5D059494-CF86-4F57-90F8-BF13FDF9896D}"/>
                    </a:ext>
                  </a:extLst>
                </p:cNvPr>
                <p:cNvSpPr>
                  <a:spLocks/>
                </p:cNvSpPr>
                <p:nvPr>
                  <p:custDataLst>
                    <p:tags r:id="rId47"/>
                  </p:custDataLst>
                </p:nvPr>
              </p:nvSpPr>
              <p:spPr bwMode="auto">
                <a:xfrm>
                  <a:off x="4859111" y="2574968"/>
                  <a:ext cx="5629" cy="40535"/>
                </a:xfrm>
                <a:custGeom>
                  <a:avLst/>
                  <a:gdLst>
                    <a:gd name="T0" fmla="*/ 0 w 14"/>
                    <a:gd name="T1" fmla="*/ 12 h 12"/>
                    <a:gd name="T2" fmla="*/ 14 w 14"/>
                    <a:gd name="T3" fmla="*/ 0 h 12"/>
                    <a:gd name="T4" fmla="*/ 0 w 14"/>
                    <a:gd name="T5" fmla="*/ 12 h 12"/>
                  </a:gdLst>
                  <a:ahLst/>
                  <a:cxnLst>
                    <a:cxn ang="0">
                      <a:pos x="T0" y="T1"/>
                    </a:cxn>
                    <a:cxn ang="0">
                      <a:pos x="T2" y="T3"/>
                    </a:cxn>
                    <a:cxn ang="0">
                      <a:pos x="T4" y="T5"/>
                    </a:cxn>
                  </a:cxnLst>
                  <a:rect l="0" t="0" r="r" b="b"/>
                  <a:pathLst>
                    <a:path w="14" h="12">
                      <a:moveTo>
                        <a:pt x="0" y="12"/>
                      </a:moveTo>
                      <a:lnTo>
                        <a:pt x="14" y="0"/>
                      </a:lnTo>
                      <a:lnTo>
                        <a:pt x="0" y="12"/>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60" name="Freeform 45">
                  <a:extLst>
                    <a:ext uri="{FF2B5EF4-FFF2-40B4-BE49-F238E27FC236}">
                      <a16:creationId xmlns="" xmlns:a16="http://schemas.microsoft.com/office/drawing/2014/main" id="{5367124C-00B6-407A-B47A-47577FB1316C}"/>
                    </a:ext>
                  </a:extLst>
                </p:cNvPr>
                <p:cNvSpPr>
                  <a:spLocks/>
                </p:cNvSpPr>
                <p:nvPr>
                  <p:custDataLst>
                    <p:tags r:id="rId48"/>
                  </p:custDataLst>
                </p:nvPr>
              </p:nvSpPr>
              <p:spPr bwMode="auto">
                <a:xfrm>
                  <a:off x="4844473" y="2569338"/>
                  <a:ext cx="7882" cy="41660"/>
                </a:xfrm>
                <a:custGeom>
                  <a:avLst/>
                  <a:gdLst>
                    <a:gd name="T0" fmla="*/ 0 w 27"/>
                    <a:gd name="T1" fmla="*/ 0 h 7"/>
                    <a:gd name="T2" fmla="*/ 0 w 27"/>
                    <a:gd name="T3" fmla="*/ 4 h 7"/>
                    <a:gd name="T4" fmla="*/ 2 w 27"/>
                    <a:gd name="T5" fmla="*/ 6 h 7"/>
                    <a:gd name="T6" fmla="*/ 7 w 27"/>
                    <a:gd name="T7" fmla="*/ 7 h 7"/>
                    <a:gd name="T8" fmla="*/ 10 w 27"/>
                    <a:gd name="T9" fmla="*/ 7 h 7"/>
                    <a:gd name="T10" fmla="*/ 15 w 27"/>
                    <a:gd name="T11" fmla="*/ 6 h 7"/>
                    <a:gd name="T12" fmla="*/ 19 w 27"/>
                    <a:gd name="T13" fmla="*/ 4 h 7"/>
                    <a:gd name="T14" fmla="*/ 23 w 27"/>
                    <a:gd name="T15" fmla="*/ 2 h 7"/>
                    <a:gd name="T16" fmla="*/ 27 w 27"/>
                    <a:gd name="T17" fmla="*/ 0 h 7"/>
                    <a:gd name="T18" fmla="*/ 0 w 27"/>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61" name="Freeform 46">
                  <a:extLst>
                    <a:ext uri="{FF2B5EF4-FFF2-40B4-BE49-F238E27FC236}">
                      <a16:creationId xmlns="" xmlns:a16="http://schemas.microsoft.com/office/drawing/2014/main" id="{F13CF514-588B-478F-98EB-D0D6E28E9215}"/>
                    </a:ext>
                  </a:extLst>
                </p:cNvPr>
                <p:cNvSpPr>
                  <a:spLocks/>
                </p:cNvSpPr>
                <p:nvPr>
                  <p:custDataLst>
                    <p:tags r:id="rId49"/>
                  </p:custDataLst>
                </p:nvPr>
              </p:nvSpPr>
              <p:spPr bwMode="auto">
                <a:xfrm>
                  <a:off x="4879378" y="2589606"/>
                  <a:ext cx="10134" cy="42787"/>
                </a:xfrm>
                <a:custGeom>
                  <a:avLst/>
                  <a:gdLst>
                    <a:gd name="T0" fmla="*/ 0 w 27"/>
                    <a:gd name="T1" fmla="*/ 0 h 6"/>
                    <a:gd name="T2" fmla="*/ 11 w 27"/>
                    <a:gd name="T3" fmla="*/ 3 h 6"/>
                    <a:gd name="T4" fmla="*/ 27 w 27"/>
                    <a:gd name="T5" fmla="*/ 6 h 6"/>
                  </a:gdLst>
                  <a:ahLst/>
                  <a:cxnLst>
                    <a:cxn ang="0">
                      <a:pos x="T0" y="T1"/>
                    </a:cxn>
                    <a:cxn ang="0">
                      <a:pos x="T2" y="T3"/>
                    </a:cxn>
                    <a:cxn ang="0">
                      <a:pos x="T4" y="T5"/>
                    </a:cxn>
                  </a:cxnLst>
                  <a:rect l="0" t="0" r="r" b="b"/>
                  <a:pathLst>
                    <a:path w="27" h="6">
                      <a:moveTo>
                        <a:pt x="0" y="0"/>
                      </a:moveTo>
                      <a:lnTo>
                        <a:pt x="11" y="3"/>
                      </a:lnTo>
                      <a:lnTo>
                        <a:pt x="27" y="6"/>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62" name="Line 47">
                  <a:extLst>
                    <a:ext uri="{FF2B5EF4-FFF2-40B4-BE49-F238E27FC236}">
                      <a16:creationId xmlns="" xmlns:a16="http://schemas.microsoft.com/office/drawing/2014/main" id="{03F11B2C-0CE8-4F4F-B70A-2BD550C9745B}"/>
                    </a:ext>
                  </a:extLst>
                </p:cNvPr>
                <p:cNvSpPr>
                  <a:spLocks noChangeShapeType="1"/>
                </p:cNvSpPr>
                <p:nvPr>
                  <p:custDataLst>
                    <p:tags r:id="rId50"/>
                  </p:custDataLst>
                </p:nvPr>
              </p:nvSpPr>
              <p:spPr bwMode="auto">
                <a:xfrm flipH="1" flipV="1">
                  <a:off x="4885007" y="2587354"/>
                  <a:ext cx="4504" cy="6756"/>
                </a:xfrm>
                <a:prstGeom prst="line">
                  <a:avLst/>
                </a:prstGeom>
                <a:solidFill>
                  <a:srgbClr val="CDCDCD"/>
                </a:solidFill>
                <a:ln w="3175">
                  <a:solidFill>
                    <a:srgbClr val="FFFFFF"/>
                  </a:solidFill>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63" name="Line 48">
                  <a:extLst>
                    <a:ext uri="{FF2B5EF4-FFF2-40B4-BE49-F238E27FC236}">
                      <a16:creationId xmlns="" xmlns:a16="http://schemas.microsoft.com/office/drawing/2014/main" id="{C03994D3-1C39-4CDC-8F12-A036EAEB0C7B}"/>
                    </a:ext>
                  </a:extLst>
                </p:cNvPr>
                <p:cNvSpPr>
                  <a:spLocks noChangeShapeType="1"/>
                </p:cNvSpPr>
                <p:nvPr>
                  <p:custDataLst>
                    <p:tags r:id="rId51"/>
                  </p:custDataLst>
                </p:nvPr>
              </p:nvSpPr>
              <p:spPr bwMode="auto">
                <a:xfrm flipH="1">
                  <a:off x="4885007" y="2605369"/>
                  <a:ext cx="4504" cy="7882"/>
                </a:xfrm>
                <a:prstGeom prst="line">
                  <a:avLst/>
                </a:prstGeom>
                <a:solidFill>
                  <a:srgbClr val="CDCDCD"/>
                </a:solidFill>
                <a:ln w="3175">
                  <a:solidFill>
                    <a:srgbClr val="FFFFFF"/>
                  </a:solidFill>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64" name="Freeform 49">
                  <a:extLst>
                    <a:ext uri="{FF2B5EF4-FFF2-40B4-BE49-F238E27FC236}">
                      <a16:creationId xmlns="" xmlns:a16="http://schemas.microsoft.com/office/drawing/2014/main" id="{80071620-B8C5-432C-9264-6D60D5062F7D}"/>
                    </a:ext>
                  </a:extLst>
                </p:cNvPr>
                <p:cNvSpPr>
                  <a:spLocks/>
                </p:cNvSpPr>
                <p:nvPr>
                  <p:custDataLst>
                    <p:tags r:id="rId52"/>
                  </p:custDataLst>
                </p:nvPr>
              </p:nvSpPr>
              <p:spPr bwMode="auto">
                <a:xfrm>
                  <a:off x="4885007" y="2601991"/>
                  <a:ext cx="7882" cy="41661"/>
                </a:xfrm>
                <a:custGeom>
                  <a:avLst/>
                  <a:gdLst>
                    <a:gd name="T0" fmla="*/ 0 w 20"/>
                    <a:gd name="T1" fmla="*/ 24 h 24"/>
                    <a:gd name="T2" fmla="*/ 2 w 20"/>
                    <a:gd name="T3" fmla="*/ 24 h 24"/>
                    <a:gd name="T4" fmla="*/ 6 w 20"/>
                    <a:gd name="T5" fmla="*/ 22 h 24"/>
                    <a:gd name="T6" fmla="*/ 9 w 20"/>
                    <a:gd name="T7" fmla="*/ 20 h 24"/>
                    <a:gd name="T8" fmla="*/ 12 w 20"/>
                    <a:gd name="T9" fmla="*/ 16 h 24"/>
                    <a:gd name="T10" fmla="*/ 15 w 20"/>
                    <a:gd name="T11" fmla="*/ 13 h 24"/>
                    <a:gd name="T12" fmla="*/ 18 w 20"/>
                    <a:gd name="T13" fmla="*/ 9 h 24"/>
                    <a:gd name="T14" fmla="*/ 19 w 20"/>
                    <a:gd name="T15" fmla="*/ 4 h 24"/>
                    <a:gd name="T16" fmla="*/ 20 w 20"/>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65" name="Freeform 50">
                  <a:extLst>
                    <a:ext uri="{FF2B5EF4-FFF2-40B4-BE49-F238E27FC236}">
                      <a16:creationId xmlns="" xmlns:a16="http://schemas.microsoft.com/office/drawing/2014/main" id="{2BDA6D65-8AFB-41DE-AC8F-4619215435D8}"/>
                    </a:ext>
                  </a:extLst>
                </p:cNvPr>
                <p:cNvSpPr>
                  <a:spLocks/>
                </p:cNvSpPr>
                <p:nvPr>
                  <p:custDataLst>
                    <p:tags r:id="rId53"/>
                  </p:custDataLst>
                </p:nvPr>
              </p:nvSpPr>
              <p:spPr bwMode="auto">
                <a:xfrm>
                  <a:off x="4889511" y="2622258"/>
                  <a:ext cx="12386" cy="39409"/>
                </a:xfrm>
                <a:custGeom>
                  <a:avLst/>
                  <a:gdLst>
                    <a:gd name="T0" fmla="*/ 13 w 33"/>
                    <a:gd name="T1" fmla="*/ 7 h 25"/>
                    <a:gd name="T2" fmla="*/ 0 w 33"/>
                    <a:gd name="T3" fmla="*/ 19 h 25"/>
                    <a:gd name="T4" fmla="*/ 10 w 33"/>
                    <a:gd name="T5" fmla="*/ 20 h 25"/>
                    <a:gd name="T6" fmla="*/ 19 w 33"/>
                    <a:gd name="T7" fmla="*/ 22 h 25"/>
                    <a:gd name="T8" fmla="*/ 27 w 33"/>
                    <a:gd name="T9" fmla="*/ 25 h 25"/>
                    <a:gd name="T10" fmla="*/ 33 w 33"/>
                    <a:gd name="T11" fmla="*/ 25 h 25"/>
                    <a:gd name="T12" fmla="*/ 33 w 33"/>
                    <a:gd name="T13" fmla="*/ 0 h 25"/>
                    <a:gd name="T14" fmla="*/ 27 w 33"/>
                    <a:gd name="T15" fmla="*/ 0 h 25"/>
                    <a:gd name="T16" fmla="*/ 13 w 33"/>
                    <a:gd name="T17"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66" name="Freeform 51">
                  <a:extLst>
                    <a:ext uri="{FF2B5EF4-FFF2-40B4-BE49-F238E27FC236}">
                      <a16:creationId xmlns="" xmlns:a16="http://schemas.microsoft.com/office/drawing/2014/main" id="{86C03B84-1870-4353-B3E7-1EBE1B897CBB}"/>
                    </a:ext>
                  </a:extLst>
                </p:cNvPr>
                <p:cNvSpPr>
                  <a:spLocks/>
                </p:cNvSpPr>
                <p:nvPr>
                  <p:custDataLst>
                    <p:tags r:id="rId54"/>
                  </p:custDataLst>
                </p:nvPr>
              </p:nvSpPr>
              <p:spPr bwMode="auto">
                <a:xfrm>
                  <a:off x="4894015" y="2656038"/>
                  <a:ext cx="11260" cy="40535"/>
                </a:xfrm>
                <a:custGeom>
                  <a:avLst/>
                  <a:gdLst>
                    <a:gd name="T0" fmla="*/ 0 w 40"/>
                    <a:gd name="T1" fmla="*/ 0 h 18"/>
                    <a:gd name="T2" fmla="*/ 3 w 40"/>
                    <a:gd name="T3" fmla="*/ 6 h 18"/>
                    <a:gd name="T4" fmla="*/ 6 w 40"/>
                    <a:gd name="T5" fmla="*/ 11 h 18"/>
                    <a:gd name="T6" fmla="*/ 10 w 40"/>
                    <a:gd name="T7" fmla="*/ 14 h 18"/>
                    <a:gd name="T8" fmla="*/ 15 w 40"/>
                    <a:gd name="T9" fmla="*/ 16 h 18"/>
                    <a:gd name="T10" fmla="*/ 27 w 40"/>
                    <a:gd name="T11" fmla="*/ 18 h 18"/>
                    <a:gd name="T12" fmla="*/ 40 w 40"/>
                    <a:gd name="T13" fmla="*/ 18 h 18"/>
                    <a:gd name="T14" fmla="*/ 40 w 40"/>
                    <a:gd name="T15" fmla="*/ 0 h 18"/>
                    <a:gd name="T16" fmla="*/ 30 w 40"/>
                    <a:gd name="T17" fmla="*/ 0 h 18"/>
                    <a:gd name="T18" fmla="*/ 20 w 40"/>
                    <a:gd name="T19" fmla="*/ 0 h 18"/>
                    <a:gd name="T20" fmla="*/ 10 w 40"/>
                    <a:gd name="T21" fmla="*/ 0 h 18"/>
                    <a:gd name="T22" fmla="*/ 0 w 40"/>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67" name="Freeform 52">
                  <a:extLst>
                    <a:ext uri="{FF2B5EF4-FFF2-40B4-BE49-F238E27FC236}">
                      <a16:creationId xmlns="" xmlns:a16="http://schemas.microsoft.com/office/drawing/2014/main" id="{644DC75E-ED07-45E0-9505-06A1EF56B18D}"/>
                    </a:ext>
                  </a:extLst>
                </p:cNvPr>
                <p:cNvSpPr>
                  <a:spLocks/>
                </p:cNvSpPr>
                <p:nvPr>
                  <p:custDataLst>
                    <p:tags r:id="rId55"/>
                  </p:custDataLst>
                </p:nvPr>
              </p:nvSpPr>
              <p:spPr bwMode="auto">
                <a:xfrm>
                  <a:off x="4900771" y="2674053"/>
                  <a:ext cx="2252" cy="40535"/>
                </a:xfrm>
                <a:custGeom>
                  <a:avLst/>
                  <a:gdLst>
                    <a:gd name="T0" fmla="*/ 4 w 11"/>
                    <a:gd name="T1" fmla="*/ 32 h 32"/>
                    <a:gd name="T2" fmla="*/ 6 w 11"/>
                    <a:gd name="T3" fmla="*/ 28 h 32"/>
                    <a:gd name="T4" fmla="*/ 8 w 11"/>
                    <a:gd name="T5" fmla="*/ 25 h 32"/>
                    <a:gd name="T6" fmla="*/ 9 w 11"/>
                    <a:gd name="T7" fmla="*/ 22 h 32"/>
                    <a:gd name="T8" fmla="*/ 10 w 11"/>
                    <a:gd name="T9" fmla="*/ 18 h 32"/>
                    <a:gd name="T10" fmla="*/ 11 w 11"/>
                    <a:gd name="T11" fmla="*/ 9 h 32"/>
                    <a:gd name="T12" fmla="*/ 11 w 11"/>
                    <a:gd name="T13" fmla="*/ 0 h 32"/>
                    <a:gd name="T14" fmla="*/ 6 w 11"/>
                    <a:gd name="T15" fmla="*/ 3 h 32"/>
                    <a:gd name="T16" fmla="*/ 3 w 11"/>
                    <a:gd name="T17" fmla="*/ 7 h 32"/>
                    <a:gd name="T18" fmla="*/ 1 w 11"/>
                    <a:gd name="T19" fmla="*/ 11 h 32"/>
                    <a:gd name="T20" fmla="*/ 0 w 11"/>
                    <a:gd name="T21" fmla="*/ 16 h 32"/>
                    <a:gd name="T22" fmla="*/ 0 w 11"/>
                    <a:gd name="T23" fmla="*/ 20 h 32"/>
                    <a:gd name="T24" fmla="*/ 1 w 11"/>
                    <a:gd name="T25" fmla="*/ 24 h 32"/>
                    <a:gd name="T26" fmla="*/ 2 w 11"/>
                    <a:gd name="T27" fmla="*/ 28 h 32"/>
                    <a:gd name="T28" fmla="*/ 4 w 11"/>
                    <a:gd name="T2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68" name="Freeform 53">
                  <a:extLst>
                    <a:ext uri="{FF2B5EF4-FFF2-40B4-BE49-F238E27FC236}">
                      <a16:creationId xmlns="" xmlns:a16="http://schemas.microsoft.com/office/drawing/2014/main" id="{81F9572B-F155-4120-87D5-F63A8D1B6A7F}"/>
                    </a:ext>
                  </a:extLst>
                </p:cNvPr>
                <p:cNvSpPr>
                  <a:spLocks/>
                </p:cNvSpPr>
                <p:nvPr>
                  <p:custDataLst>
                    <p:tags r:id="rId56"/>
                  </p:custDataLst>
                </p:nvPr>
              </p:nvSpPr>
              <p:spPr bwMode="auto">
                <a:xfrm>
                  <a:off x="4916535" y="2695447"/>
                  <a:ext cx="1126" cy="39409"/>
                </a:xfrm>
                <a:custGeom>
                  <a:avLst/>
                  <a:gdLst>
                    <a:gd name="T0" fmla="*/ 0 w 14"/>
                    <a:gd name="T1" fmla="*/ 0 h 24"/>
                    <a:gd name="T2" fmla="*/ 0 w 14"/>
                    <a:gd name="T3" fmla="*/ 24 h 24"/>
                    <a:gd name="T4" fmla="*/ 14 w 14"/>
                    <a:gd name="T5" fmla="*/ 12 h 24"/>
                    <a:gd name="T6" fmla="*/ 0 w 14"/>
                    <a:gd name="T7" fmla="*/ 0 h 24"/>
                  </a:gdLst>
                  <a:ahLst/>
                  <a:cxnLst>
                    <a:cxn ang="0">
                      <a:pos x="T0" y="T1"/>
                    </a:cxn>
                    <a:cxn ang="0">
                      <a:pos x="T2" y="T3"/>
                    </a:cxn>
                    <a:cxn ang="0">
                      <a:pos x="T4" y="T5"/>
                    </a:cxn>
                    <a:cxn ang="0">
                      <a:pos x="T6" y="T7"/>
                    </a:cxn>
                  </a:cxnLst>
                  <a:rect l="0" t="0" r="r" b="b"/>
                  <a:pathLst>
                    <a:path w="14" h="24">
                      <a:moveTo>
                        <a:pt x="0" y="0"/>
                      </a:moveTo>
                      <a:lnTo>
                        <a:pt x="0" y="24"/>
                      </a:lnTo>
                      <a:lnTo>
                        <a:pt x="14" y="12"/>
                      </a:lnTo>
                      <a:lnTo>
                        <a:pt x="0"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69" name="Freeform 54">
                  <a:extLst>
                    <a:ext uri="{FF2B5EF4-FFF2-40B4-BE49-F238E27FC236}">
                      <a16:creationId xmlns="" xmlns:a16="http://schemas.microsoft.com/office/drawing/2014/main" id="{A9A6C117-78FE-4F08-A8FD-1041C95C7371}"/>
                    </a:ext>
                  </a:extLst>
                </p:cNvPr>
                <p:cNvSpPr>
                  <a:spLocks/>
                </p:cNvSpPr>
                <p:nvPr>
                  <p:custDataLst>
                    <p:tags r:id="rId57"/>
                  </p:custDataLst>
                </p:nvPr>
              </p:nvSpPr>
              <p:spPr bwMode="auto">
                <a:xfrm>
                  <a:off x="4889511" y="2704455"/>
                  <a:ext cx="11260" cy="41660"/>
                </a:xfrm>
                <a:custGeom>
                  <a:avLst/>
                  <a:gdLst>
                    <a:gd name="T0" fmla="*/ 0 w 27"/>
                    <a:gd name="T1" fmla="*/ 12 h 18"/>
                    <a:gd name="T2" fmla="*/ 7 w 27"/>
                    <a:gd name="T3" fmla="*/ 15 h 18"/>
                    <a:gd name="T4" fmla="*/ 13 w 27"/>
                    <a:gd name="T5" fmla="*/ 18 h 18"/>
                    <a:gd name="T6" fmla="*/ 22 w 27"/>
                    <a:gd name="T7" fmla="*/ 7 h 18"/>
                    <a:gd name="T8" fmla="*/ 27 w 27"/>
                    <a:gd name="T9" fmla="*/ 0 h 18"/>
                    <a:gd name="T10" fmla="*/ 22 w 27"/>
                    <a:gd name="T11" fmla="*/ 0 h 18"/>
                    <a:gd name="T12" fmla="*/ 18 w 27"/>
                    <a:gd name="T13" fmla="*/ 1 h 18"/>
                    <a:gd name="T14" fmla="*/ 13 w 27"/>
                    <a:gd name="T15" fmla="*/ 2 h 18"/>
                    <a:gd name="T16" fmla="*/ 10 w 27"/>
                    <a:gd name="T17" fmla="*/ 4 h 18"/>
                    <a:gd name="T18" fmla="*/ 5 w 27"/>
                    <a:gd name="T19" fmla="*/ 8 h 18"/>
                    <a:gd name="T20" fmla="*/ 0 w 27"/>
                    <a:gd name="T21" fmla="*/ 1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70" name="Freeform 55">
                  <a:extLst>
                    <a:ext uri="{FF2B5EF4-FFF2-40B4-BE49-F238E27FC236}">
                      <a16:creationId xmlns="" xmlns:a16="http://schemas.microsoft.com/office/drawing/2014/main" id="{C2E8E772-285B-4297-A57C-85E52F10719A}"/>
                    </a:ext>
                  </a:extLst>
                </p:cNvPr>
                <p:cNvSpPr>
                  <a:spLocks/>
                </p:cNvSpPr>
                <p:nvPr>
                  <p:custDataLst>
                    <p:tags r:id="rId58"/>
                  </p:custDataLst>
                </p:nvPr>
              </p:nvSpPr>
              <p:spPr bwMode="auto">
                <a:xfrm>
                  <a:off x="4879378" y="2750619"/>
                  <a:ext cx="16889" cy="40535"/>
                </a:xfrm>
                <a:custGeom>
                  <a:avLst/>
                  <a:gdLst>
                    <a:gd name="T0" fmla="*/ 0 w 47"/>
                    <a:gd name="T1" fmla="*/ 36 h 49"/>
                    <a:gd name="T2" fmla="*/ 1 w 47"/>
                    <a:gd name="T3" fmla="*/ 39 h 49"/>
                    <a:gd name="T4" fmla="*/ 2 w 47"/>
                    <a:gd name="T5" fmla="*/ 41 h 49"/>
                    <a:gd name="T6" fmla="*/ 4 w 47"/>
                    <a:gd name="T7" fmla="*/ 43 h 49"/>
                    <a:gd name="T8" fmla="*/ 6 w 47"/>
                    <a:gd name="T9" fmla="*/ 45 h 49"/>
                    <a:gd name="T10" fmla="*/ 12 w 47"/>
                    <a:gd name="T11" fmla="*/ 48 h 49"/>
                    <a:gd name="T12" fmla="*/ 14 w 47"/>
                    <a:gd name="T13" fmla="*/ 49 h 49"/>
                    <a:gd name="T14" fmla="*/ 18 w 47"/>
                    <a:gd name="T15" fmla="*/ 49 h 49"/>
                    <a:gd name="T16" fmla="*/ 24 w 47"/>
                    <a:gd name="T17" fmla="*/ 46 h 49"/>
                    <a:gd name="T18" fmla="*/ 29 w 47"/>
                    <a:gd name="T19" fmla="*/ 42 h 49"/>
                    <a:gd name="T20" fmla="*/ 35 w 47"/>
                    <a:gd name="T21" fmla="*/ 39 h 49"/>
                    <a:gd name="T22" fmla="*/ 39 w 47"/>
                    <a:gd name="T23" fmla="*/ 35 h 49"/>
                    <a:gd name="T24" fmla="*/ 44 w 47"/>
                    <a:gd name="T25" fmla="*/ 31 h 49"/>
                    <a:gd name="T26" fmla="*/ 46 w 47"/>
                    <a:gd name="T27" fmla="*/ 27 h 49"/>
                    <a:gd name="T28" fmla="*/ 47 w 47"/>
                    <a:gd name="T29" fmla="*/ 24 h 49"/>
                    <a:gd name="T30" fmla="*/ 47 w 47"/>
                    <a:gd name="T31" fmla="*/ 12 h 49"/>
                    <a:gd name="T32" fmla="*/ 47 w 47"/>
                    <a:gd name="T33" fmla="*/ 0 h 49"/>
                    <a:gd name="T34" fmla="*/ 27 w 47"/>
                    <a:gd name="T35" fmla="*/ 0 h 49"/>
                    <a:gd name="T36" fmla="*/ 17 w 47"/>
                    <a:gd name="T37" fmla="*/ 8 h 49"/>
                    <a:gd name="T38" fmla="*/ 9 w 47"/>
                    <a:gd name="T39" fmla="*/ 16 h 49"/>
                    <a:gd name="T40" fmla="*/ 5 w 47"/>
                    <a:gd name="T41" fmla="*/ 20 h 49"/>
                    <a:gd name="T42" fmla="*/ 2 w 47"/>
                    <a:gd name="T43" fmla="*/ 25 h 49"/>
                    <a:gd name="T44" fmla="*/ 1 w 47"/>
                    <a:gd name="T45" fmla="*/ 30 h 49"/>
                    <a:gd name="T46" fmla="*/ 0 w 47"/>
                    <a:gd name="T47" fmla="*/ 3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71" name="Freeform 56">
                  <a:extLst>
                    <a:ext uri="{FF2B5EF4-FFF2-40B4-BE49-F238E27FC236}">
                      <a16:creationId xmlns="" xmlns:a16="http://schemas.microsoft.com/office/drawing/2014/main" id="{5500422A-D3D2-4D3A-8C2D-5D84E33E74D6}"/>
                    </a:ext>
                  </a:extLst>
                </p:cNvPr>
                <p:cNvSpPr>
                  <a:spLocks/>
                </p:cNvSpPr>
                <p:nvPr>
                  <p:custDataLst>
                    <p:tags r:id="rId59"/>
                  </p:custDataLst>
                </p:nvPr>
              </p:nvSpPr>
              <p:spPr bwMode="auto">
                <a:xfrm>
                  <a:off x="4892890" y="2733730"/>
                  <a:ext cx="9008" cy="40535"/>
                </a:xfrm>
                <a:custGeom>
                  <a:avLst/>
                  <a:gdLst>
                    <a:gd name="T0" fmla="*/ 0 w 26"/>
                    <a:gd name="T1" fmla="*/ 0 h 9"/>
                    <a:gd name="T2" fmla="*/ 0 w 26"/>
                    <a:gd name="T3" fmla="*/ 4 h 9"/>
                    <a:gd name="T4" fmla="*/ 3 w 26"/>
                    <a:gd name="T5" fmla="*/ 7 h 9"/>
                    <a:gd name="T6" fmla="*/ 6 w 26"/>
                    <a:gd name="T7" fmla="*/ 8 h 9"/>
                    <a:gd name="T8" fmla="*/ 11 w 26"/>
                    <a:gd name="T9" fmla="*/ 9 h 9"/>
                    <a:gd name="T10" fmla="*/ 15 w 26"/>
                    <a:gd name="T11" fmla="*/ 8 h 9"/>
                    <a:gd name="T12" fmla="*/ 20 w 26"/>
                    <a:gd name="T13" fmla="*/ 7 h 9"/>
                    <a:gd name="T14" fmla="*/ 23 w 26"/>
                    <a:gd name="T15" fmla="*/ 4 h 9"/>
                    <a:gd name="T16" fmla="*/ 26 w 26"/>
                    <a:gd name="T17" fmla="*/ 0 h 9"/>
                    <a:gd name="T18" fmla="*/ 0 w 26"/>
                    <a:gd name="T19"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72" name="Freeform 57">
                  <a:extLst>
                    <a:ext uri="{FF2B5EF4-FFF2-40B4-BE49-F238E27FC236}">
                      <a16:creationId xmlns="" xmlns:a16="http://schemas.microsoft.com/office/drawing/2014/main" id="{61A6D1EB-7947-4EA9-A51E-8CB70285E92A}"/>
                    </a:ext>
                  </a:extLst>
                </p:cNvPr>
                <p:cNvSpPr>
                  <a:spLocks/>
                </p:cNvSpPr>
                <p:nvPr>
                  <p:custDataLst>
                    <p:tags r:id="rId60"/>
                  </p:custDataLst>
                </p:nvPr>
              </p:nvSpPr>
              <p:spPr bwMode="auto">
                <a:xfrm>
                  <a:off x="4525825" y="2500654"/>
                  <a:ext cx="11260" cy="40535"/>
                </a:xfrm>
                <a:custGeom>
                  <a:avLst/>
                  <a:gdLst>
                    <a:gd name="T0" fmla="*/ 0 w 39"/>
                    <a:gd name="T1" fmla="*/ 0 h 18"/>
                    <a:gd name="T2" fmla="*/ 0 w 39"/>
                    <a:gd name="T3" fmla="*/ 18 h 18"/>
                    <a:gd name="T4" fmla="*/ 6 w 39"/>
                    <a:gd name="T5" fmla="*/ 18 h 18"/>
                    <a:gd name="T6" fmla="*/ 13 w 39"/>
                    <a:gd name="T7" fmla="*/ 18 h 18"/>
                    <a:gd name="T8" fmla="*/ 23 w 39"/>
                    <a:gd name="T9" fmla="*/ 17 h 18"/>
                    <a:gd name="T10" fmla="*/ 30 w 39"/>
                    <a:gd name="T11" fmla="*/ 14 h 18"/>
                    <a:gd name="T12" fmla="*/ 34 w 39"/>
                    <a:gd name="T13" fmla="*/ 12 h 18"/>
                    <a:gd name="T14" fmla="*/ 37 w 39"/>
                    <a:gd name="T15" fmla="*/ 10 h 18"/>
                    <a:gd name="T16" fmla="*/ 38 w 39"/>
                    <a:gd name="T17" fmla="*/ 8 h 18"/>
                    <a:gd name="T18" fmla="*/ 39 w 39"/>
                    <a:gd name="T19" fmla="*/ 6 h 18"/>
                    <a:gd name="T20" fmla="*/ 29 w 39"/>
                    <a:gd name="T21" fmla="*/ 5 h 18"/>
                    <a:gd name="T22" fmla="*/ 19 w 39"/>
                    <a:gd name="T23" fmla="*/ 3 h 18"/>
                    <a:gd name="T24" fmla="*/ 10 w 39"/>
                    <a:gd name="T25" fmla="*/ 0 h 18"/>
                    <a:gd name="T26" fmla="*/ 0 w 39"/>
                    <a:gd name="T2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grpSp>
              <p:nvGrpSpPr>
                <p:cNvPr id="73" name="Group 58">
                  <a:extLst>
                    <a:ext uri="{FF2B5EF4-FFF2-40B4-BE49-F238E27FC236}">
                      <a16:creationId xmlns="" xmlns:a16="http://schemas.microsoft.com/office/drawing/2014/main" id="{16761770-DE60-4DA5-8B1E-D383EAF52FAE}"/>
                    </a:ext>
                  </a:extLst>
                </p:cNvPr>
                <p:cNvGrpSpPr>
                  <a:grpSpLocks/>
                </p:cNvGrpSpPr>
                <p:nvPr>
                  <p:custDataLst>
                    <p:tags r:id="rId61"/>
                  </p:custDataLst>
                </p:nvPr>
              </p:nvGrpSpPr>
              <p:grpSpPr bwMode="auto">
                <a:xfrm>
                  <a:off x="4614776" y="2382428"/>
                  <a:ext cx="93456" cy="138494"/>
                  <a:chOff x="1199" y="2121"/>
                  <a:chExt cx="97" cy="123"/>
                </a:xfrm>
                <a:solidFill>
                  <a:srgbClr val="CDCDCD"/>
                </a:solidFill>
              </p:grpSpPr>
              <p:sp>
                <p:nvSpPr>
                  <p:cNvPr id="574" name="Freeform 59">
                    <a:extLst>
                      <a:ext uri="{FF2B5EF4-FFF2-40B4-BE49-F238E27FC236}">
                        <a16:creationId xmlns="" xmlns:a16="http://schemas.microsoft.com/office/drawing/2014/main" id="{B305C4D7-C277-4D59-BE1A-04F74E466C5E}"/>
                      </a:ext>
                    </a:extLst>
                  </p:cNvPr>
                  <p:cNvSpPr>
                    <a:spLocks/>
                  </p:cNvSpPr>
                  <p:nvPr/>
                </p:nvSpPr>
                <p:spPr bwMode="auto">
                  <a:xfrm>
                    <a:off x="1274" y="2236"/>
                    <a:ext cx="16" cy="8"/>
                  </a:xfrm>
                  <a:custGeom>
                    <a:avLst/>
                    <a:gdLst>
                      <a:gd name="T0" fmla="*/ 0 w 52"/>
                      <a:gd name="T1" fmla="*/ 25 h 25"/>
                      <a:gd name="T2" fmla="*/ 7 w 52"/>
                      <a:gd name="T3" fmla="*/ 25 h 25"/>
                      <a:gd name="T4" fmla="*/ 15 w 52"/>
                      <a:gd name="T5" fmla="*/ 24 h 25"/>
                      <a:gd name="T6" fmla="*/ 23 w 52"/>
                      <a:gd name="T7" fmla="*/ 22 h 25"/>
                      <a:gd name="T8" fmla="*/ 30 w 52"/>
                      <a:gd name="T9" fmla="*/ 19 h 25"/>
                      <a:gd name="T10" fmla="*/ 38 w 52"/>
                      <a:gd name="T11" fmla="*/ 15 h 25"/>
                      <a:gd name="T12" fmla="*/ 43 w 52"/>
                      <a:gd name="T13" fmla="*/ 11 h 25"/>
                      <a:gd name="T14" fmla="*/ 49 w 52"/>
                      <a:gd name="T15" fmla="*/ 6 h 25"/>
                      <a:gd name="T16" fmla="*/ 52 w 52"/>
                      <a:gd name="T17" fmla="*/ 0 h 25"/>
                      <a:gd name="T18" fmla="*/ 40 w 52"/>
                      <a:gd name="T19" fmla="*/ 0 h 25"/>
                      <a:gd name="T20" fmla="*/ 31 w 52"/>
                      <a:gd name="T21" fmla="*/ 0 h 25"/>
                      <a:gd name="T22" fmla="*/ 23 w 52"/>
                      <a:gd name="T23" fmla="*/ 1 h 25"/>
                      <a:gd name="T24" fmla="*/ 16 w 52"/>
                      <a:gd name="T25" fmla="*/ 3 h 25"/>
                      <a:gd name="T26" fmla="*/ 11 w 52"/>
                      <a:gd name="T27" fmla="*/ 6 h 25"/>
                      <a:gd name="T28" fmla="*/ 5 w 52"/>
                      <a:gd name="T29" fmla="*/ 10 h 25"/>
                      <a:gd name="T30" fmla="*/ 2 w 52"/>
                      <a:gd name="T31" fmla="*/ 16 h 25"/>
                      <a:gd name="T32" fmla="*/ 0 w 5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75" name="Freeform 60">
                    <a:extLst>
                      <a:ext uri="{FF2B5EF4-FFF2-40B4-BE49-F238E27FC236}">
                        <a16:creationId xmlns="" xmlns:a16="http://schemas.microsoft.com/office/drawing/2014/main" id="{C74407DC-71B3-4E6D-91E1-510063979927}"/>
                      </a:ext>
                    </a:extLst>
                  </p:cNvPr>
                  <p:cNvSpPr>
                    <a:spLocks/>
                  </p:cNvSpPr>
                  <p:nvPr/>
                </p:nvSpPr>
                <p:spPr bwMode="auto">
                  <a:xfrm>
                    <a:off x="1199" y="2131"/>
                    <a:ext cx="11" cy="4"/>
                  </a:xfrm>
                  <a:custGeom>
                    <a:avLst/>
                    <a:gdLst>
                      <a:gd name="T0" fmla="*/ 0 w 33"/>
                      <a:gd name="T1" fmla="*/ 0 h 13"/>
                      <a:gd name="T2" fmla="*/ 0 w 33"/>
                      <a:gd name="T3" fmla="*/ 6 h 13"/>
                      <a:gd name="T4" fmla="*/ 0 w 33"/>
                      <a:gd name="T5" fmla="*/ 13 h 13"/>
                      <a:gd name="T6" fmla="*/ 9 w 33"/>
                      <a:gd name="T7" fmla="*/ 13 h 13"/>
                      <a:gd name="T8" fmla="*/ 16 w 33"/>
                      <a:gd name="T9" fmla="*/ 13 h 13"/>
                      <a:gd name="T10" fmla="*/ 24 w 33"/>
                      <a:gd name="T11" fmla="*/ 11 h 13"/>
                      <a:gd name="T12" fmla="*/ 33 w 33"/>
                      <a:gd name="T13" fmla="*/ 6 h 13"/>
                      <a:gd name="T14" fmla="*/ 24 w 33"/>
                      <a:gd name="T15" fmla="*/ 3 h 13"/>
                      <a:gd name="T16" fmla="*/ 16 w 33"/>
                      <a:gd name="T17" fmla="*/ 1 h 13"/>
                      <a:gd name="T18" fmla="*/ 9 w 33"/>
                      <a:gd name="T19" fmla="*/ 0 h 13"/>
                      <a:gd name="T20" fmla="*/ 0 w 33"/>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76" name="Freeform 61">
                    <a:extLst>
                      <a:ext uri="{FF2B5EF4-FFF2-40B4-BE49-F238E27FC236}">
                        <a16:creationId xmlns="" xmlns:a16="http://schemas.microsoft.com/office/drawing/2014/main" id="{E5CA90D1-8BB8-4C44-8298-197D78243357}"/>
                      </a:ext>
                    </a:extLst>
                  </p:cNvPr>
                  <p:cNvSpPr>
                    <a:spLocks/>
                  </p:cNvSpPr>
                  <p:nvPr/>
                </p:nvSpPr>
                <p:spPr bwMode="auto">
                  <a:xfrm>
                    <a:off x="1210" y="2121"/>
                    <a:ext cx="20" cy="28"/>
                  </a:xfrm>
                  <a:custGeom>
                    <a:avLst/>
                    <a:gdLst>
                      <a:gd name="T0" fmla="*/ 26 w 67"/>
                      <a:gd name="T1" fmla="*/ 18 h 86"/>
                      <a:gd name="T2" fmla="*/ 0 w 67"/>
                      <a:gd name="T3" fmla="*/ 0 h 86"/>
                      <a:gd name="T4" fmla="*/ 26 w 67"/>
                      <a:gd name="T5" fmla="*/ 0 h 86"/>
                      <a:gd name="T6" fmla="*/ 29 w 67"/>
                      <a:gd name="T7" fmla="*/ 4 h 86"/>
                      <a:gd name="T8" fmla="*/ 33 w 67"/>
                      <a:gd name="T9" fmla="*/ 8 h 86"/>
                      <a:gd name="T10" fmla="*/ 36 w 67"/>
                      <a:gd name="T11" fmla="*/ 11 h 86"/>
                      <a:gd name="T12" fmla="*/ 39 w 67"/>
                      <a:gd name="T13" fmla="*/ 14 h 86"/>
                      <a:gd name="T14" fmla="*/ 47 w 67"/>
                      <a:gd name="T15" fmla="*/ 17 h 86"/>
                      <a:gd name="T16" fmla="*/ 54 w 67"/>
                      <a:gd name="T17" fmla="*/ 18 h 86"/>
                      <a:gd name="T18" fmla="*/ 58 w 67"/>
                      <a:gd name="T19" fmla="*/ 30 h 86"/>
                      <a:gd name="T20" fmla="*/ 62 w 67"/>
                      <a:gd name="T21" fmla="*/ 40 h 86"/>
                      <a:gd name="T22" fmla="*/ 63 w 67"/>
                      <a:gd name="T23" fmla="*/ 45 h 86"/>
                      <a:gd name="T24" fmla="*/ 66 w 67"/>
                      <a:gd name="T25" fmla="*/ 50 h 86"/>
                      <a:gd name="T26" fmla="*/ 66 w 67"/>
                      <a:gd name="T27" fmla="*/ 55 h 86"/>
                      <a:gd name="T28" fmla="*/ 67 w 67"/>
                      <a:gd name="T29" fmla="*/ 61 h 86"/>
                      <a:gd name="T30" fmla="*/ 63 w 67"/>
                      <a:gd name="T31" fmla="*/ 74 h 86"/>
                      <a:gd name="T32" fmla="*/ 60 w 67"/>
                      <a:gd name="T33" fmla="*/ 86 h 86"/>
                      <a:gd name="T34" fmla="*/ 55 w 67"/>
                      <a:gd name="T35" fmla="*/ 69 h 86"/>
                      <a:gd name="T36" fmla="*/ 51 w 67"/>
                      <a:gd name="T37" fmla="*/ 54 h 86"/>
                      <a:gd name="T38" fmla="*/ 50 w 67"/>
                      <a:gd name="T39" fmla="*/ 47 h 86"/>
                      <a:gd name="T40" fmla="*/ 50 w 67"/>
                      <a:gd name="T41" fmla="*/ 41 h 86"/>
                      <a:gd name="T42" fmla="*/ 51 w 67"/>
                      <a:gd name="T43" fmla="*/ 35 h 86"/>
                      <a:gd name="T44" fmla="*/ 54 w 67"/>
                      <a:gd name="T45" fmla="*/ 30 h 86"/>
                      <a:gd name="T46" fmla="*/ 44 w 67"/>
                      <a:gd name="T47" fmla="*/ 30 h 86"/>
                      <a:gd name="T48" fmla="*/ 35 w 67"/>
                      <a:gd name="T49" fmla="*/ 29 h 86"/>
                      <a:gd name="T50" fmla="*/ 32 w 67"/>
                      <a:gd name="T51" fmla="*/ 27 h 86"/>
                      <a:gd name="T52" fmla="*/ 28 w 67"/>
                      <a:gd name="T53" fmla="*/ 25 h 86"/>
                      <a:gd name="T54" fmla="*/ 27 w 67"/>
                      <a:gd name="T55" fmla="*/ 22 h 86"/>
                      <a:gd name="T56" fmla="*/ 26 w 67"/>
                      <a:gd name="T57" fmla="*/ 1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77" name="Freeform 62">
                    <a:extLst>
                      <a:ext uri="{FF2B5EF4-FFF2-40B4-BE49-F238E27FC236}">
                        <a16:creationId xmlns="" xmlns:a16="http://schemas.microsoft.com/office/drawing/2014/main" id="{00FF1555-1A39-4EFC-B478-1CE925C5669E}"/>
                      </a:ext>
                    </a:extLst>
                  </p:cNvPr>
                  <p:cNvSpPr>
                    <a:spLocks/>
                  </p:cNvSpPr>
                  <p:nvPr/>
                </p:nvSpPr>
                <p:spPr bwMode="auto">
                  <a:xfrm>
                    <a:off x="1201" y="2159"/>
                    <a:ext cx="16" cy="28"/>
                  </a:xfrm>
                  <a:custGeom>
                    <a:avLst/>
                    <a:gdLst>
                      <a:gd name="T0" fmla="*/ 27 w 49"/>
                      <a:gd name="T1" fmla="*/ 12 h 86"/>
                      <a:gd name="T2" fmla="*/ 20 w 49"/>
                      <a:gd name="T3" fmla="*/ 6 h 86"/>
                      <a:gd name="T4" fmla="*/ 14 w 49"/>
                      <a:gd name="T5" fmla="*/ 0 h 86"/>
                      <a:gd name="T6" fmla="*/ 9 w 49"/>
                      <a:gd name="T7" fmla="*/ 5 h 86"/>
                      <a:gd name="T8" fmla="*/ 5 w 49"/>
                      <a:gd name="T9" fmla="*/ 13 h 86"/>
                      <a:gd name="T10" fmla="*/ 1 w 49"/>
                      <a:gd name="T11" fmla="*/ 21 h 86"/>
                      <a:gd name="T12" fmla="*/ 0 w 49"/>
                      <a:gd name="T13" fmla="*/ 30 h 86"/>
                      <a:gd name="T14" fmla="*/ 0 w 49"/>
                      <a:gd name="T15" fmla="*/ 36 h 86"/>
                      <a:gd name="T16" fmla="*/ 3 w 49"/>
                      <a:gd name="T17" fmla="*/ 43 h 86"/>
                      <a:gd name="T18" fmla="*/ 5 w 49"/>
                      <a:gd name="T19" fmla="*/ 50 h 86"/>
                      <a:gd name="T20" fmla="*/ 8 w 49"/>
                      <a:gd name="T21" fmla="*/ 58 h 86"/>
                      <a:gd name="T22" fmla="*/ 12 w 49"/>
                      <a:gd name="T23" fmla="*/ 66 h 86"/>
                      <a:gd name="T24" fmla="*/ 17 w 49"/>
                      <a:gd name="T25" fmla="*/ 74 h 86"/>
                      <a:gd name="T26" fmla="*/ 22 w 49"/>
                      <a:gd name="T27" fmla="*/ 80 h 86"/>
                      <a:gd name="T28" fmla="*/ 27 w 49"/>
                      <a:gd name="T29" fmla="*/ 86 h 86"/>
                      <a:gd name="T30" fmla="*/ 31 w 49"/>
                      <a:gd name="T31" fmla="*/ 79 h 86"/>
                      <a:gd name="T32" fmla="*/ 37 w 49"/>
                      <a:gd name="T33" fmla="*/ 69 h 86"/>
                      <a:gd name="T34" fmla="*/ 42 w 49"/>
                      <a:gd name="T35" fmla="*/ 57 h 86"/>
                      <a:gd name="T36" fmla="*/ 46 w 49"/>
                      <a:gd name="T37" fmla="*/ 45 h 86"/>
                      <a:gd name="T38" fmla="*/ 49 w 49"/>
                      <a:gd name="T39" fmla="*/ 39 h 86"/>
                      <a:gd name="T40" fmla="*/ 49 w 49"/>
                      <a:gd name="T41" fmla="*/ 33 h 86"/>
                      <a:gd name="T42" fmla="*/ 49 w 49"/>
                      <a:gd name="T43" fmla="*/ 26 h 86"/>
                      <a:gd name="T44" fmla="*/ 48 w 49"/>
                      <a:gd name="T45" fmla="*/ 22 h 86"/>
                      <a:gd name="T46" fmla="*/ 44 w 49"/>
                      <a:gd name="T47" fmla="*/ 18 h 86"/>
                      <a:gd name="T48" fmla="*/ 40 w 49"/>
                      <a:gd name="T49" fmla="*/ 15 h 86"/>
                      <a:gd name="T50" fmla="*/ 34 w 49"/>
                      <a:gd name="T51" fmla="*/ 13 h 86"/>
                      <a:gd name="T52" fmla="*/ 27 w 49"/>
                      <a:gd name="T53"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78" name="Freeform 63">
                    <a:extLst>
                      <a:ext uri="{FF2B5EF4-FFF2-40B4-BE49-F238E27FC236}">
                        <a16:creationId xmlns="" xmlns:a16="http://schemas.microsoft.com/office/drawing/2014/main" id="{11B0CC80-5D77-4D35-A6A8-6E6F27639E09}"/>
                      </a:ext>
                    </a:extLst>
                  </p:cNvPr>
                  <p:cNvSpPr>
                    <a:spLocks/>
                  </p:cNvSpPr>
                  <p:nvPr/>
                </p:nvSpPr>
                <p:spPr bwMode="auto">
                  <a:xfrm>
                    <a:off x="1226" y="2161"/>
                    <a:ext cx="2" cy="4"/>
                  </a:xfrm>
                  <a:custGeom>
                    <a:avLst/>
                    <a:gdLst>
                      <a:gd name="T0" fmla="*/ 0 w 6"/>
                      <a:gd name="T1" fmla="*/ 12 h 12"/>
                      <a:gd name="T2" fmla="*/ 6 w 6"/>
                      <a:gd name="T3" fmla="*/ 0 h 12"/>
                      <a:gd name="T4" fmla="*/ 4 w 6"/>
                      <a:gd name="T5" fmla="*/ 0 h 12"/>
                      <a:gd name="T6" fmla="*/ 2 w 6"/>
                      <a:gd name="T7" fmla="*/ 2 h 12"/>
                      <a:gd name="T8" fmla="*/ 1 w 6"/>
                      <a:gd name="T9" fmla="*/ 4 h 12"/>
                      <a:gd name="T10" fmla="*/ 0 w 6"/>
                      <a:gd name="T11" fmla="*/ 6 h 12"/>
                      <a:gd name="T12" fmla="*/ 0 w 6"/>
                      <a:gd name="T13" fmla="*/ 10 h 12"/>
                      <a:gd name="T14" fmla="*/ 0 w 6"/>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2">
                        <a:moveTo>
                          <a:pt x="0" y="12"/>
                        </a:moveTo>
                        <a:lnTo>
                          <a:pt x="6" y="0"/>
                        </a:lnTo>
                        <a:lnTo>
                          <a:pt x="4" y="0"/>
                        </a:lnTo>
                        <a:lnTo>
                          <a:pt x="2" y="2"/>
                        </a:lnTo>
                        <a:lnTo>
                          <a:pt x="1" y="4"/>
                        </a:lnTo>
                        <a:lnTo>
                          <a:pt x="0" y="6"/>
                        </a:lnTo>
                        <a:lnTo>
                          <a:pt x="0" y="10"/>
                        </a:lnTo>
                        <a:lnTo>
                          <a:pt x="0" y="12"/>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79" name="Freeform 64">
                    <a:extLst>
                      <a:ext uri="{FF2B5EF4-FFF2-40B4-BE49-F238E27FC236}">
                        <a16:creationId xmlns="" xmlns:a16="http://schemas.microsoft.com/office/drawing/2014/main" id="{E2AD3930-D790-476F-8C84-3B5858808C31}"/>
                      </a:ext>
                    </a:extLst>
                  </p:cNvPr>
                  <p:cNvSpPr>
                    <a:spLocks/>
                  </p:cNvSpPr>
                  <p:nvPr/>
                </p:nvSpPr>
                <p:spPr bwMode="auto">
                  <a:xfrm>
                    <a:off x="1230" y="2154"/>
                    <a:ext cx="13" cy="15"/>
                  </a:xfrm>
                  <a:custGeom>
                    <a:avLst/>
                    <a:gdLst>
                      <a:gd name="T0" fmla="*/ 0 w 39"/>
                      <a:gd name="T1" fmla="*/ 0 h 48"/>
                      <a:gd name="T2" fmla="*/ 11 w 39"/>
                      <a:gd name="T3" fmla="*/ 9 h 48"/>
                      <a:gd name="T4" fmla="*/ 22 w 39"/>
                      <a:gd name="T5" fmla="*/ 17 h 48"/>
                      <a:gd name="T6" fmla="*/ 32 w 39"/>
                      <a:gd name="T7" fmla="*/ 24 h 48"/>
                      <a:gd name="T8" fmla="*/ 39 w 39"/>
                      <a:gd name="T9" fmla="*/ 30 h 48"/>
                      <a:gd name="T10" fmla="*/ 36 w 39"/>
                      <a:gd name="T11" fmla="*/ 39 h 48"/>
                      <a:gd name="T12" fmla="*/ 33 w 39"/>
                      <a:gd name="T13" fmla="*/ 48 h 48"/>
                      <a:gd name="T14" fmla="*/ 18 w 39"/>
                      <a:gd name="T15" fmla="*/ 36 h 48"/>
                      <a:gd name="T16" fmla="*/ 8 w 39"/>
                      <a:gd name="T17" fmla="*/ 26 h 48"/>
                      <a:gd name="T18" fmla="*/ 4 w 39"/>
                      <a:gd name="T19" fmla="*/ 21 h 48"/>
                      <a:gd name="T20" fmla="*/ 2 w 39"/>
                      <a:gd name="T21" fmla="*/ 15 h 48"/>
                      <a:gd name="T22" fmla="*/ 0 w 39"/>
                      <a:gd name="T23" fmla="*/ 8 h 48"/>
                      <a:gd name="T24" fmla="*/ 0 w 39"/>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80" name="Freeform 65">
                    <a:extLst>
                      <a:ext uri="{FF2B5EF4-FFF2-40B4-BE49-F238E27FC236}">
                        <a16:creationId xmlns="" xmlns:a16="http://schemas.microsoft.com/office/drawing/2014/main" id="{5A5561AE-2CEE-4703-8E1F-651FE6B5FE5C}"/>
                      </a:ext>
                    </a:extLst>
                  </p:cNvPr>
                  <p:cNvSpPr>
                    <a:spLocks/>
                  </p:cNvSpPr>
                  <p:nvPr/>
                </p:nvSpPr>
                <p:spPr bwMode="auto">
                  <a:xfrm>
                    <a:off x="1247" y="2167"/>
                    <a:ext cx="6" cy="14"/>
                  </a:xfrm>
                  <a:custGeom>
                    <a:avLst/>
                    <a:gdLst>
                      <a:gd name="T0" fmla="*/ 7 w 16"/>
                      <a:gd name="T1" fmla="*/ 0 h 43"/>
                      <a:gd name="T2" fmla="*/ 11 w 16"/>
                      <a:gd name="T3" fmla="*/ 9 h 43"/>
                      <a:gd name="T4" fmla="*/ 15 w 16"/>
                      <a:gd name="T5" fmla="*/ 16 h 43"/>
                      <a:gd name="T6" fmla="*/ 16 w 16"/>
                      <a:gd name="T7" fmla="*/ 22 h 43"/>
                      <a:gd name="T8" fmla="*/ 16 w 16"/>
                      <a:gd name="T9" fmla="*/ 27 h 43"/>
                      <a:gd name="T10" fmla="*/ 15 w 16"/>
                      <a:gd name="T11" fmla="*/ 31 h 43"/>
                      <a:gd name="T12" fmla="*/ 11 w 16"/>
                      <a:gd name="T13" fmla="*/ 35 h 43"/>
                      <a:gd name="T14" fmla="*/ 7 w 16"/>
                      <a:gd name="T15" fmla="*/ 39 h 43"/>
                      <a:gd name="T16" fmla="*/ 0 w 16"/>
                      <a:gd name="T17" fmla="*/ 43 h 43"/>
                      <a:gd name="T18" fmla="*/ 2 w 16"/>
                      <a:gd name="T19" fmla="*/ 28 h 43"/>
                      <a:gd name="T20" fmla="*/ 4 w 16"/>
                      <a:gd name="T21" fmla="*/ 18 h 43"/>
                      <a:gd name="T22" fmla="*/ 6 w 16"/>
                      <a:gd name="T23" fmla="*/ 9 h 43"/>
                      <a:gd name="T24" fmla="*/ 7 w 16"/>
                      <a:gd name="T25"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81" name="Freeform 66">
                    <a:extLst>
                      <a:ext uri="{FF2B5EF4-FFF2-40B4-BE49-F238E27FC236}">
                        <a16:creationId xmlns="" xmlns:a16="http://schemas.microsoft.com/office/drawing/2014/main" id="{3E3A3CCC-EC45-4CCA-883C-87F7104731BB}"/>
                      </a:ext>
                    </a:extLst>
                  </p:cNvPr>
                  <p:cNvSpPr>
                    <a:spLocks/>
                  </p:cNvSpPr>
                  <p:nvPr/>
                </p:nvSpPr>
                <p:spPr bwMode="auto">
                  <a:xfrm>
                    <a:off x="1248" y="2190"/>
                    <a:ext cx="8" cy="12"/>
                  </a:xfrm>
                  <a:custGeom>
                    <a:avLst/>
                    <a:gdLst>
                      <a:gd name="T0" fmla="*/ 24 w 24"/>
                      <a:gd name="T1" fmla="*/ 36 h 37"/>
                      <a:gd name="T2" fmla="*/ 19 w 24"/>
                      <a:gd name="T3" fmla="*/ 27 h 37"/>
                      <a:gd name="T4" fmla="*/ 15 w 24"/>
                      <a:gd name="T5" fmla="*/ 18 h 37"/>
                      <a:gd name="T6" fmla="*/ 12 w 24"/>
                      <a:gd name="T7" fmla="*/ 9 h 37"/>
                      <a:gd name="T8" fmla="*/ 11 w 24"/>
                      <a:gd name="T9" fmla="*/ 0 h 37"/>
                      <a:gd name="T10" fmla="*/ 6 w 24"/>
                      <a:gd name="T11" fmla="*/ 10 h 37"/>
                      <a:gd name="T12" fmla="*/ 3 w 24"/>
                      <a:gd name="T13" fmla="*/ 19 h 37"/>
                      <a:gd name="T14" fmla="*/ 1 w 24"/>
                      <a:gd name="T15" fmla="*/ 26 h 37"/>
                      <a:gd name="T16" fmla="*/ 0 w 24"/>
                      <a:gd name="T17" fmla="*/ 31 h 37"/>
                      <a:gd name="T18" fmla="*/ 1 w 24"/>
                      <a:gd name="T19" fmla="*/ 33 h 37"/>
                      <a:gd name="T20" fmla="*/ 2 w 24"/>
                      <a:gd name="T21" fmla="*/ 35 h 37"/>
                      <a:gd name="T22" fmla="*/ 4 w 24"/>
                      <a:gd name="T23" fmla="*/ 36 h 37"/>
                      <a:gd name="T24" fmla="*/ 6 w 24"/>
                      <a:gd name="T25" fmla="*/ 37 h 37"/>
                      <a:gd name="T26" fmla="*/ 14 w 24"/>
                      <a:gd name="T27" fmla="*/ 37 h 37"/>
                      <a:gd name="T28" fmla="*/ 24 w 24"/>
                      <a:gd name="T29" fmla="*/ 3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82" name="Freeform 67">
                    <a:extLst>
                      <a:ext uri="{FF2B5EF4-FFF2-40B4-BE49-F238E27FC236}">
                        <a16:creationId xmlns="" xmlns:a16="http://schemas.microsoft.com/office/drawing/2014/main" id="{03184A1C-7303-486D-B937-B7328A4F97B3}"/>
                      </a:ext>
                    </a:extLst>
                  </p:cNvPr>
                  <p:cNvSpPr>
                    <a:spLocks/>
                  </p:cNvSpPr>
                  <p:nvPr/>
                </p:nvSpPr>
                <p:spPr bwMode="auto">
                  <a:xfrm>
                    <a:off x="1265" y="2204"/>
                    <a:ext cx="11" cy="17"/>
                  </a:xfrm>
                  <a:custGeom>
                    <a:avLst/>
                    <a:gdLst>
                      <a:gd name="T0" fmla="*/ 34 w 34"/>
                      <a:gd name="T1" fmla="*/ 0 h 55"/>
                      <a:gd name="T2" fmla="*/ 34 w 34"/>
                      <a:gd name="T3" fmla="*/ 13 h 55"/>
                      <a:gd name="T4" fmla="*/ 34 w 34"/>
                      <a:gd name="T5" fmla="*/ 25 h 55"/>
                      <a:gd name="T6" fmla="*/ 33 w 34"/>
                      <a:gd name="T7" fmla="*/ 32 h 55"/>
                      <a:gd name="T8" fmla="*/ 31 w 34"/>
                      <a:gd name="T9" fmla="*/ 38 h 55"/>
                      <a:gd name="T10" fmla="*/ 29 w 34"/>
                      <a:gd name="T11" fmla="*/ 43 h 55"/>
                      <a:gd name="T12" fmla="*/ 24 w 34"/>
                      <a:gd name="T13" fmla="*/ 47 h 55"/>
                      <a:gd name="T14" fmla="*/ 20 w 34"/>
                      <a:gd name="T15" fmla="*/ 51 h 55"/>
                      <a:gd name="T16" fmla="*/ 14 w 34"/>
                      <a:gd name="T17" fmla="*/ 53 h 55"/>
                      <a:gd name="T18" fmla="*/ 8 w 34"/>
                      <a:gd name="T19" fmla="*/ 55 h 55"/>
                      <a:gd name="T20" fmla="*/ 0 w 34"/>
                      <a:gd name="T21" fmla="*/ 55 h 55"/>
                      <a:gd name="T22" fmla="*/ 9 w 34"/>
                      <a:gd name="T23" fmla="*/ 36 h 55"/>
                      <a:gd name="T24" fmla="*/ 14 w 34"/>
                      <a:gd name="T25" fmla="*/ 21 h 55"/>
                      <a:gd name="T26" fmla="*/ 18 w 34"/>
                      <a:gd name="T27" fmla="*/ 16 h 55"/>
                      <a:gd name="T28" fmla="*/ 22 w 34"/>
                      <a:gd name="T29" fmla="*/ 10 h 55"/>
                      <a:gd name="T30" fmla="*/ 28 w 34"/>
                      <a:gd name="T31" fmla="*/ 5 h 55"/>
                      <a:gd name="T32" fmla="*/ 34 w 34"/>
                      <a:gd name="T3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83" name="Freeform 68">
                    <a:extLst>
                      <a:ext uri="{FF2B5EF4-FFF2-40B4-BE49-F238E27FC236}">
                        <a16:creationId xmlns="" xmlns:a16="http://schemas.microsoft.com/office/drawing/2014/main" id="{3D5C6C32-15B8-438C-951A-DEC4261B82FF}"/>
                      </a:ext>
                    </a:extLst>
                  </p:cNvPr>
                  <p:cNvSpPr>
                    <a:spLocks/>
                  </p:cNvSpPr>
                  <p:nvPr/>
                </p:nvSpPr>
                <p:spPr bwMode="auto">
                  <a:xfrm>
                    <a:off x="1285" y="2215"/>
                    <a:ext cx="11" cy="4"/>
                  </a:xfrm>
                  <a:custGeom>
                    <a:avLst/>
                    <a:gdLst>
                      <a:gd name="T0" fmla="*/ 0 w 33"/>
                      <a:gd name="T1" fmla="*/ 0 h 12"/>
                      <a:gd name="T2" fmla="*/ 2 w 33"/>
                      <a:gd name="T3" fmla="*/ 4 h 12"/>
                      <a:gd name="T4" fmla="*/ 6 w 33"/>
                      <a:gd name="T5" fmla="*/ 7 h 12"/>
                      <a:gd name="T6" fmla="*/ 10 w 33"/>
                      <a:gd name="T7" fmla="*/ 9 h 12"/>
                      <a:gd name="T8" fmla="*/ 14 w 33"/>
                      <a:gd name="T9" fmla="*/ 11 h 12"/>
                      <a:gd name="T10" fmla="*/ 23 w 33"/>
                      <a:gd name="T11" fmla="*/ 12 h 12"/>
                      <a:gd name="T12" fmla="*/ 33 w 33"/>
                      <a:gd name="T13" fmla="*/ 12 h 12"/>
                      <a:gd name="T14" fmla="*/ 28 w 33"/>
                      <a:gd name="T15" fmla="*/ 8 h 12"/>
                      <a:gd name="T16" fmla="*/ 19 w 33"/>
                      <a:gd name="T17" fmla="*/ 4 h 12"/>
                      <a:gd name="T18" fmla="*/ 10 w 33"/>
                      <a:gd name="T19" fmla="*/ 1 h 12"/>
                      <a:gd name="T20" fmla="*/ 0 w 33"/>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grpSp>
            <p:sp>
              <p:nvSpPr>
                <p:cNvPr id="74" name="Freeform 69">
                  <a:extLst>
                    <a:ext uri="{FF2B5EF4-FFF2-40B4-BE49-F238E27FC236}">
                      <a16:creationId xmlns="" xmlns:a16="http://schemas.microsoft.com/office/drawing/2014/main" id="{5FFCA6A3-2182-4835-A3D1-6AC2560F3839}"/>
                    </a:ext>
                  </a:extLst>
                </p:cNvPr>
                <p:cNvSpPr>
                  <a:spLocks/>
                </p:cNvSpPr>
                <p:nvPr>
                  <p:custDataLst>
                    <p:tags r:id="rId62"/>
                  </p:custDataLst>
                </p:nvPr>
              </p:nvSpPr>
              <p:spPr bwMode="auto">
                <a:xfrm>
                  <a:off x="8738067" y="3394672"/>
                  <a:ext cx="9008" cy="40535"/>
                </a:xfrm>
                <a:custGeom>
                  <a:avLst/>
                  <a:gdLst>
                    <a:gd name="T0" fmla="*/ 0 w 33"/>
                    <a:gd name="T1" fmla="*/ 62 h 62"/>
                    <a:gd name="T2" fmla="*/ 0 w 33"/>
                    <a:gd name="T3" fmla="*/ 53 h 62"/>
                    <a:gd name="T4" fmla="*/ 0 w 33"/>
                    <a:gd name="T5" fmla="*/ 45 h 62"/>
                    <a:gd name="T6" fmla="*/ 0 w 33"/>
                    <a:gd name="T7" fmla="*/ 37 h 62"/>
                    <a:gd name="T8" fmla="*/ 0 w 33"/>
                    <a:gd name="T9" fmla="*/ 31 h 62"/>
                    <a:gd name="T10" fmla="*/ 0 w 33"/>
                    <a:gd name="T11" fmla="*/ 26 h 62"/>
                    <a:gd name="T12" fmla="*/ 2 w 33"/>
                    <a:gd name="T13" fmla="*/ 22 h 62"/>
                    <a:gd name="T14" fmla="*/ 4 w 33"/>
                    <a:gd name="T15" fmla="*/ 17 h 62"/>
                    <a:gd name="T16" fmla="*/ 8 w 33"/>
                    <a:gd name="T17" fmla="*/ 13 h 62"/>
                    <a:gd name="T18" fmla="*/ 14 w 33"/>
                    <a:gd name="T19" fmla="*/ 6 h 62"/>
                    <a:gd name="T20" fmla="*/ 20 w 33"/>
                    <a:gd name="T21" fmla="*/ 0 h 62"/>
                    <a:gd name="T22" fmla="*/ 26 w 33"/>
                    <a:gd name="T23" fmla="*/ 6 h 62"/>
                    <a:gd name="T24" fmla="*/ 33 w 33"/>
                    <a:gd name="T25" fmla="*/ 1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75" name="Freeform 70">
                  <a:extLst>
                    <a:ext uri="{FF2B5EF4-FFF2-40B4-BE49-F238E27FC236}">
                      <a16:creationId xmlns="" xmlns:a16="http://schemas.microsoft.com/office/drawing/2014/main" id="{B5062C9F-A96F-4150-9037-BC8C4C24B9A9}"/>
                    </a:ext>
                  </a:extLst>
                </p:cNvPr>
                <p:cNvSpPr>
                  <a:spLocks/>
                </p:cNvSpPr>
                <p:nvPr>
                  <p:custDataLst>
                    <p:tags r:id="rId63"/>
                  </p:custDataLst>
                </p:nvPr>
              </p:nvSpPr>
              <p:spPr bwMode="auto">
                <a:xfrm>
                  <a:off x="8744823" y="3458852"/>
                  <a:ext cx="6756" cy="41660"/>
                </a:xfrm>
                <a:custGeom>
                  <a:avLst/>
                  <a:gdLst>
                    <a:gd name="T0" fmla="*/ 0 w 26"/>
                    <a:gd name="T1" fmla="*/ 18 h 18"/>
                    <a:gd name="T2" fmla="*/ 0 w 26"/>
                    <a:gd name="T3" fmla="*/ 0 h 18"/>
                    <a:gd name="T4" fmla="*/ 26 w 26"/>
                    <a:gd name="T5" fmla="*/ 0 h 18"/>
                    <a:gd name="T6" fmla="*/ 6 w 26"/>
                    <a:gd name="T7" fmla="*/ 12 h 18"/>
                    <a:gd name="T8" fmla="*/ 6 w 26"/>
                    <a:gd name="T9" fmla="*/ 6 h 18"/>
                  </a:gdLst>
                  <a:ahLst/>
                  <a:cxnLst>
                    <a:cxn ang="0">
                      <a:pos x="T0" y="T1"/>
                    </a:cxn>
                    <a:cxn ang="0">
                      <a:pos x="T2" y="T3"/>
                    </a:cxn>
                    <a:cxn ang="0">
                      <a:pos x="T4" y="T5"/>
                    </a:cxn>
                    <a:cxn ang="0">
                      <a:pos x="T6" y="T7"/>
                    </a:cxn>
                    <a:cxn ang="0">
                      <a:pos x="T8" y="T9"/>
                    </a:cxn>
                  </a:cxnLst>
                  <a:rect l="0" t="0" r="r" b="b"/>
                  <a:pathLst>
                    <a:path w="26" h="18">
                      <a:moveTo>
                        <a:pt x="0" y="18"/>
                      </a:moveTo>
                      <a:lnTo>
                        <a:pt x="0" y="0"/>
                      </a:lnTo>
                      <a:lnTo>
                        <a:pt x="26" y="0"/>
                      </a:lnTo>
                      <a:lnTo>
                        <a:pt x="6" y="12"/>
                      </a:lnTo>
                      <a:lnTo>
                        <a:pt x="6" y="6"/>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76" name="Freeform 71">
                  <a:extLst>
                    <a:ext uri="{FF2B5EF4-FFF2-40B4-BE49-F238E27FC236}">
                      <a16:creationId xmlns="" xmlns:a16="http://schemas.microsoft.com/office/drawing/2014/main" id="{8AA9A5C4-6FE0-456A-96CB-9B9010501A23}"/>
                    </a:ext>
                  </a:extLst>
                </p:cNvPr>
                <p:cNvSpPr>
                  <a:spLocks/>
                </p:cNvSpPr>
                <p:nvPr>
                  <p:custDataLst>
                    <p:tags r:id="rId64"/>
                  </p:custDataLst>
                </p:nvPr>
              </p:nvSpPr>
              <p:spPr bwMode="auto">
                <a:xfrm>
                  <a:off x="8825893" y="3394672"/>
                  <a:ext cx="55173" cy="92329"/>
                </a:xfrm>
                <a:custGeom>
                  <a:avLst/>
                  <a:gdLst>
                    <a:gd name="T0" fmla="*/ 180 w 180"/>
                    <a:gd name="T1" fmla="*/ 222 h 240"/>
                    <a:gd name="T2" fmla="*/ 175 w 180"/>
                    <a:gd name="T3" fmla="*/ 223 h 240"/>
                    <a:gd name="T4" fmla="*/ 171 w 180"/>
                    <a:gd name="T5" fmla="*/ 223 h 240"/>
                    <a:gd name="T6" fmla="*/ 167 w 180"/>
                    <a:gd name="T7" fmla="*/ 225 h 240"/>
                    <a:gd name="T8" fmla="*/ 164 w 180"/>
                    <a:gd name="T9" fmla="*/ 227 h 240"/>
                    <a:gd name="T10" fmla="*/ 158 w 180"/>
                    <a:gd name="T11" fmla="*/ 232 h 240"/>
                    <a:gd name="T12" fmla="*/ 153 w 180"/>
                    <a:gd name="T13" fmla="*/ 240 h 240"/>
                    <a:gd name="T14" fmla="*/ 140 w 180"/>
                    <a:gd name="T15" fmla="*/ 232 h 240"/>
                    <a:gd name="T16" fmla="*/ 131 w 180"/>
                    <a:gd name="T17" fmla="*/ 223 h 240"/>
                    <a:gd name="T18" fmla="*/ 123 w 180"/>
                    <a:gd name="T19" fmla="*/ 214 h 240"/>
                    <a:gd name="T20" fmla="*/ 118 w 180"/>
                    <a:gd name="T21" fmla="*/ 206 h 240"/>
                    <a:gd name="T22" fmla="*/ 112 w 180"/>
                    <a:gd name="T23" fmla="*/ 195 h 240"/>
                    <a:gd name="T24" fmla="*/ 106 w 180"/>
                    <a:gd name="T25" fmla="*/ 185 h 240"/>
                    <a:gd name="T26" fmla="*/ 98 w 180"/>
                    <a:gd name="T27" fmla="*/ 174 h 240"/>
                    <a:gd name="T28" fmla="*/ 87 w 180"/>
                    <a:gd name="T29" fmla="*/ 161 h 240"/>
                    <a:gd name="T30" fmla="*/ 82 w 180"/>
                    <a:gd name="T31" fmla="*/ 153 h 240"/>
                    <a:gd name="T32" fmla="*/ 75 w 180"/>
                    <a:gd name="T33" fmla="*/ 146 h 240"/>
                    <a:gd name="T34" fmla="*/ 70 w 180"/>
                    <a:gd name="T35" fmla="*/ 139 h 240"/>
                    <a:gd name="T36" fmla="*/ 62 w 180"/>
                    <a:gd name="T37" fmla="*/ 133 h 240"/>
                    <a:gd name="T38" fmla="*/ 48 w 180"/>
                    <a:gd name="T39" fmla="*/ 121 h 240"/>
                    <a:gd name="T40" fmla="*/ 33 w 180"/>
                    <a:gd name="T41" fmla="*/ 110 h 240"/>
                    <a:gd name="T42" fmla="*/ 27 w 180"/>
                    <a:gd name="T43" fmla="*/ 104 h 240"/>
                    <a:gd name="T44" fmla="*/ 21 w 180"/>
                    <a:gd name="T45" fmla="*/ 98 h 240"/>
                    <a:gd name="T46" fmla="*/ 15 w 180"/>
                    <a:gd name="T47" fmla="*/ 92 h 240"/>
                    <a:gd name="T48" fmla="*/ 10 w 180"/>
                    <a:gd name="T49" fmla="*/ 84 h 240"/>
                    <a:gd name="T50" fmla="*/ 6 w 180"/>
                    <a:gd name="T51" fmla="*/ 77 h 240"/>
                    <a:gd name="T52" fmla="*/ 4 w 180"/>
                    <a:gd name="T53" fmla="*/ 68 h 240"/>
                    <a:gd name="T54" fmla="*/ 1 w 180"/>
                    <a:gd name="T55" fmla="*/ 60 h 240"/>
                    <a:gd name="T56" fmla="*/ 0 w 180"/>
                    <a:gd name="T57" fmla="*/ 50 h 240"/>
                    <a:gd name="T58" fmla="*/ 0 w 180"/>
                    <a:gd name="T59" fmla="*/ 35 h 240"/>
                    <a:gd name="T60" fmla="*/ 0 w 180"/>
                    <a:gd name="T61" fmla="*/ 25 h 240"/>
                    <a:gd name="T62" fmla="*/ 0 w 180"/>
                    <a:gd name="T63" fmla="*/ 15 h 240"/>
                    <a:gd name="T64" fmla="*/ 0 w 180"/>
                    <a:gd name="T65" fmla="*/ 0 h 240"/>
                    <a:gd name="T66" fmla="*/ 10 w 180"/>
                    <a:gd name="T67" fmla="*/ 8 h 240"/>
                    <a:gd name="T68" fmla="*/ 19 w 180"/>
                    <a:gd name="T69" fmla="*/ 17 h 240"/>
                    <a:gd name="T70" fmla="*/ 27 w 180"/>
                    <a:gd name="T71" fmla="*/ 27 h 240"/>
                    <a:gd name="T72" fmla="*/ 34 w 180"/>
                    <a:gd name="T73" fmla="*/ 38 h 240"/>
                    <a:gd name="T74" fmla="*/ 41 w 180"/>
                    <a:gd name="T75" fmla="*/ 48 h 240"/>
                    <a:gd name="T76" fmla="*/ 46 w 180"/>
                    <a:gd name="T77" fmla="*/ 58 h 240"/>
                    <a:gd name="T78" fmla="*/ 51 w 180"/>
                    <a:gd name="T79" fmla="*/ 66 h 240"/>
                    <a:gd name="T80" fmla="*/ 54 w 180"/>
                    <a:gd name="T81" fmla="*/ 74 h 240"/>
                    <a:gd name="T82" fmla="*/ 60 w 180"/>
                    <a:gd name="T83" fmla="*/ 86 h 240"/>
                    <a:gd name="T84" fmla="*/ 66 w 180"/>
                    <a:gd name="T85" fmla="*/ 98 h 240"/>
                    <a:gd name="T86" fmla="*/ 74 w 180"/>
                    <a:gd name="T87" fmla="*/ 107 h 240"/>
                    <a:gd name="T88" fmla="*/ 82 w 180"/>
                    <a:gd name="T89" fmla="*/ 116 h 240"/>
                    <a:gd name="T90" fmla="*/ 100 w 180"/>
                    <a:gd name="T91" fmla="*/ 133 h 240"/>
                    <a:gd name="T92" fmla="*/ 119 w 180"/>
                    <a:gd name="T93" fmla="*/ 149 h 240"/>
                    <a:gd name="T94" fmla="*/ 139 w 180"/>
                    <a:gd name="T95" fmla="*/ 164 h 240"/>
                    <a:gd name="T96" fmla="*/ 155 w 180"/>
                    <a:gd name="T97" fmla="*/ 180 h 240"/>
                    <a:gd name="T98" fmla="*/ 163 w 180"/>
                    <a:gd name="T99" fmla="*/ 189 h 240"/>
                    <a:gd name="T100" fmla="*/ 169 w 180"/>
                    <a:gd name="T101" fmla="*/ 199 h 240"/>
                    <a:gd name="T102" fmla="*/ 175 w 180"/>
                    <a:gd name="T103" fmla="*/ 210 h 240"/>
                    <a:gd name="T104" fmla="*/ 180 w 180"/>
                    <a:gd name="T105" fmla="*/ 22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77" name="Freeform 72">
                  <a:extLst>
                    <a:ext uri="{FF2B5EF4-FFF2-40B4-BE49-F238E27FC236}">
                      <a16:creationId xmlns="" xmlns:a16="http://schemas.microsoft.com/office/drawing/2014/main" id="{A0D3C4C2-A8CD-4062-94DB-FBFE9009CD99}"/>
                    </a:ext>
                  </a:extLst>
                </p:cNvPr>
                <p:cNvSpPr>
                  <a:spLocks/>
                </p:cNvSpPr>
                <p:nvPr>
                  <p:custDataLst>
                    <p:tags r:id="rId65"/>
                  </p:custDataLst>
                </p:nvPr>
              </p:nvSpPr>
              <p:spPr bwMode="auto">
                <a:xfrm>
                  <a:off x="8825893" y="3375531"/>
                  <a:ext cx="10134" cy="40535"/>
                </a:xfrm>
                <a:custGeom>
                  <a:avLst/>
                  <a:gdLst>
                    <a:gd name="T0" fmla="*/ 0 w 27"/>
                    <a:gd name="T1" fmla="*/ 0 h 30"/>
                    <a:gd name="T2" fmla="*/ 1 w 27"/>
                    <a:gd name="T3" fmla="*/ 5 h 30"/>
                    <a:gd name="T4" fmla="*/ 3 w 27"/>
                    <a:gd name="T5" fmla="*/ 11 h 30"/>
                    <a:gd name="T6" fmla="*/ 4 w 27"/>
                    <a:gd name="T7" fmla="*/ 14 h 30"/>
                    <a:gd name="T8" fmla="*/ 4 w 27"/>
                    <a:gd name="T9" fmla="*/ 19 h 30"/>
                    <a:gd name="T10" fmla="*/ 3 w 27"/>
                    <a:gd name="T11" fmla="*/ 24 h 30"/>
                    <a:gd name="T12" fmla="*/ 0 w 27"/>
                    <a:gd name="T13" fmla="*/ 30 h 30"/>
                    <a:gd name="T14" fmla="*/ 17 w 27"/>
                    <a:gd name="T15" fmla="*/ 27 h 30"/>
                    <a:gd name="T16" fmla="*/ 27 w 27"/>
                    <a:gd name="T17" fmla="*/ 24 h 30"/>
                    <a:gd name="T18" fmla="*/ 23 w 27"/>
                    <a:gd name="T19" fmla="*/ 20 h 30"/>
                    <a:gd name="T20" fmla="*/ 17 w 27"/>
                    <a:gd name="T21" fmla="*/ 12 h 30"/>
                    <a:gd name="T22" fmla="*/ 11 w 27"/>
                    <a:gd name="T23" fmla="*/ 8 h 30"/>
                    <a:gd name="T24" fmla="*/ 7 w 27"/>
                    <a:gd name="T25" fmla="*/ 4 h 30"/>
                    <a:gd name="T26" fmla="*/ 4 w 27"/>
                    <a:gd name="T27" fmla="*/ 1 h 30"/>
                    <a:gd name="T28" fmla="*/ 0 w 27"/>
                    <a:gd name="T2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grpSp>
              <p:nvGrpSpPr>
                <p:cNvPr id="78" name="Group 73">
                  <a:extLst>
                    <a:ext uri="{FF2B5EF4-FFF2-40B4-BE49-F238E27FC236}">
                      <a16:creationId xmlns="" xmlns:a16="http://schemas.microsoft.com/office/drawing/2014/main" id="{ABD536CB-2E84-43F2-B90C-0BFE96A11EF9}"/>
                    </a:ext>
                  </a:extLst>
                </p:cNvPr>
                <p:cNvGrpSpPr>
                  <a:grpSpLocks/>
                </p:cNvGrpSpPr>
                <p:nvPr>
                  <p:custDataLst>
                    <p:tags r:id="rId66"/>
                  </p:custDataLst>
                </p:nvPr>
              </p:nvGrpSpPr>
              <p:grpSpPr bwMode="auto">
                <a:xfrm>
                  <a:off x="8606329" y="3744848"/>
                  <a:ext cx="325404" cy="287121"/>
                  <a:chOff x="5372" y="3323"/>
                  <a:chExt cx="341" cy="253"/>
                </a:xfrm>
                <a:solidFill>
                  <a:srgbClr val="CDCDCD"/>
                </a:solidFill>
              </p:grpSpPr>
              <p:sp>
                <p:nvSpPr>
                  <p:cNvPr id="571" name="Freeform 74">
                    <a:extLst>
                      <a:ext uri="{FF2B5EF4-FFF2-40B4-BE49-F238E27FC236}">
                        <a16:creationId xmlns="" xmlns:a16="http://schemas.microsoft.com/office/drawing/2014/main" id="{3476F60F-DC9E-4FCA-AC9C-A30120A97496}"/>
                      </a:ext>
                    </a:extLst>
                  </p:cNvPr>
                  <p:cNvSpPr>
                    <a:spLocks/>
                  </p:cNvSpPr>
                  <p:nvPr/>
                </p:nvSpPr>
                <p:spPr bwMode="auto">
                  <a:xfrm>
                    <a:off x="5372" y="3565"/>
                    <a:ext cx="16" cy="11"/>
                  </a:xfrm>
                  <a:custGeom>
                    <a:avLst/>
                    <a:gdLst>
                      <a:gd name="T0" fmla="*/ 0 w 53"/>
                      <a:gd name="T1" fmla="*/ 31 h 33"/>
                      <a:gd name="T2" fmla="*/ 4 w 53"/>
                      <a:gd name="T3" fmla="*/ 26 h 33"/>
                      <a:gd name="T4" fmla="*/ 8 w 53"/>
                      <a:gd name="T5" fmla="*/ 21 h 33"/>
                      <a:gd name="T6" fmla="*/ 15 w 53"/>
                      <a:gd name="T7" fmla="*/ 16 h 33"/>
                      <a:gd name="T8" fmla="*/ 21 w 53"/>
                      <a:gd name="T9" fmla="*/ 11 h 33"/>
                      <a:gd name="T10" fmla="*/ 29 w 53"/>
                      <a:gd name="T11" fmla="*/ 7 h 33"/>
                      <a:gd name="T12" fmla="*/ 38 w 53"/>
                      <a:gd name="T13" fmla="*/ 3 h 33"/>
                      <a:gd name="T14" fmla="*/ 45 w 53"/>
                      <a:gd name="T15" fmla="*/ 1 h 33"/>
                      <a:gd name="T16" fmla="*/ 53 w 53"/>
                      <a:gd name="T17" fmla="*/ 0 h 33"/>
                      <a:gd name="T18" fmla="*/ 53 w 53"/>
                      <a:gd name="T19" fmla="*/ 18 h 33"/>
                      <a:gd name="T20" fmla="*/ 38 w 53"/>
                      <a:gd name="T21" fmla="*/ 24 h 33"/>
                      <a:gd name="T22" fmla="*/ 27 w 53"/>
                      <a:gd name="T23" fmla="*/ 30 h 33"/>
                      <a:gd name="T24" fmla="*/ 21 w 53"/>
                      <a:gd name="T25" fmla="*/ 32 h 33"/>
                      <a:gd name="T26" fmla="*/ 16 w 53"/>
                      <a:gd name="T27" fmla="*/ 33 h 33"/>
                      <a:gd name="T28" fmla="*/ 9 w 53"/>
                      <a:gd name="T29" fmla="*/ 33 h 33"/>
                      <a:gd name="T30" fmla="*/ 0 w 53"/>
                      <a:gd name="T31"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572" name="Freeform 75">
                    <a:extLst>
                      <a:ext uri="{FF2B5EF4-FFF2-40B4-BE49-F238E27FC236}">
                        <a16:creationId xmlns="" xmlns:a16="http://schemas.microsoft.com/office/drawing/2014/main" id="{EB31D1E1-B01E-43EA-B596-1FEB7A4D7CE3}"/>
                      </a:ext>
                    </a:extLst>
                  </p:cNvPr>
                  <p:cNvSpPr>
                    <a:spLocks/>
                  </p:cNvSpPr>
                  <p:nvPr/>
                </p:nvSpPr>
                <p:spPr bwMode="auto">
                  <a:xfrm>
                    <a:off x="5379" y="3446"/>
                    <a:ext cx="202" cy="117"/>
                  </a:xfrm>
                  <a:custGeom>
                    <a:avLst/>
                    <a:gdLst>
                      <a:gd name="T0" fmla="*/ 24 w 631"/>
                      <a:gd name="T1" fmla="*/ 296 h 358"/>
                      <a:gd name="T2" fmla="*/ 50 w 631"/>
                      <a:gd name="T3" fmla="*/ 290 h 358"/>
                      <a:gd name="T4" fmla="*/ 65 w 631"/>
                      <a:gd name="T5" fmla="*/ 277 h 358"/>
                      <a:gd name="T6" fmla="*/ 79 w 631"/>
                      <a:gd name="T7" fmla="*/ 253 h 358"/>
                      <a:gd name="T8" fmla="*/ 100 w 631"/>
                      <a:gd name="T9" fmla="*/ 256 h 358"/>
                      <a:gd name="T10" fmla="*/ 126 w 631"/>
                      <a:gd name="T11" fmla="*/ 253 h 358"/>
                      <a:gd name="T12" fmla="*/ 141 w 631"/>
                      <a:gd name="T13" fmla="*/ 247 h 358"/>
                      <a:gd name="T14" fmla="*/ 162 w 631"/>
                      <a:gd name="T15" fmla="*/ 229 h 358"/>
                      <a:gd name="T16" fmla="*/ 180 w 631"/>
                      <a:gd name="T17" fmla="*/ 208 h 358"/>
                      <a:gd name="T18" fmla="*/ 211 w 631"/>
                      <a:gd name="T19" fmla="*/ 192 h 358"/>
                      <a:gd name="T20" fmla="*/ 260 w 631"/>
                      <a:gd name="T21" fmla="*/ 175 h 358"/>
                      <a:gd name="T22" fmla="*/ 329 w 631"/>
                      <a:gd name="T23" fmla="*/ 152 h 358"/>
                      <a:gd name="T24" fmla="*/ 361 w 631"/>
                      <a:gd name="T25" fmla="*/ 137 h 358"/>
                      <a:gd name="T26" fmla="*/ 392 w 631"/>
                      <a:gd name="T27" fmla="*/ 130 h 358"/>
                      <a:gd name="T28" fmla="*/ 406 w 631"/>
                      <a:gd name="T29" fmla="*/ 127 h 358"/>
                      <a:gd name="T30" fmla="*/ 440 w 631"/>
                      <a:gd name="T31" fmla="*/ 107 h 358"/>
                      <a:gd name="T32" fmla="*/ 469 w 631"/>
                      <a:gd name="T33" fmla="*/ 80 h 358"/>
                      <a:gd name="T34" fmla="*/ 478 w 631"/>
                      <a:gd name="T35" fmla="*/ 63 h 358"/>
                      <a:gd name="T36" fmla="*/ 504 w 631"/>
                      <a:gd name="T37" fmla="*/ 58 h 358"/>
                      <a:gd name="T38" fmla="*/ 537 w 631"/>
                      <a:gd name="T39" fmla="*/ 36 h 358"/>
                      <a:gd name="T40" fmla="*/ 568 w 631"/>
                      <a:gd name="T41" fmla="*/ 11 h 358"/>
                      <a:gd name="T42" fmla="*/ 591 w 631"/>
                      <a:gd name="T43" fmla="*/ 0 h 358"/>
                      <a:gd name="T44" fmla="*/ 602 w 631"/>
                      <a:gd name="T45" fmla="*/ 22 h 358"/>
                      <a:gd name="T46" fmla="*/ 617 w 631"/>
                      <a:gd name="T47" fmla="*/ 30 h 358"/>
                      <a:gd name="T48" fmla="*/ 625 w 631"/>
                      <a:gd name="T49" fmla="*/ 46 h 358"/>
                      <a:gd name="T50" fmla="*/ 601 w 631"/>
                      <a:gd name="T51" fmla="*/ 88 h 358"/>
                      <a:gd name="T52" fmla="*/ 568 w 631"/>
                      <a:gd name="T53" fmla="*/ 125 h 358"/>
                      <a:gd name="T54" fmla="*/ 529 w 631"/>
                      <a:gd name="T55" fmla="*/ 154 h 358"/>
                      <a:gd name="T56" fmla="*/ 487 w 631"/>
                      <a:gd name="T57" fmla="*/ 173 h 358"/>
                      <a:gd name="T58" fmla="*/ 445 w 631"/>
                      <a:gd name="T59" fmla="*/ 180 h 358"/>
                      <a:gd name="T60" fmla="*/ 438 w 631"/>
                      <a:gd name="T61" fmla="*/ 197 h 358"/>
                      <a:gd name="T62" fmla="*/ 433 w 631"/>
                      <a:gd name="T63" fmla="*/ 200 h 358"/>
                      <a:gd name="T64" fmla="*/ 395 w 631"/>
                      <a:gd name="T65" fmla="*/ 199 h 358"/>
                      <a:gd name="T66" fmla="*/ 367 w 631"/>
                      <a:gd name="T67" fmla="*/ 210 h 358"/>
                      <a:gd name="T68" fmla="*/ 347 w 631"/>
                      <a:gd name="T69" fmla="*/ 212 h 358"/>
                      <a:gd name="T70" fmla="*/ 338 w 631"/>
                      <a:gd name="T71" fmla="*/ 204 h 358"/>
                      <a:gd name="T72" fmla="*/ 313 w 631"/>
                      <a:gd name="T73" fmla="*/ 241 h 358"/>
                      <a:gd name="T74" fmla="*/ 272 w 631"/>
                      <a:gd name="T75" fmla="*/ 280 h 358"/>
                      <a:gd name="T76" fmla="*/ 220 w 631"/>
                      <a:gd name="T77" fmla="*/ 315 h 358"/>
                      <a:gd name="T78" fmla="*/ 164 w 631"/>
                      <a:gd name="T79" fmla="*/ 343 h 358"/>
                      <a:gd name="T80" fmla="*/ 110 w 631"/>
                      <a:gd name="T81" fmla="*/ 357 h 358"/>
                      <a:gd name="T82" fmla="*/ 71 w 631"/>
                      <a:gd name="T83" fmla="*/ 356 h 358"/>
                      <a:gd name="T84" fmla="*/ 56 w 631"/>
                      <a:gd name="T85" fmla="*/ 348 h 358"/>
                      <a:gd name="T86" fmla="*/ 33 w 631"/>
                      <a:gd name="T87" fmla="*/ 34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573" name="Freeform 76">
                    <a:extLst>
                      <a:ext uri="{FF2B5EF4-FFF2-40B4-BE49-F238E27FC236}">
                        <a16:creationId xmlns="" xmlns:a16="http://schemas.microsoft.com/office/drawing/2014/main" id="{7A9D5B8A-5279-4A48-8965-D5D2FF4DAA1D}"/>
                      </a:ext>
                    </a:extLst>
                  </p:cNvPr>
                  <p:cNvSpPr>
                    <a:spLocks/>
                  </p:cNvSpPr>
                  <p:nvPr/>
                </p:nvSpPr>
                <p:spPr bwMode="auto">
                  <a:xfrm>
                    <a:off x="5597" y="3323"/>
                    <a:ext cx="116" cy="141"/>
                  </a:xfrm>
                  <a:custGeom>
                    <a:avLst/>
                    <a:gdLst>
                      <a:gd name="T0" fmla="*/ 60 w 359"/>
                      <a:gd name="T1" fmla="*/ 288 h 431"/>
                      <a:gd name="T2" fmla="*/ 95 w 359"/>
                      <a:gd name="T3" fmla="*/ 269 h 431"/>
                      <a:gd name="T4" fmla="*/ 165 w 359"/>
                      <a:gd name="T5" fmla="*/ 209 h 431"/>
                      <a:gd name="T6" fmla="*/ 172 w 359"/>
                      <a:gd name="T7" fmla="*/ 168 h 431"/>
                      <a:gd name="T8" fmla="*/ 180 w 359"/>
                      <a:gd name="T9" fmla="*/ 149 h 431"/>
                      <a:gd name="T10" fmla="*/ 193 w 359"/>
                      <a:gd name="T11" fmla="*/ 137 h 431"/>
                      <a:gd name="T12" fmla="*/ 190 w 359"/>
                      <a:gd name="T13" fmla="*/ 126 h 431"/>
                      <a:gd name="T14" fmla="*/ 179 w 359"/>
                      <a:gd name="T15" fmla="*/ 94 h 431"/>
                      <a:gd name="T16" fmla="*/ 173 w 359"/>
                      <a:gd name="T17" fmla="*/ 34 h 431"/>
                      <a:gd name="T18" fmla="*/ 182 w 359"/>
                      <a:gd name="T19" fmla="*/ 0 h 431"/>
                      <a:gd name="T20" fmla="*/ 194 w 359"/>
                      <a:gd name="T21" fmla="*/ 11 h 431"/>
                      <a:gd name="T22" fmla="*/ 207 w 359"/>
                      <a:gd name="T23" fmla="*/ 29 h 431"/>
                      <a:gd name="T24" fmla="*/ 231 w 359"/>
                      <a:gd name="T25" fmla="*/ 56 h 431"/>
                      <a:gd name="T26" fmla="*/ 238 w 359"/>
                      <a:gd name="T27" fmla="*/ 73 h 431"/>
                      <a:gd name="T28" fmla="*/ 237 w 359"/>
                      <a:gd name="T29" fmla="*/ 88 h 431"/>
                      <a:gd name="T30" fmla="*/ 226 w 359"/>
                      <a:gd name="T31" fmla="*/ 102 h 431"/>
                      <a:gd name="T32" fmla="*/ 205 w 359"/>
                      <a:gd name="T33" fmla="*/ 120 h 431"/>
                      <a:gd name="T34" fmla="*/ 199 w 359"/>
                      <a:gd name="T35" fmla="*/ 131 h 431"/>
                      <a:gd name="T36" fmla="*/ 199 w 359"/>
                      <a:gd name="T37" fmla="*/ 149 h 431"/>
                      <a:gd name="T38" fmla="*/ 205 w 359"/>
                      <a:gd name="T39" fmla="*/ 159 h 431"/>
                      <a:gd name="T40" fmla="*/ 226 w 359"/>
                      <a:gd name="T41" fmla="*/ 160 h 431"/>
                      <a:gd name="T42" fmla="*/ 233 w 359"/>
                      <a:gd name="T43" fmla="*/ 153 h 431"/>
                      <a:gd name="T44" fmla="*/ 232 w 359"/>
                      <a:gd name="T45" fmla="*/ 135 h 431"/>
                      <a:gd name="T46" fmla="*/ 259 w 359"/>
                      <a:gd name="T47" fmla="*/ 193 h 431"/>
                      <a:gd name="T48" fmla="*/ 271 w 359"/>
                      <a:gd name="T49" fmla="*/ 208 h 431"/>
                      <a:gd name="T50" fmla="*/ 291 w 359"/>
                      <a:gd name="T51" fmla="*/ 219 h 431"/>
                      <a:gd name="T52" fmla="*/ 300 w 359"/>
                      <a:gd name="T53" fmla="*/ 217 h 431"/>
                      <a:gd name="T54" fmla="*/ 312 w 359"/>
                      <a:gd name="T55" fmla="*/ 206 h 431"/>
                      <a:gd name="T56" fmla="*/ 341 w 359"/>
                      <a:gd name="T57" fmla="*/ 194 h 431"/>
                      <a:gd name="T58" fmla="*/ 355 w 359"/>
                      <a:gd name="T59" fmla="*/ 206 h 431"/>
                      <a:gd name="T60" fmla="*/ 342 w 359"/>
                      <a:gd name="T61" fmla="*/ 240 h 431"/>
                      <a:gd name="T62" fmla="*/ 321 w 359"/>
                      <a:gd name="T63" fmla="*/ 261 h 431"/>
                      <a:gd name="T64" fmla="*/ 295 w 359"/>
                      <a:gd name="T65" fmla="*/ 275 h 431"/>
                      <a:gd name="T66" fmla="*/ 247 w 359"/>
                      <a:gd name="T67" fmla="*/ 288 h 431"/>
                      <a:gd name="T68" fmla="*/ 208 w 359"/>
                      <a:gd name="T69" fmla="*/ 299 h 431"/>
                      <a:gd name="T70" fmla="*/ 193 w 359"/>
                      <a:gd name="T71" fmla="*/ 308 h 431"/>
                      <a:gd name="T72" fmla="*/ 179 w 359"/>
                      <a:gd name="T73" fmla="*/ 339 h 431"/>
                      <a:gd name="T74" fmla="*/ 163 w 359"/>
                      <a:gd name="T75" fmla="*/ 356 h 431"/>
                      <a:gd name="T76" fmla="*/ 109 w 359"/>
                      <a:gd name="T77" fmla="*/ 394 h 431"/>
                      <a:gd name="T78" fmla="*/ 48 w 359"/>
                      <a:gd name="T79" fmla="*/ 424 h 431"/>
                      <a:gd name="T80" fmla="*/ 19 w 359"/>
                      <a:gd name="T81" fmla="*/ 431 h 431"/>
                      <a:gd name="T82" fmla="*/ 7 w 359"/>
                      <a:gd name="T83" fmla="*/ 426 h 431"/>
                      <a:gd name="T84" fmla="*/ 1 w 359"/>
                      <a:gd name="T85" fmla="*/ 415 h 431"/>
                      <a:gd name="T86" fmla="*/ 1 w 359"/>
                      <a:gd name="T87" fmla="*/ 402 h 431"/>
                      <a:gd name="T88" fmla="*/ 9 w 359"/>
                      <a:gd name="T89" fmla="*/ 391 h 431"/>
                      <a:gd name="T90" fmla="*/ 56 w 359"/>
                      <a:gd name="T91" fmla="*/ 374 h 431"/>
                      <a:gd name="T92" fmla="*/ 73 w 359"/>
                      <a:gd name="T93" fmla="*/ 351 h 431"/>
                      <a:gd name="T94" fmla="*/ 71 w 359"/>
                      <a:gd name="T95" fmla="*/ 335 h 431"/>
                      <a:gd name="T96" fmla="*/ 64 w 359"/>
                      <a:gd name="T97" fmla="*/ 326 h 431"/>
                      <a:gd name="T98" fmla="*/ 51 w 359"/>
                      <a:gd name="T99" fmla="*/ 320 h 431"/>
                      <a:gd name="T100" fmla="*/ 19 w 359"/>
                      <a:gd name="T101" fmla="*/ 32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grpSp>
            <p:sp>
              <p:nvSpPr>
                <p:cNvPr id="79" name="Freeform 77">
                  <a:extLst>
                    <a:ext uri="{FF2B5EF4-FFF2-40B4-BE49-F238E27FC236}">
                      <a16:creationId xmlns="" xmlns:a16="http://schemas.microsoft.com/office/drawing/2014/main" id="{F40AB4E2-9896-4CF6-82D4-2D046F334508}"/>
                    </a:ext>
                  </a:extLst>
                </p:cNvPr>
                <p:cNvSpPr>
                  <a:spLocks/>
                </p:cNvSpPr>
                <p:nvPr>
                  <p:custDataLst>
                    <p:tags r:id="rId67"/>
                  </p:custDataLst>
                </p:nvPr>
              </p:nvSpPr>
              <p:spPr bwMode="auto">
                <a:xfrm>
                  <a:off x="8352987" y="2792280"/>
                  <a:ext cx="6756" cy="40535"/>
                </a:xfrm>
                <a:custGeom>
                  <a:avLst/>
                  <a:gdLst>
                    <a:gd name="T0" fmla="*/ 0 w 21"/>
                    <a:gd name="T1" fmla="*/ 43 h 62"/>
                    <a:gd name="T2" fmla="*/ 1 w 21"/>
                    <a:gd name="T3" fmla="*/ 29 h 62"/>
                    <a:gd name="T4" fmla="*/ 3 w 21"/>
                    <a:gd name="T5" fmla="*/ 17 h 62"/>
                    <a:gd name="T6" fmla="*/ 4 w 21"/>
                    <a:gd name="T7" fmla="*/ 11 h 62"/>
                    <a:gd name="T8" fmla="*/ 6 w 21"/>
                    <a:gd name="T9" fmla="*/ 7 h 62"/>
                    <a:gd name="T10" fmla="*/ 9 w 21"/>
                    <a:gd name="T11" fmla="*/ 3 h 62"/>
                    <a:gd name="T12" fmla="*/ 15 w 21"/>
                    <a:gd name="T13" fmla="*/ 0 h 62"/>
                    <a:gd name="T14" fmla="*/ 15 w 21"/>
                    <a:gd name="T15" fmla="*/ 15 h 62"/>
                    <a:gd name="T16" fmla="*/ 18 w 21"/>
                    <a:gd name="T17" fmla="*/ 31 h 62"/>
                    <a:gd name="T18" fmla="*/ 20 w 21"/>
                    <a:gd name="T19" fmla="*/ 44 h 62"/>
                    <a:gd name="T20" fmla="*/ 21 w 21"/>
                    <a:gd name="T21" fmla="*/ 49 h 62"/>
                    <a:gd name="T22" fmla="*/ 10 w 21"/>
                    <a:gd name="T23" fmla="*/ 55 h 62"/>
                    <a:gd name="T24" fmla="*/ 0 w 21"/>
                    <a:gd name="T25" fmla="*/ 62 h 62"/>
                    <a:gd name="T26" fmla="*/ 0 w 21"/>
                    <a:gd name="T2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80" name="Freeform 78">
                  <a:extLst>
                    <a:ext uri="{FF2B5EF4-FFF2-40B4-BE49-F238E27FC236}">
                      <a16:creationId xmlns="" xmlns:a16="http://schemas.microsoft.com/office/drawing/2014/main" id="{C76C0EC6-A3E9-42D8-AD95-7EB2D9E7FF6B}"/>
                    </a:ext>
                  </a:extLst>
                </p:cNvPr>
                <p:cNvSpPr>
                  <a:spLocks/>
                </p:cNvSpPr>
                <p:nvPr>
                  <p:custDataLst>
                    <p:tags r:id="rId68"/>
                  </p:custDataLst>
                </p:nvPr>
              </p:nvSpPr>
              <p:spPr bwMode="auto">
                <a:xfrm>
                  <a:off x="8868679" y="3431829"/>
                  <a:ext cx="10134" cy="40535"/>
                </a:xfrm>
                <a:custGeom>
                  <a:avLst/>
                  <a:gdLst>
                    <a:gd name="T0" fmla="*/ 0 w 33"/>
                    <a:gd name="T1" fmla="*/ 0 h 24"/>
                    <a:gd name="T2" fmla="*/ 5 w 33"/>
                    <a:gd name="T3" fmla="*/ 5 h 24"/>
                    <a:gd name="T4" fmla="*/ 10 w 33"/>
                    <a:gd name="T5" fmla="*/ 10 h 24"/>
                    <a:gd name="T6" fmla="*/ 11 w 33"/>
                    <a:gd name="T7" fmla="*/ 13 h 24"/>
                    <a:gd name="T8" fmla="*/ 12 w 33"/>
                    <a:gd name="T9" fmla="*/ 16 h 24"/>
                    <a:gd name="T10" fmla="*/ 13 w 33"/>
                    <a:gd name="T11" fmla="*/ 20 h 24"/>
                    <a:gd name="T12" fmla="*/ 13 w 33"/>
                    <a:gd name="T13" fmla="*/ 24 h 24"/>
                    <a:gd name="T14" fmla="*/ 33 w 33"/>
                    <a:gd name="T15" fmla="*/ 0 h 24"/>
                    <a:gd name="T16" fmla="*/ 24 w 33"/>
                    <a:gd name="T17" fmla="*/ 0 h 24"/>
                    <a:gd name="T18" fmla="*/ 16 w 33"/>
                    <a:gd name="T19" fmla="*/ 0 h 24"/>
                    <a:gd name="T20" fmla="*/ 9 w 33"/>
                    <a:gd name="T21" fmla="*/ 0 h 24"/>
                    <a:gd name="T22" fmla="*/ 0 w 33"/>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81" name="Freeform 79">
                  <a:extLst>
                    <a:ext uri="{FF2B5EF4-FFF2-40B4-BE49-F238E27FC236}">
                      <a16:creationId xmlns="" xmlns:a16="http://schemas.microsoft.com/office/drawing/2014/main" id="{F082A30A-C6A0-4C4E-B122-58D61D92530C}"/>
                    </a:ext>
                  </a:extLst>
                </p:cNvPr>
                <p:cNvSpPr>
                  <a:spLocks/>
                </p:cNvSpPr>
                <p:nvPr>
                  <p:custDataLst>
                    <p:tags r:id="rId69"/>
                  </p:custDataLst>
                </p:nvPr>
              </p:nvSpPr>
              <p:spPr bwMode="auto">
                <a:xfrm>
                  <a:off x="8884443" y="3438585"/>
                  <a:ext cx="12386" cy="41660"/>
                </a:xfrm>
                <a:custGeom>
                  <a:avLst/>
                  <a:gdLst>
                    <a:gd name="T0" fmla="*/ 26 w 33"/>
                    <a:gd name="T1" fmla="*/ 25 h 25"/>
                    <a:gd name="T2" fmla="*/ 29 w 33"/>
                    <a:gd name="T3" fmla="*/ 22 h 25"/>
                    <a:gd name="T4" fmla="*/ 33 w 33"/>
                    <a:gd name="T5" fmla="*/ 18 h 25"/>
                    <a:gd name="T6" fmla="*/ 33 w 33"/>
                    <a:gd name="T7" fmla="*/ 0 h 25"/>
                    <a:gd name="T8" fmla="*/ 25 w 33"/>
                    <a:gd name="T9" fmla="*/ 0 h 25"/>
                    <a:gd name="T10" fmla="*/ 16 w 33"/>
                    <a:gd name="T11" fmla="*/ 0 h 25"/>
                    <a:gd name="T12" fmla="*/ 6 w 33"/>
                    <a:gd name="T13" fmla="*/ 0 h 25"/>
                    <a:gd name="T14" fmla="*/ 0 w 33"/>
                    <a:gd name="T15" fmla="*/ 0 h 25"/>
                    <a:gd name="T16" fmla="*/ 26 w 33"/>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82" name="Freeform 80">
                  <a:extLst>
                    <a:ext uri="{FF2B5EF4-FFF2-40B4-BE49-F238E27FC236}">
                      <a16:creationId xmlns="" xmlns:a16="http://schemas.microsoft.com/office/drawing/2014/main" id="{52D3E04D-DECA-4D1C-A5AE-04A42B981CE1}"/>
                    </a:ext>
                  </a:extLst>
                </p:cNvPr>
                <p:cNvSpPr>
                  <a:spLocks/>
                </p:cNvSpPr>
                <p:nvPr>
                  <p:custDataLst>
                    <p:tags r:id="rId70"/>
                  </p:custDataLst>
                </p:nvPr>
              </p:nvSpPr>
              <p:spPr bwMode="auto">
                <a:xfrm>
                  <a:off x="8398025" y="2784398"/>
                  <a:ext cx="1126" cy="39409"/>
                </a:xfrm>
                <a:custGeom>
                  <a:avLst/>
                  <a:gdLst>
                    <a:gd name="T0" fmla="*/ 0 w 7"/>
                    <a:gd name="T1" fmla="*/ 7 w 7"/>
                    <a:gd name="T2" fmla="*/ 0 w 7"/>
                  </a:gdLst>
                  <a:ahLst/>
                  <a:cxnLst>
                    <a:cxn ang="0">
                      <a:pos x="T0" y="0"/>
                    </a:cxn>
                    <a:cxn ang="0">
                      <a:pos x="T1" y="0"/>
                    </a:cxn>
                    <a:cxn ang="0">
                      <a:pos x="T2" y="0"/>
                    </a:cxn>
                  </a:cxnLst>
                  <a:rect l="0" t="0" r="r" b="b"/>
                  <a:pathLst>
                    <a:path w="7">
                      <a:moveTo>
                        <a:pt x="0" y="0"/>
                      </a:moveTo>
                      <a:lnTo>
                        <a:pt x="7" y="0"/>
                      </a:lnTo>
                      <a:lnTo>
                        <a:pt x="0"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83" name="Freeform 81">
                  <a:extLst>
                    <a:ext uri="{FF2B5EF4-FFF2-40B4-BE49-F238E27FC236}">
                      <a16:creationId xmlns="" xmlns:a16="http://schemas.microsoft.com/office/drawing/2014/main" id="{38ADD0C3-48EB-4EC8-A6AB-832CFE46666C}"/>
                    </a:ext>
                  </a:extLst>
                </p:cNvPr>
                <p:cNvSpPr>
                  <a:spLocks/>
                </p:cNvSpPr>
                <p:nvPr>
                  <p:custDataLst>
                    <p:tags r:id="rId71"/>
                  </p:custDataLst>
                </p:nvPr>
              </p:nvSpPr>
              <p:spPr bwMode="auto">
                <a:xfrm>
                  <a:off x="8439686" y="2744990"/>
                  <a:ext cx="4504" cy="40535"/>
                </a:xfrm>
                <a:custGeom>
                  <a:avLst/>
                  <a:gdLst>
                    <a:gd name="T0" fmla="*/ 16 w 16"/>
                    <a:gd name="T1" fmla="*/ 0 h 25"/>
                    <a:gd name="T2" fmla="*/ 16 w 16"/>
                    <a:gd name="T3" fmla="*/ 6 h 25"/>
                    <a:gd name="T4" fmla="*/ 14 w 16"/>
                    <a:gd name="T5" fmla="*/ 13 h 25"/>
                    <a:gd name="T6" fmla="*/ 13 w 16"/>
                    <a:gd name="T7" fmla="*/ 16 h 25"/>
                    <a:gd name="T8" fmla="*/ 11 w 16"/>
                    <a:gd name="T9" fmla="*/ 20 h 25"/>
                    <a:gd name="T10" fmla="*/ 7 w 16"/>
                    <a:gd name="T11" fmla="*/ 23 h 25"/>
                    <a:gd name="T12" fmla="*/ 3 w 16"/>
                    <a:gd name="T13" fmla="*/ 25 h 25"/>
                    <a:gd name="T14" fmla="*/ 1 w 16"/>
                    <a:gd name="T15" fmla="*/ 24 h 25"/>
                    <a:gd name="T16" fmla="*/ 0 w 16"/>
                    <a:gd name="T17" fmla="*/ 21 h 25"/>
                    <a:gd name="T18" fmla="*/ 1 w 16"/>
                    <a:gd name="T19" fmla="*/ 18 h 25"/>
                    <a:gd name="T20" fmla="*/ 2 w 16"/>
                    <a:gd name="T21" fmla="*/ 13 h 25"/>
                    <a:gd name="T22" fmla="*/ 4 w 16"/>
                    <a:gd name="T23" fmla="*/ 9 h 25"/>
                    <a:gd name="T24" fmla="*/ 7 w 16"/>
                    <a:gd name="T25" fmla="*/ 4 h 25"/>
                    <a:gd name="T26" fmla="*/ 11 w 16"/>
                    <a:gd name="T27" fmla="*/ 1 h 25"/>
                    <a:gd name="T28" fmla="*/ 16 w 16"/>
                    <a:gd name="T29"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84" name="Freeform 82">
                  <a:extLst>
                    <a:ext uri="{FF2B5EF4-FFF2-40B4-BE49-F238E27FC236}">
                      <a16:creationId xmlns="" xmlns:a16="http://schemas.microsoft.com/office/drawing/2014/main" id="{A500BC66-197B-4953-A45D-837FB7769347}"/>
                    </a:ext>
                  </a:extLst>
                </p:cNvPr>
                <p:cNvSpPr>
                  <a:spLocks/>
                </p:cNvSpPr>
                <p:nvPr>
                  <p:custDataLst>
                    <p:tags r:id="rId72"/>
                  </p:custDataLst>
                </p:nvPr>
              </p:nvSpPr>
              <p:spPr bwMode="auto">
                <a:xfrm>
                  <a:off x="8519630" y="2666172"/>
                  <a:ext cx="3378" cy="40535"/>
                </a:xfrm>
                <a:custGeom>
                  <a:avLst/>
                  <a:gdLst>
                    <a:gd name="T0" fmla="*/ 0 w 14"/>
                    <a:gd name="T1" fmla="*/ 0 h 18"/>
                    <a:gd name="T2" fmla="*/ 3 w 14"/>
                    <a:gd name="T3" fmla="*/ 1 h 18"/>
                    <a:gd name="T4" fmla="*/ 5 w 14"/>
                    <a:gd name="T5" fmla="*/ 2 h 18"/>
                    <a:gd name="T6" fmla="*/ 7 w 14"/>
                    <a:gd name="T7" fmla="*/ 4 h 18"/>
                    <a:gd name="T8" fmla="*/ 9 w 14"/>
                    <a:gd name="T9" fmla="*/ 7 h 18"/>
                    <a:gd name="T10" fmla="*/ 13 w 14"/>
                    <a:gd name="T11" fmla="*/ 13 h 18"/>
                    <a:gd name="T12" fmla="*/ 14 w 14"/>
                    <a:gd name="T13" fmla="*/ 18 h 18"/>
                    <a:gd name="T14" fmla="*/ 0 w 14"/>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85" name="Freeform 83">
                  <a:extLst>
                    <a:ext uri="{FF2B5EF4-FFF2-40B4-BE49-F238E27FC236}">
                      <a16:creationId xmlns="" xmlns:a16="http://schemas.microsoft.com/office/drawing/2014/main" id="{027BB1EA-B5CE-48CA-B592-C3D7CD118554}"/>
                    </a:ext>
                  </a:extLst>
                </p:cNvPr>
                <p:cNvSpPr>
                  <a:spLocks/>
                </p:cNvSpPr>
                <p:nvPr>
                  <p:custDataLst>
                    <p:tags r:id="rId73"/>
                  </p:custDataLst>
                </p:nvPr>
              </p:nvSpPr>
              <p:spPr bwMode="auto">
                <a:xfrm>
                  <a:off x="8627723" y="3161597"/>
                  <a:ext cx="19142" cy="41660"/>
                </a:xfrm>
                <a:custGeom>
                  <a:avLst/>
                  <a:gdLst>
                    <a:gd name="T0" fmla="*/ 0 w 67"/>
                    <a:gd name="T1" fmla="*/ 0 h 74"/>
                    <a:gd name="T2" fmla="*/ 1 w 67"/>
                    <a:gd name="T3" fmla="*/ 17 h 74"/>
                    <a:gd name="T4" fmla="*/ 3 w 67"/>
                    <a:gd name="T5" fmla="*/ 30 h 74"/>
                    <a:gd name="T6" fmla="*/ 7 w 67"/>
                    <a:gd name="T7" fmla="*/ 41 h 74"/>
                    <a:gd name="T8" fmla="*/ 12 w 67"/>
                    <a:gd name="T9" fmla="*/ 50 h 74"/>
                    <a:gd name="T10" fmla="*/ 17 w 67"/>
                    <a:gd name="T11" fmla="*/ 58 h 74"/>
                    <a:gd name="T12" fmla="*/ 23 w 67"/>
                    <a:gd name="T13" fmla="*/ 64 h 74"/>
                    <a:gd name="T14" fmla="*/ 28 w 67"/>
                    <a:gd name="T15" fmla="*/ 69 h 74"/>
                    <a:gd name="T16" fmla="*/ 33 w 67"/>
                    <a:gd name="T17" fmla="*/ 74 h 74"/>
                    <a:gd name="T18" fmla="*/ 44 w 67"/>
                    <a:gd name="T19" fmla="*/ 65 h 74"/>
                    <a:gd name="T20" fmla="*/ 55 w 67"/>
                    <a:gd name="T21" fmla="*/ 55 h 74"/>
                    <a:gd name="T22" fmla="*/ 59 w 67"/>
                    <a:gd name="T23" fmla="*/ 49 h 74"/>
                    <a:gd name="T24" fmla="*/ 63 w 67"/>
                    <a:gd name="T25" fmla="*/ 43 h 74"/>
                    <a:gd name="T26" fmla="*/ 66 w 67"/>
                    <a:gd name="T27" fmla="*/ 37 h 74"/>
                    <a:gd name="T28" fmla="*/ 67 w 67"/>
                    <a:gd name="T29" fmla="*/ 30 h 74"/>
                    <a:gd name="T30" fmla="*/ 67 w 67"/>
                    <a:gd name="T31" fmla="*/ 25 h 74"/>
                    <a:gd name="T32" fmla="*/ 67 w 67"/>
                    <a:gd name="T33" fmla="*/ 18 h 74"/>
                    <a:gd name="T34" fmla="*/ 67 w 67"/>
                    <a:gd name="T35" fmla="*/ 9 h 74"/>
                    <a:gd name="T36" fmla="*/ 67 w 67"/>
                    <a:gd name="T37" fmla="*/ 0 h 74"/>
                    <a:gd name="T38" fmla="*/ 48 w 67"/>
                    <a:gd name="T39" fmla="*/ 0 h 74"/>
                    <a:gd name="T40" fmla="*/ 33 w 67"/>
                    <a:gd name="T41" fmla="*/ 0 h 74"/>
                    <a:gd name="T42" fmla="*/ 17 w 67"/>
                    <a:gd name="T43" fmla="*/ 0 h 74"/>
                    <a:gd name="T44" fmla="*/ 0 w 67"/>
                    <a:gd name="T4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86" name="Freeform 84">
                  <a:extLst>
                    <a:ext uri="{FF2B5EF4-FFF2-40B4-BE49-F238E27FC236}">
                      <a16:creationId xmlns="" xmlns:a16="http://schemas.microsoft.com/office/drawing/2014/main" id="{DB90CB4A-7798-4D8E-86A6-21FB0624E574}"/>
                    </a:ext>
                  </a:extLst>
                </p:cNvPr>
                <p:cNvSpPr>
                  <a:spLocks/>
                </p:cNvSpPr>
                <p:nvPr>
                  <p:custDataLst>
                    <p:tags r:id="rId74"/>
                  </p:custDataLst>
                </p:nvPr>
              </p:nvSpPr>
              <p:spPr bwMode="auto">
                <a:xfrm>
                  <a:off x="8672761" y="3171730"/>
                  <a:ext cx="9008" cy="40535"/>
                </a:xfrm>
                <a:custGeom>
                  <a:avLst/>
                  <a:gdLst>
                    <a:gd name="T0" fmla="*/ 0 w 34"/>
                    <a:gd name="T1" fmla="*/ 0 h 38"/>
                    <a:gd name="T2" fmla="*/ 2 w 34"/>
                    <a:gd name="T3" fmla="*/ 3 h 38"/>
                    <a:gd name="T4" fmla="*/ 4 w 34"/>
                    <a:gd name="T5" fmla="*/ 7 h 38"/>
                    <a:gd name="T6" fmla="*/ 5 w 34"/>
                    <a:gd name="T7" fmla="*/ 11 h 38"/>
                    <a:gd name="T8" fmla="*/ 6 w 34"/>
                    <a:gd name="T9" fmla="*/ 16 h 38"/>
                    <a:gd name="T10" fmla="*/ 10 w 34"/>
                    <a:gd name="T11" fmla="*/ 28 h 38"/>
                    <a:gd name="T12" fmla="*/ 13 w 34"/>
                    <a:gd name="T13" fmla="*/ 38 h 38"/>
                    <a:gd name="T14" fmla="*/ 16 w 34"/>
                    <a:gd name="T15" fmla="*/ 37 h 38"/>
                    <a:gd name="T16" fmla="*/ 20 w 34"/>
                    <a:gd name="T17" fmla="*/ 36 h 38"/>
                    <a:gd name="T18" fmla="*/ 23 w 34"/>
                    <a:gd name="T19" fmla="*/ 34 h 38"/>
                    <a:gd name="T20" fmla="*/ 26 w 34"/>
                    <a:gd name="T21" fmla="*/ 31 h 38"/>
                    <a:gd name="T22" fmla="*/ 28 w 34"/>
                    <a:gd name="T23" fmla="*/ 28 h 38"/>
                    <a:gd name="T24" fmla="*/ 32 w 34"/>
                    <a:gd name="T25" fmla="*/ 24 h 38"/>
                    <a:gd name="T26" fmla="*/ 33 w 34"/>
                    <a:gd name="T27" fmla="*/ 21 h 38"/>
                    <a:gd name="T28" fmla="*/ 34 w 34"/>
                    <a:gd name="T29" fmla="*/ 19 h 38"/>
                    <a:gd name="T30" fmla="*/ 31 w 34"/>
                    <a:gd name="T31" fmla="*/ 18 h 38"/>
                    <a:gd name="T32" fmla="*/ 28 w 34"/>
                    <a:gd name="T33" fmla="*/ 17 h 38"/>
                    <a:gd name="T34" fmla="*/ 26 w 34"/>
                    <a:gd name="T35" fmla="*/ 14 h 38"/>
                    <a:gd name="T36" fmla="*/ 24 w 34"/>
                    <a:gd name="T37" fmla="*/ 12 h 38"/>
                    <a:gd name="T38" fmla="*/ 19 w 34"/>
                    <a:gd name="T39" fmla="*/ 6 h 38"/>
                    <a:gd name="T40" fmla="*/ 13 w 34"/>
                    <a:gd name="T41" fmla="*/ 0 h 38"/>
                    <a:gd name="T42" fmla="*/ 6 w 34"/>
                    <a:gd name="T43" fmla="*/ 0 h 38"/>
                    <a:gd name="T44" fmla="*/ 0 w 34"/>
                    <a:gd name="T4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87" name="Freeform 85">
                  <a:extLst>
                    <a:ext uri="{FF2B5EF4-FFF2-40B4-BE49-F238E27FC236}">
                      <a16:creationId xmlns="" xmlns:a16="http://schemas.microsoft.com/office/drawing/2014/main" id="{E8D28A39-A360-4BCD-8F12-523B32AFC8A4}"/>
                    </a:ext>
                  </a:extLst>
                </p:cNvPr>
                <p:cNvSpPr>
                  <a:spLocks/>
                </p:cNvSpPr>
                <p:nvPr>
                  <p:custDataLst>
                    <p:tags r:id="rId75"/>
                  </p:custDataLst>
                </p:nvPr>
              </p:nvSpPr>
              <p:spPr bwMode="auto">
                <a:xfrm>
                  <a:off x="8571425" y="3012969"/>
                  <a:ext cx="18015" cy="39409"/>
                </a:xfrm>
                <a:custGeom>
                  <a:avLst/>
                  <a:gdLst>
                    <a:gd name="T0" fmla="*/ 53 w 53"/>
                    <a:gd name="T1" fmla="*/ 23 h 23"/>
                    <a:gd name="T2" fmla="*/ 53 w 53"/>
                    <a:gd name="T3" fmla="*/ 4 h 23"/>
                    <a:gd name="T4" fmla="*/ 49 w 53"/>
                    <a:gd name="T5" fmla="*/ 2 h 23"/>
                    <a:gd name="T6" fmla="*/ 45 w 53"/>
                    <a:gd name="T7" fmla="*/ 1 h 23"/>
                    <a:gd name="T8" fmla="*/ 42 w 53"/>
                    <a:gd name="T9" fmla="*/ 0 h 23"/>
                    <a:gd name="T10" fmla="*/ 38 w 53"/>
                    <a:gd name="T11" fmla="*/ 0 h 23"/>
                    <a:gd name="T12" fmla="*/ 31 w 53"/>
                    <a:gd name="T13" fmla="*/ 1 h 23"/>
                    <a:gd name="T14" fmla="*/ 24 w 53"/>
                    <a:gd name="T15" fmla="*/ 4 h 23"/>
                    <a:gd name="T16" fmla="*/ 11 w 53"/>
                    <a:gd name="T17" fmla="*/ 13 h 23"/>
                    <a:gd name="T18" fmla="*/ 0 w 53"/>
                    <a:gd name="T19" fmla="*/ 23 h 23"/>
                    <a:gd name="T20" fmla="*/ 53 w 53"/>
                    <a:gd name="T21"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88" name="Freeform 86">
                  <a:extLst>
                    <a:ext uri="{FF2B5EF4-FFF2-40B4-BE49-F238E27FC236}">
                      <a16:creationId xmlns="" xmlns:a16="http://schemas.microsoft.com/office/drawing/2014/main" id="{0177D1B0-8B78-45F4-8F50-5421D73D6932}"/>
                    </a:ext>
                  </a:extLst>
                </p:cNvPr>
                <p:cNvSpPr>
                  <a:spLocks/>
                </p:cNvSpPr>
                <p:nvPr>
                  <p:custDataLst>
                    <p:tags r:id="rId76"/>
                  </p:custDataLst>
                </p:nvPr>
              </p:nvSpPr>
              <p:spPr bwMode="auto">
                <a:xfrm>
                  <a:off x="8530889" y="2994954"/>
                  <a:ext cx="7882" cy="40535"/>
                </a:xfrm>
                <a:custGeom>
                  <a:avLst/>
                  <a:gdLst>
                    <a:gd name="T0" fmla="*/ 0 w 26"/>
                    <a:gd name="T1" fmla="*/ 0 h 12"/>
                    <a:gd name="T2" fmla="*/ 4 w 26"/>
                    <a:gd name="T3" fmla="*/ 4 h 12"/>
                    <a:gd name="T4" fmla="*/ 11 w 26"/>
                    <a:gd name="T5" fmla="*/ 8 h 12"/>
                    <a:gd name="T6" fmla="*/ 14 w 26"/>
                    <a:gd name="T7" fmla="*/ 9 h 12"/>
                    <a:gd name="T8" fmla="*/ 18 w 26"/>
                    <a:gd name="T9" fmla="*/ 11 h 12"/>
                    <a:gd name="T10" fmla="*/ 22 w 26"/>
                    <a:gd name="T11" fmla="*/ 11 h 12"/>
                    <a:gd name="T12" fmla="*/ 26 w 26"/>
                    <a:gd name="T13" fmla="*/ 12 h 12"/>
                    <a:gd name="T14" fmla="*/ 21 w 26"/>
                    <a:gd name="T15" fmla="*/ 7 h 12"/>
                    <a:gd name="T16" fmla="*/ 13 w 26"/>
                    <a:gd name="T17" fmla="*/ 3 h 12"/>
                    <a:gd name="T18" fmla="*/ 5 w 26"/>
                    <a:gd name="T19" fmla="*/ 1 h 12"/>
                    <a:gd name="T20" fmla="*/ 0 w 26"/>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89" name="Freeform 87">
                  <a:extLst>
                    <a:ext uri="{FF2B5EF4-FFF2-40B4-BE49-F238E27FC236}">
                      <a16:creationId xmlns="" xmlns:a16="http://schemas.microsoft.com/office/drawing/2014/main" id="{173C89A9-DA1B-437B-BCCB-0A61E6851C74}"/>
                    </a:ext>
                  </a:extLst>
                </p:cNvPr>
                <p:cNvSpPr>
                  <a:spLocks/>
                </p:cNvSpPr>
                <p:nvPr>
                  <p:custDataLst>
                    <p:tags r:id="rId77"/>
                  </p:custDataLst>
                </p:nvPr>
              </p:nvSpPr>
              <p:spPr bwMode="auto">
                <a:xfrm>
                  <a:off x="8672761" y="3230281"/>
                  <a:ext cx="22520" cy="40535"/>
                </a:xfrm>
                <a:custGeom>
                  <a:avLst/>
                  <a:gdLst>
                    <a:gd name="T0" fmla="*/ 0 w 73"/>
                    <a:gd name="T1" fmla="*/ 20 w 73"/>
                    <a:gd name="T2" fmla="*/ 37 w 73"/>
                    <a:gd name="T3" fmla="*/ 55 w 73"/>
                    <a:gd name="T4" fmla="*/ 73 w 73"/>
                  </a:gdLst>
                  <a:ahLst/>
                  <a:cxnLst>
                    <a:cxn ang="0">
                      <a:pos x="T0" y="0"/>
                    </a:cxn>
                    <a:cxn ang="0">
                      <a:pos x="T1" y="0"/>
                    </a:cxn>
                    <a:cxn ang="0">
                      <a:pos x="T2" y="0"/>
                    </a:cxn>
                    <a:cxn ang="0">
                      <a:pos x="T3" y="0"/>
                    </a:cxn>
                    <a:cxn ang="0">
                      <a:pos x="T4" y="0"/>
                    </a:cxn>
                  </a:cxnLst>
                  <a:rect l="0" t="0" r="r" b="b"/>
                  <a:pathLst>
                    <a:path w="73">
                      <a:moveTo>
                        <a:pt x="0" y="0"/>
                      </a:moveTo>
                      <a:lnTo>
                        <a:pt x="20" y="0"/>
                      </a:lnTo>
                      <a:lnTo>
                        <a:pt x="37" y="0"/>
                      </a:lnTo>
                      <a:lnTo>
                        <a:pt x="55" y="0"/>
                      </a:lnTo>
                      <a:lnTo>
                        <a:pt x="73"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90" name="Freeform 88">
                  <a:extLst>
                    <a:ext uri="{FF2B5EF4-FFF2-40B4-BE49-F238E27FC236}">
                      <a16:creationId xmlns="" xmlns:a16="http://schemas.microsoft.com/office/drawing/2014/main" id="{3C7A7C2E-B285-4801-A465-1EE104620AD5}"/>
                    </a:ext>
                  </a:extLst>
                </p:cNvPr>
                <p:cNvSpPr>
                  <a:spLocks/>
                </p:cNvSpPr>
                <p:nvPr>
                  <p:custDataLst>
                    <p:tags r:id="rId78"/>
                  </p:custDataLst>
                </p:nvPr>
              </p:nvSpPr>
              <p:spPr bwMode="auto">
                <a:xfrm>
                  <a:off x="8641234" y="3222399"/>
                  <a:ext cx="15763" cy="40535"/>
                </a:xfrm>
                <a:custGeom>
                  <a:avLst/>
                  <a:gdLst>
                    <a:gd name="T0" fmla="*/ 0 w 53"/>
                    <a:gd name="T1" fmla="*/ 0 h 3"/>
                    <a:gd name="T2" fmla="*/ 14 w 53"/>
                    <a:gd name="T3" fmla="*/ 0 h 3"/>
                    <a:gd name="T4" fmla="*/ 27 w 53"/>
                    <a:gd name="T5" fmla="*/ 3 h 3"/>
                    <a:gd name="T6" fmla="*/ 32 w 53"/>
                    <a:gd name="T7" fmla="*/ 3 h 3"/>
                    <a:gd name="T8" fmla="*/ 39 w 53"/>
                    <a:gd name="T9" fmla="*/ 3 h 3"/>
                    <a:gd name="T10" fmla="*/ 45 w 53"/>
                    <a:gd name="T11" fmla="*/ 1 h 3"/>
                    <a:gd name="T12" fmla="*/ 53 w 5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53" h="3">
                      <a:moveTo>
                        <a:pt x="0" y="0"/>
                      </a:moveTo>
                      <a:lnTo>
                        <a:pt x="14" y="0"/>
                      </a:lnTo>
                      <a:lnTo>
                        <a:pt x="27" y="3"/>
                      </a:lnTo>
                      <a:lnTo>
                        <a:pt x="32" y="3"/>
                      </a:lnTo>
                      <a:lnTo>
                        <a:pt x="39" y="3"/>
                      </a:lnTo>
                      <a:lnTo>
                        <a:pt x="45" y="1"/>
                      </a:lnTo>
                      <a:lnTo>
                        <a:pt x="53"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91" name="Line 89">
                  <a:extLst>
                    <a:ext uri="{FF2B5EF4-FFF2-40B4-BE49-F238E27FC236}">
                      <a16:creationId xmlns="" xmlns:a16="http://schemas.microsoft.com/office/drawing/2014/main" id="{7D57202A-AD04-4370-85B1-6EB379A426A9}"/>
                    </a:ext>
                  </a:extLst>
                </p:cNvPr>
                <p:cNvSpPr>
                  <a:spLocks noChangeShapeType="1"/>
                </p:cNvSpPr>
                <p:nvPr>
                  <p:custDataLst>
                    <p:tags r:id="rId79"/>
                  </p:custDataLst>
                </p:nvPr>
              </p:nvSpPr>
              <p:spPr bwMode="auto">
                <a:xfrm>
                  <a:off x="8664880" y="3212265"/>
                  <a:ext cx="14637" cy="4504"/>
                </a:xfrm>
                <a:prstGeom prst="line">
                  <a:avLst/>
                </a:prstGeom>
                <a:solidFill>
                  <a:srgbClr val="CDCDCD"/>
                </a:solidFill>
                <a:ln w="3175">
                  <a:solidFill>
                    <a:srgbClr val="FFFFFF"/>
                  </a:solidFill>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92" name="Freeform 90">
                  <a:extLst>
                    <a:ext uri="{FF2B5EF4-FFF2-40B4-BE49-F238E27FC236}">
                      <a16:creationId xmlns="" xmlns:a16="http://schemas.microsoft.com/office/drawing/2014/main" id="{50B2C344-F512-45F8-BA2D-FAB42B353B56}"/>
                    </a:ext>
                  </a:extLst>
                </p:cNvPr>
                <p:cNvSpPr>
                  <a:spLocks/>
                </p:cNvSpPr>
                <p:nvPr>
                  <p:custDataLst>
                    <p:tags r:id="rId80"/>
                  </p:custDataLst>
                </p:nvPr>
              </p:nvSpPr>
              <p:spPr bwMode="auto">
                <a:xfrm>
                  <a:off x="8679517" y="3216769"/>
                  <a:ext cx="1126" cy="40535"/>
                </a:xfrm>
                <a:custGeom>
                  <a:avLst/>
                  <a:gdLst>
                    <a:gd name="T0" fmla="*/ 0 h 13"/>
                    <a:gd name="T1" fmla="*/ 6 h 13"/>
                    <a:gd name="T2" fmla="*/ 13 h 13"/>
                  </a:gdLst>
                  <a:ahLst/>
                  <a:cxnLst>
                    <a:cxn ang="0">
                      <a:pos x="0" y="T0"/>
                    </a:cxn>
                    <a:cxn ang="0">
                      <a:pos x="0" y="T1"/>
                    </a:cxn>
                    <a:cxn ang="0">
                      <a:pos x="0" y="T2"/>
                    </a:cxn>
                  </a:cxnLst>
                  <a:rect l="0" t="0" r="r" b="b"/>
                  <a:pathLst>
                    <a:path h="13">
                      <a:moveTo>
                        <a:pt x="0" y="0"/>
                      </a:moveTo>
                      <a:lnTo>
                        <a:pt x="0" y="6"/>
                      </a:lnTo>
                      <a:lnTo>
                        <a:pt x="0" y="13"/>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93" name="Freeform 91">
                  <a:extLst>
                    <a:ext uri="{FF2B5EF4-FFF2-40B4-BE49-F238E27FC236}">
                      <a16:creationId xmlns="" xmlns:a16="http://schemas.microsoft.com/office/drawing/2014/main" id="{30153E91-8F5E-468A-A488-5D5672E5187D}"/>
                    </a:ext>
                  </a:extLst>
                </p:cNvPr>
                <p:cNvSpPr>
                  <a:spLocks/>
                </p:cNvSpPr>
                <p:nvPr>
                  <p:custDataLst>
                    <p:tags r:id="rId81"/>
                  </p:custDataLst>
                </p:nvPr>
              </p:nvSpPr>
              <p:spPr bwMode="auto">
                <a:xfrm>
                  <a:off x="8646864" y="3212265"/>
                  <a:ext cx="10134" cy="41661"/>
                </a:xfrm>
                <a:custGeom>
                  <a:avLst/>
                  <a:gdLst>
                    <a:gd name="T0" fmla="*/ 0 w 26"/>
                    <a:gd name="T1" fmla="*/ 15 w 26"/>
                    <a:gd name="T2" fmla="*/ 26 w 26"/>
                  </a:gdLst>
                  <a:ahLst/>
                  <a:cxnLst>
                    <a:cxn ang="0">
                      <a:pos x="T0" y="0"/>
                    </a:cxn>
                    <a:cxn ang="0">
                      <a:pos x="T1" y="0"/>
                    </a:cxn>
                    <a:cxn ang="0">
                      <a:pos x="T2" y="0"/>
                    </a:cxn>
                  </a:cxnLst>
                  <a:rect l="0" t="0" r="r" b="b"/>
                  <a:pathLst>
                    <a:path w="26">
                      <a:moveTo>
                        <a:pt x="0" y="0"/>
                      </a:moveTo>
                      <a:lnTo>
                        <a:pt x="15" y="0"/>
                      </a:lnTo>
                      <a:lnTo>
                        <a:pt x="26"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94" name="Freeform 92">
                  <a:extLst>
                    <a:ext uri="{FF2B5EF4-FFF2-40B4-BE49-F238E27FC236}">
                      <a16:creationId xmlns="" xmlns:a16="http://schemas.microsoft.com/office/drawing/2014/main" id="{DC86E574-1789-40D9-BACB-50EF9F1A7ED1}"/>
                    </a:ext>
                  </a:extLst>
                </p:cNvPr>
                <p:cNvSpPr>
                  <a:spLocks/>
                </p:cNvSpPr>
                <p:nvPr>
                  <p:custDataLst>
                    <p:tags r:id="rId82"/>
                  </p:custDataLst>
                </p:nvPr>
              </p:nvSpPr>
              <p:spPr bwMode="auto">
                <a:xfrm>
                  <a:off x="8642361" y="3198754"/>
                  <a:ext cx="4504" cy="42787"/>
                </a:xfrm>
                <a:custGeom>
                  <a:avLst/>
                  <a:gdLst>
                    <a:gd name="T0" fmla="*/ 20 w 20"/>
                    <a:gd name="T1" fmla="*/ 0 h 25"/>
                    <a:gd name="T2" fmla="*/ 0 w 20"/>
                    <a:gd name="T3" fmla="*/ 13 h 25"/>
                    <a:gd name="T4" fmla="*/ 4 w 20"/>
                    <a:gd name="T5" fmla="*/ 18 h 25"/>
                    <a:gd name="T6" fmla="*/ 10 w 20"/>
                    <a:gd name="T7" fmla="*/ 21 h 25"/>
                    <a:gd name="T8" fmla="*/ 14 w 20"/>
                    <a:gd name="T9" fmla="*/ 24 h 25"/>
                    <a:gd name="T10" fmla="*/ 20 w 20"/>
                    <a:gd name="T11" fmla="*/ 25 h 25"/>
                    <a:gd name="T12" fmla="*/ 20 w 20"/>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0" h="25">
                      <a:moveTo>
                        <a:pt x="20" y="0"/>
                      </a:moveTo>
                      <a:lnTo>
                        <a:pt x="0" y="13"/>
                      </a:lnTo>
                      <a:lnTo>
                        <a:pt x="4" y="18"/>
                      </a:lnTo>
                      <a:lnTo>
                        <a:pt x="10" y="21"/>
                      </a:lnTo>
                      <a:lnTo>
                        <a:pt x="14" y="24"/>
                      </a:lnTo>
                      <a:lnTo>
                        <a:pt x="20" y="25"/>
                      </a:lnTo>
                      <a:lnTo>
                        <a:pt x="20"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95" name="Freeform 93">
                  <a:extLst>
                    <a:ext uri="{FF2B5EF4-FFF2-40B4-BE49-F238E27FC236}">
                      <a16:creationId xmlns="" xmlns:a16="http://schemas.microsoft.com/office/drawing/2014/main" id="{6D574784-8576-4AF1-AE44-30306DEA1AA7}"/>
                    </a:ext>
                  </a:extLst>
                </p:cNvPr>
                <p:cNvSpPr>
                  <a:spLocks/>
                </p:cNvSpPr>
                <p:nvPr>
                  <p:custDataLst>
                    <p:tags r:id="rId83"/>
                  </p:custDataLst>
                </p:nvPr>
              </p:nvSpPr>
              <p:spPr bwMode="auto">
                <a:xfrm>
                  <a:off x="8699784" y="3005087"/>
                  <a:ext cx="1126" cy="40535"/>
                </a:xfrm>
                <a:custGeom>
                  <a:avLst/>
                  <a:gdLst>
                    <a:gd name="T0" fmla="*/ 0 w 6"/>
                    <a:gd name="T1" fmla="*/ 24 h 24"/>
                    <a:gd name="T2" fmla="*/ 0 w 6"/>
                    <a:gd name="T3" fmla="*/ 0 h 24"/>
                    <a:gd name="T4" fmla="*/ 6 w 6"/>
                    <a:gd name="T5" fmla="*/ 12 h 24"/>
                    <a:gd name="T6" fmla="*/ 0 w 6"/>
                    <a:gd name="T7" fmla="*/ 24 h 24"/>
                  </a:gdLst>
                  <a:ahLst/>
                  <a:cxnLst>
                    <a:cxn ang="0">
                      <a:pos x="T0" y="T1"/>
                    </a:cxn>
                    <a:cxn ang="0">
                      <a:pos x="T2" y="T3"/>
                    </a:cxn>
                    <a:cxn ang="0">
                      <a:pos x="T4" y="T5"/>
                    </a:cxn>
                    <a:cxn ang="0">
                      <a:pos x="T6" y="T7"/>
                    </a:cxn>
                  </a:cxnLst>
                  <a:rect l="0" t="0" r="r" b="b"/>
                  <a:pathLst>
                    <a:path w="6" h="24">
                      <a:moveTo>
                        <a:pt x="0" y="24"/>
                      </a:moveTo>
                      <a:lnTo>
                        <a:pt x="0" y="0"/>
                      </a:lnTo>
                      <a:lnTo>
                        <a:pt x="6" y="12"/>
                      </a:lnTo>
                      <a:lnTo>
                        <a:pt x="0" y="24"/>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grpSp>
              <p:nvGrpSpPr>
                <p:cNvPr id="96" name="Group 94">
                  <a:extLst>
                    <a:ext uri="{FF2B5EF4-FFF2-40B4-BE49-F238E27FC236}">
                      <a16:creationId xmlns="" xmlns:a16="http://schemas.microsoft.com/office/drawing/2014/main" id="{DCA1DD34-C8AD-4D3F-945C-2FD22AB3E448}"/>
                    </a:ext>
                  </a:extLst>
                </p:cNvPr>
                <p:cNvGrpSpPr>
                  <a:grpSpLocks/>
                </p:cNvGrpSpPr>
                <p:nvPr>
                  <p:custDataLst>
                    <p:tags r:id="rId84"/>
                  </p:custDataLst>
                </p:nvPr>
              </p:nvGrpSpPr>
              <p:grpSpPr bwMode="auto">
                <a:xfrm>
                  <a:off x="8610834" y="2772013"/>
                  <a:ext cx="115974" cy="81070"/>
                  <a:chOff x="5379" y="2466"/>
                  <a:chExt cx="122" cy="71"/>
                </a:xfrm>
                <a:solidFill>
                  <a:srgbClr val="CDCDCD"/>
                </a:solidFill>
              </p:grpSpPr>
              <p:sp>
                <p:nvSpPr>
                  <p:cNvPr id="562" name="Freeform 95">
                    <a:extLst>
                      <a:ext uri="{FF2B5EF4-FFF2-40B4-BE49-F238E27FC236}">
                        <a16:creationId xmlns="" xmlns:a16="http://schemas.microsoft.com/office/drawing/2014/main" id="{CA605EC8-CBFD-4A6D-AE77-7D67B4BAC7DC}"/>
                      </a:ext>
                    </a:extLst>
                  </p:cNvPr>
                  <p:cNvSpPr>
                    <a:spLocks/>
                  </p:cNvSpPr>
                  <p:nvPr/>
                </p:nvSpPr>
                <p:spPr bwMode="auto">
                  <a:xfrm>
                    <a:off x="5428" y="2492"/>
                    <a:ext cx="6" cy="9"/>
                  </a:xfrm>
                  <a:custGeom>
                    <a:avLst/>
                    <a:gdLst>
                      <a:gd name="T0" fmla="*/ 19 w 19"/>
                      <a:gd name="T1" fmla="*/ 25 h 25"/>
                      <a:gd name="T2" fmla="*/ 18 w 19"/>
                      <a:gd name="T3" fmla="*/ 20 h 25"/>
                      <a:gd name="T4" fmla="*/ 17 w 19"/>
                      <a:gd name="T5" fmla="*/ 12 h 25"/>
                      <a:gd name="T6" fmla="*/ 16 w 19"/>
                      <a:gd name="T7" fmla="*/ 9 h 25"/>
                      <a:gd name="T8" fmla="*/ 17 w 19"/>
                      <a:gd name="T9" fmla="*/ 6 h 25"/>
                      <a:gd name="T10" fmla="*/ 17 w 19"/>
                      <a:gd name="T11" fmla="*/ 3 h 25"/>
                      <a:gd name="T12" fmla="*/ 19 w 19"/>
                      <a:gd name="T13" fmla="*/ 0 h 25"/>
                      <a:gd name="T14" fmla="*/ 0 w 19"/>
                      <a:gd name="T15" fmla="*/ 0 h 25"/>
                      <a:gd name="T16" fmla="*/ 1 w 19"/>
                      <a:gd name="T17" fmla="*/ 7 h 25"/>
                      <a:gd name="T18" fmla="*/ 5 w 19"/>
                      <a:gd name="T19" fmla="*/ 15 h 25"/>
                      <a:gd name="T20" fmla="*/ 7 w 19"/>
                      <a:gd name="T21" fmla="*/ 19 h 25"/>
                      <a:gd name="T22" fmla="*/ 11 w 19"/>
                      <a:gd name="T23" fmla="*/ 23 h 25"/>
                      <a:gd name="T24" fmla="*/ 15 w 19"/>
                      <a:gd name="T25" fmla="*/ 25 h 25"/>
                      <a:gd name="T26" fmla="*/ 19 w 19"/>
                      <a:gd name="T2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63" name="Freeform 96">
                    <a:extLst>
                      <a:ext uri="{FF2B5EF4-FFF2-40B4-BE49-F238E27FC236}">
                        <a16:creationId xmlns="" xmlns:a16="http://schemas.microsoft.com/office/drawing/2014/main" id="{C92CDF30-82B5-41A9-8A2F-551CA6BB894E}"/>
                      </a:ext>
                    </a:extLst>
                  </p:cNvPr>
                  <p:cNvSpPr>
                    <a:spLocks/>
                  </p:cNvSpPr>
                  <p:nvPr/>
                </p:nvSpPr>
                <p:spPr bwMode="auto">
                  <a:xfrm>
                    <a:off x="5379" y="2505"/>
                    <a:ext cx="7" cy="6"/>
                  </a:xfrm>
                  <a:custGeom>
                    <a:avLst/>
                    <a:gdLst>
                      <a:gd name="T0" fmla="*/ 26 w 26"/>
                      <a:gd name="T1" fmla="*/ 18 h 18"/>
                      <a:gd name="T2" fmla="*/ 7 w 26"/>
                      <a:gd name="T3" fmla="*/ 18 h 18"/>
                      <a:gd name="T4" fmla="*/ 3 w 26"/>
                      <a:gd name="T5" fmla="*/ 9 h 18"/>
                      <a:gd name="T6" fmla="*/ 0 w 26"/>
                      <a:gd name="T7" fmla="*/ 0 h 18"/>
                      <a:gd name="T8" fmla="*/ 6 w 26"/>
                      <a:gd name="T9" fmla="*/ 2 h 18"/>
                      <a:gd name="T10" fmla="*/ 13 w 26"/>
                      <a:gd name="T11" fmla="*/ 6 h 18"/>
                      <a:gd name="T12" fmla="*/ 20 w 26"/>
                      <a:gd name="T13" fmla="*/ 12 h 18"/>
                      <a:gd name="T14" fmla="*/ 26 w 26"/>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64" name="Freeform 97">
                    <a:extLst>
                      <a:ext uri="{FF2B5EF4-FFF2-40B4-BE49-F238E27FC236}">
                        <a16:creationId xmlns="" xmlns:a16="http://schemas.microsoft.com/office/drawing/2014/main" id="{D9FCC9DF-DB7C-4138-AA2F-3A0317168AC9}"/>
                      </a:ext>
                    </a:extLst>
                  </p:cNvPr>
                  <p:cNvSpPr>
                    <a:spLocks/>
                  </p:cNvSpPr>
                  <p:nvPr/>
                </p:nvSpPr>
                <p:spPr bwMode="auto">
                  <a:xfrm>
                    <a:off x="5392" y="2466"/>
                    <a:ext cx="5" cy="6"/>
                  </a:xfrm>
                  <a:custGeom>
                    <a:avLst/>
                    <a:gdLst>
                      <a:gd name="T0" fmla="*/ 0 w 13"/>
                      <a:gd name="T1" fmla="*/ 18 h 18"/>
                      <a:gd name="T2" fmla="*/ 13 w 13"/>
                      <a:gd name="T3" fmla="*/ 0 h 18"/>
                      <a:gd name="T4" fmla="*/ 0 w 13"/>
                      <a:gd name="T5" fmla="*/ 18 h 18"/>
                    </a:gdLst>
                    <a:ahLst/>
                    <a:cxnLst>
                      <a:cxn ang="0">
                        <a:pos x="T0" y="T1"/>
                      </a:cxn>
                      <a:cxn ang="0">
                        <a:pos x="T2" y="T3"/>
                      </a:cxn>
                      <a:cxn ang="0">
                        <a:pos x="T4" y="T5"/>
                      </a:cxn>
                    </a:cxnLst>
                    <a:rect l="0" t="0" r="r" b="b"/>
                    <a:pathLst>
                      <a:path w="13" h="18">
                        <a:moveTo>
                          <a:pt x="0" y="18"/>
                        </a:moveTo>
                        <a:lnTo>
                          <a:pt x="13" y="0"/>
                        </a:lnTo>
                        <a:lnTo>
                          <a:pt x="0" y="18"/>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65" name="Freeform 98">
                    <a:extLst>
                      <a:ext uri="{FF2B5EF4-FFF2-40B4-BE49-F238E27FC236}">
                        <a16:creationId xmlns="" xmlns:a16="http://schemas.microsoft.com/office/drawing/2014/main" id="{A632DA42-0F84-4A54-86FD-574DB3EBAF80}"/>
                      </a:ext>
                    </a:extLst>
                  </p:cNvPr>
                  <p:cNvSpPr>
                    <a:spLocks/>
                  </p:cNvSpPr>
                  <p:nvPr/>
                </p:nvSpPr>
                <p:spPr bwMode="auto">
                  <a:xfrm>
                    <a:off x="5426" y="2468"/>
                    <a:ext cx="8" cy="8"/>
                  </a:xfrm>
                  <a:custGeom>
                    <a:avLst/>
                    <a:gdLst>
                      <a:gd name="T0" fmla="*/ 0 w 26"/>
                      <a:gd name="T1" fmla="*/ 24 h 24"/>
                      <a:gd name="T2" fmla="*/ 3 w 26"/>
                      <a:gd name="T3" fmla="*/ 23 h 24"/>
                      <a:gd name="T4" fmla="*/ 7 w 26"/>
                      <a:gd name="T5" fmla="*/ 22 h 24"/>
                      <a:gd name="T6" fmla="*/ 11 w 26"/>
                      <a:gd name="T7" fmla="*/ 19 h 24"/>
                      <a:gd name="T8" fmla="*/ 16 w 26"/>
                      <a:gd name="T9" fmla="*/ 16 h 24"/>
                      <a:gd name="T10" fmla="*/ 20 w 26"/>
                      <a:gd name="T11" fmla="*/ 13 h 24"/>
                      <a:gd name="T12" fmla="*/ 23 w 26"/>
                      <a:gd name="T13" fmla="*/ 9 h 24"/>
                      <a:gd name="T14" fmla="*/ 25 w 26"/>
                      <a:gd name="T15" fmla="*/ 4 h 24"/>
                      <a:gd name="T16" fmla="*/ 26 w 26"/>
                      <a:gd name="T17" fmla="*/ 0 h 24"/>
                      <a:gd name="T18" fmla="*/ 0 w 2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66" name="Freeform 99">
                    <a:extLst>
                      <a:ext uri="{FF2B5EF4-FFF2-40B4-BE49-F238E27FC236}">
                        <a16:creationId xmlns="" xmlns:a16="http://schemas.microsoft.com/office/drawing/2014/main" id="{A87EEC45-686C-464F-8728-7E0293551113}"/>
                      </a:ext>
                    </a:extLst>
                  </p:cNvPr>
                  <p:cNvSpPr>
                    <a:spLocks/>
                  </p:cNvSpPr>
                  <p:nvPr/>
                </p:nvSpPr>
                <p:spPr bwMode="auto">
                  <a:xfrm>
                    <a:off x="5490" y="2490"/>
                    <a:ext cx="11" cy="2"/>
                  </a:xfrm>
                  <a:custGeom>
                    <a:avLst/>
                    <a:gdLst>
                      <a:gd name="T0" fmla="*/ 0 w 34"/>
                      <a:gd name="T1" fmla="*/ 6 h 6"/>
                      <a:gd name="T2" fmla="*/ 10 w 34"/>
                      <a:gd name="T3" fmla="*/ 6 h 6"/>
                      <a:gd name="T4" fmla="*/ 17 w 34"/>
                      <a:gd name="T5" fmla="*/ 5 h 6"/>
                      <a:gd name="T6" fmla="*/ 25 w 34"/>
                      <a:gd name="T7" fmla="*/ 4 h 6"/>
                      <a:gd name="T8" fmla="*/ 34 w 34"/>
                      <a:gd name="T9" fmla="*/ 0 h 6"/>
                    </a:gdLst>
                    <a:ahLst/>
                    <a:cxnLst>
                      <a:cxn ang="0">
                        <a:pos x="T0" y="T1"/>
                      </a:cxn>
                      <a:cxn ang="0">
                        <a:pos x="T2" y="T3"/>
                      </a:cxn>
                      <a:cxn ang="0">
                        <a:pos x="T4" y="T5"/>
                      </a:cxn>
                      <a:cxn ang="0">
                        <a:pos x="T6" y="T7"/>
                      </a:cxn>
                      <a:cxn ang="0">
                        <a:pos x="T8" y="T9"/>
                      </a:cxn>
                    </a:cxnLst>
                    <a:rect l="0" t="0" r="r" b="b"/>
                    <a:pathLst>
                      <a:path w="34" h="6">
                        <a:moveTo>
                          <a:pt x="0" y="6"/>
                        </a:moveTo>
                        <a:lnTo>
                          <a:pt x="10" y="6"/>
                        </a:lnTo>
                        <a:lnTo>
                          <a:pt x="17" y="5"/>
                        </a:lnTo>
                        <a:lnTo>
                          <a:pt x="25" y="4"/>
                        </a:lnTo>
                        <a:lnTo>
                          <a:pt x="34" y="0"/>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67" name="Line 100">
                    <a:extLst>
                      <a:ext uri="{FF2B5EF4-FFF2-40B4-BE49-F238E27FC236}">
                        <a16:creationId xmlns="" xmlns:a16="http://schemas.microsoft.com/office/drawing/2014/main" id="{CFD45D2A-968F-4CA2-9119-C89CC92638B9}"/>
                      </a:ext>
                    </a:extLst>
                  </p:cNvPr>
                  <p:cNvSpPr>
                    <a:spLocks noChangeShapeType="1"/>
                  </p:cNvSpPr>
                  <p:nvPr/>
                </p:nvSpPr>
                <p:spPr bwMode="auto">
                  <a:xfrm flipH="1">
                    <a:off x="5495" y="2490"/>
                    <a:ext cx="6" cy="1"/>
                  </a:xfrm>
                  <a:prstGeom prst="line">
                    <a:avLst/>
                  </a:prstGeom>
                  <a:grpFill/>
                  <a:ln w="3175">
                    <a:solidFill>
                      <a:srgbClr val="FFFFFF"/>
                    </a:solidFill>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68" name="Freeform 101">
                    <a:extLst>
                      <a:ext uri="{FF2B5EF4-FFF2-40B4-BE49-F238E27FC236}">
                        <a16:creationId xmlns="" xmlns:a16="http://schemas.microsoft.com/office/drawing/2014/main" id="{9AA8FE09-3E53-47B6-A09A-A44822F2F438}"/>
                      </a:ext>
                    </a:extLst>
                  </p:cNvPr>
                  <p:cNvSpPr>
                    <a:spLocks/>
                  </p:cNvSpPr>
                  <p:nvPr/>
                </p:nvSpPr>
                <p:spPr bwMode="auto">
                  <a:xfrm>
                    <a:off x="5464" y="2530"/>
                    <a:ext cx="1" cy="7"/>
                  </a:xfrm>
                  <a:custGeom>
                    <a:avLst/>
                    <a:gdLst>
                      <a:gd name="T0" fmla="*/ 19 h 19"/>
                      <a:gd name="T1" fmla="*/ 9 h 19"/>
                      <a:gd name="T2" fmla="*/ 0 h 19"/>
                    </a:gdLst>
                    <a:ahLst/>
                    <a:cxnLst>
                      <a:cxn ang="0">
                        <a:pos x="0" y="T0"/>
                      </a:cxn>
                      <a:cxn ang="0">
                        <a:pos x="0" y="T1"/>
                      </a:cxn>
                      <a:cxn ang="0">
                        <a:pos x="0" y="T2"/>
                      </a:cxn>
                    </a:cxnLst>
                    <a:rect l="0" t="0" r="r" b="b"/>
                    <a:pathLst>
                      <a:path h="19">
                        <a:moveTo>
                          <a:pt x="0" y="19"/>
                        </a:moveTo>
                        <a:lnTo>
                          <a:pt x="0" y="9"/>
                        </a:lnTo>
                        <a:lnTo>
                          <a:pt x="0" y="0"/>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69" name="Line 102">
                    <a:extLst>
                      <a:ext uri="{FF2B5EF4-FFF2-40B4-BE49-F238E27FC236}">
                        <a16:creationId xmlns="" xmlns:a16="http://schemas.microsoft.com/office/drawing/2014/main" id="{61B95D62-454B-4963-9CF6-B8F645548C14}"/>
                      </a:ext>
                    </a:extLst>
                  </p:cNvPr>
                  <p:cNvSpPr>
                    <a:spLocks noChangeShapeType="1"/>
                  </p:cNvSpPr>
                  <p:nvPr/>
                </p:nvSpPr>
                <p:spPr bwMode="auto">
                  <a:xfrm>
                    <a:off x="5464" y="2530"/>
                    <a:ext cx="6" cy="1"/>
                  </a:xfrm>
                  <a:prstGeom prst="line">
                    <a:avLst/>
                  </a:prstGeom>
                  <a:grpFill/>
                  <a:ln w="3175">
                    <a:solidFill>
                      <a:srgbClr val="FFFFFF"/>
                    </a:solidFill>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70" name="Freeform 103">
                    <a:extLst>
                      <a:ext uri="{FF2B5EF4-FFF2-40B4-BE49-F238E27FC236}">
                        <a16:creationId xmlns="" xmlns:a16="http://schemas.microsoft.com/office/drawing/2014/main" id="{204578D7-5ED8-4A43-95C8-4AA38CFFDCF3}"/>
                      </a:ext>
                    </a:extLst>
                  </p:cNvPr>
                  <p:cNvSpPr>
                    <a:spLocks/>
                  </p:cNvSpPr>
                  <p:nvPr/>
                </p:nvSpPr>
                <p:spPr bwMode="auto">
                  <a:xfrm>
                    <a:off x="5466" y="2530"/>
                    <a:ext cx="4" cy="2"/>
                  </a:xfrm>
                  <a:custGeom>
                    <a:avLst/>
                    <a:gdLst>
                      <a:gd name="T0" fmla="*/ 14 w 14"/>
                      <a:gd name="T1" fmla="*/ 0 h 6"/>
                      <a:gd name="T2" fmla="*/ 7 w 14"/>
                      <a:gd name="T3" fmla="*/ 3 h 6"/>
                      <a:gd name="T4" fmla="*/ 0 w 14"/>
                      <a:gd name="T5" fmla="*/ 6 h 6"/>
                    </a:gdLst>
                    <a:ahLst/>
                    <a:cxnLst>
                      <a:cxn ang="0">
                        <a:pos x="T0" y="T1"/>
                      </a:cxn>
                      <a:cxn ang="0">
                        <a:pos x="T2" y="T3"/>
                      </a:cxn>
                      <a:cxn ang="0">
                        <a:pos x="T4" y="T5"/>
                      </a:cxn>
                    </a:cxnLst>
                    <a:rect l="0" t="0" r="r" b="b"/>
                    <a:pathLst>
                      <a:path w="14" h="6">
                        <a:moveTo>
                          <a:pt x="14" y="0"/>
                        </a:moveTo>
                        <a:lnTo>
                          <a:pt x="7" y="3"/>
                        </a:lnTo>
                        <a:lnTo>
                          <a:pt x="0" y="6"/>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grpSp>
            <p:sp>
              <p:nvSpPr>
                <p:cNvPr id="97" name="Freeform 104">
                  <a:extLst>
                    <a:ext uri="{FF2B5EF4-FFF2-40B4-BE49-F238E27FC236}">
                      <a16:creationId xmlns="" xmlns:a16="http://schemas.microsoft.com/office/drawing/2014/main" id="{88F8D096-42A0-4745-81AB-2A55854E41B1}"/>
                    </a:ext>
                  </a:extLst>
                </p:cNvPr>
                <p:cNvSpPr>
                  <a:spLocks/>
                </p:cNvSpPr>
                <p:nvPr>
                  <p:custDataLst>
                    <p:tags r:id="rId85"/>
                  </p:custDataLst>
                </p:nvPr>
              </p:nvSpPr>
              <p:spPr bwMode="auto">
                <a:xfrm>
                  <a:off x="7606471" y="2674053"/>
                  <a:ext cx="4504" cy="40535"/>
                </a:xfrm>
                <a:custGeom>
                  <a:avLst/>
                  <a:gdLst>
                    <a:gd name="T0" fmla="*/ 13 w 26"/>
                    <a:gd name="T1" fmla="*/ 111 h 111"/>
                    <a:gd name="T2" fmla="*/ 9 w 26"/>
                    <a:gd name="T3" fmla="*/ 103 h 111"/>
                    <a:gd name="T4" fmla="*/ 4 w 26"/>
                    <a:gd name="T5" fmla="*/ 95 h 111"/>
                    <a:gd name="T6" fmla="*/ 2 w 26"/>
                    <a:gd name="T7" fmla="*/ 91 h 111"/>
                    <a:gd name="T8" fmla="*/ 1 w 26"/>
                    <a:gd name="T9" fmla="*/ 87 h 111"/>
                    <a:gd name="T10" fmla="*/ 0 w 26"/>
                    <a:gd name="T11" fmla="*/ 80 h 111"/>
                    <a:gd name="T12" fmla="*/ 0 w 26"/>
                    <a:gd name="T13" fmla="*/ 74 h 111"/>
                    <a:gd name="T14" fmla="*/ 0 w 26"/>
                    <a:gd name="T15" fmla="*/ 61 h 111"/>
                    <a:gd name="T16" fmla="*/ 1 w 26"/>
                    <a:gd name="T17" fmla="*/ 51 h 111"/>
                    <a:gd name="T18" fmla="*/ 3 w 26"/>
                    <a:gd name="T19" fmla="*/ 41 h 111"/>
                    <a:gd name="T20" fmla="*/ 5 w 26"/>
                    <a:gd name="T21" fmla="*/ 33 h 111"/>
                    <a:gd name="T22" fmla="*/ 9 w 26"/>
                    <a:gd name="T23" fmla="*/ 24 h 111"/>
                    <a:gd name="T24" fmla="*/ 14 w 26"/>
                    <a:gd name="T25" fmla="*/ 17 h 111"/>
                    <a:gd name="T26" fmla="*/ 20 w 26"/>
                    <a:gd name="T27" fmla="*/ 9 h 111"/>
                    <a:gd name="T28" fmla="*/ 26 w 26"/>
                    <a:gd name="T29" fmla="*/ 0 h 111"/>
                    <a:gd name="T30" fmla="*/ 26 w 26"/>
                    <a:gd name="T31" fmla="*/ 6 h 111"/>
                    <a:gd name="T32" fmla="*/ 26 w 26"/>
                    <a:gd name="T33" fmla="*/ 13 h 111"/>
                    <a:gd name="T34" fmla="*/ 26 w 26"/>
                    <a:gd name="T35" fmla="*/ 22 h 111"/>
                    <a:gd name="T36" fmla="*/ 26 w 26"/>
                    <a:gd name="T37" fmla="*/ 32 h 111"/>
                    <a:gd name="T38" fmla="*/ 25 w 26"/>
                    <a:gd name="T39" fmla="*/ 44 h 111"/>
                    <a:gd name="T40" fmla="*/ 22 w 26"/>
                    <a:gd name="T41" fmla="*/ 56 h 111"/>
                    <a:gd name="T42" fmla="*/ 18 w 26"/>
                    <a:gd name="T43" fmla="*/ 67 h 111"/>
                    <a:gd name="T44" fmla="*/ 13 w 26"/>
                    <a:gd name="T45" fmla="*/ 80 h 111"/>
                    <a:gd name="T46" fmla="*/ 13 w 26"/>
                    <a:gd name="T47"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98" name="Freeform 106">
                  <a:extLst>
                    <a:ext uri="{FF2B5EF4-FFF2-40B4-BE49-F238E27FC236}">
                      <a16:creationId xmlns="" xmlns:a16="http://schemas.microsoft.com/office/drawing/2014/main" id="{FD67B121-1AC8-4A2E-8960-A5FBC74D2022}"/>
                    </a:ext>
                  </a:extLst>
                </p:cNvPr>
                <p:cNvSpPr>
                  <a:spLocks/>
                </p:cNvSpPr>
                <p:nvPr>
                  <p:custDataLst>
                    <p:tags r:id="rId86"/>
                  </p:custDataLst>
                </p:nvPr>
              </p:nvSpPr>
              <p:spPr bwMode="auto">
                <a:xfrm>
                  <a:off x="7040109" y="4077008"/>
                  <a:ext cx="21394" cy="39409"/>
                </a:xfrm>
                <a:custGeom>
                  <a:avLst/>
                  <a:gdLst>
                    <a:gd name="T0" fmla="*/ 0 w 66"/>
                    <a:gd name="T1" fmla="*/ 0 h 44"/>
                    <a:gd name="T2" fmla="*/ 13 w 66"/>
                    <a:gd name="T3" fmla="*/ 1 h 44"/>
                    <a:gd name="T4" fmla="*/ 23 w 66"/>
                    <a:gd name="T5" fmla="*/ 2 h 44"/>
                    <a:gd name="T6" fmla="*/ 32 w 66"/>
                    <a:gd name="T7" fmla="*/ 4 h 44"/>
                    <a:gd name="T8" fmla="*/ 38 w 66"/>
                    <a:gd name="T9" fmla="*/ 7 h 44"/>
                    <a:gd name="T10" fmla="*/ 44 w 66"/>
                    <a:gd name="T11" fmla="*/ 9 h 44"/>
                    <a:gd name="T12" fmla="*/ 50 w 66"/>
                    <a:gd name="T13" fmla="*/ 11 h 44"/>
                    <a:gd name="T14" fmla="*/ 57 w 66"/>
                    <a:gd name="T15" fmla="*/ 12 h 44"/>
                    <a:gd name="T16" fmla="*/ 66 w 66"/>
                    <a:gd name="T17" fmla="*/ 13 h 44"/>
                    <a:gd name="T18" fmla="*/ 65 w 66"/>
                    <a:gd name="T19" fmla="*/ 17 h 44"/>
                    <a:gd name="T20" fmla="*/ 62 w 66"/>
                    <a:gd name="T21" fmla="*/ 21 h 44"/>
                    <a:gd name="T22" fmla="*/ 60 w 66"/>
                    <a:gd name="T23" fmla="*/ 25 h 44"/>
                    <a:gd name="T24" fmla="*/ 57 w 66"/>
                    <a:gd name="T25" fmla="*/ 28 h 44"/>
                    <a:gd name="T26" fmla="*/ 49 w 66"/>
                    <a:gd name="T27" fmla="*/ 34 h 44"/>
                    <a:gd name="T28" fmla="*/ 40 w 66"/>
                    <a:gd name="T29" fmla="*/ 39 h 44"/>
                    <a:gd name="T30" fmla="*/ 31 w 66"/>
                    <a:gd name="T31" fmla="*/ 42 h 44"/>
                    <a:gd name="T32" fmla="*/ 21 w 66"/>
                    <a:gd name="T33" fmla="*/ 44 h 44"/>
                    <a:gd name="T34" fmla="*/ 10 w 66"/>
                    <a:gd name="T35" fmla="*/ 44 h 44"/>
                    <a:gd name="T36" fmla="*/ 0 w 66"/>
                    <a:gd name="T37" fmla="*/ 43 h 44"/>
                    <a:gd name="T38" fmla="*/ 0 w 66"/>
                    <a:gd name="T39" fmla="*/ 31 h 44"/>
                    <a:gd name="T40" fmla="*/ 0 w 66"/>
                    <a:gd name="T41" fmla="*/ 22 h 44"/>
                    <a:gd name="T42" fmla="*/ 0 w 66"/>
                    <a:gd name="T43" fmla="*/ 12 h 44"/>
                    <a:gd name="T44" fmla="*/ 0 w 66"/>
                    <a:gd name="T4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99" name="Freeform 107">
                  <a:extLst>
                    <a:ext uri="{FF2B5EF4-FFF2-40B4-BE49-F238E27FC236}">
                      <a16:creationId xmlns="" xmlns:a16="http://schemas.microsoft.com/office/drawing/2014/main" id="{B834873B-5492-413A-864B-75B6108B0AE2}"/>
                    </a:ext>
                  </a:extLst>
                </p:cNvPr>
                <p:cNvSpPr>
                  <a:spLocks/>
                </p:cNvSpPr>
                <p:nvPr>
                  <p:custDataLst>
                    <p:tags r:id="rId87"/>
                  </p:custDataLst>
                </p:nvPr>
              </p:nvSpPr>
              <p:spPr bwMode="auto">
                <a:xfrm>
                  <a:off x="8568046" y="1786791"/>
                  <a:ext cx="14637" cy="40535"/>
                </a:xfrm>
                <a:custGeom>
                  <a:avLst/>
                  <a:gdLst>
                    <a:gd name="T0" fmla="*/ 46 w 46"/>
                    <a:gd name="T1" fmla="*/ 0 h 16"/>
                    <a:gd name="T2" fmla="*/ 40 w 46"/>
                    <a:gd name="T3" fmla="*/ 7 h 16"/>
                    <a:gd name="T4" fmla="*/ 35 w 46"/>
                    <a:gd name="T5" fmla="*/ 13 h 16"/>
                    <a:gd name="T6" fmla="*/ 31 w 46"/>
                    <a:gd name="T7" fmla="*/ 14 h 16"/>
                    <a:gd name="T8" fmla="*/ 29 w 46"/>
                    <a:gd name="T9" fmla="*/ 15 h 16"/>
                    <a:gd name="T10" fmla="*/ 26 w 46"/>
                    <a:gd name="T11" fmla="*/ 16 h 16"/>
                    <a:gd name="T12" fmla="*/ 23 w 46"/>
                    <a:gd name="T13" fmla="*/ 16 h 16"/>
                    <a:gd name="T14" fmla="*/ 16 w 46"/>
                    <a:gd name="T15" fmla="*/ 14 h 16"/>
                    <a:gd name="T16" fmla="*/ 11 w 46"/>
                    <a:gd name="T17" fmla="*/ 11 h 16"/>
                    <a:gd name="T18" fmla="*/ 5 w 46"/>
                    <a:gd name="T19" fmla="*/ 6 h 16"/>
                    <a:gd name="T20" fmla="*/ 0 w 46"/>
                    <a:gd name="T21" fmla="*/ 0 h 16"/>
                    <a:gd name="T22" fmla="*/ 46 w 46"/>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00" name="Freeform 108">
                  <a:extLst>
                    <a:ext uri="{FF2B5EF4-FFF2-40B4-BE49-F238E27FC236}">
                      <a16:creationId xmlns="" xmlns:a16="http://schemas.microsoft.com/office/drawing/2014/main" id="{B160666C-66F9-4977-BC48-E1D1E16741D1}"/>
                    </a:ext>
                  </a:extLst>
                </p:cNvPr>
                <p:cNvSpPr>
                  <a:spLocks/>
                </p:cNvSpPr>
                <p:nvPr>
                  <p:custDataLst>
                    <p:tags r:id="rId88"/>
                  </p:custDataLst>
                </p:nvPr>
              </p:nvSpPr>
              <p:spPr bwMode="auto">
                <a:xfrm>
                  <a:off x="8693029" y="1810436"/>
                  <a:ext cx="11260" cy="40535"/>
                </a:xfrm>
                <a:custGeom>
                  <a:avLst/>
                  <a:gdLst>
                    <a:gd name="T0" fmla="*/ 39 w 39"/>
                    <a:gd name="T1" fmla="*/ 25 h 26"/>
                    <a:gd name="T2" fmla="*/ 36 w 39"/>
                    <a:gd name="T3" fmla="*/ 26 h 26"/>
                    <a:gd name="T4" fmla="*/ 32 w 39"/>
                    <a:gd name="T5" fmla="*/ 26 h 26"/>
                    <a:gd name="T6" fmla="*/ 28 w 39"/>
                    <a:gd name="T7" fmla="*/ 26 h 26"/>
                    <a:gd name="T8" fmla="*/ 25 w 39"/>
                    <a:gd name="T9" fmla="*/ 25 h 26"/>
                    <a:gd name="T10" fmla="*/ 18 w 39"/>
                    <a:gd name="T11" fmla="*/ 22 h 26"/>
                    <a:gd name="T12" fmla="*/ 12 w 39"/>
                    <a:gd name="T13" fmla="*/ 18 h 26"/>
                    <a:gd name="T14" fmla="*/ 7 w 39"/>
                    <a:gd name="T15" fmla="*/ 13 h 26"/>
                    <a:gd name="T16" fmla="*/ 3 w 39"/>
                    <a:gd name="T17" fmla="*/ 7 h 26"/>
                    <a:gd name="T18" fmla="*/ 1 w 39"/>
                    <a:gd name="T19" fmla="*/ 3 h 26"/>
                    <a:gd name="T20" fmla="*/ 0 w 39"/>
                    <a:gd name="T21" fmla="*/ 0 h 26"/>
                    <a:gd name="T22" fmla="*/ 11 w 39"/>
                    <a:gd name="T23" fmla="*/ 6 h 26"/>
                    <a:gd name="T24" fmla="*/ 22 w 39"/>
                    <a:gd name="T25" fmla="*/ 13 h 26"/>
                    <a:gd name="T26" fmla="*/ 33 w 39"/>
                    <a:gd name="T27" fmla="*/ 20 h 26"/>
                    <a:gd name="T28" fmla="*/ 39 w 39"/>
                    <a:gd name="T29"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01" name="Freeform 109">
                  <a:extLst>
                    <a:ext uri="{FF2B5EF4-FFF2-40B4-BE49-F238E27FC236}">
                      <a16:creationId xmlns="" xmlns:a16="http://schemas.microsoft.com/office/drawing/2014/main" id="{375FED0D-5A39-4C86-A45F-49AB5A4A7851}"/>
                    </a:ext>
                  </a:extLst>
                </p:cNvPr>
                <p:cNvSpPr>
                  <a:spLocks/>
                </p:cNvSpPr>
                <p:nvPr>
                  <p:custDataLst>
                    <p:tags r:id="rId89"/>
                  </p:custDataLst>
                </p:nvPr>
              </p:nvSpPr>
              <p:spPr bwMode="auto">
                <a:xfrm>
                  <a:off x="8302318" y="1973702"/>
                  <a:ext cx="3377" cy="41661"/>
                </a:xfrm>
                <a:custGeom>
                  <a:avLst/>
                  <a:gdLst>
                    <a:gd name="T0" fmla="*/ 11 w 11"/>
                    <a:gd name="T1" fmla="*/ 0 h 25"/>
                    <a:gd name="T2" fmla="*/ 11 w 11"/>
                    <a:gd name="T3" fmla="*/ 5 h 25"/>
                    <a:gd name="T4" fmla="*/ 10 w 11"/>
                    <a:gd name="T5" fmla="*/ 12 h 25"/>
                    <a:gd name="T6" fmla="*/ 9 w 11"/>
                    <a:gd name="T7" fmla="*/ 20 h 25"/>
                    <a:gd name="T8" fmla="*/ 4 w 11"/>
                    <a:gd name="T9" fmla="*/ 25 h 25"/>
                    <a:gd name="T10" fmla="*/ 2 w 11"/>
                    <a:gd name="T11" fmla="*/ 23 h 25"/>
                    <a:gd name="T12" fmla="*/ 1 w 11"/>
                    <a:gd name="T13" fmla="*/ 20 h 25"/>
                    <a:gd name="T14" fmla="*/ 0 w 11"/>
                    <a:gd name="T15" fmla="*/ 15 h 25"/>
                    <a:gd name="T16" fmla="*/ 0 w 11"/>
                    <a:gd name="T17" fmla="*/ 12 h 25"/>
                    <a:gd name="T18" fmla="*/ 1 w 11"/>
                    <a:gd name="T19" fmla="*/ 9 h 25"/>
                    <a:gd name="T20" fmla="*/ 3 w 11"/>
                    <a:gd name="T21" fmla="*/ 5 h 25"/>
                    <a:gd name="T22" fmla="*/ 6 w 11"/>
                    <a:gd name="T23" fmla="*/ 2 h 25"/>
                    <a:gd name="T24" fmla="*/ 11 w 11"/>
                    <a:gd name="T2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02" name="Freeform 110">
                  <a:extLst>
                    <a:ext uri="{FF2B5EF4-FFF2-40B4-BE49-F238E27FC236}">
                      <a16:creationId xmlns="" xmlns:a16="http://schemas.microsoft.com/office/drawing/2014/main" id="{A73936A5-FE2F-4DC9-BFD7-E07B0D53D2A4}"/>
                    </a:ext>
                  </a:extLst>
                </p:cNvPr>
                <p:cNvSpPr>
                  <a:spLocks/>
                </p:cNvSpPr>
                <p:nvPr>
                  <p:custDataLst>
                    <p:tags r:id="rId90"/>
                  </p:custDataLst>
                </p:nvPr>
              </p:nvSpPr>
              <p:spPr bwMode="auto">
                <a:xfrm>
                  <a:off x="8170580" y="2372294"/>
                  <a:ext cx="10134" cy="41661"/>
                </a:xfrm>
                <a:custGeom>
                  <a:avLst/>
                  <a:gdLst>
                    <a:gd name="T0" fmla="*/ 20 w 20"/>
                    <a:gd name="T1" fmla="*/ 0 h 31"/>
                    <a:gd name="T2" fmla="*/ 16 w 20"/>
                    <a:gd name="T3" fmla="*/ 12 h 31"/>
                    <a:gd name="T4" fmla="*/ 10 w 20"/>
                    <a:gd name="T5" fmla="*/ 20 h 31"/>
                    <a:gd name="T6" fmla="*/ 5 w 20"/>
                    <a:gd name="T7" fmla="*/ 26 h 31"/>
                    <a:gd name="T8" fmla="*/ 0 w 20"/>
                    <a:gd name="T9" fmla="*/ 31 h 31"/>
                    <a:gd name="T10" fmla="*/ 0 w 20"/>
                    <a:gd name="T11" fmla="*/ 25 h 31"/>
                    <a:gd name="T12" fmla="*/ 1 w 20"/>
                    <a:gd name="T13" fmla="*/ 19 h 31"/>
                    <a:gd name="T14" fmla="*/ 2 w 20"/>
                    <a:gd name="T15" fmla="*/ 13 h 31"/>
                    <a:gd name="T16" fmla="*/ 5 w 20"/>
                    <a:gd name="T17" fmla="*/ 9 h 31"/>
                    <a:gd name="T18" fmla="*/ 8 w 20"/>
                    <a:gd name="T19" fmla="*/ 6 h 31"/>
                    <a:gd name="T20" fmla="*/ 11 w 20"/>
                    <a:gd name="T21" fmla="*/ 3 h 31"/>
                    <a:gd name="T22" fmla="*/ 16 w 20"/>
                    <a:gd name="T23" fmla="*/ 0 h 31"/>
                    <a:gd name="T24" fmla="*/ 20 w 20"/>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03" name="Freeform 111">
                  <a:extLst>
                    <a:ext uri="{FF2B5EF4-FFF2-40B4-BE49-F238E27FC236}">
                      <a16:creationId xmlns="" xmlns:a16="http://schemas.microsoft.com/office/drawing/2014/main" id="{262C7E35-25BE-4FD4-8A5D-72287C6EAC39}"/>
                    </a:ext>
                  </a:extLst>
                </p:cNvPr>
                <p:cNvSpPr>
                  <a:spLocks/>
                </p:cNvSpPr>
                <p:nvPr>
                  <p:custDataLst>
                    <p:tags r:id="rId91"/>
                  </p:custDataLst>
                </p:nvPr>
              </p:nvSpPr>
              <p:spPr bwMode="auto">
                <a:xfrm>
                  <a:off x="8182966" y="2326130"/>
                  <a:ext cx="11260" cy="40535"/>
                </a:xfrm>
                <a:custGeom>
                  <a:avLst/>
                  <a:gdLst>
                    <a:gd name="T0" fmla="*/ 13 w 26"/>
                    <a:gd name="T1" fmla="*/ 37 h 37"/>
                    <a:gd name="T2" fmla="*/ 0 w 26"/>
                    <a:gd name="T3" fmla="*/ 12 h 37"/>
                    <a:gd name="T4" fmla="*/ 6 w 26"/>
                    <a:gd name="T5" fmla="*/ 7 h 37"/>
                    <a:gd name="T6" fmla="*/ 13 w 26"/>
                    <a:gd name="T7" fmla="*/ 4 h 37"/>
                    <a:gd name="T8" fmla="*/ 21 w 26"/>
                    <a:gd name="T9" fmla="*/ 1 h 37"/>
                    <a:gd name="T10" fmla="*/ 26 w 26"/>
                    <a:gd name="T11" fmla="*/ 0 h 37"/>
                    <a:gd name="T12" fmla="*/ 26 w 26"/>
                    <a:gd name="T13" fmla="*/ 6 h 37"/>
                    <a:gd name="T14" fmla="*/ 25 w 26"/>
                    <a:gd name="T15" fmla="*/ 11 h 37"/>
                    <a:gd name="T16" fmla="*/ 24 w 26"/>
                    <a:gd name="T17" fmla="*/ 17 h 37"/>
                    <a:gd name="T18" fmla="*/ 23 w 26"/>
                    <a:gd name="T19" fmla="*/ 21 h 37"/>
                    <a:gd name="T20" fmla="*/ 18 w 26"/>
                    <a:gd name="T21" fmla="*/ 29 h 37"/>
                    <a:gd name="T22" fmla="*/ 13 w 26"/>
                    <a:gd name="T23"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04" name="Freeform 112">
                  <a:extLst>
                    <a:ext uri="{FF2B5EF4-FFF2-40B4-BE49-F238E27FC236}">
                      <a16:creationId xmlns="" xmlns:a16="http://schemas.microsoft.com/office/drawing/2014/main" id="{51732E4A-88EC-46F5-84CB-78C09DB44E0B}"/>
                    </a:ext>
                  </a:extLst>
                </p:cNvPr>
                <p:cNvSpPr>
                  <a:spLocks/>
                </p:cNvSpPr>
                <p:nvPr>
                  <p:custDataLst>
                    <p:tags r:id="rId92"/>
                  </p:custDataLst>
                </p:nvPr>
              </p:nvSpPr>
              <p:spPr bwMode="auto">
                <a:xfrm>
                  <a:off x="8104148" y="2219162"/>
                  <a:ext cx="1126" cy="42787"/>
                </a:xfrm>
                <a:custGeom>
                  <a:avLst/>
                  <a:gdLst>
                    <a:gd name="T0" fmla="*/ 0 w 7"/>
                    <a:gd name="T1" fmla="*/ 18 h 18"/>
                    <a:gd name="T2" fmla="*/ 0 w 7"/>
                    <a:gd name="T3" fmla="*/ 0 h 18"/>
                    <a:gd name="T4" fmla="*/ 7 w 7"/>
                    <a:gd name="T5" fmla="*/ 12 h 18"/>
                    <a:gd name="T6" fmla="*/ 0 w 7"/>
                    <a:gd name="T7" fmla="*/ 18 h 18"/>
                  </a:gdLst>
                  <a:ahLst/>
                  <a:cxnLst>
                    <a:cxn ang="0">
                      <a:pos x="T0" y="T1"/>
                    </a:cxn>
                    <a:cxn ang="0">
                      <a:pos x="T2" y="T3"/>
                    </a:cxn>
                    <a:cxn ang="0">
                      <a:pos x="T4" y="T5"/>
                    </a:cxn>
                    <a:cxn ang="0">
                      <a:pos x="T6" y="T7"/>
                    </a:cxn>
                  </a:cxnLst>
                  <a:rect l="0" t="0" r="r" b="b"/>
                  <a:pathLst>
                    <a:path w="7" h="18">
                      <a:moveTo>
                        <a:pt x="0" y="18"/>
                      </a:moveTo>
                      <a:lnTo>
                        <a:pt x="0" y="0"/>
                      </a:lnTo>
                      <a:lnTo>
                        <a:pt x="7" y="12"/>
                      </a:lnTo>
                      <a:lnTo>
                        <a:pt x="0" y="18"/>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05" name="Freeform 113">
                  <a:extLst>
                    <a:ext uri="{FF2B5EF4-FFF2-40B4-BE49-F238E27FC236}">
                      <a16:creationId xmlns="" xmlns:a16="http://schemas.microsoft.com/office/drawing/2014/main" id="{2EFC79DD-03F6-45FF-BE58-EE6D720B1ED8}"/>
                    </a:ext>
                  </a:extLst>
                </p:cNvPr>
                <p:cNvSpPr>
                  <a:spLocks/>
                </p:cNvSpPr>
                <p:nvPr>
                  <p:custDataLst>
                    <p:tags r:id="rId93"/>
                  </p:custDataLst>
                </p:nvPr>
              </p:nvSpPr>
              <p:spPr bwMode="auto">
                <a:xfrm>
                  <a:off x="5871355" y="1599880"/>
                  <a:ext cx="6756" cy="40535"/>
                </a:xfrm>
                <a:custGeom>
                  <a:avLst/>
                  <a:gdLst>
                    <a:gd name="T0" fmla="*/ 0 w 33"/>
                    <a:gd name="T1" fmla="*/ 12 h 31"/>
                    <a:gd name="T2" fmla="*/ 19 w 33"/>
                    <a:gd name="T3" fmla="*/ 0 h 31"/>
                    <a:gd name="T4" fmla="*/ 24 w 33"/>
                    <a:gd name="T5" fmla="*/ 5 h 31"/>
                    <a:gd name="T6" fmla="*/ 28 w 33"/>
                    <a:gd name="T7" fmla="*/ 12 h 31"/>
                    <a:gd name="T8" fmla="*/ 32 w 33"/>
                    <a:gd name="T9" fmla="*/ 22 h 31"/>
                    <a:gd name="T10" fmla="*/ 33 w 33"/>
                    <a:gd name="T11" fmla="*/ 31 h 31"/>
                    <a:gd name="T12" fmla="*/ 27 w 33"/>
                    <a:gd name="T13" fmla="*/ 30 h 31"/>
                    <a:gd name="T14" fmla="*/ 22 w 33"/>
                    <a:gd name="T15" fmla="*/ 28 h 31"/>
                    <a:gd name="T16" fmla="*/ 16 w 33"/>
                    <a:gd name="T17" fmla="*/ 25 h 31"/>
                    <a:gd name="T18" fmla="*/ 11 w 33"/>
                    <a:gd name="T19" fmla="*/ 22 h 31"/>
                    <a:gd name="T20" fmla="*/ 3 w 33"/>
                    <a:gd name="T21" fmla="*/ 15 h 31"/>
                    <a:gd name="T22" fmla="*/ 0 w 33"/>
                    <a:gd name="T23" fmla="*/ 1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06" name="Freeform 114">
                  <a:extLst>
                    <a:ext uri="{FF2B5EF4-FFF2-40B4-BE49-F238E27FC236}">
                      <a16:creationId xmlns="" xmlns:a16="http://schemas.microsoft.com/office/drawing/2014/main" id="{93FAAA0A-2C64-4B6C-BD31-9A43B445C0EC}"/>
                    </a:ext>
                  </a:extLst>
                </p:cNvPr>
                <p:cNvSpPr>
                  <a:spLocks/>
                </p:cNvSpPr>
                <p:nvPr>
                  <p:custDataLst>
                    <p:tags r:id="rId94"/>
                  </p:custDataLst>
                </p:nvPr>
              </p:nvSpPr>
              <p:spPr bwMode="auto">
                <a:xfrm>
                  <a:off x="5861222" y="1435489"/>
                  <a:ext cx="2252" cy="40535"/>
                </a:xfrm>
                <a:custGeom>
                  <a:avLst/>
                  <a:gdLst>
                    <a:gd name="T0" fmla="*/ 14 w 14"/>
                    <a:gd name="T1" fmla="*/ 0 h 6"/>
                    <a:gd name="T2" fmla="*/ 0 w 14"/>
                    <a:gd name="T3" fmla="*/ 6 h 6"/>
                    <a:gd name="T4" fmla="*/ 14 w 14"/>
                    <a:gd name="T5" fmla="*/ 0 h 6"/>
                  </a:gdLst>
                  <a:ahLst/>
                  <a:cxnLst>
                    <a:cxn ang="0">
                      <a:pos x="T0" y="T1"/>
                    </a:cxn>
                    <a:cxn ang="0">
                      <a:pos x="T2" y="T3"/>
                    </a:cxn>
                    <a:cxn ang="0">
                      <a:pos x="T4" y="T5"/>
                    </a:cxn>
                  </a:cxnLst>
                  <a:rect l="0" t="0" r="r" b="b"/>
                  <a:pathLst>
                    <a:path w="14" h="6">
                      <a:moveTo>
                        <a:pt x="14" y="0"/>
                      </a:moveTo>
                      <a:lnTo>
                        <a:pt x="0" y="6"/>
                      </a:lnTo>
                      <a:lnTo>
                        <a:pt x="14"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07" name="Freeform 115">
                  <a:extLst>
                    <a:ext uri="{FF2B5EF4-FFF2-40B4-BE49-F238E27FC236}">
                      <a16:creationId xmlns="" xmlns:a16="http://schemas.microsoft.com/office/drawing/2014/main" id="{97FAED7B-5FF3-4187-B4CE-CEF6A62A5350}"/>
                    </a:ext>
                  </a:extLst>
                </p:cNvPr>
                <p:cNvSpPr>
                  <a:spLocks/>
                </p:cNvSpPr>
                <p:nvPr>
                  <p:custDataLst>
                    <p:tags r:id="rId95"/>
                  </p:custDataLst>
                </p:nvPr>
              </p:nvSpPr>
              <p:spPr bwMode="auto">
                <a:xfrm>
                  <a:off x="6911749" y="2696572"/>
                  <a:ext cx="18015" cy="39409"/>
                </a:xfrm>
                <a:custGeom>
                  <a:avLst/>
                  <a:gdLst>
                    <a:gd name="T0" fmla="*/ 59 w 59"/>
                    <a:gd name="T1" fmla="*/ 6 h 31"/>
                    <a:gd name="T2" fmla="*/ 57 w 59"/>
                    <a:gd name="T3" fmla="*/ 11 h 31"/>
                    <a:gd name="T4" fmla="*/ 53 w 59"/>
                    <a:gd name="T5" fmla="*/ 15 h 31"/>
                    <a:gd name="T6" fmla="*/ 49 w 59"/>
                    <a:gd name="T7" fmla="*/ 19 h 31"/>
                    <a:gd name="T8" fmla="*/ 45 w 59"/>
                    <a:gd name="T9" fmla="*/ 24 h 31"/>
                    <a:gd name="T10" fmla="*/ 40 w 59"/>
                    <a:gd name="T11" fmla="*/ 27 h 31"/>
                    <a:gd name="T12" fmla="*/ 36 w 59"/>
                    <a:gd name="T13" fmla="*/ 29 h 31"/>
                    <a:gd name="T14" fmla="*/ 30 w 59"/>
                    <a:gd name="T15" fmla="*/ 31 h 31"/>
                    <a:gd name="T16" fmla="*/ 26 w 59"/>
                    <a:gd name="T17" fmla="*/ 31 h 31"/>
                    <a:gd name="T18" fmla="*/ 21 w 59"/>
                    <a:gd name="T19" fmla="*/ 31 h 31"/>
                    <a:gd name="T20" fmla="*/ 17 w 59"/>
                    <a:gd name="T21" fmla="*/ 30 h 31"/>
                    <a:gd name="T22" fmla="*/ 14 w 59"/>
                    <a:gd name="T23" fmla="*/ 29 h 31"/>
                    <a:gd name="T24" fmla="*/ 11 w 59"/>
                    <a:gd name="T25" fmla="*/ 27 h 31"/>
                    <a:gd name="T26" fmla="*/ 4 w 59"/>
                    <a:gd name="T27" fmla="*/ 20 h 31"/>
                    <a:gd name="T28" fmla="*/ 0 w 59"/>
                    <a:gd name="T29" fmla="*/ 12 h 31"/>
                    <a:gd name="T30" fmla="*/ 1 w 59"/>
                    <a:gd name="T31" fmla="*/ 9 h 31"/>
                    <a:gd name="T32" fmla="*/ 3 w 59"/>
                    <a:gd name="T33" fmla="*/ 6 h 31"/>
                    <a:gd name="T34" fmla="*/ 5 w 59"/>
                    <a:gd name="T35" fmla="*/ 4 h 31"/>
                    <a:gd name="T36" fmla="*/ 8 w 59"/>
                    <a:gd name="T37" fmla="*/ 3 h 31"/>
                    <a:gd name="T38" fmla="*/ 16 w 59"/>
                    <a:gd name="T39" fmla="*/ 1 h 31"/>
                    <a:gd name="T40" fmla="*/ 24 w 59"/>
                    <a:gd name="T41" fmla="*/ 0 h 31"/>
                    <a:gd name="T42" fmla="*/ 34 w 59"/>
                    <a:gd name="T43" fmla="*/ 0 h 31"/>
                    <a:gd name="T44" fmla="*/ 42 w 59"/>
                    <a:gd name="T45" fmla="*/ 2 h 31"/>
                    <a:gd name="T46" fmla="*/ 51 w 59"/>
                    <a:gd name="T47" fmla="*/ 4 h 31"/>
                    <a:gd name="T48" fmla="*/ 59 w 59"/>
                    <a:gd name="T4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08" name="Freeform 116">
                  <a:extLst>
                    <a:ext uri="{FF2B5EF4-FFF2-40B4-BE49-F238E27FC236}">
                      <a16:creationId xmlns="" xmlns:a16="http://schemas.microsoft.com/office/drawing/2014/main" id="{0BBB8CFA-8FAF-44C5-B48A-59EE21B1262F}"/>
                    </a:ext>
                  </a:extLst>
                </p:cNvPr>
                <p:cNvSpPr>
                  <a:spLocks/>
                </p:cNvSpPr>
                <p:nvPr>
                  <p:custDataLst>
                    <p:tags r:id="rId96"/>
                  </p:custDataLst>
                </p:nvPr>
              </p:nvSpPr>
              <p:spPr bwMode="auto">
                <a:xfrm>
                  <a:off x="6701193" y="2598613"/>
                  <a:ext cx="13512" cy="41660"/>
                </a:xfrm>
                <a:custGeom>
                  <a:avLst/>
                  <a:gdLst>
                    <a:gd name="T0" fmla="*/ 14 w 47"/>
                    <a:gd name="T1" fmla="*/ 0 h 68"/>
                    <a:gd name="T2" fmla="*/ 8 w 47"/>
                    <a:gd name="T3" fmla="*/ 10 h 68"/>
                    <a:gd name="T4" fmla="*/ 4 w 47"/>
                    <a:gd name="T5" fmla="*/ 19 h 68"/>
                    <a:gd name="T6" fmla="*/ 2 w 47"/>
                    <a:gd name="T7" fmla="*/ 28 h 68"/>
                    <a:gd name="T8" fmla="*/ 0 w 47"/>
                    <a:gd name="T9" fmla="*/ 37 h 68"/>
                    <a:gd name="T10" fmla="*/ 0 w 47"/>
                    <a:gd name="T11" fmla="*/ 42 h 68"/>
                    <a:gd name="T12" fmla="*/ 2 w 47"/>
                    <a:gd name="T13" fmla="*/ 47 h 68"/>
                    <a:gd name="T14" fmla="*/ 3 w 47"/>
                    <a:gd name="T15" fmla="*/ 51 h 68"/>
                    <a:gd name="T16" fmla="*/ 5 w 47"/>
                    <a:gd name="T17" fmla="*/ 55 h 68"/>
                    <a:gd name="T18" fmla="*/ 7 w 47"/>
                    <a:gd name="T19" fmla="*/ 58 h 68"/>
                    <a:gd name="T20" fmla="*/ 9 w 47"/>
                    <a:gd name="T21" fmla="*/ 60 h 68"/>
                    <a:gd name="T22" fmla="*/ 13 w 47"/>
                    <a:gd name="T23" fmla="*/ 62 h 68"/>
                    <a:gd name="T24" fmla="*/ 16 w 47"/>
                    <a:gd name="T25" fmla="*/ 64 h 68"/>
                    <a:gd name="T26" fmla="*/ 22 w 47"/>
                    <a:gd name="T27" fmla="*/ 67 h 68"/>
                    <a:gd name="T28" fmla="*/ 31 w 47"/>
                    <a:gd name="T29" fmla="*/ 68 h 68"/>
                    <a:gd name="T30" fmla="*/ 39 w 47"/>
                    <a:gd name="T31" fmla="*/ 68 h 68"/>
                    <a:gd name="T32" fmla="*/ 47 w 47"/>
                    <a:gd name="T33" fmla="*/ 68 h 68"/>
                    <a:gd name="T34" fmla="*/ 41 w 47"/>
                    <a:gd name="T35" fmla="*/ 58 h 68"/>
                    <a:gd name="T36" fmla="*/ 38 w 47"/>
                    <a:gd name="T37" fmla="*/ 48 h 68"/>
                    <a:gd name="T38" fmla="*/ 36 w 47"/>
                    <a:gd name="T39" fmla="*/ 43 h 68"/>
                    <a:gd name="T40" fmla="*/ 35 w 47"/>
                    <a:gd name="T41" fmla="*/ 38 h 68"/>
                    <a:gd name="T42" fmla="*/ 33 w 47"/>
                    <a:gd name="T43" fmla="*/ 31 h 68"/>
                    <a:gd name="T44" fmla="*/ 33 w 47"/>
                    <a:gd name="T45" fmla="*/ 25 h 68"/>
                    <a:gd name="T46" fmla="*/ 24 w 47"/>
                    <a:gd name="T47" fmla="*/ 13 h 68"/>
                    <a:gd name="T48" fmla="*/ 14 w 47"/>
                    <a:gd name="T4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grpSp>
              <p:nvGrpSpPr>
                <p:cNvPr id="109" name="Group 117">
                  <a:extLst>
                    <a:ext uri="{FF2B5EF4-FFF2-40B4-BE49-F238E27FC236}">
                      <a16:creationId xmlns="" xmlns:a16="http://schemas.microsoft.com/office/drawing/2014/main" id="{79B800D3-4AD4-4EA4-80ED-AE54985B3201}"/>
                    </a:ext>
                  </a:extLst>
                </p:cNvPr>
                <p:cNvGrpSpPr>
                  <a:grpSpLocks/>
                </p:cNvGrpSpPr>
                <p:nvPr>
                  <p:custDataLst>
                    <p:tags r:id="rId97"/>
                  </p:custDataLst>
                </p:nvPr>
              </p:nvGrpSpPr>
              <p:grpSpPr bwMode="auto">
                <a:xfrm>
                  <a:off x="7248413" y="2731478"/>
                  <a:ext cx="32652" cy="265728"/>
                  <a:chOff x="3950" y="2430"/>
                  <a:chExt cx="36" cy="234"/>
                </a:xfrm>
                <a:solidFill>
                  <a:srgbClr val="CDCDCD"/>
                </a:solidFill>
              </p:grpSpPr>
              <p:sp>
                <p:nvSpPr>
                  <p:cNvPr id="531" name="Freeform 118">
                    <a:extLst>
                      <a:ext uri="{FF2B5EF4-FFF2-40B4-BE49-F238E27FC236}">
                        <a16:creationId xmlns="" xmlns:a16="http://schemas.microsoft.com/office/drawing/2014/main" id="{E4BD25DB-DC26-4AED-A5DB-5CCDEAE0CD9E}"/>
                      </a:ext>
                    </a:extLst>
                  </p:cNvPr>
                  <p:cNvSpPr>
                    <a:spLocks/>
                  </p:cNvSpPr>
                  <p:nvPr/>
                </p:nvSpPr>
                <p:spPr bwMode="auto">
                  <a:xfrm>
                    <a:off x="3975" y="2658"/>
                    <a:ext cx="6" cy="6"/>
                  </a:xfrm>
                  <a:custGeom>
                    <a:avLst/>
                    <a:gdLst>
                      <a:gd name="T0" fmla="*/ 0 w 19"/>
                      <a:gd name="T1" fmla="*/ 0 h 20"/>
                      <a:gd name="T2" fmla="*/ 0 w 19"/>
                      <a:gd name="T3" fmla="*/ 20 h 20"/>
                      <a:gd name="T4" fmla="*/ 19 w 19"/>
                      <a:gd name="T5" fmla="*/ 14 h 20"/>
                      <a:gd name="T6" fmla="*/ 14 w 19"/>
                      <a:gd name="T7" fmla="*/ 8 h 20"/>
                      <a:gd name="T8" fmla="*/ 10 w 19"/>
                      <a:gd name="T9" fmla="*/ 4 h 20"/>
                      <a:gd name="T10" fmla="*/ 4 w 19"/>
                      <a:gd name="T11" fmla="*/ 1 h 20"/>
                      <a:gd name="T12" fmla="*/ 0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0" y="0"/>
                        </a:moveTo>
                        <a:lnTo>
                          <a:pt x="0" y="20"/>
                        </a:lnTo>
                        <a:lnTo>
                          <a:pt x="19" y="14"/>
                        </a:lnTo>
                        <a:lnTo>
                          <a:pt x="14" y="8"/>
                        </a:lnTo>
                        <a:lnTo>
                          <a:pt x="10" y="4"/>
                        </a:lnTo>
                        <a:lnTo>
                          <a:pt x="4" y="1"/>
                        </a:lnTo>
                        <a:lnTo>
                          <a:pt x="0" y="0"/>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32" name="Freeform 119">
                    <a:extLst>
                      <a:ext uri="{FF2B5EF4-FFF2-40B4-BE49-F238E27FC236}">
                        <a16:creationId xmlns="" xmlns:a16="http://schemas.microsoft.com/office/drawing/2014/main" id="{4E542095-01EA-4B5B-B05D-6B3A07B9E3FF}"/>
                      </a:ext>
                    </a:extLst>
                  </p:cNvPr>
                  <p:cNvSpPr>
                    <a:spLocks/>
                  </p:cNvSpPr>
                  <p:nvPr/>
                </p:nvSpPr>
                <p:spPr bwMode="auto">
                  <a:xfrm>
                    <a:off x="3975" y="2644"/>
                    <a:ext cx="6" cy="4"/>
                  </a:xfrm>
                  <a:custGeom>
                    <a:avLst/>
                    <a:gdLst>
                      <a:gd name="T0" fmla="*/ 13 w 19"/>
                      <a:gd name="T1" fmla="*/ 12 h 12"/>
                      <a:gd name="T2" fmla="*/ 19 w 19"/>
                      <a:gd name="T3" fmla="*/ 0 h 12"/>
                      <a:gd name="T4" fmla="*/ 0 w 19"/>
                      <a:gd name="T5" fmla="*/ 0 h 12"/>
                      <a:gd name="T6" fmla="*/ 13 w 19"/>
                      <a:gd name="T7" fmla="*/ 12 h 12"/>
                    </a:gdLst>
                    <a:ahLst/>
                    <a:cxnLst>
                      <a:cxn ang="0">
                        <a:pos x="T0" y="T1"/>
                      </a:cxn>
                      <a:cxn ang="0">
                        <a:pos x="T2" y="T3"/>
                      </a:cxn>
                      <a:cxn ang="0">
                        <a:pos x="T4" y="T5"/>
                      </a:cxn>
                      <a:cxn ang="0">
                        <a:pos x="T6" y="T7"/>
                      </a:cxn>
                    </a:cxnLst>
                    <a:rect l="0" t="0" r="r" b="b"/>
                    <a:pathLst>
                      <a:path w="19" h="12">
                        <a:moveTo>
                          <a:pt x="13" y="12"/>
                        </a:moveTo>
                        <a:lnTo>
                          <a:pt x="19" y="0"/>
                        </a:lnTo>
                        <a:lnTo>
                          <a:pt x="0" y="0"/>
                        </a:lnTo>
                        <a:lnTo>
                          <a:pt x="13" y="12"/>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33" name="Freeform 120">
                    <a:extLst>
                      <a:ext uri="{FF2B5EF4-FFF2-40B4-BE49-F238E27FC236}">
                        <a16:creationId xmlns="" xmlns:a16="http://schemas.microsoft.com/office/drawing/2014/main" id="{7C89B352-274C-48D0-9CED-4AE28D1F555A}"/>
                      </a:ext>
                    </a:extLst>
                  </p:cNvPr>
                  <p:cNvSpPr>
                    <a:spLocks/>
                  </p:cNvSpPr>
                  <p:nvPr/>
                </p:nvSpPr>
                <p:spPr bwMode="auto">
                  <a:xfrm>
                    <a:off x="3975" y="2637"/>
                    <a:ext cx="6" cy="1"/>
                  </a:xfrm>
                  <a:custGeom>
                    <a:avLst/>
                    <a:gdLst>
                      <a:gd name="T0" fmla="*/ 0 w 19"/>
                      <a:gd name="T1" fmla="*/ 10 w 19"/>
                      <a:gd name="T2" fmla="*/ 19 w 19"/>
                      <a:gd name="T3" fmla="*/ 10 w 19"/>
                      <a:gd name="T4" fmla="*/ 0 w 19"/>
                    </a:gdLst>
                    <a:ahLst/>
                    <a:cxnLst>
                      <a:cxn ang="0">
                        <a:pos x="T0" y="0"/>
                      </a:cxn>
                      <a:cxn ang="0">
                        <a:pos x="T1" y="0"/>
                      </a:cxn>
                      <a:cxn ang="0">
                        <a:pos x="T2" y="0"/>
                      </a:cxn>
                      <a:cxn ang="0">
                        <a:pos x="T3" y="0"/>
                      </a:cxn>
                      <a:cxn ang="0">
                        <a:pos x="T4" y="0"/>
                      </a:cxn>
                    </a:cxnLst>
                    <a:rect l="0" t="0" r="r" b="b"/>
                    <a:pathLst>
                      <a:path w="19">
                        <a:moveTo>
                          <a:pt x="0" y="0"/>
                        </a:moveTo>
                        <a:lnTo>
                          <a:pt x="10" y="0"/>
                        </a:lnTo>
                        <a:lnTo>
                          <a:pt x="19" y="0"/>
                        </a:lnTo>
                        <a:lnTo>
                          <a:pt x="10" y="0"/>
                        </a:lnTo>
                        <a:lnTo>
                          <a:pt x="0" y="0"/>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34" name="Rectangle 121">
                    <a:extLst>
                      <a:ext uri="{FF2B5EF4-FFF2-40B4-BE49-F238E27FC236}">
                        <a16:creationId xmlns="" xmlns:a16="http://schemas.microsoft.com/office/drawing/2014/main" id="{B60878D7-4189-44C2-BFA4-3762FB3067E2}"/>
                      </a:ext>
                    </a:extLst>
                  </p:cNvPr>
                  <p:cNvSpPr>
                    <a:spLocks noChangeArrowheads="1"/>
                  </p:cNvSpPr>
                  <p:nvPr/>
                </p:nvSpPr>
                <p:spPr bwMode="auto">
                  <a:xfrm>
                    <a:off x="3975" y="2632"/>
                    <a:ext cx="8" cy="2"/>
                  </a:xfrm>
                  <a:prstGeom prst="rect">
                    <a:avLst/>
                  </a:prstGeom>
                  <a:grpFill/>
                  <a:ln w="3175">
                    <a:solidFill>
                      <a:srgbClr val="FFFFFF"/>
                    </a:solidFill>
                    <a:miter lim="800000"/>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35" name="Line 122">
                    <a:extLst>
                      <a:ext uri="{FF2B5EF4-FFF2-40B4-BE49-F238E27FC236}">
                        <a16:creationId xmlns="" xmlns:a16="http://schemas.microsoft.com/office/drawing/2014/main" id="{CFBF03EE-D7C6-4B08-976D-2181B62B06AB}"/>
                      </a:ext>
                    </a:extLst>
                  </p:cNvPr>
                  <p:cNvSpPr>
                    <a:spLocks noChangeShapeType="1"/>
                  </p:cNvSpPr>
                  <p:nvPr/>
                </p:nvSpPr>
                <p:spPr bwMode="auto">
                  <a:xfrm flipV="1">
                    <a:off x="3972" y="2595"/>
                    <a:ext cx="5" cy="4"/>
                  </a:xfrm>
                  <a:prstGeom prst="line">
                    <a:avLst/>
                  </a:prstGeom>
                  <a:grpFill/>
                  <a:ln w="3175">
                    <a:solidFill>
                      <a:srgbClr val="FFFFFF"/>
                    </a:solidFill>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36" name="Freeform 123">
                    <a:extLst>
                      <a:ext uri="{FF2B5EF4-FFF2-40B4-BE49-F238E27FC236}">
                        <a16:creationId xmlns="" xmlns:a16="http://schemas.microsoft.com/office/drawing/2014/main" id="{D6219D4E-A6B4-49B5-A36C-ADCC61B1CC66}"/>
                      </a:ext>
                    </a:extLst>
                  </p:cNvPr>
                  <p:cNvSpPr>
                    <a:spLocks/>
                  </p:cNvSpPr>
                  <p:nvPr/>
                </p:nvSpPr>
                <p:spPr bwMode="auto">
                  <a:xfrm>
                    <a:off x="3975" y="2595"/>
                    <a:ext cx="2" cy="1"/>
                  </a:xfrm>
                  <a:custGeom>
                    <a:avLst/>
                    <a:gdLst>
                      <a:gd name="T0" fmla="*/ 6 w 6"/>
                      <a:gd name="T1" fmla="*/ 0 h 3"/>
                      <a:gd name="T2" fmla="*/ 5 w 6"/>
                      <a:gd name="T3" fmla="*/ 1 h 3"/>
                      <a:gd name="T4" fmla="*/ 3 w 6"/>
                      <a:gd name="T5" fmla="*/ 2 h 3"/>
                      <a:gd name="T6" fmla="*/ 1 w 6"/>
                      <a:gd name="T7" fmla="*/ 3 h 3"/>
                      <a:gd name="T8" fmla="*/ 0 w 6"/>
                      <a:gd name="T9" fmla="*/ 2 h 3"/>
                      <a:gd name="T10" fmla="*/ 0 w 6"/>
                      <a:gd name="T11" fmla="*/ 2 h 3"/>
                      <a:gd name="T12" fmla="*/ 0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5" y="1"/>
                        </a:lnTo>
                        <a:lnTo>
                          <a:pt x="3" y="2"/>
                        </a:lnTo>
                        <a:lnTo>
                          <a:pt x="1" y="3"/>
                        </a:lnTo>
                        <a:lnTo>
                          <a:pt x="0" y="2"/>
                        </a:lnTo>
                        <a:lnTo>
                          <a:pt x="0" y="2"/>
                        </a:lnTo>
                        <a:lnTo>
                          <a:pt x="0" y="0"/>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37" name="Freeform 124">
                    <a:extLst>
                      <a:ext uri="{FF2B5EF4-FFF2-40B4-BE49-F238E27FC236}">
                        <a16:creationId xmlns="" xmlns:a16="http://schemas.microsoft.com/office/drawing/2014/main" id="{4060F9F6-72E3-410A-93FA-751664A03BEE}"/>
                      </a:ext>
                    </a:extLst>
                  </p:cNvPr>
                  <p:cNvSpPr>
                    <a:spLocks/>
                  </p:cNvSpPr>
                  <p:nvPr/>
                </p:nvSpPr>
                <p:spPr bwMode="auto">
                  <a:xfrm>
                    <a:off x="3981" y="2555"/>
                    <a:ext cx="5" cy="8"/>
                  </a:xfrm>
                  <a:custGeom>
                    <a:avLst/>
                    <a:gdLst>
                      <a:gd name="T0" fmla="*/ 14 w 14"/>
                      <a:gd name="T1" fmla="*/ 0 h 24"/>
                      <a:gd name="T2" fmla="*/ 13 w 14"/>
                      <a:gd name="T3" fmla="*/ 5 h 24"/>
                      <a:gd name="T4" fmla="*/ 9 w 14"/>
                      <a:gd name="T5" fmla="*/ 12 h 24"/>
                      <a:gd name="T6" fmla="*/ 5 w 14"/>
                      <a:gd name="T7" fmla="*/ 19 h 24"/>
                      <a:gd name="T8" fmla="*/ 0 w 14"/>
                      <a:gd name="T9" fmla="*/ 24 h 24"/>
                      <a:gd name="T10" fmla="*/ 0 w 14"/>
                      <a:gd name="T11" fmla="*/ 16 h 24"/>
                      <a:gd name="T12" fmla="*/ 0 w 1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4" h="24">
                        <a:moveTo>
                          <a:pt x="14" y="0"/>
                        </a:moveTo>
                        <a:lnTo>
                          <a:pt x="13" y="5"/>
                        </a:lnTo>
                        <a:lnTo>
                          <a:pt x="9" y="12"/>
                        </a:lnTo>
                        <a:lnTo>
                          <a:pt x="5" y="19"/>
                        </a:lnTo>
                        <a:lnTo>
                          <a:pt x="0" y="24"/>
                        </a:lnTo>
                        <a:lnTo>
                          <a:pt x="0" y="16"/>
                        </a:lnTo>
                        <a:lnTo>
                          <a:pt x="0" y="12"/>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38" name="Line 125">
                    <a:extLst>
                      <a:ext uri="{FF2B5EF4-FFF2-40B4-BE49-F238E27FC236}">
                        <a16:creationId xmlns="" xmlns:a16="http://schemas.microsoft.com/office/drawing/2014/main" id="{5EF5A9BB-4264-491F-B15C-09743ECF24ED}"/>
                      </a:ext>
                    </a:extLst>
                  </p:cNvPr>
                  <p:cNvSpPr>
                    <a:spLocks noChangeShapeType="1"/>
                  </p:cNvSpPr>
                  <p:nvPr/>
                </p:nvSpPr>
                <p:spPr bwMode="auto">
                  <a:xfrm>
                    <a:off x="3981" y="2559"/>
                    <a:ext cx="2" cy="1"/>
                  </a:xfrm>
                  <a:prstGeom prst="line">
                    <a:avLst/>
                  </a:prstGeom>
                  <a:grpFill/>
                  <a:ln w="3175">
                    <a:solidFill>
                      <a:srgbClr val="FFFFFF"/>
                    </a:solidFill>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39" name="Freeform 126">
                    <a:extLst>
                      <a:ext uri="{FF2B5EF4-FFF2-40B4-BE49-F238E27FC236}">
                        <a16:creationId xmlns="" xmlns:a16="http://schemas.microsoft.com/office/drawing/2014/main" id="{6951F94E-AF3B-4C3B-8457-E554BF77EBB5}"/>
                      </a:ext>
                    </a:extLst>
                  </p:cNvPr>
                  <p:cNvSpPr>
                    <a:spLocks/>
                  </p:cNvSpPr>
                  <p:nvPr/>
                </p:nvSpPr>
                <p:spPr bwMode="auto">
                  <a:xfrm>
                    <a:off x="3977" y="2572"/>
                    <a:ext cx="4" cy="3"/>
                  </a:xfrm>
                  <a:custGeom>
                    <a:avLst/>
                    <a:gdLst>
                      <a:gd name="T0" fmla="*/ 13 w 13"/>
                      <a:gd name="T1" fmla="*/ 12 h 12"/>
                      <a:gd name="T2" fmla="*/ 0 w 13"/>
                      <a:gd name="T3" fmla="*/ 0 h 12"/>
                      <a:gd name="T4" fmla="*/ 13 w 13"/>
                      <a:gd name="T5" fmla="*/ 12 h 12"/>
                    </a:gdLst>
                    <a:ahLst/>
                    <a:cxnLst>
                      <a:cxn ang="0">
                        <a:pos x="T0" y="T1"/>
                      </a:cxn>
                      <a:cxn ang="0">
                        <a:pos x="T2" y="T3"/>
                      </a:cxn>
                      <a:cxn ang="0">
                        <a:pos x="T4" y="T5"/>
                      </a:cxn>
                    </a:cxnLst>
                    <a:rect l="0" t="0" r="r" b="b"/>
                    <a:pathLst>
                      <a:path w="13" h="12">
                        <a:moveTo>
                          <a:pt x="13" y="12"/>
                        </a:moveTo>
                        <a:lnTo>
                          <a:pt x="0" y="0"/>
                        </a:lnTo>
                        <a:lnTo>
                          <a:pt x="13" y="12"/>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40" name="Freeform 127">
                    <a:extLst>
                      <a:ext uri="{FF2B5EF4-FFF2-40B4-BE49-F238E27FC236}">
                        <a16:creationId xmlns="" xmlns:a16="http://schemas.microsoft.com/office/drawing/2014/main" id="{2D5DB48B-CFEA-4713-9581-DE1D7C1ECBAD}"/>
                      </a:ext>
                    </a:extLst>
                  </p:cNvPr>
                  <p:cNvSpPr>
                    <a:spLocks/>
                  </p:cNvSpPr>
                  <p:nvPr/>
                </p:nvSpPr>
                <p:spPr bwMode="auto">
                  <a:xfrm>
                    <a:off x="3981" y="2585"/>
                    <a:ext cx="2" cy="6"/>
                  </a:xfrm>
                  <a:custGeom>
                    <a:avLst/>
                    <a:gdLst>
                      <a:gd name="T0" fmla="*/ 0 w 7"/>
                      <a:gd name="T1" fmla="*/ 0 h 19"/>
                      <a:gd name="T2" fmla="*/ 0 w 7"/>
                      <a:gd name="T3" fmla="*/ 19 h 19"/>
                      <a:gd name="T4" fmla="*/ 0 w 7"/>
                      <a:gd name="T5" fmla="*/ 0 h 19"/>
                      <a:gd name="T6" fmla="*/ 7 w 7"/>
                      <a:gd name="T7" fmla="*/ 0 h 19"/>
                    </a:gdLst>
                    <a:ahLst/>
                    <a:cxnLst>
                      <a:cxn ang="0">
                        <a:pos x="T0" y="T1"/>
                      </a:cxn>
                      <a:cxn ang="0">
                        <a:pos x="T2" y="T3"/>
                      </a:cxn>
                      <a:cxn ang="0">
                        <a:pos x="T4" y="T5"/>
                      </a:cxn>
                      <a:cxn ang="0">
                        <a:pos x="T6" y="T7"/>
                      </a:cxn>
                    </a:cxnLst>
                    <a:rect l="0" t="0" r="r" b="b"/>
                    <a:pathLst>
                      <a:path w="7" h="19">
                        <a:moveTo>
                          <a:pt x="0" y="0"/>
                        </a:moveTo>
                        <a:lnTo>
                          <a:pt x="0" y="19"/>
                        </a:lnTo>
                        <a:lnTo>
                          <a:pt x="0" y="0"/>
                        </a:lnTo>
                        <a:lnTo>
                          <a:pt x="7" y="0"/>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41" name="Line 128">
                    <a:extLst>
                      <a:ext uri="{FF2B5EF4-FFF2-40B4-BE49-F238E27FC236}">
                        <a16:creationId xmlns="" xmlns:a16="http://schemas.microsoft.com/office/drawing/2014/main" id="{BB0715FC-6CC8-4397-BD86-4E9D93F8EF76}"/>
                      </a:ext>
                    </a:extLst>
                  </p:cNvPr>
                  <p:cNvSpPr>
                    <a:spLocks noChangeShapeType="1"/>
                  </p:cNvSpPr>
                  <p:nvPr/>
                </p:nvSpPr>
                <p:spPr bwMode="auto">
                  <a:xfrm flipV="1">
                    <a:off x="3981" y="2599"/>
                    <a:ext cx="1" cy="4"/>
                  </a:xfrm>
                  <a:prstGeom prst="line">
                    <a:avLst/>
                  </a:prstGeom>
                  <a:grpFill/>
                  <a:ln w="3175">
                    <a:solidFill>
                      <a:srgbClr val="FFFFFF"/>
                    </a:solidFill>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42" name="Freeform 129">
                    <a:extLst>
                      <a:ext uri="{FF2B5EF4-FFF2-40B4-BE49-F238E27FC236}">
                        <a16:creationId xmlns="" xmlns:a16="http://schemas.microsoft.com/office/drawing/2014/main" id="{87B8C545-7027-4624-9B04-3B58ADB95681}"/>
                      </a:ext>
                    </a:extLst>
                  </p:cNvPr>
                  <p:cNvSpPr>
                    <a:spLocks/>
                  </p:cNvSpPr>
                  <p:nvPr/>
                </p:nvSpPr>
                <p:spPr bwMode="auto">
                  <a:xfrm>
                    <a:off x="3970" y="2545"/>
                    <a:ext cx="2" cy="6"/>
                  </a:xfrm>
                  <a:custGeom>
                    <a:avLst/>
                    <a:gdLst>
                      <a:gd name="T0" fmla="*/ 0 w 8"/>
                      <a:gd name="T1" fmla="*/ 18 h 18"/>
                      <a:gd name="T2" fmla="*/ 8 w 8"/>
                      <a:gd name="T3" fmla="*/ 6 h 18"/>
                      <a:gd name="T4" fmla="*/ 0 w 8"/>
                      <a:gd name="T5" fmla="*/ 0 h 18"/>
                      <a:gd name="T6" fmla="*/ 0 w 8"/>
                      <a:gd name="T7" fmla="*/ 18 h 18"/>
                    </a:gdLst>
                    <a:ahLst/>
                    <a:cxnLst>
                      <a:cxn ang="0">
                        <a:pos x="T0" y="T1"/>
                      </a:cxn>
                      <a:cxn ang="0">
                        <a:pos x="T2" y="T3"/>
                      </a:cxn>
                      <a:cxn ang="0">
                        <a:pos x="T4" y="T5"/>
                      </a:cxn>
                      <a:cxn ang="0">
                        <a:pos x="T6" y="T7"/>
                      </a:cxn>
                    </a:cxnLst>
                    <a:rect l="0" t="0" r="r" b="b"/>
                    <a:pathLst>
                      <a:path w="8" h="18">
                        <a:moveTo>
                          <a:pt x="0" y="18"/>
                        </a:moveTo>
                        <a:lnTo>
                          <a:pt x="8" y="6"/>
                        </a:lnTo>
                        <a:lnTo>
                          <a:pt x="0" y="0"/>
                        </a:lnTo>
                        <a:lnTo>
                          <a:pt x="0" y="18"/>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43" name="Freeform 130">
                    <a:extLst>
                      <a:ext uri="{FF2B5EF4-FFF2-40B4-BE49-F238E27FC236}">
                        <a16:creationId xmlns="" xmlns:a16="http://schemas.microsoft.com/office/drawing/2014/main" id="{B7F3D5BE-2EDC-4F58-BBC1-402B02D802B9}"/>
                      </a:ext>
                    </a:extLst>
                  </p:cNvPr>
                  <p:cNvSpPr>
                    <a:spLocks/>
                  </p:cNvSpPr>
                  <p:nvPr/>
                </p:nvSpPr>
                <p:spPr bwMode="auto">
                  <a:xfrm>
                    <a:off x="3968" y="2532"/>
                    <a:ext cx="2" cy="7"/>
                  </a:xfrm>
                  <a:custGeom>
                    <a:avLst/>
                    <a:gdLst>
                      <a:gd name="T0" fmla="*/ 0 w 6"/>
                      <a:gd name="T1" fmla="*/ 0 h 19"/>
                      <a:gd name="T2" fmla="*/ 0 w 6"/>
                      <a:gd name="T3" fmla="*/ 19 h 19"/>
                      <a:gd name="T4" fmla="*/ 6 w 6"/>
                      <a:gd name="T5" fmla="*/ 13 h 19"/>
                    </a:gdLst>
                    <a:ahLst/>
                    <a:cxnLst>
                      <a:cxn ang="0">
                        <a:pos x="T0" y="T1"/>
                      </a:cxn>
                      <a:cxn ang="0">
                        <a:pos x="T2" y="T3"/>
                      </a:cxn>
                      <a:cxn ang="0">
                        <a:pos x="T4" y="T5"/>
                      </a:cxn>
                    </a:cxnLst>
                    <a:rect l="0" t="0" r="r" b="b"/>
                    <a:pathLst>
                      <a:path w="6" h="19">
                        <a:moveTo>
                          <a:pt x="0" y="0"/>
                        </a:moveTo>
                        <a:lnTo>
                          <a:pt x="0" y="19"/>
                        </a:lnTo>
                        <a:lnTo>
                          <a:pt x="6" y="13"/>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44" name="Freeform 131">
                    <a:extLst>
                      <a:ext uri="{FF2B5EF4-FFF2-40B4-BE49-F238E27FC236}">
                        <a16:creationId xmlns="" xmlns:a16="http://schemas.microsoft.com/office/drawing/2014/main" id="{9B835EEB-F9F6-4980-BCF3-66223506873C}"/>
                      </a:ext>
                    </a:extLst>
                  </p:cNvPr>
                  <p:cNvSpPr>
                    <a:spLocks/>
                  </p:cNvSpPr>
                  <p:nvPr/>
                </p:nvSpPr>
                <p:spPr bwMode="auto">
                  <a:xfrm>
                    <a:off x="3965" y="2513"/>
                    <a:ext cx="10" cy="5"/>
                  </a:xfrm>
                  <a:custGeom>
                    <a:avLst/>
                    <a:gdLst>
                      <a:gd name="T0" fmla="*/ 0 w 28"/>
                      <a:gd name="T1" fmla="*/ 0 h 19"/>
                      <a:gd name="T2" fmla="*/ 0 w 28"/>
                      <a:gd name="T3" fmla="*/ 19 h 19"/>
                      <a:gd name="T4" fmla="*/ 28 w 28"/>
                      <a:gd name="T5" fmla="*/ 19 h 19"/>
                    </a:gdLst>
                    <a:ahLst/>
                    <a:cxnLst>
                      <a:cxn ang="0">
                        <a:pos x="T0" y="T1"/>
                      </a:cxn>
                      <a:cxn ang="0">
                        <a:pos x="T2" y="T3"/>
                      </a:cxn>
                      <a:cxn ang="0">
                        <a:pos x="T4" y="T5"/>
                      </a:cxn>
                    </a:cxnLst>
                    <a:rect l="0" t="0" r="r" b="b"/>
                    <a:pathLst>
                      <a:path w="28" h="19">
                        <a:moveTo>
                          <a:pt x="0" y="0"/>
                        </a:moveTo>
                        <a:lnTo>
                          <a:pt x="0" y="19"/>
                        </a:lnTo>
                        <a:lnTo>
                          <a:pt x="28" y="19"/>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45" name="Freeform 132">
                    <a:extLst>
                      <a:ext uri="{FF2B5EF4-FFF2-40B4-BE49-F238E27FC236}">
                        <a16:creationId xmlns="" xmlns:a16="http://schemas.microsoft.com/office/drawing/2014/main" id="{A6805EEB-DDA8-47AC-8C4E-761343CAAFFB}"/>
                      </a:ext>
                    </a:extLst>
                  </p:cNvPr>
                  <p:cNvSpPr>
                    <a:spLocks/>
                  </p:cNvSpPr>
                  <p:nvPr/>
                </p:nvSpPr>
                <p:spPr bwMode="auto">
                  <a:xfrm>
                    <a:off x="3970" y="2513"/>
                    <a:ext cx="5" cy="5"/>
                  </a:xfrm>
                  <a:custGeom>
                    <a:avLst/>
                    <a:gdLst>
                      <a:gd name="T0" fmla="*/ 15 w 15"/>
                      <a:gd name="T1" fmla="*/ 19 h 19"/>
                      <a:gd name="T2" fmla="*/ 8 w 15"/>
                      <a:gd name="T3" fmla="*/ 9 h 19"/>
                      <a:gd name="T4" fmla="*/ 0 w 15"/>
                      <a:gd name="T5" fmla="*/ 0 h 19"/>
                    </a:gdLst>
                    <a:ahLst/>
                    <a:cxnLst>
                      <a:cxn ang="0">
                        <a:pos x="T0" y="T1"/>
                      </a:cxn>
                      <a:cxn ang="0">
                        <a:pos x="T2" y="T3"/>
                      </a:cxn>
                      <a:cxn ang="0">
                        <a:pos x="T4" y="T5"/>
                      </a:cxn>
                    </a:cxnLst>
                    <a:rect l="0" t="0" r="r" b="b"/>
                    <a:pathLst>
                      <a:path w="15" h="19">
                        <a:moveTo>
                          <a:pt x="15" y="19"/>
                        </a:moveTo>
                        <a:lnTo>
                          <a:pt x="8" y="9"/>
                        </a:lnTo>
                        <a:lnTo>
                          <a:pt x="0" y="0"/>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46" name="Freeform 133">
                    <a:extLst>
                      <a:ext uri="{FF2B5EF4-FFF2-40B4-BE49-F238E27FC236}">
                        <a16:creationId xmlns="" xmlns:a16="http://schemas.microsoft.com/office/drawing/2014/main" id="{A3D4BB88-2384-45CF-B502-938BE6B11F39}"/>
                      </a:ext>
                    </a:extLst>
                  </p:cNvPr>
                  <p:cNvSpPr>
                    <a:spLocks/>
                  </p:cNvSpPr>
                  <p:nvPr/>
                </p:nvSpPr>
                <p:spPr bwMode="auto">
                  <a:xfrm>
                    <a:off x="3975" y="2658"/>
                    <a:ext cx="6" cy="6"/>
                  </a:xfrm>
                  <a:custGeom>
                    <a:avLst/>
                    <a:gdLst>
                      <a:gd name="T0" fmla="*/ 0 w 19"/>
                      <a:gd name="T1" fmla="*/ 0 h 20"/>
                      <a:gd name="T2" fmla="*/ 0 w 19"/>
                      <a:gd name="T3" fmla="*/ 20 h 20"/>
                      <a:gd name="T4" fmla="*/ 19 w 19"/>
                      <a:gd name="T5" fmla="*/ 14 h 20"/>
                      <a:gd name="T6" fmla="*/ 14 w 19"/>
                      <a:gd name="T7" fmla="*/ 8 h 20"/>
                      <a:gd name="T8" fmla="*/ 10 w 19"/>
                      <a:gd name="T9" fmla="*/ 4 h 20"/>
                      <a:gd name="T10" fmla="*/ 4 w 19"/>
                      <a:gd name="T11" fmla="*/ 1 h 20"/>
                      <a:gd name="T12" fmla="*/ 0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0" y="0"/>
                        </a:moveTo>
                        <a:lnTo>
                          <a:pt x="0" y="20"/>
                        </a:lnTo>
                        <a:lnTo>
                          <a:pt x="19" y="14"/>
                        </a:lnTo>
                        <a:lnTo>
                          <a:pt x="14" y="8"/>
                        </a:lnTo>
                        <a:lnTo>
                          <a:pt x="10" y="4"/>
                        </a:lnTo>
                        <a:lnTo>
                          <a:pt x="4" y="1"/>
                        </a:lnTo>
                        <a:lnTo>
                          <a:pt x="0" y="0"/>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47" name="Freeform 134">
                    <a:extLst>
                      <a:ext uri="{FF2B5EF4-FFF2-40B4-BE49-F238E27FC236}">
                        <a16:creationId xmlns="" xmlns:a16="http://schemas.microsoft.com/office/drawing/2014/main" id="{FEC0FFB9-520C-4C49-8A4A-83487698937C}"/>
                      </a:ext>
                    </a:extLst>
                  </p:cNvPr>
                  <p:cNvSpPr>
                    <a:spLocks/>
                  </p:cNvSpPr>
                  <p:nvPr/>
                </p:nvSpPr>
                <p:spPr bwMode="auto">
                  <a:xfrm>
                    <a:off x="3975" y="2644"/>
                    <a:ext cx="6" cy="4"/>
                  </a:xfrm>
                  <a:custGeom>
                    <a:avLst/>
                    <a:gdLst>
                      <a:gd name="T0" fmla="*/ 13 w 19"/>
                      <a:gd name="T1" fmla="*/ 12 h 12"/>
                      <a:gd name="T2" fmla="*/ 19 w 19"/>
                      <a:gd name="T3" fmla="*/ 0 h 12"/>
                      <a:gd name="T4" fmla="*/ 0 w 19"/>
                      <a:gd name="T5" fmla="*/ 0 h 12"/>
                      <a:gd name="T6" fmla="*/ 13 w 19"/>
                      <a:gd name="T7" fmla="*/ 12 h 12"/>
                    </a:gdLst>
                    <a:ahLst/>
                    <a:cxnLst>
                      <a:cxn ang="0">
                        <a:pos x="T0" y="T1"/>
                      </a:cxn>
                      <a:cxn ang="0">
                        <a:pos x="T2" y="T3"/>
                      </a:cxn>
                      <a:cxn ang="0">
                        <a:pos x="T4" y="T5"/>
                      </a:cxn>
                      <a:cxn ang="0">
                        <a:pos x="T6" y="T7"/>
                      </a:cxn>
                    </a:cxnLst>
                    <a:rect l="0" t="0" r="r" b="b"/>
                    <a:pathLst>
                      <a:path w="19" h="12">
                        <a:moveTo>
                          <a:pt x="13" y="12"/>
                        </a:moveTo>
                        <a:lnTo>
                          <a:pt x="19" y="0"/>
                        </a:lnTo>
                        <a:lnTo>
                          <a:pt x="0" y="0"/>
                        </a:lnTo>
                        <a:lnTo>
                          <a:pt x="13" y="12"/>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48" name="Freeform 135">
                    <a:extLst>
                      <a:ext uri="{FF2B5EF4-FFF2-40B4-BE49-F238E27FC236}">
                        <a16:creationId xmlns="" xmlns:a16="http://schemas.microsoft.com/office/drawing/2014/main" id="{D07D743B-F00C-4329-8EFA-6B14EDCC2E5C}"/>
                      </a:ext>
                    </a:extLst>
                  </p:cNvPr>
                  <p:cNvSpPr>
                    <a:spLocks/>
                  </p:cNvSpPr>
                  <p:nvPr/>
                </p:nvSpPr>
                <p:spPr bwMode="auto">
                  <a:xfrm>
                    <a:off x="3975" y="2637"/>
                    <a:ext cx="6" cy="1"/>
                  </a:xfrm>
                  <a:custGeom>
                    <a:avLst/>
                    <a:gdLst>
                      <a:gd name="T0" fmla="*/ 0 w 19"/>
                      <a:gd name="T1" fmla="*/ 10 w 19"/>
                      <a:gd name="T2" fmla="*/ 19 w 19"/>
                      <a:gd name="T3" fmla="*/ 10 w 19"/>
                      <a:gd name="T4" fmla="*/ 0 w 19"/>
                    </a:gdLst>
                    <a:ahLst/>
                    <a:cxnLst>
                      <a:cxn ang="0">
                        <a:pos x="T0" y="0"/>
                      </a:cxn>
                      <a:cxn ang="0">
                        <a:pos x="T1" y="0"/>
                      </a:cxn>
                      <a:cxn ang="0">
                        <a:pos x="T2" y="0"/>
                      </a:cxn>
                      <a:cxn ang="0">
                        <a:pos x="T3" y="0"/>
                      </a:cxn>
                      <a:cxn ang="0">
                        <a:pos x="T4" y="0"/>
                      </a:cxn>
                    </a:cxnLst>
                    <a:rect l="0" t="0" r="r" b="b"/>
                    <a:pathLst>
                      <a:path w="19">
                        <a:moveTo>
                          <a:pt x="0" y="0"/>
                        </a:moveTo>
                        <a:lnTo>
                          <a:pt x="10" y="0"/>
                        </a:lnTo>
                        <a:lnTo>
                          <a:pt x="19" y="0"/>
                        </a:lnTo>
                        <a:lnTo>
                          <a:pt x="10" y="0"/>
                        </a:lnTo>
                        <a:lnTo>
                          <a:pt x="0" y="0"/>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49" name="Rectangle 136">
                    <a:extLst>
                      <a:ext uri="{FF2B5EF4-FFF2-40B4-BE49-F238E27FC236}">
                        <a16:creationId xmlns="" xmlns:a16="http://schemas.microsoft.com/office/drawing/2014/main" id="{59F7ACFB-7214-47C6-8AA9-F4E06329035C}"/>
                      </a:ext>
                    </a:extLst>
                  </p:cNvPr>
                  <p:cNvSpPr>
                    <a:spLocks noChangeArrowheads="1"/>
                  </p:cNvSpPr>
                  <p:nvPr/>
                </p:nvSpPr>
                <p:spPr bwMode="auto">
                  <a:xfrm>
                    <a:off x="3975" y="2632"/>
                    <a:ext cx="8" cy="2"/>
                  </a:xfrm>
                  <a:prstGeom prst="rect">
                    <a:avLst/>
                  </a:prstGeom>
                  <a:grpFill/>
                  <a:ln w="3175">
                    <a:solidFill>
                      <a:srgbClr val="FFFFFF"/>
                    </a:solidFill>
                    <a:miter lim="800000"/>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50" name="Line 137">
                    <a:extLst>
                      <a:ext uri="{FF2B5EF4-FFF2-40B4-BE49-F238E27FC236}">
                        <a16:creationId xmlns="" xmlns:a16="http://schemas.microsoft.com/office/drawing/2014/main" id="{7B0C367C-AC14-4A96-A3A2-E4561ADC87CA}"/>
                      </a:ext>
                    </a:extLst>
                  </p:cNvPr>
                  <p:cNvSpPr>
                    <a:spLocks noChangeShapeType="1"/>
                  </p:cNvSpPr>
                  <p:nvPr/>
                </p:nvSpPr>
                <p:spPr bwMode="auto">
                  <a:xfrm flipV="1">
                    <a:off x="3972" y="2595"/>
                    <a:ext cx="5" cy="4"/>
                  </a:xfrm>
                  <a:prstGeom prst="line">
                    <a:avLst/>
                  </a:prstGeom>
                  <a:grpFill/>
                  <a:ln w="3175">
                    <a:solidFill>
                      <a:srgbClr val="FFFFFF"/>
                    </a:solidFill>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51" name="Freeform 138">
                    <a:extLst>
                      <a:ext uri="{FF2B5EF4-FFF2-40B4-BE49-F238E27FC236}">
                        <a16:creationId xmlns="" xmlns:a16="http://schemas.microsoft.com/office/drawing/2014/main" id="{9DFCB920-27F8-4E60-BD75-BA0EB3B8D901}"/>
                      </a:ext>
                    </a:extLst>
                  </p:cNvPr>
                  <p:cNvSpPr>
                    <a:spLocks/>
                  </p:cNvSpPr>
                  <p:nvPr/>
                </p:nvSpPr>
                <p:spPr bwMode="auto">
                  <a:xfrm>
                    <a:off x="3975" y="2595"/>
                    <a:ext cx="2" cy="1"/>
                  </a:xfrm>
                  <a:custGeom>
                    <a:avLst/>
                    <a:gdLst>
                      <a:gd name="T0" fmla="*/ 6 w 6"/>
                      <a:gd name="T1" fmla="*/ 0 h 3"/>
                      <a:gd name="T2" fmla="*/ 5 w 6"/>
                      <a:gd name="T3" fmla="*/ 1 h 3"/>
                      <a:gd name="T4" fmla="*/ 3 w 6"/>
                      <a:gd name="T5" fmla="*/ 2 h 3"/>
                      <a:gd name="T6" fmla="*/ 1 w 6"/>
                      <a:gd name="T7" fmla="*/ 3 h 3"/>
                      <a:gd name="T8" fmla="*/ 0 w 6"/>
                      <a:gd name="T9" fmla="*/ 2 h 3"/>
                      <a:gd name="T10" fmla="*/ 0 w 6"/>
                      <a:gd name="T11" fmla="*/ 2 h 3"/>
                      <a:gd name="T12" fmla="*/ 0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5" y="1"/>
                        </a:lnTo>
                        <a:lnTo>
                          <a:pt x="3" y="2"/>
                        </a:lnTo>
                        <a:lnTo>
                          <a:pt x="1" y="3"/>
                        </a:lnTo>
                        <a:lnTo>
                          <a:pt x="0" y="2"/>
                        </a:lnTo>
                        <a:lnTo>
                          <a:pt x="0" y="2"/>
                        </a:lnTo>
                        <a:lnTo>
                          <a:pt x="0" y="0"/>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52" name="Freeform 139">
                    <a:extLst>
                      <a:ext uri="{FF2B5EF4-FFF2-40B4-BE49-F238E27FC236}">
                        <a16:creationId xmlns="" xmlns:a16="http://schemas.microsoft.com/office/drawing/2014/main" id="{0AC727FD-C316-442E-BFA7-EE72463D4ACB}"/>
                      </a:ext>
                    </a:extLst>
                  </p:cNvPr>
                  <p:cNvSpPr>
                    <a:spLocks/>
                  </p:cNvSpPr>
                  <p:nvPr/>
                </p:nvSpPr>
                <p:spPr bwMode="auto">
                  <a:xfrm>
                    <a:off x="3981" y="2555"/>
                    <a:ext cx="5" cy="8"/>
                  </a:xfrm>
                  <a:custGeom>
                    <a:avLst/>
                    <a:gdLst>
                      <a:gd name="T0" fmla="*/ 14 w 14"/>
                      <a:gd name="T1" fmla="*/ 0 h 24"/>
                      <a:gd name="T2" fmla="*/ 13 w 14"/>
                      <a:gd name="T3" fmla="*/ 5 h 24"/>
                      <a:gd name="T4" fmla="*/ 9 w 14"/>
                      <a:gd name="T5" fmla="*/ 12 h 24"/>
                      <a:gd name="T6" fmla="*/ 5 w 14"/>
                      <a:gd name="T7" fmla="*/ 19 h 24"/>
                      <a:gd name="T8" fmla="*/ 0 w 14"/>
                      <a:gd name="T9" fmla="*/ 24 h 24"/>
                      <a:gd name="T10" fmla="*/ 0 w 14"/>
                      <a:gd name="T11" fmla="*/ 16 h 24"/>
                      <a:gd name="T12" fmla="*/ 0 w 1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4" h="24">
                        <a:moveTo>
                          <a:pt x="14" y="0"/>
                        </a:moveTo>
                        <a:lnTo>
                          <a:pt x="13" y="5"/>
                        </a:lnTo>
                        <a:lnTo>
                          <a:pt x="9" y="12"/>
                        </a:lnTo>
                        <a:lnTo>
                          <a:pt x="5" y="19"/>
                        </a:lnTo>
                        <a:lnTo>
                          <a:pt x="0" y="24"/>
                        </a:lnTo>
                        <a:lnTo>
                          <a:pt x="0" y="16"/>
                        </a:lnTo>
                        <a:lnTo>
                          <a:pt x="0" y="12"/>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53" name="Line 140">
                    <a:extLst>
                      <a:ext uri="{FF2B5EF4-FFF2-40B4-BE49-F238E27FC236}">
                        <a16:creationId xmlns="" xmlns:a16="http://schemas.microsoft.com/office/drawing/2014/main" id="{6FFD7D0F-CFC5-4875-B8ED-29B4D0DB77CE}"/>
                      </a:ext>
                    </a:extLst>
                  </p:cNvPr>
                  <p:cNvSpPr>
                    <a:spLocks noChangeShapeType="1"/>
                  </p:cNvSpPr>
                  <p:nvPr/>
                </p:nvSpPr>
                <p:spPr bwMode="auto">
                  <a:xfrm>
                    <a:off x="3981" y="2559"/>
                    <a:ext cx="2" cy="1"/>
                  </a:xfrm>
                  <a:prstGeom prst="line">
                    <a:avLst/>
                  </a:prstGeom>
                  <a:grpFill/>
                  <a:ln w="3175">
                    <a:solidFill>
                      <a:srgbClr val="FFFFFF"/>
                    </a:solidFill>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54" name="Freeform 141">
                    <a:extLst>
                      <a:ext uri="{FF2B5EF4-FFF2-40B4-BE49-F238E27FC236}">
                        <a16:creationId xmlns="" xmlns:a16="http://schemas.microsoft.com/office/drawing/2014/main" id="{1126F126-0106-4F4B-8111-0CFCDFD7EF8C}"/>
                      </a:ext>
                    </a:extLst>
                  </p:cNvPr>
                  <p:cNvSpPr>
                    <a:spLocks/>
                  </p:cNvSpPr>
                  <p:nvPr/>
                </p:nvSpPr>
                <p:spPr bwMode="auto">
                  <a:xfrm>
                    <a:off x="3977" y="2572"/>
                    <a:ext cx="4" cy="3"/>
                  </a:xfrm>
                  <a:custGeom>
                    <a:avLst/>
                    <a:gdLst>
                      <a:gd name="T0" fmla="*/ 13 w 13"/>
                      <a:gd name="T1" fmla="*/ 12 h 12"/>
                      <a:gd name="T2" fmla="*/ 0 w 13"/>
                      <a:gd name="T3" fmla="*/ 0 h 12"/>
                      <a:gd name="T4" fmla="*/ 13 w 13"/>
                      <a:gd name="T5" fmla="*/ 12 h 12"/>
                    </a:gdLst>
                    <a:ahLst/>
                    <a:cxnLst>
                      <a:cxn ang="0">
                        <a:pos x="T0" y="T1"/>
                      </a:cxn>
                      <a:cxn ang="0">
                        <a:pos x="T2" y="T3"/>
                      </a:cxn>
                      <a:cxn ang="0">
                        <a:pos x="T4" y="T5"/>
                      </a:cxn>
                    </a:cxnLst>
                    <a:rect l="0" t="0" r="r" b="b"/>
                    <a:pathLst>
                      <a:path w="13" h="12">
                        <a:moveTo>
                          <a:pt x="13" y="12"/>
                        </a:moveTo>
                        <a:lnTo>
                          <a:pt x="0" y="0"/>
                        </a:lnTo>
                        <a:lnTo>
                          <a:pt x="13" y="12"/>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55" name="Freeform 142">
                    <a:extLst>
                      <a:ext uri="{FF2B5EF4-FFF2-40B4-BE49-F238E27FC236}">
                        <a16:creationId xmlns="" xmlns:a16="http://schemas.microsoft.com/office/drawing/2014/main" id="{541BD573-C4A1-4D47-95EA-21277BAB7A38}"/>
                      </a:ext>
                    </a:extLst>
                  </p:cNvPr>
                  <p:cNvSpPr>
                    <a:spLocks/>
                  </p:cNvSpPr>
                  <p:nvPr/>
                </p:nvSpPr>
                <p:spPr bwMode="auto">
                  <a:xfrm>
                    <a:off x="3981" y="2585"/>
                    <a:ext cx="2" cy="6"/>
                  </a:xfrm>
                  <a:custGeom>
                    <a:avLst/>
                    <a:gdLst>
                      <a:gd name="T0" fmla="*/ 0 w 7"/>
                      <a:gd name="T1" fmla="*/ 0 h 19"/>
                      <a:gd name="T2" fmla="*/ 0 w 7"/>
                      <a:gd name="T3" fmla="*/ 19 h 19"/>
                      <a:gd name="T4" fmla="*/ 0 w 7"/>
                      <a:gd name="T5" fmla="*/ 0 h 19"/>
                      <a:gd name="T6" fmla="*/ 7 w 7"/>
                      <a:gd name="T7" fmla="*/ 0 h 19"/>
                    </a:gdLst>
                    <a:ahLst/>
                    <a:cxnLst>
                      <a:cxn ang="0">
                        <a:pos x="T0" y="T1"/>
                      </a:cxn>
                      <a:cxn ang="0">
                        <a:pos x="T2" y="T3"/>
                      </a:cxn>
                      <a:cxn ang="0">
                        <a:pos x="T4" y="T5"/>
                      </a:cxn>
                      <a:cxn ang="0">
                        <a:pos x="T6" y="T7"/>
                      </a:cxn>
                    </a:cxnLst>
                    <a:rect l="0" t="0" r="r" b="b"/>
                    <a:pathLst>
                      <a:path w="7" h="19">
                        <a:moveTo>
                          <a:pt x="0" y="0"/>
                        </a:moveTo>
                        <a:lnTo>
                          <a:pt x="0" y="19"/>
                        </a:lnTo>
                        <a:lnTo>
                          <a:pt x="0" y="0"/>
                        </a:lnTo>
                        <a:lnTo>
                          <a:pt x="7" y="0"/>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56" name="Line 143">
                    <a:extLst>
                      <a:ext uri="{FF2B5EF4-FFF2-40B4-BE49-F238E27FC236}">
                        <a16:creationId xmlns="" xmlns:a16="http://schemas.microsoft.com/office/drawing/2014/main" id="{4CB388B7-632A-4452-987B-57FEF2BDF13A}"/>
                      </a:ext>
                    </a:extLst>
                  </p:cNvPr>
                  <p:cNvSpPr>
                    <a:spLocks noChangeShapeType="1"/>
                  </p:cNvSpPr>
                  <p:nvPr/>
                </p:nvSpPr>
                <p:spPr bwMode="auto">
                  <a:xfrm flipV="1">
                    <a:off x="3981" y="2599"/>
                    <a:ext cx="1" cy="4"/>
                  </a:xfrm>
                  <a:prstGeom prst="line">
                    <a:avLst/>
                  </a:prstGeom>
                  <a:grpFill/>
                  <a:ln w="3175">
                    <a:solidFill>
                      <a:srgbClr val="FFFFFF"/>
                    </a:solidFill>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57" name="Freeform 144">
                    <a:extLst>
                      <a:ext uri="{FF2B5EF4-FFF2-40B4-BE49-F238E27FC236}">
                        <a16:creationId xmlns="" xmlns:a16="http://schemas.microsoft.com/office/drawing/2014/main" id="{D75E843C-CFDA-4E83-AF5D-09CDCCBDAAA2}"/>
                      </a:ext>
                    </a:extLst>
                  </p:cNvPr>
                  <p:cNvSpPr>
                    <a:spLocks/>
                  </p:cNvSpPr>
                  <p:nvPr/>
                </p:nvSpPr>
                <p:spPr bwMode="auto">
                  <a:xfrm>
                    <a:off x="3970" y="2545"/>
                    <a:ext cx="2" cy="6"/>
                  </a:xfrm>
                  <a:custGeom>
                    <a:avLst/>
                    <a:gdLst>
                      <a:gd name="T0" fmla="*/ 0 w 8"/>
                      <a:gd name="T1" fmla="*/ 18 h 18"/>
                      <a:gd name="T2" fmla="*/ 8 w 8"/>
                      <a:gd name="T3" fmla="*/ 6 h 18"/>
                      <a:gd name="T4" fmla="*/ 0 w 8"/>
                      <a:gd name="T5" fmla="*/ 0 h 18"/>
                      <a:gd name="T6" fmla="*/ 0 w 8"/>
                      <a:gd name="T7" fmla="*/ 18 h 18"/>
                    </a:gdLst>
                    <a:ahLst/>
                    <a:cxnLst>
                      <a:cxn ang="0">
                        <a:pos x="T0" y="T1"/>
                      </a:cxn>
                      <a:cxn ang="0">
                        <a:pos x="T2" y="T3"/>
                      </a:cxn>
                      <a:cxn ang="0">
                        <a:pos x="T4" y="T5"/>
                      </a:cxn>
                      <a:cxn ang="0">
                        <a:pos x="T6" y="T7"/>
                      </a:cxn>
                    </a:cxnLst>
                    <a:rect l="0" t="0" r="r" b="b"/>
                    <a:pathLst>
                      <a:path w="8" h="18">
                        <a:moveTo>
                          <a:pt x="0" y="18"/>
                        </a:moveTo>
                        <a:lnTo>
                          <a:pt x="8" y="6"/>
                        </a:lnTo>
                        <a:lnTo>
                          <a:pt x="0" y="0"/>
                        </a:lnTo>
                        <a:lnTo>
                          <a:pt x="0" y="18"/>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58" name="Freeform 145">
                    <a:extLst>
                      <a:ext uri="{FF2B5EF4-FFF2-40B4-BE49-F238E27FC236}">
                        <a16:creationId xmlns="" xmlns:a16="http://schemas.microsoft.com/office/drawing/2014/main" id="{0C6B1052-B135-4E86-9BB4-06EEA9F24003}"/>
                      </a:ext>
                    </a:extLst>
                  </p:cNvPr>
                  <p:cNvSpPr>
                    <a:spLocks/>
                  </p:cNvSpPr>
                  <p:nvPr/>
                </p:nvSpPr>
                <p:spPr bwMode="auto">
                  <a:xfrm>
                    <a:off x="3968" y="2532"/>
                    <a:ext cx="2" cy="7"/>
                  </a:xfrm>
                  <a:custGeom>
                    <a:avLst/>
                    <a:gdLst>
                      <a:gd name="T0" fmla="*/ 0 w 6"/>
                      <a:gd name="T1" fmla="*/ 0 h 19"/>
                      <a:gd name="T2" fmla="*/ 0 w 6"/>
                      <a:gd name="T3" fmla="*/ 19 h 19"/>
                      <a:gd name="T4" fmla="*/ 6 w 6"/>
                      <a:gd name="T5" fmla="*/ 13 h 19"/>
                    </a:gdLst>
                    <a:ahLst/>
                    <a:cxnLst>
                      <a:cxn ang="0">
                        <a:pos x="T0" y="T1"/>
                      </a:cxn>
                      <a:cxn ang="0">
                        <a:pos x="T2" y="T3"/>
                      </a:cxn>
                      <a:cxn ang="0">
                        <a:pos x="T4" y="T5"/>
                      </a:cxn>
                    </a:cxnLst>
                    <a:rect l="0" t="0" r="r" b="b"/>
                    <a:pathLst>
                      <a:path w="6" h="19">
                        <a:moveTo>
                          <a:pt x="0" y="0"/>
                        </a:moveTo>
                        <a:lnTo>
                          <a:pt x="0" y="19"/>
                        </a:lnTo>
                        <a:lnTo>
                          <a:pt x="6" y="13"/>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59" name="Freeform 146">
                    <a:extLst>
                      <a:ext uri="{FF2B5EF4-FFF2-40B4-BE49-F238E27FC236}">
                        <a16:creationId xmlns="" xmlns:a16="http://schemas.microsoft.com/office/drawing/2014/main" id="{67B86610-3778-41CE-8189-8250C6FAF21B}"/>
                      </a:ext>
                    </a:extLst>
                  </p:cNvPr>
                  <p:cNvSpPr>
                    <a:spLocks/>
                  </p:cNvSpPr>
                  <p:nvPr/>
                </p:nvSpPr>
                <p:spPr bwMode="auto">
                  <a:xfrm>
                    <a:off x="3965" y="2513"/>
                    <a:ext cx="10" cy="5"/>
                  </a:xfrm>
                  <a:custGeom>
                    <a:avLst/>
                    <a:gdLst>
                      <a:gd name="T0" fmla="*/ 0 w 28"/>
                      <a:gd name="T1" fmla="*/ 0 h 19"/>
                      <a:gd name="T2" fmla="*/ 0 w 28"/>
                      <a:gd name="T3" fmla="*/ 19 h 19"/>
                      <a:gd name="T4" fmla="*/ 28 w 28"/>
                      <a:gd name="T5" fmla="*/ 19 h 19"/>
                    </a:gdLst>
                    <a:ahLst/>
                    <a:cxnLst>
                      <a:cxn ang="0">
                        <a:pos x="T0" y="T1"/>
                      </a:cxn>
                      <a:cxn ang="0">
                        <a:pos x="T2" y="T3"/>
                      </a:cxn>
                      <a:cxn ang="0">
                        <a:pos x="T4" y="T5"/>
                      </a:cxn>
                    </a:cxnLst>
                    <a:rect l="0" t="0" r="r" b="b"/>
                    <a:pathLst>
                      <a:path w="28" h="19">
                        <a:moveTo>
                          <a:pt x="0" y="0"/>
                        </a:moveTo>
                        <a:lnTo>
                          <a:pt x="0" y="19"/>
                        </a:lnTo>
                        <a:lnTo>
                          <a:pt x="28" y="19"/>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60" name="Freeform 147">
                    <a:extLst>
                      <a:ext uri="{FF2B5EF4-FFF2-40B4-BE49-F238E27FC236}">
                        <a16:creationId xmlns="" xmlns:a16="http://schemas.microsoft.com/office/drawing/2014/main" id="{29E6036B-EF41-4E00-946D-0904F67DDD5F}"/>
                      </a:ext>
                    </a:extLst>
                  </p:cNvPr>
                  <p:cNvSpPr>
                    <a:spLocks/>
                  </p:cNvSpPr>
                  <p:nvPr/>
                </p:nvSpPr>
                <p:spPr bwMode="auto">
                  <a:xfrm>
                    <a:off x="3970" y="2513"/>
                    <a:ext cx="5" cy="5"/>
                  </a:xfrm>
                  <a:custGeom>
                    <a:avLst/>
                    <a:gdLst>
                      <a:gd name="T0" fmla="*/ 15 w 15"/>
                      <a:gd name="T1" fmla="*/ 19 h 19"/>
                      <a:gd name="T2" fmla="*/ 8 w 15"/>
                      <a:gd name="T3" fmla="*/ 9 h 19"/>
                      <a:gd name="T4" fmla="*/ 0 w 15"/>
                      <a:gd name="T5" fmla="*/ 0 h 19"/>
                    </a:gdLst>
                    <a:ahLst/>
                    <a:cxnLst>
                      <a:cxn ang="0">
                        <a:pos x="T0" y="T1"/>
                      </a:cxn>
                      <a:cxn ang="0">
                        <a:pos x="T2" y="T3"/>
                      </a:cxn>
                      <a:cxn ang="0">
                        <a:pos x="T4" y="T5"/>
                      </a:cxn>
                    </a:cxnLst>
                    <a:rect l="0" t="0" r="r" b="b"/>
                    <a:pathLst>
                      <a:path w="15" h="19">
                        <a:moveTo>
                          <a:pt x="15" y="19"/>
                        </a:moveTo>
                        <a:lnTo>
                          <a:pt x="8" y="9"/>
                        </a:lnTo>
                        <a:lnTo>
                          <a:pt x="0" y="0"/>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61" name="Freeform 148">
                    <a:extLst>
                      <a:ext uri="{FF2B5EF4-FFF2-40B4-BE49-F238E27FC236}">
                        <a16:creationId xmlns="" xmlns:a16="http://schemas.microsoft.com/office/drawing/2014/main" id="{A8925AEE-47E9-4E5D-A67A-8FC176A43B9B}"/>
                      </a:ext>
                    </a:extLst>
                  </p:cNvPr>
                  <p:cNvSpPr>
                    <a:spLocks/>
                  </p:cNvSpPr>
                  <p:nvPr/>
                </p:nvSpPr>
                <p:spPr bwMode="auto">
                  <a:xfrm>
                    <a:off x="3950" y="2430"/>
                    <a:ext cx="7" cy="6"/>
                  </a:xfrm>
                  <a:custGeom>
                    <a:avLst/>
                    <a:gdLst>
                      <a:gd name="T0" fmla="*/ 13 w 20"/>
                      <a:gd name="T1" fmla="*/ 18 h 18"/>
                      <a:gd name="T2" fmla="*/ 20 w 20"/>
                      <a:gd name="T3" fmla="*/ 0 h 18"/>
                      <a:gd name="T4" fmla="*/ 0 w 20"/>
                      <a:gd name="T5" fmla="*/ 0 h 18"/>
                      <a:gd name="T6" fmla="*/ 13 w 20"/>
                      <a:gd name="T7" fmla="*/ 18 h 18"/>
                    </a:gdLst>
                    <a:ahLst/>
                    <a:cxnLst>
                      <a:cxn ang="0">
                        <a:pos x="T0" y="T1"/>
                      </a:cxn>
                      <a:cxn ang="0">
                        <a:pos x="T2" y="T3"/>
                      </a:cxn>
                      <a:cxn ang="0">
                        <a:pos x="T4" y="T5"/>
                      </a:cxn>
                      <a:cxn ang="0">
                        <a:pos x="T6" y="T7"/>
                      </a:cxn>
                    </a:cxnLst>
                    <a:rect l="0" t="0" r="r" b="b"/>
                    <a:pathLst>
                      <a:path w="20" h="18">
                        <a:moveTo>
                          <a:pt x="13" y="18"/>
                        </a:moveTo>
                        <a:lnTo>
                          <a:pt x="20" y="0"/>
                        </a:lnTo>
                        <a:lnTo>
                          <a:pt x="0" y="0"/>
                        </a:lnTo>
                        <a:lnTo>
                          <a:pt x="13" y="18"/>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grpSp>
            <p:grpSp>
              <p:nvGrpSpPr>
                <p:cNvPr id="110" name="Group 149">
                  <a:extLst>
                    <a:ext uri="{FF2B5EF4-FFF2-40B4-BE49-F238E27FC236}">
                      <a16:creationId xmlns="" xmlns:a16="http://schemas.microsoft.com/office/drawing/2014/main" id="{F5ED2493-8432-466C-9052-8CA50E7764B2}"/>
                    </a:ext>
                  </a:extLst>
                </p:cNvPr>
                <p:cNvGrpSpPr>
                  <a:grpSpLocks/>
                </p:cNvGrpSpPr>
                <p:nvPr>
                  <p:custDataLst>
                    <p:tags r:id="rId98"/>
                  </p:custDataLst>
                </p:nvPr>
              </p:nvGrpSpPr>
              <p:grpSpPr bwMode="auto">
                <a:xfrm>
                  <a:off x="8713296" y="3086157"/>
                  <a:ext cx="131738" cy="152006"/>
                  <a:chOff x="5486" y="2743"/>
                  <a:chExt cx="137" cy="132"/>
                </a:xfrm>
                <a:solidFill>
                  <a:srgbClr val="CDCDCD"/>
                </a:solidFill>
              </p:grpSpPr>
              <p:sp>
                <p:nvSpPr>
                  <p:cNvPr id="522" name="Freeform 150">
                    <a:extLst>
                      <a:ext uri="{FF2B5EF4-FFF2-40B4-BE49-F238E27FC236}">
                        <a16:creationId xmlns="" xmlns:a16="http://schemas.microsoft.com/office/drawing/2014/main" id="{337AA4F5-C3F0-4422-A3E4-DAC19C7D5E13}"/>
                      </a:ext>
                    </a:extLst>
                  </p:cNvPr>
                  <p:cNvSpPr>
                    <a:spLocks/>
                  </p:cNvSpPr>
                  <p:nvPr/>
                </p:nvSpPr>
                <p:spPr bwMode="auto">
                  <a:xfrm>
                    <a:off x="5595" y="2806"/>
                    <a:ext cx="13" cy="28"/>
                  </a:xfrm>
                  <a:custGeom>
                    <a:avLst/>
                    <a:gdLst>
                      <a:gd name="T0" fmla="*/ 0 w 40"/>
                      <a:gd name="T1" fmla="*/ 31 h 87"/>
                      <a:gd name="T2" fmla="*/ 0 w 40"/>
                      <a:gd name="T3" fmla="*/ 42 h 87"/>
                      <a:gd name="T4" fmla="*/ 2 w 40"/>
                      <a:gd name="T5" fmla="*/ 51 h 87"/>
                      <a:gd name="T6" fmla="*/ 5 w 40"/>
                      <a:gd name="T7" fmla="*/ 59 h 87"/>
                      <a:gd name="T8" fmla="*/ 10 w 40"/>
                      <a:gd name="T9" fmla="*/ 66 h 87"/>
                      <a:gd name="T10" fmla="*/ 15 w 40"/>
                      <a:gd name="T11" fmla="*/ 72 h 87"/>
                      <a:gd name="T12" fmla="*/ 22 w 40"/>
                      <a:gd name="T13" fmla="*/ 77 h 87"/>
                      <a:gd name="T14" fmla="*/ 31 w 40"/>
                      <a:gd name="T15" fmla="*/ 82 h 87"/>
                      <a:gd name="T16" fmla="*/ 40 w 40"/>
                      <a:gd name="T17" fmla="*/ 87 h 87"/>
                      <a:gd name="T18" fmla="*/ 35 w 40"/>
                      <a:gd name="T19" fmla="*/ 82 h 87"/>
                      <a:gd name="T20" fmla="*/ 32 w 40"/>
                      <a:gd name="T21" fmla="*/ 77 h 87"/>
                      <a:gd name="T22" fmla="*/ 29 w 40"/>
                      <a:gd name="T23" fmla="*/ 71 h 87"/>
                      <a:gd name="T24" fmla="*/ 26 w 40"/>
                      <a:gd name="T25" fmla="*/ 65 h 87"/>
                      <a:gd name="T26" fmla="*/ 22 w 40"/>
                      <a:gd name="T27" fmla="*/ 52 h 87"/>
                      <a:gd name="T28" fmla="*/ 20 w 40"/>
                      <a:gd name="T29" fmla="*/ 39 h 87"/>
                      <a:gd name="T30" fmla="*/ 18 w 40"/>
                      <a:gd name="T31" fmla="*/ 27 h 87"/>
                      <a:gd name="T32" fmla="*/ 13 w 40"/>
                      <a:gd name="T33" fmla="*/ 16 h 87"/>
                      <a:gd name="T34" fmla="*/ 11 w 40"/>
                      <a:gd name="T35" fmla="*/ 11 h 87"/>
                      <a:gd name="T36" fmla="*/ 8 w 40"/>
                      <a:gd name="T37" fmla="*/ 6 h 87"/>
                      <a:gd name="T38" fmla="*/ 4 w 40"/>
                      <a:gd name="T39" fmla="*/ 3 h 87"/>
                      <a:gd name="T40" fmla="*/ 0 w 40"/>
                      <a:gd name="T41" fmla="*/ 0 h 87"/>
                      <a:gd name="T42" fmla="*/ 0 w 40"/>
                      <a:gd name="T43" fmla="*/ 9 h 87"/>
                      <a:gd name="T44" fmla="*/ 0 w 40"/>
                      <a:gd name="T45" fmla="*/ 16 h 87"/>
                      <a:gd name="T46" fmla="*/ 0 w 40"/>
                      <a:gd name="T47" fmla="*/ 23 h 87"/>
                      <a:gd name="T48" fmla="*/ 0 w 40"/>
                      <a:gd name="T49" fmla="*/ 3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23" name="Freeform 151">
                    <a:extLst>
                      <a:ext uri="{FF2B5EF4-FFF2-40B4-BE49-F238E27FC236}">
                        <a16:creationId xmlns="" xmlns:a16="http://schemas.microsoft.com/office/drawing/2014/main" id="{41DFC968-B4BD-4EAC-BCBB-2120A89AFB3D}"/>
                      </a:ext>
                    </a:extLst>
                  </p:cNvPr>
                  <p:cNvSpPr>
                    <a:spLocks/>
                  </p:cNvSpPr>
                  <p:nvPr/>
                </p:nvSpPr>
                <p:spPr bwMode="auto">
                  <a:xfrm>
                    <a:off x="5603" y="2842"/>
                    <a:ext cx="20" cy="12"/>
                  </a:xfrm>
                  <a:custGeom>
                    <a:avLst/>
                    <a:gdLst>
                      <a:gd name="T0" fmla="*/ 0 w 61"/>
                      <a:gd name="T1" fmla="*/ 31 h 37"/>
                      <a:gd name="T2" fmla="*/ 19 w 61"/>
                      <a:gd name="T3" fmla="*/ 32 h 37"/>
                      <a:gd name="T4" fmla="*/ 35 w 61"/>
                      <a:gd name="T5" fmla="*/ 34 h 37"/>
                      <a:gd name="T6" fmla="*/ 49 w 61"/>
                      <a:gd name="T7" fmla="*/ 36 h 37"/>
                      <a:gd name="T8" fmla="*/ 61 w 61"/>
                      <a:gd name="T9" fmla="*/ 37 h 37"/>
                      <a:gd name="T10" fmla="*/ 55 w 61"/>
                      <a:gd name="T11" fmla="*/ 29 h 37"/>
                      <a:gd name="T12" fmla="*/ 49 w 61"/>
                      <a:gd name="T13" fmla="*/ 22 h 37"/>
                      <a:gd name="T14" fmla="*/ 42 w 61"/>
                      <a:gd name="T15" fmla="*/ 17 h 37"/>
                      <a:gd name="T16" fmla="*/ 35 w 61"/>
                      <a:gd name="T17" fmla="*/ 12 h 37"/>
                      <a:gd name="T18" fmla="*/ 28 w 61"/>
                      <a:gd name="T19" fmla="*/ 9 h 37"/>
                      <a:gd name="T20" fmla="*/ 19 w 61"/>
                      <a:gd name="T21" fmla="*/ 5 h 37"/>
                      <a:gd name="T22" fmla="*/ 10 w 61"/>
                      <a:gd name="T23" fmla="*/ 2 h 37"/>
                      <a:gd name="T24" fmla="*/ 0 w 61"/>
                      <a:gd name="T25" fmla="*/ 0 h 37"/>
                      <a:gd name="T26" fmla="*/ 0 w 61"/>
                      <a:gd name="T27" fmla="*/ 3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24" name="Freeform 152">
                    <a:extLst>
                      <a:ext uri="{FF2B5EF4-FFF2-40B4-BE49-F238E27FC236}">
                        <a16:creationId xmlns="" xmlns:a16="http://schemas.microsoft.com/office/drawing/2014/main" id="{E792D057-4C91-4244-9884-CBF23449C9E1}"/>
                      </a:ext>
                    </a:extLst>
                  </p:cNvPr>
                  <p:cNvSpPr>
                    <a:spLocks/>
                  </p:cNvSpPr>
                  <p:nvPr/>
                </p:nvSpPr>
                <p:spPr bwMode="auto">
                  <a:xfrm>
                    <a:off x="5568" y="2865"/>
                    <a:ext cx="13" cy="10"/>
                  </a:xfrm>
                  <a:custGeom>
                    <a:avLst/>
                    <a:gdLst>
                      <a:gd name="T0" fmla="*/ 40 w 40"/>
                      <a:gd name="T1" fmla="*/ 30 h 30"/>
                      <a:gd name="T2" fmla="*/ 33 w 40"/>
                      <a:gd name="T3" fmla="*/ 28 h 30"/>
                      <a:gd name="T4" fmla="*/ 26 w 40"/>
                      <a:gd name="T5" fmla="*/ 25 h 30"/>
                      <a:gd name="T6" fmla="*/ 21 w 40"/>
                      <a:gd name="T7" fmla="*/ 22 h 30"/>
                      <a:gd name="T8" fmla="*/ 15 w 40"/>
                      <a:gd name="T9" fmla="*/ 19 h 30"/>
                      <a:gd name="T10" fmla="*/ 11 w 40"/>
                      <a:gd name="T11" fmla="*/ 16 h 30"/>
                      <a:gd name="T12" fmla="*/ 6 w 40"/>
                      <a:gd name="T13" fmla="*/ 11 h 30"/>
                      <a:gd name="T14" fmla="*/ 3 w 40"/>
                      <a:gd name="T15" fmla="*/ 6 h 30"/>
                      <a:gd name="T16" fmla="*/ 0 w 40"/>
                      <a:gd name="T17" fmla="*/ 0 h 30"/>
                      <a:gd name="T18" fmla="*/ 8 w 40"/>
                      <a:gd name="T19" fmla="*/ 2 h 30"/>
                      <a:gd name="T20" fmla="*/ 15 w 40"/>
                      <a:gd name="T21" fmla="*/ 6 h 30"/>
                      <a:gd name="T22" fmla="*/ 22 w 40"/>
                      <a:gd name="T23" fmla="*/ 10 h 30"/>
                      <a:gd name="T24" fmla="*/ 27 w 40"/>
                      <a:gd name="T25" fmla="*/ 15 h 30"/>
                      <a:gd name="T26" fmla="*/ 33 w 40"/>
                      <a:gd name="T27" fmla="*/ 19 h 30"/>
                      <a:gd name="T28" fmla="*/ 36 w 40"/>
                      <a:gd name="T29" fmla="*/ 23 h 30"/>
                      <a:gd name="T30" fmla="*/ 39 w 40"/>
                      <a:gd name="T31" fmla="*/ 27 h 30"/>
                      <a:gd name="T32" fmla="*/ 40 w 40"/>
                      <a:gd name="T33"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25" name="Freeform 153">
                    <a:extLst>
                      <a:ext uri="{FF2B5EF4-FFF2-40B4-BE49-F238E27FC236}">
                        <a16:creationId xmlns="" xmlns:a16="http://schemas.microsoft.com/office/drawing/2014/main" id="{0E1553B4-3134-4ECF-A3D6-5E6D0D443E30}"/>
                      </a:ext>
                    </a:extLst>
                  </p:cNvPr>
                  <p:cNvSpPr>
                    <a:spLocks/>
                  </p:cNvSpPr>
                  <p:nvPr/>
                </p:nvSpPr>
                <p:spPr bwMode="auto">
                  <a:xfrm>
                    <a:off x="5515" y="2789"/>
                    <a:ext cx="24" cy="26"/>
                  </a:xfrm>
                  <a:custGeom>
                    <a:avLst/>
                    <a:gdLst>
                      <a:gd name="T0" fmla="*/ 74 w 74"/>
                      <a:gd name="T1" fmla="*/ 80 h 80"/>
                      <a:gd name="T2" fmla="*/ 72 w 74"/>
                      <a:gd name="T3" fmla="*/ 73 h 80"/>
                      <a:gd name="T4" fmla="*/ 71 w 74"/>
                      <a:gd name="T5" fmla="*/ 66 h 80"/>
                      <a:gd name="T6" fmla="*/ 69 w 74"/>
                      <a:gd name="T7" fmla="*/ 60 h 80"/>
                      <a:gd name="T8" fmla="*/ 66 w 74"/>
                      <a:gd name="T9" fmla="*/ 53 h 80"/>
                      <a:gd name="T10" fmla="*/ 58 w 74"/>
                      <a:gd name="T11" fmla="*/ 42 h 80"/>
                      <a:gd name="T12" fmla="*/ 48 w 74"/>
                      <a:gd name="T13" fmla="*/ 33 h 80"/>
                      <a:gd name="T14" fmla="*/ 38 w 74"/>
                      <a:gd name="T15" fmla="*/ 25 h 80"/>
                      <a:gd name="T16" fmla="*/ 29 w 74"/>
                      <a:gd name="T17" fmla="*/ 17 h 80"/>
                      <a:gd name="T18" fmla="*/ 20 w 74"/>
                      <a:gd name="T19" fmla="*/ 9 h 80"/>
                      <a:gd name="T20" fmla="*/ 13 w 74"/>
                      <a:gd name="T21" fmla="*/ 0 h 80"/>
                      <a:gd name="T22" fmla="*/ 9 w 74"/>
                      <a:gd name="T23" fmla="*/ 5 h 80"/>
                      <a:gd name="T24" fmla="*/ 4 w 74"/>
                      <a:gd name="T25" fmla="*/ 10 h 80"/>
                      <a:gd name="T26" fmla="*/ 1 w 74"/>
                      <a:gd name="T27" fmla="*/ 14 h 80"/>
                      <a:gd name="T28" fmla="*/ 0 w 74"/>
                      <a:gd name="T29" fmla="*/ 19 h 80"/>
                      <a:gd name="T30" fmla="*/ 0 w 74"/>
                      <a:gd name="T31" fmla="*/ 25 h 80"/>
                      <a:gd name="T32" fmla="*/ 2 w 74"/>
                      <a:gd name="T33" fmla="*/ 30 h 80"/>
                      <a:gd name="T34" fmla="*/ 4 w 74"/>
                      <a:gd name="T35" fmla="*/ 36 h 80"/>
                      <a:gd name="T36" fmla="*/ 7 w 74"/>
                      <a:gd name="T37" fmla="*/ 41 h 80"/>
                      <a:gd name="T38" fmla="*/ 10 w 74"/>
                      <a:gd name="T39" fmla="*/ 46 h 80"/>
                      <a:gd name="T40" fmla="*/ 14 w 74"/>
                      <a:gd name="T41" fmla="*/ 51 h 80"/>
                      <a:gd name="T42" fmla="*/ 19 w 74"/>
                      <a:gd name="T43" fmla="*/ 56 h 80"/>
                      <a:gd name="T44" fmla="*/ 24 w 74"/>
                      <a:gd name="T45" fmla="*/ 61 h 80"/>
                      <a:gd name="T46" fmla="*/ 30 w 74"/>
                      <a:gd name="T47" fmla="*/ 66 h 80"/>
                      <a:gd name="T48" fmla="*/ 35 w 74"/>
                      <a:gd name="T49" fmla="*/ 69 h 80"/>
                      <a:gd name="T50" fmla="*/ 42 w 74"/>
                      <a:gd name="T51" fmla="*/ 72 h 80"/>
                      <a:gd name="T52" fmla="*/ 47 w 74"/>
                      <a:gd name="T53" fmla="*/ 75 h 80"/>
                      <a:gd name="T54" fmla="*/ 54 w 74"/>
                      <a:gd name="T55" fmla="*/ 77 h 80"/>
                      <a:gd name="T56" fmla="*/ 60 w 74"/>
                      <a:gd name="T57" fmla="*/ 79 h 80"/>
                      <a:gd name="T58" fmla="*/ 67 w 74"/>
                      <a:gd name="T59" fmla="*/ 80 h 80"/>
                      <a:gd name="T60" fmla="*/ 74 w 74"/>
                      <a:gd name="T6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26" name="Freeform 154">
                    <a:extLst>
                      <a:ext uri="{FF2B5EF4-FFF2-40B4-BE49-F238E27FC236}">
                        <a16:creationId xmlns="" xmlns:a16="http://schemas.microsoft.com/office/drawing/2014/main" id="{BC4347B8-589D-4BC3-9C8B-3715408415C7}"/>
                      </a:ext>
                    </a:extLst>
                  </p:cNvPr>
                  <p:cNvSpPr>
                    <a:spLocks/>
                  </p:cNvSpPr>
                  <p:nvPr/>
                </p:nvSpPr>
                <p:spPr bwMode="auto">
                  <a:xfrm>
                    <a:off x="5555" y="2785"/>
                    <a:ext cx="26" cy="27"/>
                  </a:xfrm>
                  <a:custGeom>
                    <a:avLst/>
                    <a:gdLst>
                      <a:gd name="T0" fmla="*/ 52 w 86"/>
                      <a:gd name="T1" fmla="*/ 80 h 80"/>
                      <a:gd name="T2" fmla="*/ 86 w 86"/>
                      <a:gd name="T3" fmla="*/ 80 h 80"/>
                      <a:gd name="T4" fmla="*/ 86 w 86"/>
                      <a:gd name="T5" fmla="*/ 61 h 80"/>
                      <a:gd name="T6" fmla="*/ 79 w 86"/>
                      <a:gd name="T7" fmla="*/ 59 h 80"/>
                      <a:gd name="T8" fmla="*/ 72 w 86"/>
                      <a:gd name="T9" fmla="*/ 56 h 80"/>
                      <a:gd name="T10" fmla="*/ 67 w 86"/>
                      <a:gd name="T11" fmla="*/ 53 h 80"/>
                      <a:gd name="T12" fmla="*/ 61 w 86"/>
                      <a:gd name="T13" fmla="*/ 49 h 80"/>
                      <a:gd name="T14" fmla="*/ 51 w 86"/>
                      <a:gd name="T15" fmla="*/ 41 h 80"/>
                      <a:gd name="T16" fmla="*/ 43 w 86"/>
                      <a:gd name="T17" fmla="*/ 33 h 80"/>
                      <a:gd name="T18" fmla="*/ 34 w 86"/>
                      <a:gd name="T19" fmla="*/ 25 h 80"/>
                      <a:gd name="T20" fmla="*/ 24 w 86"/>
                      <a:gd name="T21" fmla="*/ 16 h 80"/>
                      <a:gd name="T22" fmla="*/ 13 w 86"/>
                      <a:gd name="T23" fmla="*/ 7 h 80"/>
                      <a:gd name="T24" fmla="*/ 0 w 86"/>
                      <a:gd name="T25" fmla="*/ 0 h 80"/>
                      <a:gd name="T26" fmla="*/ 1 w 86"/>
                      <a:gd name="T27" fmla="*/ 8 h 80"/>
                      <a:gd name="T28" fmla="*/ 5 w 86"/>
                      <a:gd name="T29" fmla="*/ 20 h 80"/>
                      <a:gd name="T30" fmla="*/ 11 w 86"/>
                      <a:gd name="T31" fmla="*/ 32 h 80"/>
                      <a:gd name="T32" fmla="*/ 18 w 86"/>
                      <a:gd name="T33" fmla="*/ 44 h 80"/>
                      <a:gd name="T34" fmla="*/ 27 w 86"/>
                      <a:gd name="T35" fmla="*/ 57 h 80"/>
                      <a:gd name="T36" fmla="*/ 36 w 86"/>
                      <a:gd name="T37" fmla="*/ 67 h 80"/>
                      <a:gd name="T38" fmla="*/ 40 w 86"/>
                      <a:gd name="T39" fmla="*/ 72 h 80"/>
                      <a:gd name="T40" fmla="*/ 45 w 86"/>
                      <a:gd name="T41" fmla="*/ 76 h 80"/>
                      <a:gd name="T42" fmla="*/ 49 w 86"/>
                      <a:gd name="T43" fmla="*/ 79 h 80"/>
                      <a:gd name="T44" fmla="*/ 52 w 86"/>
                      <a:gd name="T4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27" name="Freeform 155">
                    <a:extLst>
                      <a:ext uri="{FF2B5EF4-FFF2-40B4-BE49-F238E27FC236}">
                        <a16:creationId xmlns="" xmlns:a16="http://schemas.microsoft.com/office/drawing/2014/main" id="{5536997C-2092-48E1-A7FE-D5685E055157}"/>
                      </a:ext>
                    </a:extLst>
                  </p:cNvPr>
                  <p:cNvSpPr>
                    <a:spLocks/>
                  </p:cNvSpPr>
                  <p:nvPr/>
                </p:nvSpPr>
                <p:spPr bwMode="auto">
                  <a:xfrm>
                    <a:off x="5570" y="2825"/>
                    <a:ext cx="25" cy="11"/>
                  </a:xfrm>
                  <a:custGeom>
                    <a:avLst/>
                    <a:gdLst>
                      <a:gd name="T0" fmla="*/ 0 w 74"/>
                      <a:gd name="T1" fmla="*/ 7 h 31"/>
                      <a:gd name="T2" fmla="*/ 3 w 74"/>
                      <a:gd name="T3" fmla="*/ 11 h 31"/>
                      <a:gd name="T4" fmla="*/ 5 w 74"/>
                      <a:gd name="T5" fmla="*/ 15 h 31"/>
                      <a:gd name="T6" fmla="*/ 9 w 74"/>
                      <a:gd name="T7" fmla="*/ 18 h 31"/>
                      <a:gd name="T8" fmla="*/ 14 w 74"/>
                      <a:gd name="T9" fmla="*/ 21 h 31"/>
                      <a:gd name="T10" fmla="*/ 18 w 74"/>
                      <a:gd name="T11" fmla="*/ 24 h 31"/>
                      <a:gd name="T12" fmla="*/ 23 w 74"/>
                      <a:gd name="T13" fmla="*/ 26 h 31"/>
                      <a:gd name="T14" fmla="*/ 29 w 74"/>
                      <a:gd name="T15" fmla="*/ 28 h 31"/>
                      <a:gd name="T16" fmla="*/ 34 w 74"/>
                      <a:gd name="T17" fmla="*/ 29 h 31"/>
                      <a:gd name="T18" fmla="*/ 47 w 74"/>
                      <a:gd name="T19" fmla="*/ 31 h 31"/>
                      <a:gd name="T20" fmla="*/ 58 w 74"/>
                      <a:gd name="T21" fmla="*/ 31 h 31"/>
                      <a:gd name="T22" fmla="*/ 63 w 74"/>
                      <a:gd name="T23" fmla="*/ 30 h 31"/>
                      <a:gd name="T24" fmla="*/ 67 w 74"/>
                      <a:gd name="T25" fmla="*/ 29 h 31"/>
                      <a:gd name="T26" fmla="*/ 71 w 74"/>
                      <a:gd name="T27" fmla="*/ 27 h 31"/>
                      <a:gd name="T28" fmla="*/ 74 w 74"/>
                      <a:gd name="T29" fmla="*/ 25 h 31"/>
                      <a:gd name="T30" fmla="*/ 64 w 74"/>
                      <a:gd name="T31" fmla="*/ 18 h 31"/>
                      <a:gd name="T32" fmla="*/ 55 w 74"/>
                      <a:gd name="T33" fmla="*/ 13 h 31"/>
                      <a:gd name="T34" fmla="*/ 51 w 74"/>
                      <a:gd name="T35" fmla="*/ 10 h 31"/>
                      <a:gd name="T36" fmla="*/ 47 w 74"/>
                      <a:gd name="T37" fmla="*/ 8 h 31"/>
                      <a:gd name="T38" fmla="*/ 43 w 74"/>
                      <a:gd name="T39" fmla="*/ 5 h 31"/>
                      <a:gd name="T40" fmla="*/ 41 w 74"/>
                      <a:gd name="T41" fmla="*/ 0 h 31"/>
                      <a:gd name="T42" fmla="*/ 33 w 74"/>
                      <a:gd name="T43" fmla="*/ 1 h 31"/>
                      <a:gd name="T44" fmla="*/ 28 w 74"/>
                      <a:gd name="T45" fmla="*/ 1 h 31"/>
                      <a:gd name="T46" fmla="*/ 22 w 74"/>
                      <a:gd name="T47" fmla="*/ 1 h 31"/>
                      <a:gd name="T48" fmla="*/ 18 w 74"/>
                      <a:gd name="T49" fmla="*/ 0 h 31"/>
                      <a:gd name="T50" fmla="*/ 14 w 74"/>
                      <a:gd name="T51" fmla="*/ 0 h 31"/>
                      <a:gd name="T52" fmla="*/ 10 w 74"/>
                      <a:gd name="T53" fmla="*/ 0 h 31"/>
                      <a:gd name="T54" fmla="*/ 6 w 74"/>
                      <a:gd name="T55" fmla="*/ 3 h 31"/>
                      <a:gd name="T56" fmla="*/ 0 w 74"/>
                      <a:gd name="T57" fmla="*/ 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28" name="Freeform 156">
                    <a:extLst>
                      <a:ext uri="{FF2B5EF4-FFF2-40B4-BE49-F238E27FC236}">
                        <a16:creationId xmlns="" xmlns:a16="http://schemas.microsoft.com/office/drawing/2014/main" id="{8C136020-DB0B-465C-81F6-E6463BCA7EC7}"/>
                      </a:ext>
                    </a:extLst>
                  </p:cNvPr>
                  <p:cNvSpPr>
                    <a:spLocks/>
                  </p:cNvSpPr>
                  <p:nvPr/>
                </p:nvSpPr>
                <p:spPr bwMode="auto">
                  <a:xfrm>
                    <a:off x="5562" y="2819"/>
                    <a:ext cx="6" cy="1"/>
                  </a:xfrm>
                  <a:custGeom>
                    <a:avLst/>
                    <a:gdLst>
                      <a:gd name="T0" fmla="*/ 20 w 20"/>
                      <a:gd name="T1" fmla="*/ 0 w 20"/>
                      <a:gd name="T2" fmla="*/ 10 w 20"/>
                      <a:gd name="T3" fmla="*/ 20 w 20"/>
                    </a:gdLst>
                    <a:ahLst/>
                    <a:cxnLst>
                      <a:cxn ang="0">
                        <a:pos x="T0" y="0"/>
                      </a:cxn>
                      <a:cxn ang="0">
                        <a:pos x="T1" y="0"/>
                      </a:cxn>
                      <a:cxn ang="0">
                        <a:pos x="T2" y="0"/>
                      </a:cxn>
                      <a:cxn ang="0">
                        <a:pos x="T3" y="0"/>
                      </a:cxn>
                    </a:cxnLst>
                    <a:rect l="0" t="0" r="r" b="b"/>
                    <a:pathLst>
                      <a:path w="20">
                        <a:moveTo>
                          <a:pt x="20" y="0"/>
                        </a:moveTo>
                        <a:lnTo>
                          <a:pt x="0" y="0"/>
                        </a:lnTo>
                        <a:lnTo>
                          <a:pt x="10" y="0"/>
                        </a:lnTo>
                        <a:lnTo>
                          <a:pt x="20" y="0"/>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29" name="Freeform 157">
                    <a:extLst>
                      <a:ext uri="{FF2B5EF4-FFF2-40B4-BE49-F238E27FC236}">
                        <a16:creationId xmlns="" xmlns:a16="http://schemas.microsoft.com/office/drawing/2014/main" id="{D6AC0D48-B48C-462F-977C-0B3E33CB828C}"/>
                      </a:ext>
                    </a:extLst>
                  </p:cNvPr>
                  <p:cNvSpPr>
                    <a:spLocks/>
                  </p:cNvSpPr>
                  <p:nvPr/>
                </p:nvSpPr>
                <p:spPr bwMode="auto">
                  <a:xfrm>
                    <a:off x="5509" y="2769"/>
                    <a:ext cx="32" cy="21"/>
                  </a:xfrm>
                  <a:custGeom>
                    <a:avLst/>
                    <a:gdLst>
                      <a:gd name="T0" fmla="*/ 7 w 100"/>
                      <a:gd name="T1" fmla="*/ 25 h 65"/>
                      <a:gd name="T2" fmla="*/ 35 w 100"/>
                      <a:gd name="T3" fmla="*/ 40 h 65"/>
                      <a:gd name="T4" fmla="*/ 61 w 100"/>
                      <a:gd name="T5" fmla="*/ 55 h 65"/>
                      <a:gd name="T6" fmla="*/ 72 w 100"/>
                      <a:gd name="T7" fmla="*/ 60 h 65"/>
                      <a:gd name="T8" fmla="*/ 83 w 100"/>
                      <a:gd name="T9" fmla="*/ 65 h 65"/>
                      <a:gd name="T10" fmla="*/ 87 w 100"/>
                      <a:gd name="T11" fmla="*/ 65 h 65"/>
                      <a:gd name="T12" fmla="*/ 91 w 100"/>
                      <a:gd name="T13" fmla="*/ 65 h 65"/>
                      <a:gd name="T14" fmla="*/ 96 w 100"/>
                      <a:gd name="T15" fmla="*/ 65 h 65"/>
                      <a:gd name="T16" fmla="*/ 100 w 100"/>
                      <a:gd name="T17" fmla="*/ 62 h 65"/>
                      <a:gd name="T18" fmla="*/ 94 w 100"/>
                      <a:gd name="T19" fmla="*/ 60 h 65"/>
                      <a:gd name="T20" fmla="*/ 88 w 100"/>
                      <a:gd name="T21" fmla="*/ 56 h 65"/>
                      <a:gd name="T22" fmla="*/ 83 w 100"/>
                      <a:gd name="T23" fmla="*/ 52 h 65"/>
                      <a:gd name="T24" fmla="*/ 78 w 100"/>
                      <a:gd name="T25" fmla="*/ 46 h 65"/>
                      <a:gd name="T26" fmla="*/ 67 w 100"/>
                      <a:gd name="T27" fmla="*/ 34 h 65"/>
                      <a:gd name="T28" fmla="*/ 57 w 100"/>
                      <a:gd name="T29" fmla="*/ 21 h 65"/>
                      <a:gd name="T30" fmla="*/ 52 w 100"/>
                      <a:gd name="T31" fmla="*/ 15 h 65"/>
                      <a:gd name="T32" fmla="*/ 46 w 100"/>
                      <a:gd name="T33" fmla="*/ 10 h 65"/>
                      <a:gd name="T34" fmla="*/ 40 w 100"/>
                      <a:gd name="T35" fmla="*/ 4 h 65"/>
                      <a:gd name="T36" fmla="*/ 33 w 100"/>
                      <a:gd name="T37" fmla="*/ 1 h 65"/>
                      <a:gd name="T38" fmla="*/ 27 w 100"/>
                      <a:gd name="T39" fmla="*/ 0 h 65"/>
                      <a:gd name="T40" fmla="*/ 18 w 100"/>
                      <a:gd name="T41" fmla="*/ 0 h 65"/>
                      <a:gd name="T42" fmla="*/ 10 w 100"/>
                      <a:gd name="T43" fmla="*/ 2 h 65"/>
                      <a:gd name="T44" fmla="*/ 0 w 100"/>
                      <a:gd name="T45" fmla="*/ 6 h 65"/>
                      <a:gd name="T46" fmla="*/ 7 w 100"/>
                      <a:gd name="T47" fmla="*/ 2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30" name="Freeform 158">
                    <a:extLst>
                      <a:ext uri="{FF2B5EF4-FFF2-40B4-BE49-F238E27FC236}">
                        <a16:creationId xmlns="" xmlns:a16="http://schemas.microsoft.com/office/drawing/2014/main" id="{3CA71648-16B5-4773-86E0-30515B8BDF79}"/>
                      </a:ext>
                    </a:extLst>
                  </p:cNvPr>
                  <p:cNvSpPr>
                    <a:spLocks/>
                  </p:cNvSpPr>
                  <p:nvPr/>
                </p:nvSpPr>
                <p:spPr bwMode="auto">
                  <a:xfrm>
                    <a:off x="5486" y="2743"/>
                    <a:ext cx="24" cy="34"/>
                  </a:xfrm>
                  <a:custGeom>
                    <a:avLst/>
                    <a:gdLst>
                      <a:gd name="T0" fmla="*/ 72 w 79"/>
                      <a:gd name="T1" fmla="*/ 85 h 104"/>
                      <a:gd name="T2" fmla="*/ 56 w 79"/>
                      <a:gd name="T3" fmla="*/ 61 h 104"/>
                      <a:gd name="T4" fmla="*/ 43 w 79"/>
                      <a:gd name="T5" fmla="*/ 41 h 104"/>
                      <a:gd name="T6" fmla="*/ 29 w 79"/>
                      <a:gd name="T7" fmla="*/ 20 h 104"/>
                      <a:gd name="T8" fmla="*/ 12 w 79"/>
                      <a:gd name="T9" fmla="*/ 0 h 104"/>
                      <a:gd name="T10" fmla="*/ 6 w 79"/>
                      <a:gd name="T11" fmla="*/ 16 h 104"/>
                      <a:gd name="T12" fmla="*/ 2 w 79"/>
                      <a:gd name="T13" fmla="*/ 33 h 104"/>
                      <a:gd name="T14" fmla="*/ 0 w 79"/>
                      <a:gd name="T15" fmla="*/ 40 h 104"/>
                      <a:gd name="T16" fmla="*/ 0 w 79"/>
                      <a:gd name="T17" fmla="*/ 48 h 104"/>
                      <a:gd name="T18" fmla="*/ 0 w 79"/>
                      <a:gd name="T19" fmla="*/ 55 h 104"/>
                      <a:gd name="T20" fmla="*/ 0 w 79"/>
                      <a:gd name="T21" fmla="*/ 62 h 104"/>
                      <a:gd name="T22" fmla="*/ 1 w 79"/>
                      <a:gd name="T23" fmla="*/ 68 h 104"/>
                      <a:gd name="T24" fmla="*/ 3 w 79"/>
                      <a:gd name="T25" fmla="*/ 74 h 104"/>
                      <a:gd name="T26" fmla="*/ 6 w 79"/>
                      <a:gd name="T27" fmla="*/ 79 h 104"/>
                      <a:gd name="T28" fmla="*/ 10 w 79"/>
                      <a:gd name="T29" fmla="*/ 83 h 104"/>
                      <a:gd name="T30" fmla="*/ 14 w 79"/>
                      <a:gd name="T31" fmla="*/ 88 h 104"/>
                      <a:gd name="T32" fmla="*/ 20 w 79"/>
                      <a:gd name="T33" fmla="*/ 90 h 104"/>
                      <a:gd name="T34" fmla="*/ 25 w 79"/>
                      <a:gd name="T35" fmla="*/ 92 h 104"/>
                      <a:gd name="T36" fmla="*/ 33 w 79"/>
                      <a:gd name="T37" fmla="*/ 92 h 104"/>
                      <a:gd name="T38" fmla="*/ 43 w 79"/>
                      <a:gd name="T39" fmla="*/ 93 h 104"/>
                      <a:gd name="T40" fmla="*/ 54 w 79"/>
                      <a:gd name="T41" fmla="*/ 96 h 104"/>
                      <a:gd name="T42" fmla="*/ 65 w 79"/>
                      <a:gd name="T43" fmla="*/ 100 h 104"/>
                      <a:gd name="T44" fmla="*/ 79 w 79"/>
                      <a:gd name="T45" fmla="*/ 104 h 104"/>
                      <a:gd name="T46" fmla="*/ 72 w 79"/>
                      <a:gd name="T47" fmla="*/ 8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grpSp>
            <p:sp>
              <p:nvSpPr>
                <p:cNvPr id="111" name="Freeform 159">
                  <a:extLst>
                    <a:ext uri="{FF2B5EF4-FFF2-40B4-BE49-F238E27FC236}">
                      <a16:creationId xmlns="" xmlns:a16="http://schemas.microsoft.com/office/drawing/2014/main" id="{91EDCFC1-6D8C-486A-8127-7B4F74A9D9BE}"/>
                    </a:ext>
                  </a:extLst>
                </p:cNvPr>
                <p:cNvSpPr>
                  <a:spLocks/>
                </p:cNvSpPr>
                <p:nvPr>
                  <p:custDataLst>
                    <p:tags r:id="rId99"/>
                  </p:custDataLst>
                </p:nvPr>
              </p:nvSpPr>
              <p:spPr bwMode="auto">
                <a:xfrm>
                  <a:off x="6121320" y="2900373"/>
                  <a:ext cx="7882" cy="39409"/>
                </a:xfrm>
                <a:custGeom>
                  <a:avLst/>
                  <a:gdLst>
                    <a:gd name="T0" fmla="*/ 27 w 27"/>
                    <a:gd name="T1" fmla="*/ 0 h 19"/>
                    <a:gd name="T2" fmla="*/ 27 w 27"/>
                    <a:gd name="T3" fmla="*/ 12 h 19"/>
                    <a:gd name="T4" fmla="*/ 27 w 27"/>
                    <a:gd name="T5" fmla="*/ 19 h 19"/>
                    <a:gd name="T6" fmla="*/ 9 w 27"/>
                    <a:gd name="T7" fmla="*/ 19 h 19"/>
                    <a:gd name="T8" fmla="*/ 0 w 27"/>
                    <a:gd name="T9" fmla="*/ 19 h 19"/>
                    <a:gd name="T10" fmla="*/ 9 w 27"/>
                    <a:gd name="T11" fmla="*/ 12 h 19"/>
                    <a:gd name="T12" fmla="*/ 27 w 27"/>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12" name="Freeform 160">
                  <a:extLst>
                    <a:ext uri="{FF2B5EF4-FFF2-40B4-BE49-F238E27FC236}">
                      <a16:creationId xmlns="" xmlns:a16="http://schemas.microsoft.com/office/drawing/2014/main" id="{94E56D12-B3AE-4D50-8845-F26B84C189B1}"/>
                    </a:ext>
                  </a:extLst>
                </p:cNvPr>
                <p:cNvSpPr>
                  <a:spLocks/>
                </p:cNvSpPr>
                <p:nvPr>
                  <p:custDataLst>
                    <p:tags r:id="rId100"/>
                  </p:custDataLst>
                </p:nvPr>
              </p:nvSpPr>
              <p:spPr bwMode="auto">
                <a:xfrm>
                  <a:off x="6067273" y="2999458"/>
                  <a:ext cx="10134" cy="40535"/>
                </a:xfrm>
                <a:custGeom>
                  <a:avLst/>
                  <a:gdLst>
                    <a:gd name="T0" fmla="*/ 0 w 39"/>
                    <a:gd name="T1" fmla="*/ 0 h 35"/>
                    <a:gd name="T2" fmla="*/ 39 w 39"/>
                    <a:gd name="T3" fmla="*/ 0 h 35"/>
                    <a:gd name="T4" fmla="*/ 36 w 39"/>
                    <a:gd name="T5" fmla="*/ 9 h 35"/>
                    <a:gd name="T6" fmla="*/ 33 w 39"/>
                    <a:gd name="T7" fmla="*/ 19 h 35"/>
                    <a:gd name="T8" fmla="*/ 27 w 39"/>
                    <a:gd name="T9" fmla="*/ 28 h 35"/>
                    <a:gd name="T10" fmla="*/ 22 w 39"/>
                    <a:gd name="T11" fmla="*/ 34 h 35"/>
                    <a:gd name="T12" fmla="*/ 19 w 39"/>
                    <a:gd name="T13" fmla="*/ 35 h 35"/>
                    <a:gd name="T14" fmla="*/ 16 w 39"/>
                    <a:gd name="T15" fmla="*/ 35 h 35"/>
                    <a:gd name="T16" fmla="*/ 13 w 39"/>
                    <a:gd name="T17" fmla="*/ 34 h 35"/>
                    <a:gd name="T18" fmla="*/ 11 w 39"/>
                    <a:gd name="T19" fmla="*/ 31 h 35"/>
                    <a:gd name="T20" fmla="*/ 7 w 39"/>
                    <a:gd name="T21" fmla="*/ 26 h 35"/>
                    <a:gd name="T22" fmla="*/ 5 w 39"/>
                    <a:gd name="T23" fmla="*/ 20 h 35"/>
                    <a:gd name="T24" fmla="*/ 2 w 39"/>
                    <a:gd name="T25" fmla="*/ 11 h 35"/>
                    <a:gd name="T26" fmla="*/ 0 w 39"/>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13" name="Freeform 161">
                  <a:extLst>
                    <a:ext uri="{FF2B5EF4-FFF2-40B4-BE49-F238E27FC236}">
                      <a16:creationId xmlns="" xmlns:a16="http://schemas.microsoft.com/office/drawing/2014/main" id="{10459684-EBD3-47F9-AA58-B30C00186C01}"/>
                    </a:ext>
                  </a:extLst>
                </p:cNvPr>
                <p:cNvSpPr>
                  <a:spLocks/>
                </p:cNvSpPr>
                <p:nvPr>
                  <p:custDataLst>
                    <p:tags r:id="rId101"/>
                  </p:custDataLst>
                </p:nvPr>
              </p:nvSpPr>
              <p:spPr bwMode="auto">
                <a:xfrm>
                  <a:off x="7342994" y="1812688"/>
                  <a:ext cx="516818" cy="235327"/>
                </a:xfrm>
                <a:custGeom>
                  <a:avLst/>
                  <a:gdLst>
                    <a:gd name="T0" fmla="*/ 32 w 1688"/>
                    <a:gd name="T1" fmla="*/ 216 h 630"/>
                    <a:gd name="T2" fmla="*/ 86 w 1688"/>
                    <a:gd name="T3" fmla="*/ 249 h 630"/>
                    <a:gd name="T4" fmla="*/ 155 w 1688"/>
                    <a:gd name="T5" fmla="*/ 264 h 630"/>
                    <a:gd name="T6" fmla="*/ 191 w 1688"/>
                    <a:gd name="T7" fmla="*/ 281 h 630"/>
                    <a:gd name="T8" fmla="*/ 238 w 1688"/>
                    <a:gd name="T9" fmla="*/ 331 h 630"/>
                    <a:gd name="T10" fmla="*/ 253 w 1688"/>
                    <a:gd name="T11" fmla="*/ 349 h 630"/>
                    <a:gd name="T12" fmla="*/ 254 w 1688"/>
                    <a:gd name="T13" fmla="*/ 386 h 630"/>
                    <a:gd name="T14" fmla="*/ 273 w 1688"/>
                    <a:gd name="T15" fmla="*/ 408 h 630"/>
                    <a:gd name="T16" fmla="*/ 341 w 1688"/>
                    <a:gd name="T17" fmla="*/ 416 h 630"/>
                    <a:gd name="T18" fmla="*/ 463 w 1688"/>
                    <a:gd name="T19" fmla="*/ 452 h 630"/>
                    <a:gd name="T20" fmla="*/ 546 w 1688"/>
                    <a:gd name="T21" fmla="*/ 469 h 630"/>
                    <a:gd name="T22" fmla="*/ 575 w 1688"/>
                    <a:gd name="T23" fmla="*/ 510 h 630"/>
                    <a:gd name="T24" fmla="*/ 622 w 1688"/>
                    <a:gd name="T25" fmla="*/ 542 h 630"/>
                    <a:gd name="T26" fmla="*/ 670 w 1688"/>
                    <a:gd name="T27" fmla="*/ 555 h 630"/>
                    <a:gd name="T28" fmla="*/ 917 w 1688"/>
                    <a:gd name="T29" fmla="*/ 576 h 630"/>
                    <a:gd name="T30" fmla="*/ 1037 w 1688"/>
                    <a:gd name="T31" fmla="*/ 614 h 630"/>
                    <a:gd name="T32" fmla="*/ 1117 w 1688"/>
                    <a:gd name="T33" fmla="*/ 630 h 630"/>
                    <a:gd name="T34" fmla="*/ 1157 w 1688"/>
                    <a:gd name="T35" fmla="*/ 613 h 630"/>
                    <a:gd name="T36" fmla="*/ 1344 w 1688"/>
                    <a:gd name="T37" fmla="*/ 564 h 630"/>
                    <a:gd name="T38" fmla="*/ 1395 w 1688"/>
                    <a:gd name="T39" fmla="*/ 510 h 630"/>
                    <a:gd name="T40" fmla="*/ 1403 w 1688"/>
                    <a:gd name="T41" fmla="*/ 483 h 630"/>
                    <a:gd name="T42" fmla="*/ 1386 w 1688"/>
                    <a:gd name="T43" fmla="*/ 455 h 630"/>
                    <a:gd name="T44" fmla="*/ 1370 w 1688"/>
                    <a:gd name="T45" fmla="*/ 415 h 630"/>
                    <a:gd name="T46" fmla="*/ 1499 w 1688"/>
                    <a:gd name="T47" fmla="*/ 394 h 630"/>
                    <a:gd name="T48" fmla="*/ 1594 w 1688"/>
                    <a:gd name="T49" fmla="*/ 343 h 630"/>
                    <a:gd name="T50" fmla="*/ 1651 w 1688"/>
                    <a:gd name="T51" fmla="*/ 325 h 630"/>
                    <a:gd name="T52" fmla="*/ 1688 w 1688"/>
                    <a:gd name="T53" fmla="*/ 297 h 630"/>
                    <a:gd name="T54" fmla="*/ 1656 w 1688"/>
                    <a:gd name="T55" fmla="*/ 279 h 630"/>
                    <a:gd name="T56" fmla="*/ 1619 w 1688"/>
                    <a:gd name="T57" fmla="*/ 252 h 630"/>
                    <a:gd name="T58" fmla="*/ 1583 w 1688"/>
                    <a:gd name="T59" fmla="*/ 248 h 630"/>
                    <a:gd name="T60" fmla="*/ 1553 w 1688"/>
                    <a:gd name="T61" fmla="*/ 258 h 630"/>
                    <a:gd name="T62" fmla="*/ 1497 w 1688"/>
                    <a:gd name="T63" fmla="*/ 256 h 630"/>
                    <a:gd name="T64" fmla="*/ 1457 w 1688"/>
                    <a:gd name="T65" fmla="*/ 235 h 630"/>
                    <a:gd name="T66" fmla="*/ 1434 w 1688"/>
                    <a:gd name="T67" fmla="*/ 187 h 630"/>
                    <a:gd name="T68" fmla="*/ 1367 w 1688"/>
                    <a:gd name="T69" fmla="*/ 124 h 630"/>
                    <a:gd name="T70" fmla="*/ 1286 w 1688"/>
                    <a:gd name="T71" fmla="*/ 120 h 630"/>
                    <a:gd name="T72" fmla="*/ 1260 w 1688"/>
                    <a:gd name="T73" fmla="*/ 147 h 630"/>
                    <a:gd name="T74" fmla="*/ 1236 w 1688"/>
                    <a:gd name="T75" fmla="*/ 165 h 630"/>
                    <a:gd name="T76" fmla="*/ 1168 w 1688"/>
                    <a:gd name="T77" fmla="*/ 167 h 630"/>
                    <a:gd name="T78" fmla="*/ 1044 w 1688"/>
                    <a:gd name="T79" fmla="*/ 167 h 630"/>
                    <a:gd name="T80" fmla="*/ 986 w 1688"/>
                    <a:gd name="T81" fmla="*/ 140 h 630"/>
                    <a:gd name="T82" fmla="*/ 922 w 1688"/>
                    <a:gd name="T83" fmla="*/ 108 h 630"/>
                    <a:gd name="T84" fmla="*/ 852 w 1688"/>
                    <a:gd name="T85" fmla="*/ 100 h 630"/>
                    <a:gd name="T86" fmla="*/ 801 w 1688"/>
                    <a:gd name="T87" fmla="*/ 114 h 630"/>
                    <a:gd name="T88" fmla="*/ 740 w 1688"/>
                    <a:gd name="T89" fmla="*/ 116 h 630"/>
                    <a:gd name="T90" fmla="*/ 692 w 1688"/>
                    <a:gd name="T91" fmla="*/ 101 h 630"/>
                    <a:gd name="T92" fmla="*/ 662 w 1688"/>
                    <a:gd name="T93" fmla="*/ 68 h 630"/>
                    <a:gd name="T94" fmla="*/ 446 w 1688"/>
                    <a:gd name="T95" fmla="*/ 7 h 630"/>
                    <a:gd name="T96" fmla="*/ 446 w 1688"/>
                    <a:gd name="T97" fmla="*/ 44 h 630"/>
                    <a:gd name="T98" fmla="*/ 471 w 1688"/>
                    <a:gd name="T99" fmla="*/ 79 h 630"/>
                    <a:gd name="T100" fmla="*/ 490 w 1688"/>
                    <a:gd name="T101" fmla="*/ 106 h 630"/>
                    <a:gd name="T102" fmla="*/ 307 w 1688"/>
                    <a:gd name="T103" fmla="*/ 122 h 630"/>
                    <a:gd name="T104" fmla="*/ 294 w 1688"/>
                    <a:gd name="T105" fmla="*/ 87 h 630"/>
                    <a:gd name="T106" fmla="*/ 225 w 1688"/>
                    <a:gd name="T107" fmla="*/ 97 h 630"/>
                    <a:gd name="T108" fmla="*/ 185 w 1688"/>
                    <a:gd name="T109" fmla="*/ 88 h 630"/>
                    <a:gd name="T110" fmla="*/ 138 w 1688"/>
                    <a:gd name="T111" fmla="*/ 97 h 630"/>
                    <a:gd name="T112" fmla="*/ 68 w 1688"/>
                    <a:gd name="T113" fmla="*/ 143 h 630"/>
                    <a:gd name="T114" fmla="*/ 31 w 1688"/>
                    <a:gd name="T115" fmla="*/ 151 h 630"/>
                    <a:gd name="T116" fmla="*/ 4 w 1688"/>
                    <a:gd name="T117" fmla="*/ 169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14" name="Freeform 162">
                  <a:extLst>
                    <a:ext uri="{FF2B5EF4-FFF2-40B4-BE49-F238E27FC236}">
                      <a16:creationId xmlns="" xmlns:a16="http://schemas.microsoft.com/office/drawing/2014/main" id="{5ECB4B92-ACA0-4459-B582-6E16FA7AFE83}"/>
                    </a:ext>
                  </a:extLst>
                </p:cNvPr>
                <p:cNvSpPr>
                  <a:spLocks/>
                </p:cNvSpPr>
                <p:nvPr>
                  <p:custDataLst>
                    <p:tags r:id="rId102"/>
                  </p:custDataLst>
                </p:nvPr>
              </p:nvSpPr>
              <p:spPr bwMode="auto">
                <a:xfrm>
                  <a:off x="4737506" y="3207761"/>
                  <a:ext cx="233075" cy="295004"/>
                </a:xfrm>
                <a:custGeom>
                  <a:avLst/>
                  <a:gdLst>
                    <a:gd name="T0" fmla="*/ 26 w 758"/>
                    <a:gd name="T1" fmla="*/ 80 h 795"/>
                    <a:gd name="T2" fmla="*/ 49 w 758"/>
                    <a:gd name="T3" fmla="*/ 88 h 795"/>
                    <a:gd name="T4" fmla="*/ 72 w 758"/>
                    <a:gd name="T5" fmla="*/ 108 h 795"/>
                    <a:gd name="T6" fmla="*/ 88 w 758"/>
                    <a:gd name="T7" fmla="*/ 134 h 795"/>
                    <a:gd name="T8" fmla="*/ 93 w 758"/>
                    <a:gd name="T9" fmla="*/ 169 h 795"/>
                    <a:gd name="T10" fmla="*/ 84 w 758"/>
                    <a:gd name="T11" fmla="*/ 186 h 795"/>
                    <a:gd name="T12" fmla="*/ 81 w 758"/>
                    <a:gd name="T13" fmla="*/ 205 h 795"/>
                    <a:gd name="T14" fmla="*/ 88 w 758"/>
                    <a:gd name="T15" fmla="*/ 240 h 795"/>
                    <a:gd name="T16" fmla="*/ 95 w 758"/>
                    <a:gd name="T17" fmla="*/ 278 h 795"/>
                    <a:gd name="T18" fmla="*/ 83 w 758"/>
                    <a:gd name="T19" fmla="*/ 308 h 795"/>
                    <a:gd name="T20" fmla="*/ 81 w 758"/>
                    <a:gd name="T21" fmla="*/ 352 h 795"/>
                    <a:gd name="T22" fmla="*/ 93 w 758"/>
                    <a:gd name="T23" fmla="*/ 390 h 795"/>
                    <a:gd name="T24" fmla="*/ 99 w 758"/>
                    <a:gd name="T25" fmla="*/ 415 h 795"/>
                    <a:gd name="T26" fmla="*/ 78 w 758"/>
                    <a:gd name="T27" fmla="*/ 457 h 795"/>
                    <a:gd name="T28" fmla="*/ 113 w 758"/>
                    <a:gd name="T29" fmla="*/ 529 h 795"/>
                    <a:gd name="T30" fmla="*/ 138 w 758"/>
                    <a:gd name="T31" fmla="*/ 577 h 795"/>
                    <a:gd name="T32" fmla="*/ 146 w 758"/>
                    <a:gd name="T33" fmla="*/ 622 h 795"/>
                    <a:gd name="T34" fmla="*/ 152 w 758"/>
                    <a:gd name="T35" fmla="*/ 659 h 795"/>
                    <a:gd name="T36" fmla="*/ 187 w 758"/>
                    <a:gd name="T37" fmla="*/ 738 h 795"/>
                    <a:gd name="T38" fmla="*/ 214 w 758"/>
                    <a:gd name="T39" fmla="*/ 782 h 795"/>
                    <a:gd name="T40" fmla="*/ 230 w 758"/>
                    <a:gd name="T41" fmla="*/ 794 h 795"/>
                    <a:gd name="T42" fmla="*/ 251 w 758"/>
                    <a:gd name="T43" fmla="*/ 790 h 795"/>
                    <a:gd name="T44" fmla="*/ 289 w 758"/>
                    <a:gd name="T45" fmla="*/ 761 h 795"/>
                    <a:gd name="T46" fmla="*/ 324 w 758"/>
                    <a:gd name="T47" fmla="*/ 746 h 795"/>
                    <a:gd name="T48" fmla="*/ 355 w 758"/>
                    <a:gd name="T49" fmla="*/ 748 h 795"/>
                    <a:gd name="T50" fmla="*/ 388 w 758"/>
                    <a:gd name="T51" fmla="*/ 770 h 795"/>
                    <a:gd name="T52" fmla="*/ 418 w 758"/>
                    <a:gd name="T53" fmla="*/ 780 h 795"/>
                    <a:gd name="T54" fmla="*/ 437 w 758"/>
                    <a:gd name="T55" fmla="*/ 758 h 795"/>
                    <a:gd name="T56" fmla="*/ 478 w 758"/>
                    <a:gd name="T57" fmla="*/ 745 h 795"/>
                    <a:gd name="T58" fmla="*/ 525 w 758"/>
                    <a:gd name="T59" fmla="*/ 622 h 795"/>
                    <a:gd name="T60" fmla="*/ 539 w 758"/>
                    <a:gd name="T61" fmla="*/ 600 h 795"/>
                    <a:gd name="T62" fmla="*/ 575 w 758"/>
                    <a:gd name="T63" fmla="*/ 584 h 795"/>
                    <a:gd name="T64" fmla="*/ 665 w 758"/>
                    <a:gd name="T65" fmla="*/ 573 h 795"/>
                    <a:gd name="T66" fmla="*/ 687 w 758"/>
                    <a:gd name="T67" fmla="*/ 579 h 795"/>
                    <a:gd name="T68" fmla="*/ 704 w 758"/>
                    <a:gd name="T69" fmla="*/ 585 h 795"/>
                    <a:gd name="T70" fmla="*/ 744 w 758"/>
                    <a:gd name="T71" fmla="*/ 573 h 795"/>
                    <a:gd name="T72" fmla="*/ 757 w 758"/>
                    <a:gd name="T73" fmla="*/ 541 h 795"/>
                    <a:gd name="T74" fmla="*/ 752 w 758"/>
                    <a:gd name="T75" fmla="*/ 499 h 795"/>
                    <a:gd name="T76" fmla="*/ 726 w 758"/>
                    <a:gd name="T77" fmla="*/ 462 h 795"/>
                    <a:gd name="T78" fmla="*/ 710 w 758"/>
                    <a:gd name="T79" fmla="*/ 435 h 795"/>
                    <a:gd name="T80" fmla="*/ 671 w 758"/>
                    <a:gd name="T81" fmla="*/ 401 h 795"/>
                    <a:gd name="T82" fmla="*/ 633 w 758"/>
                    <a:gd name="T83" fmla="*/ 399 h 795"/>
                    <a:gd name="T84" fmla="*/ 605 w 758"/>
                    <a:gd name="T85" fmla="*/ 378 h 795"/>
                    <a:gd name="T86" fmla="*/ 590 w 758"/>
                    <a:gd name="T87" fmla="*/ 349 h 795"/>
                    <a:gd name="T88" fmla="*/ 585 w 758"/>
                    <a:gd name="T89" fmla="*/ 311 h 795"/>
                    <a:gd name="T90" fmla="*/ 583 w 758"/>
                    <a:gd name="T91" fmla="*/ 269 h 795"/>
                    <a:gd name="T92" fmla="*/ 560 w 758"/>
                    <a:gd name="T93" fmla="*/ 242 h 795"/>
                    <a:gd name="T94" fmla="*/ 503 w 758"/>
                    <a:gd name="T95" fmla="*/ 205 h 795"/>
                    <a:gd name="T96" fmla="*/ 440 w 758"/>
                    <a:gd name="T97" fmla="*/ 178 h 795"/>
                    <a:gd name="T98" fmla="*/ 392 w 758"/>
                    <a:gd name="T99" fmla="*/ 167 h 795"/>
                    <a:gd name="T100" fmla="*/ 359 w 758"/>
                    <a:gd name="T101" fmla="*/ 161 h 795"/>
                    <a:gd name="T102" fmla="*/ 330 w 758"/>
                    <a:gd name="T103" fmla="*/ 145 h 795"/>
                    <a:gd name="T104" fmla="*/ 307 w 758"/>
                    <a:gd name="T105" fmla="*/ 122 h 795"/>
                    <a:gd name="T106" fmla="*/ 292 w 758"/>
                    <a:gd name="T107" fmla="*/ 92 h 795"/>
                    <a:gd name="T108" fmla="*/ 279 w 758"/>
                    <a:gd name="T109" fmla="*/ 19 h 795"/>
                    <a:gd name="T110" fmla="*/ 261 w 758"/>
                    <a:gd name="T111" fmla="*/ 3 h 795"/>
                    <a:gd name="T112" fmla="*/ 227 w 758"/>
                    <a:gd name="T113" fmla="*/ 3 h 795"/>
                    <a:gd name="T114" fmla="*/ 173 w 758"/>
                    <a:gd name="T115" fmla="*/ 30 h 795"/>
                    <a:gd name="T116" fmla="*/ 119 w 758"/>
                    <a:gd name="T117" fmla="*/ 66 h 795"/>
                    <a:gd name="T118" fmla="*/ 0 w 758"/>
                    <a:gd name="T119" fmla="*/ 80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115" name="Freeform 163">
                  <a:extLst>
                    <a:ext uri="{FF2B5EF4-FFF2-40B4-BE49-F238E27FC236}">
                      <a16:creationId xmlns="" xmlns:a16="http://schemas.microsoft.com/office/drawing/2014/main" id="{9B8C39A8-C7E5-4954-92A1-030E7DAD2B0A}"/>
                    </a:ext>
                  </a:extLst>
                </p:cNvPr>
                <p:cNvSpPr>
                  <a:spLocks/>
                </p:cNvSpPr>
                <p:nvPr>
                  <p:custDataLst>
                    <p:tags r:id="rId103"/>
                  </p:custDataLst>
                </p:nvPr>
              </p:nvSpPr>
              <p:spPr bwMode="auto">
                <a:xfrm>
                  <a:off x="4889511" y="2803540"/>
                  <a:ext cx="84448" cy="153132"/>
                </a:xfrm>
                <a:custGeom>
                  <a:avLst/>
                  <a:gdLst>
                    <a:gd name="T0" fmla="*/ 225 w 273"/>
                    <a:gd name="T1" fmla="*/ 140 h 414"/>
                    <a:gd name="T2" fmla="*/ 213 w 273"/>
                    <a:gd name="T3" fmla="*/ 133 h 414"/>
                    <a:gd name="T4" fmla="*/ 201 w 273"/>
                    <a:gd name="T5" fmla="*/ 121 h 414"/>
                    <a:gd name="T6" fmla="*/ 190 w 273"/>
                    <a:gd name="T7" fmla="*/ 105 h 414"/>
                    <a:gd name="T8" fmla="*/ 183 w 273"/>
                    <a:gd name="T9" fmla="*/ 96 h 414"/>
                    <a:gd name="T10" fmla="*/ 176 w 273"/>
                    <a:gd name="T11" fmla="*/ 93 h 414"/>
                    <a:gd name="T12" fmla="*/ 167 w 273"/>
                    <a:gd name="T13" fmla="*/ 94 h 414"/>
                    <a:gd name="T14" fmla="*/ 161 w 273"/>
                    <a:gd name="T15" fmla="*/ 101 h 414"/>
                    <a:gd name="T16" fmla="*/ 153 w 273"/>
                    <a:gd name="T17" fmla="*/ 86 h 414"/>
                    <a:gd name="T18" fmla="*/ 142 w 273"/>
                    <a:gd name="T19" fmla="*/ 54 h 414"/>
                    <a:gd name="T20" fmla="*/ 132 w 273"/>
                    <a:gd name="T21" fmla="*/ 36 h 414"/>
                    <a:gd name="T22" fmla="*/ 123 w 273"/>
                    <a:gd name="T23" fmla="*/ 25 h 414"/>
                    <a:gd name="T24" fmla="*/ 111 w 273"/>
                    <a:gd name="T25" fmla="*/ 14 h 414"/>
                    <a:gd name="T26" fmla="*/ 96 w 273"/>
                    <a:gd name="T27" fmla="*/ 5 h 414"/>
                    <a:gd name="T28" fmla="*/ 80 w 273"/>
                    <a:gd name="T29" fmla="*/ 7 h 414"/>
                    <a:gd name="T30" fmla="*/ 69 w 273"/>
                    <a:gd name="T31" fmla="*/ 19 h 414"/>
                    <a:gd name="T32" fmla="*/ 63 w 273"/>
                    <a:gd name="T33" fmla="*/ 25 h 414"/>
                    <a:gd name="T34" fmla="*/ 57 w 273"/>
                    <a:gd name="T35" fmla="*/ 32 h 414"/>
                    <a:gd name="T36" fmla="*/ 56 w 273"/>
                    <a:gd name="T37" fmla="*/ 42 h 414"/>
                    <a:gd name="T38" fmla="*/ 58 w 273"/>
                    <a:gd name="T39" fmla="*/ 59 h 414"/>
                    <a:gd name="T40" fmla="*/ 52 w 273"/>
                    <a:gd name="T41" fmla="*/ 78 h 414"/>
                    <a:gd name="T42" fmla="*/ 33 w 273"/>
                    <a:gd name="T43" fmla="*/ 90 h 414"/>
                    <a:gd name="T44" fmla="*/ 17 w 273"/>
                    <a:gd name="T45" fmla="*/ 104 h 414"/>
                    <a:gd name="T46" fmla="*/ 4 w 273"/>
                    <a:gd name="T47" fmla="*/ 118 h 414"/>
                    <a:gd name="T48" fmla="*/ 40 w 273"/>
                    <a:gd name="T49" fmla="*/ 198 h 414"/>
                    <a:gd name="T50" fmla="*/ 73 w 273"/>
                    <a:gd name="T51" fmla="*/ 205 h 414"/>
                    <a:gd name="T52" fmla="*/ 84 w 273"/>
                    <a:gd name="T53" fmla="*/ 210 h 414"/>
                    <a:gd name="T54" fmla="*/ 93 w 273"/>
                    <a:gd name="T55" fmla="*/ 218 h 414"/>
                    <a:gd name="T56" fmla="*/ 99 w 273"/>
                    <a:gd name="T57" fmla="*/ 226 h 414"/>
                    <a:gd name="T58" fmla="*/ 103 w 273"/>
                    <a:gd name="T59" fmla="*/ 237 h 414"/>
                    <a:gd name="T60" fmla="*/ 106 w 273"/>
                    <a:gd name="T61" fmla="*/ 265 h 414"/>
                    <a:gd name="T62" fmla="*/ 103 w 273"/>
                    <a:gd name="T63" fmla="*/ 279 h 414"/>
                    <a:gd name="T64" fmla="*/ 96 w 273"/>
                    <a:gd name="T65" fmla="*/ 293 h 414"/>
                    <a:gd name="T66" fmla="*/ 89 w 273"/>
                    <a:gd name="T67" fmla="*/ 307 h 414"/>
                    <a:gd name="T68" fmla="*/ 86 w 273"/>
                    <a:gd name="T69" fmla="*/ 321 h 414"/>
                    <a:gd name="T70" fmla="*/ 91 w 273"/>
                    <a:gd name="T71" fmla="*/ 343 h 414"/>
                    <a:gd name="T72" fmla="*/ 107 w 273"/>
                    <a:gd name="T73" fmla="*/ 374 h 414"/>
                    <a:gd name="T74" fmla="*/ 117 w 273"/>
                    <a:gd name="T75" fmla="*/ 389 h 414"/>
                    <a:gd name="T76" fmla="*/ 129 w 273"/>
                    <a:gd name="T77" fmla="*/ 401 h 414"/>
                    <a:gd name="T78" fmla="*/ 141 w 273"/>
                    <a:gd name="T79" fmla="*/ 411 h 414"/>
                    <a:gd name="T80" fmla="*/ 153 w 273"/>
                    <a:gd name="T81" fmla="*/ 414 h 414"/>
                    <a:gd name="T82" fmla="*/ 215 w 273"/>
                    <a:gd name="T83" fmla="*/ 398 h 414"/>
                    <a:gd name="T84" fmla="*/ 255 w 273"/>
                    <a:gd name="T85" fmla="*/ 385 h 414"/>
                    <a:gd name="T86" fmla="*/ 267 w 273"/>
                    <a:gd name="T87" fmla="*/ 377 h 414"/>
                    <a:gd name="T88" fmla="*/ 273 w 273"/>
                    <a:gd name="T89" fmla="*/ 370 h 414"/>
                    <a:gd name="T90" fmla="*/ 269 w 273"/>
                    <a:gd name="T91" fmla="*/ 352 h 414"/>
                    <a:gd name="T92" fmla="*/ 263 w 273"/>
                    <a:gd name="T93" fmla="*/ 335 h 414"/>
                    <a:gd name="T94" fmla="*/ 242 w 273"/>
                    <a:gd name="T95" fmla="*/ 309 h 414"/>
                    <a:gd name="T96" fmla="*/ 222 w 273"/>
                    <a:gd name="T97" fmla="*/ 282 h 414"/>
                    <a:gd name="T98" fmla="*/ 215 w 273"/>
                    <a:gd name="T99" fmla="*/ 266 h 414"/>
                    <a:gd name="T100" fmla="*/ 212 w 273"/>
                    <a:gd name="T101" fmla="*/ 247 h 414"/>
                    <a:gd name="T102" fmla="*/ 215 w 273"/>
                    <a:gd name="T103" fmla="*/ 215 h 414"/>
                    <a:gd name="T104" fmla="*/ 222 w 273"/>
                    <a:gd name="T105" fmla="*/ 190 h 414"/>
                    <a:gd name="T106" fmla="*/ 230 w 273"/>
                    <a:gd name="T107" fmla="*/ 167 h 414"/>
                    <a:gd name="T108" fmla="*/ 232 w 273"/>
                    <a:gd name="T109" fmla="*/ 142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grpSp>
              <p:nvGrpSpPr>
                <p:cNvPr id="116" name="Group 164">
                  <a:extLst>
                    <a:ext uri="{FF2B5EF4-FFF2-40B4-BE49-F238E27FC236}">
                      <a16:creationId xmlns="" xmlns:a16="http://schemas.microsoft.com/office/drawing/2014/main" id="{9E8681A8-5FBF-4D3F-9103-3BFB916ACFBA}"/>
                    </a:ext>
                  </a:extLst>
                </p:cNvPr>
                <p:cNvGrpSpPr>
                  <a:grpSpLocks/>
                </p:cNvGrpSpPr>
                <p:nvPr>
                  <p:custDataLst>
                    <p:tags r:id="rId104"/>
                  </p:custDataLst>
                </p:nvPr>
              </p:nvGrpSpPr>
              <p:grpSpPr bwMode="auto">
                <a:xfrm>
                  <a:off x="4686837" y="2686439"/>
                  <a:ext cx="229698" cy="284870"/>
                  <a:chOff x="1486" y="2412"/>
                  <a:chExt cx="244" cy="256"/>
                </a:xfrm>
                <a:solidFill>
                  <a:srgbClr val="CDCDCD"/>
                </a:solidFill>
              </p:grpSpPr>
              <p:sp>
                <p:nvSpPr>
                  <p:cNvPr id="518" name="Freeform 165">
                    <a:extLst>
                      <a:ext uri="{FF2B5EF4-FFF2-40B4-BE49-F238E27FC236}">
                        <a16:creationId xmlns="" xmlns:a16="http://schemas.microsoft.com/office/drawing/2014/main" id="{44695CF9-BB9C-4320-9AF3-46958D654669}"/>
                      </a:ext>
                    </a:extLst>
                  </p:cNvPr>
                  <p:cNvSpPr>
                    <a:spLocks/>
                  </p:cNvSpPr>
                  <p:nvPr/>
                </p:nvSpPr>
                <p:spPr bwMode="auto">
                  <a:xfrm>
                    <a:off x="1639" y="2457"/>
                    <a:ext cx="18" cy="7"/>
                  </a:xfrm>
                  <a:custGeom>
                    <a:avLst/>
                    <a:gdLst>
                      <a:gd name="T0" fmla="*/ 0 w 54"/>
                      <a:gd name="T1" fmla="*/ 0 h 22"/>
                      <a:gd name="T2" fmla="*/ 0 w 54"/>
                      <a:gd name="T3" fmla="*/ 18 h 22"/>
                      <a:gd name="T4" fmla="*/ 6 w 54"/>
                      <a:gd name="T5" fmla="*/ 20 h 22"/>
                      <a:gd name="T6" fmla="*/ 10 w 54"/>
                      <a:gd name="T7" fmla="*/ 21 h 22"/>
                      <a:gd name="T8" fmla="*/ 14 w 54"/>
                      <a:gd name="T9" fmla="*/ 22 h 22"/>
                      <a:gd name="T10" fmla="*/ 20 w 54"/>
                      <a:gd name="T11" fmla="*/ 22 h 22"/>
                      <a:gd name="T12" fmla="*/ 23 w 54"/>
                      <a:gd name="T13" fmla="*/ 22 h 22"/>
                      <a:gd name="T14" fmla="*/ 27 w 54"/>
                      <a:gd name="T15" fmla="*/ 21 h 22"/>
                      <a:gd name="T16" fmla="*/ 31 w 54"/>
                      <a:gd name="T17" fmla="*/ 20 h 22"/>
                      <a:gd name="T18" fmla="*/ 33 w 54"/>
                      <a:gd name="T19" fmla="*/ 18 h 22"/>
                      <a:gd name="T20" fmla="*/ 35 w 54"/>
                      <a:gd name="T21" fmla="*/ 16 h 22"/>
                      <a:gd name="T22" fmla="*/ 41 w 54"/>
                      <a:gd name="T23" fmla="*/ 12 h 22"/>
                      <a:gd name="T24" fmla="*/ 47 w 54"/>
                      <a:gd name="T25" fmla="*/ 8 h 22"/>
                      <a:gd name="T26" fmla="*/ 54 w 54"/>
                      <a:gd name="T27" fmla="*/ 6 h 22"/>
                      <a:gd name="T28" fmla="*/ 36 w 54"/>
                      <a:gd name="T29" fmla="*/ 5 h 22"/>
                      <a:gd name="T30" fmla="*/ 20 w 54"/>
                      <a:gd name="T31" fmla="*/ 3 h 22"/>
                      <a:gd name="T32" fmla="*/ 6 w 54"/>
                      <a:gd name="T33" fmla="*/ 1 h 22"/>
                      <a:gd name="T34" fmla="*/ 0 w 54"/>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519" name="Freeform 166">
                    <a:extLst>
                      <a:ext uri="{FF2B5EF4-FFF2-40B4-BE49-F238E27FC236}">
                        <a16:creationId xmlns="" xmlns:a16="http://schemas.microsoft.com/office/drawing/2014/main" id="{D709B3CF-5642-4280-B8D6-58BD34EE2974}"/>
                      </a:ext>
                    </a:extLst>
                  </p:cNvPr>
                  <p:cNvSpPr>
                    <a:spLocks/>
                  </p:cNvSpPr>
                  <p:nvPr/>
                </p:nvSpPr>
                <p:spPr bwMode="auto">
                  <a:xfrm>
                    <a:off x="1526" y="2412"/>
                    <a:ext cx="2" cy="8"/>
                  </a:xfrm>
                  <a:custGeom>
                    <a:avLst/>
                    <a:gdLst>
                      <a:gd name="T0" fmla="*/ 6 w 6"/>
                      <a:gd name="T1" fmla="*/ 24 h 24"/>
                      <a:gd name="T2" fmla="*/ 6 w 6"/>
                      <a:gd name="T3" fmla="*/ 0 h 24"/>
                      <a:gd name="T4" fmla="*/ 4 w 6"/>
                      <a:gd name="T5" fmla="*/ 1 h 24"/>
                      <a:gd name="T6" fmla="*/ 1 w 6"/>
                      <a:gd name="T7" fmla="*/ 3 h 24"/>
                      <a:gd name="T8" fmla="*/ 0 w 6"/>
                      <a:gd name="T9" fmla="*/ 7 h 24"/>
                      <a:gd name="T10" fmla="*/ 0 w 6"/>
                      <a:gd name="T11" fmla="*/ 12 h 24"/>
                      <a:gd name="T12" fmla="*/ 0 w 6"/>
                      <a:gd name="T13" fmla="*/ 16 h 24"/>
                      <a:gd name="T14" fmla="*/ 1 w 6"/>
                      <a:gd name="T15" fmla="*/ 20 h 24"/>
                      <a:gd name="T16" fmla="*/ 4 w 6"/>
                      <a:gd name="T17" fmla="*/ 23 h 24"/>
                      <a:gd name="T18" fmla="*/ 6 w 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520" name="Freeform 167">
                    <a:extLst>
                      <a:ext uri="{FF2B5EF4-FFF2-40B4-BE49-F238E27FC236}">
                        <a16:creationId xmlns="" xmlns:a16="http://schemas.microsoft.com/office/drawing/2014/main" id="{91C4BBFE-7369-4843-B9BA-A308E401A951}"/>
                      </a:ext>
                    </a:extLst>
                  </p:cNvPr>
                  <p:cNvSpPr>
                    <a:spLocks/>
                  </p:cNvSpPr>
                  <p:nvPr/>
                </p:nvSpPr>
                <p:spPr bwMode="auto">
                  <a:xfrm>
                    <a:off x="1557" y="2438"/>
                    <a:ext cx="8" cy="4"/>
                  </a:xfrm>
                  <a:custGeom>
                    <a:avLst/>
                    <a:gdLst>
                      <a:gd name="T0" fmla="*/ 0 w 27"/>
                      <a:gd name="T1" fmla="*/ 12 h 12"/>
                      <a:gd name="T2" fmla="*/ 27 w 27"/>
                      <a:gd name="T3" fmla="*/ 12 h 12"/>
                      <a:gd name="T4" fmla="*/ 14 w 27"/>
                      <a:gd name="T5" fmla="*/ 0 h 12"/>
                      <a:gd name="T6" fmla="*/ 0 w 27"/>
                      <a:gd name="T7" fmla="*/ 12 h 12"/>
                    </a:gdLst>
                    <a:ahLst/>
                    <a:cxnLst>
                      <a:cxn ang="0">
                        <a:pos x="T0" y="T1"/>
                      </a:cxn>
                      <a:cxn ang="0">
                        <a:pos x="T2" y="T3"/>
                      </a:cxn>
                      <a:cxn ang="0">
                        <a:pos x="T4" y="T5"/>
                      </a:cxn>
                      <a:cxn ang="0">
                        <a:pos x="T6" y="T7"/>
                      </a:cxn>
                    </a:cxnLst>
                    <a:rect l="0" t="0" r="r" b="b"/>
                    <a:pathLst>
                      <a:path w="27" h="12">
                        <a:moveTo>
                          <a:pt x="0" y="12"/>
                        </a:moveTo>
                        <a:lnTo>
                          <a:pt x="27" y="12"/>
                        </a:lnTo>
                        <a:lnTo>
                          <a:pt x="14" y="0"/>
                        </a:lnTo>
                        <a:lnTo>
                          <a:pt x="0" y="12"/>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521" name="Freeform 168">
                    <a:extLst>
                      <a:ext uri="{FF2B5EF4-FFF2-40B4-BE49-F238E27FC236}">
                        <a16:creationId xmlns="" xmlns:a16="http://schemas.microsoft.com/office/drawing/2014/main" id="{D08C6336-01E8-40B6-AC95-3A19106E75BF}"/>
                      </a:ext>
                    </a:extLst>
                  </p:cNvPr>
                  <p:cNvSpPr>
                    <a:spLocks/>
                  </p:cNvSpPr>
                  <p:nvPr/>
                </p:nvSpPr>
                <p:spPr bwMode="auto">
                  <a:xfrm>
                    <a:off x="1486" y="2444"/>
                    <a:ext cx="244" cy="224"/>
                  </a:xfrm>
                  <a:custGeom>
                    <a:avLst/>
                    <a:gdLst>
                      <a:gd name="T0" fmla="*/ 9 w 743"/>
                      <a:gd name="T1" fmla="*/ 208 h 672"/>
                      <a:gd name="T2" fmla="*/ 50 w 743"/>
                      <a:gd name="T3" fmla="*/ 266 h 672"/>
                      <a:gd name="T4" fmla="*/ 121 w 743"/>
                      <a:gd name="T5" fmla="*/ 294 h 672"/>
                      <a:gd name="T6" fmla="*/ 166 w 743"/>
                      <a:gd name="T7" fmla="*/ 316 h 672"/>
                      <a:gd name="T8" fmla="*/ 198 w 743"/>
                      <a:gd name="T9" fmla="*/ 346 h 672"/>
                      <a:gd name="T10" fmla="*/ 296 w 743"/>
                      <a:gd name="T11" fmla="*/ 379 h 672"/>
                      <a:gd name="T12" fmla="*/ 286 w 743"/>
                      <a:gd name="T13" fmla="*/ 420 h 672"/>
                      <a:gd name="T14" fmla="*/ 311 w 743"/>
                      <a:gd name="T15" fmla="*/ 513 h 672"/>
                      <a:gd name="T16" fmla="*/ 303 w 743"/>
                      <a:gd name="T17" fmla="*/ 535 h 672"/>
                      <a:gd name="T18" fmla="*/ 302 w 743"/>
                      <a:gd name="T19" fmla="*/ 566 h 672"/>
                      <a:gd name="T20" fmla="*/ 328 w 743"/>
                      <a:gd name="T21" fmla="*/ 617 h 672"/>
                      <a:gd name="T22" fmla="*/ 371 w 743"/>
                      <a:gd name="T23" fmla="*/ 659 h 672"/>
                      <a:gd name="T24" fmla="*/ 415 w 743"/>
                      <a:gd name="T25" fmla="*/ 671 h 672"/>
                      <a:gd name="T26" fmla="*/ 465 w 743"/>
                      <a:gd name="T27" fmla="*/ 653 h 672"/>
                      <a:gd name="T28" fmla="*/ 507 w 743"/>
                      <a:gd name="T29" fmla="*/ 619 h 672"/>
                      <a:gd name="T30" fmla="*/ 524 w 743"/>
                      <a:gd name="T31" fmla="*/ 586 h 672"/>
                      <a:gd name="T32" fmla="*/ 477 w 743"/>
                      <a:gd name="T33" fmla="*/ 469 h 672"/>
                      <a:gd name="T34" fmla="*/ 577 w 743"/>
                      <a:gd name="T35" fmla="*/ 500 h 672"/>
                      <a:gd name="T36" fmla="*/ 600 w 743"/>
                      <a:gd name="T37" fmla="*/ 477 h 672"/>
                      <a:gd name="T38" fmla="*/ 652 w 743"/>
                      <a:gd name="T39" fmla="*/ 445 h 672"/>
                      <a:gd name="T40" fmla="*/ 669 w 743"/>
                      <a:gd name="T41" fmla="*/ 441 h 672"/>
                      <a:gd name="T42" fmla="*/ 685 w 743"/>
                      <a:gd name="T43" fmla="*/ 435 h 672"/>
                      <a:gd name="T44" fmla="*/ 666 w 743"/>
                      <a:gd name="T45" fmla="*/ 327 h 672"/>
                      <a:gd name="T46" fmla="*/ 709 w 743"/>
                      <a:gd name="T47" fmla="*/ 294 h 672"/>
                      <a:gd name="T48" fmla="*/ 714 w 743"/>
                      <a:gd name="T49" fmla="*/ 253 h 672"/>
                      <a:gd name="T50" fmla="*/ 726 w 743"/>
                      <a:gd name="T51" fmla="*/ 235 h 672"/>
                      <a:gd name="T52" fmla="*/ 728 w 743"/>
                      <a:gd name="T53" fmla="*/ 213 h 672"/>
                      <a:gd name="T54" fmla="*/ 700 w 743"/>
                      <a:gd name="T55" fmla="*/ 196 h 672"/>
                      <a:gd name="T56" fmla="*/ 686 w 743"/>
                      <a:gd name="T57" fmla="*/ 168 h 672"/>
                      <a:gd name="T58" fmla="*/ 670 w 743"/>
                      <a:gd name="T59" fmla="*/ 145 h 672"/>
                      <a:gd name="T60" fmla="*/ 639 w 743"/>
                      <a:gd name="T61" fmla="*/ 152 h 672"/>
                      <a:gd name="T62" fmla="*/ 630 w 743"/>
                      <a:gd name="T63" fmla="*/ 134 h 672"/>
                      <a:gd name="T64" fmla="*/ 602 w 743"/>
                      <a:gd name="T65" fmla="*/ 115 h 672"/>
                      <a:gd name="T66" fmla="*/ 584 w 743"/>
                      <a:gd name="T67" fmla="*/ 97 h 672"/>
                      <a:gd name="T68" fmla="*/ 536 w 743"/>
                      <a:gd name="T69" fmla="*/ 75 h 672"/>
                      <a:gd name="T70" fmla="*/ 490 w 743"/>
                      <a:gd name="T71" fmla="*/ 87 h 672"/>
                      <a:gd name="T72" fmla="*/ 472 w 743"/>
                      <a:gd name="T73" fmla="*/ 101 h 672"/>
                      <a:gd name="T74" fmla="*/ 434 w 743"/>
                      <a:gd name="T75" fmla="*/ 116 h 672"/>
                      <a:gd name="T76" fmla="*/ 418 w 743"/>
                      <a:gd name="T77" fmla="*/ 104 h 672"/>
                      <a:gd name="T78" fmla="*/ 393 w 743"/>
                      <a:gd name="T79" fmla="*/ 102 h 672"/>
                      <a:gd name="T80" fmla="*/ 359 w 743"/>
                      <a:gd name="T81" fmla="*/ 83 h 672"/>
                      <a:gd name="T82" fmla="*/ 317 w 743"/>
                      <a:gd name="T83" fmla="*/ 85 h 672"/>
                      <a:gd name="T84" fmla="*/ 291 w 743"/>
                      <a:gd name="T85" fmla="*/ 92 h 672"/>
                      <a:gd name="T86" fmla="*/ 252 w 743"/>
                      <a:gd name="T87" fmla="*/ 93 h 672"/>
                      <a:gd name="T88" fmla="*/ 233 w 743"/>
                      <a:gd name="T89" fmla="*/ 52 h 672"/>
                      <a:gd name="T90" fmla="*/ 179 w 743"/>
                      <a:gd name="T91" fmla="*/ 22 h 672"/>
                      <a:gd name="T92" fmla="*/ 148 w 743"/>
                      <a:gd name="T93" fmla="*/ 10 h 672"/>
                      <a:gd name="T94" fmla="*/ 136 w 743"/>
                      <a:gd name="T95" fmla="*/ 46 h 672"/>
                      <a:gd name="T96" fmla="*/ 119 w 743"/>
                      <a:gd name="T97" fmla="*/ 69 h 672"/>
                      <a:gd name="T98" fmla="*/ 119 w 743"/>
                      <a:gd name="T99" fmla="*/ 137 h 672"/>
                      <a:gd name="T100" fmla="*/ 104 w 743"/>
                      <a:gd name="T101" fmla="*/ 194 h 672"/>
                      <a:gd name="T102" fmla="*/ 87 w 743"/>
                      <a:gd name="T103" fmla="*/ 190 h 672"/>
                      <a:gd name="T104" fmla="*/ 70 w 743"/>
                      <a:gd name="T105" fmla="*/ 184 h 672"/>
                      <a:gd name="T106" fmla="*/ 57 w 743"/>
                      <a:gd name="T107" fmla="*/ 169 h 672"/>
                      <a:gd name="T108" fmla="*/ 52 w 743"/>
                      <a:gd name="T109" fmla="*/ 119 h 672"/>
                      <a:gd name="T110" fmla="*/ 73 w 743"/>
                      <a:gd name="T111" fmla="*/ 61 h 672"/>
                      <a:gd name="T112" fmla="*/ 97 w 743"/>
                      <a:gd name="T113" fmla="*/ 15 h 672"/>
                      <a:gd name="T114" fmla="*/ 52 w 743"/>
                      <a:gd name="T115" fmla="*/ 30 h 672"/>
                      <a:gd name="T116" fmla="*/ 16 w 743"/>
                      <a:gd name="T117" fmla="*/ 70 h 672"/>
                      <a:gd name="T118" fmla="*/ 1 w 743"/>
                      <a:gd name="T119" fmla="*/ 12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grpSp>
            <p:sp>
              <p:nvSpPr>
                <p:cNvPr id="117" name="Freeform 169">
                  <a:extLst>
                    <a:ext uri="{FF2B5EF4-FFF2-40B4-BE49-F238E27FC236}">
                      <a16:creationId xmlns="" xmlns:a16="http://schemas.microsoft.com/office/drawing/2014/main" id="{90B5436C-22D9-415B-A074-9A24E5C493FB}"/>
                    </a:ext>
                  </a:extLst>
                </p:cNvPr>
                <p:cNvSpPr>
                  <a:spLocks/>
                </p:cNvSpPr>
                <p:nvPr>
                  <p:custDataLst>
                    <p:tags r:id="rId105"/>
                  </p:custDataLst>
                </p:nvPr>
              </p:nvSpPr>
              <p:spPr bwMode="auto">
                <a:xfrm>
                  <a:off x="8248272" y="3778627"/>
                  <a:ext cx="22520" cy="7882"/>
                </a:xfrm>
                <a:custGeom>
                  <a:avLst/>
                  <a:gdLst>
                    <a:gd name="T0" fmla="*/ 0 w 79"/>
                    <a:gd name="T1" fmla="*/ 23 h 23"/>
                    <a:gd name="T2" fmla="*/ 22 w 79"/>
                    <a:gd name="T3" fmla="*/ 13 h 23"/>
                    <a:gd name="T4" fmla="*/ 45 w 79"/>
                    <a:gd name="T5" fmla="*/ 4 h 23"/>
                    <a:gd name="T6" fmla="*/ 56 w 79"/>
                    <a:gd name="T7" fmla="*/ 1 h 23"/>
                    <a:gd name="T8" fmla="*/ 65 w 79"/>
                    <a:gd name="T9" fmla="*/ 0 h 23"/>
                    <a:gd name="T10" fmla="*/ 69 w 79"/>
                    <a:gd name="T11" fmla="*/ 0 h 23"/>
                    <a:gd name="T12" fmla="*/ 74 w 79"/>
                    <a:gd name="T13" fmla="*/ 1 h 23"/>
                    <a:gd name="T14" fmla="*/ 77 w 79"/>
                    <a:gd name="T15" fmla="*/ 2 h 23"/>
                    <a:gd name="T16" fmla="*/ 79 w 79"/>
                    <a:gd name="T17" fmla="*/ 4 h 23"/>
                    <a:gd name="T18" fmla="*/ 77 w 79"/>
                    <a:gd name="T19" fmla="*/ 8 h 23"/>
                    <a:gd name="T20" fmla="*/ 75 w 79"/>
                    <a:gd name="T21" fmla="*/ 13 h 23"/>
                    <a:gd name="T22" fmla="*/ 72 w 79"/>
                    <a:gd name="T23" fmla="*/ 16 h 23"/>
                    <a:gd name="T24" fmla="*/ 68 w 79"/>
                    <a:gd name="T25" fmla="*/ 19 h 23"/>
                    <a:gd name="T26" fmla="*/ 64 w 79"/>
                    <a:gd name="T27" fmla="*/ 21 h 23"/>
                    <a:gd name="T28" fmla="*/ 59 w 79"/>
                    <a:gd name="T29" fmla="*/ 22 h 23"/>
                    <a:gd name="T30" fmla="*/ 53 w 79"/>
                    <a:gd name="T31" fmla="*/ 23 h 23"/>
                    <a:gd name="T32" fmla="*/ 46 w 79"/>
                    <a:gd name="T33" fmla="*/ 23 h 23"/>
                    <a:gd name="T34" fmla="*/ 37 w 79"/>
                    <a:gd name="T35" fmla="*/ 23 h 23"/>
                    <a:gd name="T36" fmla="*/ 32 w 79"/>
                    <a:gd name="T37" fmla="*/ 21 h 23"/>
                    <a:gd name="T38" fmla="*/ 26 w 79"/>
                    <a:gd name="T39" fmla="*/ 20 h 23"/>
                    <a:gd name="T40" fmla="*/ 23 w 79"/>
                    <a:gd name="T41" fmla="*/ 19 h 23"/>
                    <a:gd name="T42" fmla="*/ 19 w 79"/>
                    <a:gd name="T43" fmla="*/ 18 h 23"/>
                    <a:gd name="T44" fmla="*/ 14 w 79"/>
                    <a:gd name="T45" fmla="*/ 18 h 23"/>
                    <a:gd name="T46" fmla="*/ 9 w 79"/>
                    <a:gd name="T47" fmla="*/ 20 h 23"/>
                    <a:gd name="T48" fmla="*/ 0 w 79"/>
                    <a:gd name="T49"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18" name="Freeform 170">
                  <a:extLst>
                    <a:ext uri="{FF2B5EF4-FFF2-40B4-BE49-F238E27FC236}">
                      <a16:creationId xmlns="" xmlns:a16="http://schemas.microsoft.com/office/drawing/2014/main" id="{DED72858-4969-40DD-971B-F8566E1AA83D}"/>
                    </a:ext>
                  </a:extLst>
                </p:cNvPr>
                <p:cNvSpPr>
                  <a:spLocks/>
                </p:cNvSpPr>
                <p:nvPr>
                  <p:custDataLst>
                    <p:tags r:id="rId106"/>
                  </p:custDataLst>
                </p:nvPr>
              </p:nvSpPr>
              <p:spPr bwMode="auto">
                <a:xfrm>
                  <a:off x="8330467" y="3873208"/>
                  <a:ext cx="1126" cy="3377"/>
                </a:xfrm>
                <a:custGeom>
                  <a:avLst/>
                  <a:gdLst>
                    <a:gd name="T0" fmla="*/ 0 h 6"/>
                    <a:gd name="T1" fmla="*/ 6 h 6"/>
                    <a:gd name="T2" fmla="*/ 0 h 6"/>
                  </a:gdLst>
                  <a:ahLst/>
                  <a:cxnLst>
                    <a:cxn ang="0">
                      <a:pos x="0" y="T0"/>
                    </a:cxn>
                    <a:cxn ang="0">
                      <a:pos x="0" y="T1"/>
                    </a:cxn>
                    <a:cxn ang="0">
                      <a:pos x="0" y="T2"/>
                    </a:cxn>
                  </a:cxnLst>
                  <a:rect l="0" t="0" r="r" b="b"/>
                  <a:pathLst>
                    <a:path h="6">
                      <a:moveTo>
                        <a:pt x="0" y="0"/>
                      </a:moveTo>
                      <a:lnTo>
                        <a:pt x="0" y="6"/>
                      </a:lnTo>
                      <a:lnTo>
                        <a:pt x="0"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19" name="Line 171">
                  <a:extLst>
                    <a:ext uri="{FF2B5EF4-FFF2-40B4-BE49-F238E27FC236}">
                      <a16:creationId xmlns="" xmlns:a16="http://schemas.microsoft.com/office/drawing/2014/main" id="{5FBE3C74-2B9E-4721-8B56-2AD13DD1DA7D}"/>
                    </a:ext>
                  </a:extLst>
                </p:cNvPr>
                <p:cNvSpPr>
                  <a:spLocks noChangeShapeType="1"/>
                </p:cNvSpPr>
                <p:nvPr>
                  <p:custDataLst>
                    <p:tags r:id="rId107"/>
                  </p:custDataLst>
                </p:nvPr>
              </p:nvSpPr>
              <p:spPr bwMode="auto">
                <a:xfrm flipV="1">
                  <a:off x="8394648" y="3872082"/>
                  <a:ext cx="1126" cy="9008"/>
                </a:xfrm>
                <a:prstGeom prst="line">
                  <a:avLst/>
                </a:prstGeom>
                <a:solidFill>
                  <a:srgbClr val="CDCDCD"/>
                </a:solidFill>
                <a:ln w="3175">
                  <a:solidFill>
                    <a:srgbClr val="FFFFFF"/>
                  </a:solidFill>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20" name="Freeform 172">
                  <a:extLst>
                    <a:ext uri="{FF2B5EF4-FFF2-40B4-BE49-F238E27FC236}">
                      <a16:creationId xmlns="" xmlns:a16="http://schemas.microsoft.com/office/drawing/2014/main" id="{445F7B25-3A1B-4BF6-8B73-4389AC83D04A}"/>
                    </a:ext>
                  </a:extLst>
                </p:cNvPr>
                <p:cNvSpPr>
                  <a:spLocks/>
                </p:cNvSpPr>
                <p:nvPr>
                  <p:custDataLst>
                    <p:tags r:id="rId108"/>
                  </p:custDataLst>
                </p:nvPr>
              </p:nvSpPr>
              <p:spPr bwMode="auto">
                <a:xfrm>
                  <a:off x="8394648" y="3872082"/>
                  <a:ext cx="2252" cy="11260"/>
                </a:xfrm>
                <a:custGeom>
                  <a:avLst/>
                  <a:gdLst>
                    <a:gd name="T0" fmla="*/ 0 w 5"/>
                    <a:gd name="T1" fmla="*/ 0 h 30"/>
                    <a:gd name="T2" fmla="*/ 2 w 5"/>
                    <a:gd name="T3" fmla="*/ 1 h 30"/>
                    <a:gd name="T4" fmla="*/ 4 w 5"/>
                    <a:gd name="T5" fmla="*/ 4 h 30"/>
                    <a:gd name="T6" fmla="*/ 5 w 5"/>
                    <a:gd name="T7" fmla="*/ 8 h 30"/>
                    <a:gd name="T8" fmla="*/ 5 w 5"/>
                    <a:gd name="T9" fmla="*/ 13 h 30"/>
                    <a:gd name="T10" fmla="*/ 5 w 5"/>
                    <a:gd name="T11" fmla="*/ 18 h 30"/>
                    <a:gd name="T12" fmla="*/ 4 w 5"/>
                    <a:gd name="T13" fmla="*/ 23 h 30"/>
                    <a:gd name="T14" fmla="*/ 2 w 5"/>
                    <a:gd name="T15" fmla="*/ 27 h 30"/>
                    <a:gd name="T16" fmla="*/ 0 w 5"/>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21" name="Freeform 173">
                  <a:extLst>
                    <a:ext uri="{FF2B5EF4-FFF2-40B4-BE49-F238E27FC236}">
                      <a16:creationId xmlns="" xmlns:a16="http://schemas.microsoft.com/office/drawing/2014/main" id="{870E94DA-7495-4BD3-AD2A-9811218CFADE}"/>
                    </a:ext>
                  </a:extLst>
                </p:cNvPr>
                <p:cNvSpPr>
                  <a:spLocks/>
                </p:cNvSpPr>
                <p:nvPr>
                  <p:custDataLst>
                    <p:tags r:id="rId109"/>
                  </p:custDataLst>
                </p:nvPr>
              </p:nvSpPr>
              <p:spPr bwMode="auto">
                <a:xfrm>
                  <a:off x="8606329" y="3496009"/>
                  <a:ext cx="15763" cy="20268"/>
                </a:xfrm>
                <a:custGeom>
                  <a:avLst/>
                  <a:gdLst>
                    <a:gd name="T0" fmla="*/ 0 w 53"/>
                    <a:gd name="T1" fmla="*/ 12 h 55"/>
                    <a:gd name="T2" fmla="*/ 1 w 53"/>
                    <a:gd name="T3" fmla="*/ 17 h 55"/>
                    <a:gd name="T4" fmla="*/ 5 w 53"/>
                    <a:gd name="T5" fmla="*/ 22 h 55"/>
                    <a:gd name="T6" fmla="*/ 9 w 53"/>
                    <a:gd name="T7" fmla="*/ 27 h 55"/>
                    <a:gd name="T8" fmla="*/ 15 w 53"/>
                    <a:gd name="T9" fmla="*/ 33 h 55"/>
                    <a:gd name="T10" fmla="*/ 26 w 53"/>
                    <a:gd name="T11" fmla="*/ 44 h 55"/>
                    <a:gd name="T12" fmla="*/ 33 w 53"/>
                    <a:gd name="T13" fmla="*/ 55 h 55"/>
                    <a:gd name="T14" fmla="*/ 53 w 53"/>
                    <a:gd name="T15" fmla="*/ 55 h 55"/>
                    <a:gd name="T16" fmla="*/ 40 w 53"/>
                    <a:gd name="T17" fmla="*/ 41 h 55"/>
                    <a:gd name="T18" fmla="*/ 28 w 53"/>
                    <a:gd name="T19" fmla="*/ 29 h 55"/>
                    <a:gd name="T20" fmla="*/ 23 w 53"/>
                    <a:gd name="T21" fmla="*/ 23 h 55"/>
                    <a:gd name="T22" fmla="*/ 19 w 53"/>
                    <a:gd name="T23" fmla="*/ 16 h 55"/>
                    <a:gd name="T24" fmla="*/ 16 w 53"/>
                    <a:gd name="T25" fmla="*/ 8 h 55"/>
                    <a:gd name="T26" fmla="*/ 14 w 53"/>
                    <a:gd name="T27" fmla="*/ 0 h 55"/>
                    <a:gd name="T28" fmla="*/ 7 w 53"/>
                    <a:gd name="T29" fmla="*/ 6 h 55"/>
                    <a:gd name="T30" fmla="*/ 0 w 53"/>
                    <a:gd name="T31" fmla="*/ 1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22" name="Freeform 174">
                  <a:extLst>
                    <a:ext uri="{FF2B5EF4-FFF2-40B4-BE49-F238E27FC236}">
                      <a16:creationId xmlns="" xmlns:a16="http://schemas.microsoft.com/office/drawing/2014/main" id="{E2170C42-6B83-4C2D-8069-A1B18A8376F9}"/>
                    </a:ext>
                  </a:extLst>
                </p:cNvPr>
                <p:cNvSpPr>
                  <a:spLocks/>
                </p:cNvSpPr>
                <p:nvPr>
                  <p:custDataLst>
                    <p:tags r:id="rId110"/>
                  </p:custDataLst>
                </p:nvPr>
              </p:nvSpPr>
              <p:spPr bwMode="auto">
                <a:xfrm>
                  <a:off x="8610834" y="3444215"/>
                  <a:ext cx="19141" cy="28149"/>
                </a:xfrm>
                <a:custGeom>
                  <a:avLst/>
                  <a:gdLst>
                    <a:gd name="T0" fmla="*/ 0 w 65"/>
                    <a:gd name="T1" fmla="*/ 32 h 75"/>
                    <a:gd name="T2" fmla="*/ 9 w 65"/>
                    <a:gd name="T3" fmla="*/ 43 h 75"/>
                    <a:gd name="T4" fmla="*/ 20 w 65"/>
                    <a:gd name="T5" fmla="*/ 55 h 75"/>
                    <a:gd name="T6" fmla="*/ 26 w 65"/>
                    <a:gd name="T7" fmla="*/ 61 h 75"/>
                    <a:gd name="T8" fmla="*/ 32 w 65"/>
                    <a:gd name="T9" fmla="*/ 67 h 75"/>
                    <a:gd name="T10" fmla="*/ 39 w 65"/>
                    <a:gd name="T11" fmla="*/ 71 h 75"/>
                    <a:gd name="T12" fmla="*/ 46 w 65"/>
                    <a:gd name="T13" fmla="*/ 75 h 75"/>
                    <a:gd name="T14" fmla="*/ 51 w 65"/>
                    <a:gd name="T15" fmla="*/ 61 h 75"/>
                    <a:gd name="T16" fmla="*/ 58 w 65"/>
                    <a:gd name="T17" fmla="*/ 48 h 75"/>
                    <a:gd name="T18" fmla="*/ 61 w 65"/>
                    <a:gd name="T19" fmla="*/ 42 h 75"/>
                    <a:gd name="T20" fmla="*/ 63 w 65"/>
                    <a:gd name="T21" fmla="*/ 36 h 75"/>
                    <a:gd name="T22" fmla="*/ 65 w 65"/>
                    <a:gd name="T23" fmla="*/ 31 h 75"/>
                    <a:gd name="T24" fmla="*/ 65 w 65"/>
                    <a:gd name="T25" fmla="*/ 26 h 75"/>
                    <a:gd name="T26" fmla="*/ 65 w 65"/>
                    <a:gd name="T27" fmla="*/ 21 h 75"/>
                    <a:gd name="T28" fmla="*/ 63 w 65"/>
                    <a:gd name="T29" fmla="*/ 18 h 75"/>
                    <a:gd name="T30" fmla="*/ 61 w 65"/>
                    <a:gd name="T31" fmla="*/ 13 h 75"/>
                    <a:gd name="T32" fmla="*/ 58 w 65"/>
                    <a:gd name="T33" fmla="*/ 10 h 75"/>
                    <a:gd name="T34" fmla="*/ 51 w 65"/>
                    <a:gd name="T35" fmla="*/ 5 h 75"/>
                    <a:gd name="T36" fmla="*/ 46 w 65"/>
                    <a:gd name="T37" fmla="*/ 0 h 75"/>
                    <a:gd name="T38" fmla="*/ 34 w 65"/>
                    <a:gd name="T39" fmla="*/ 0 h 75"/>
                    <a:gd name="T40" fmla="*/ 26 w 65"/>
                    <a:gd name="T41" fmla="*/ 0 h 75"/>
                    <a:gd name="T42" fmla="*/ 25 w 65"/>
                    <a:gd name="T43" fmla="*/ 2 h 75"/>
                    <a:gd name="T44" fmla="*/ 24 w 65"/>
                    <a:gd name="T45" fmla="*/ 7 h 75"/>
                    <a:gd name="T46" fmla="*/ 23 w 65"/>
                    <a:gd name="T47" fmla="*/ 9 h 75"/>
                    <a:gd name="T48" fmla="*/ 23 w 65"/>
                    <a:gd name="T49" fmla="*/ 11 h 75"/>
                    <a:gd name="T50" fmla="*/ 24 w 65"/>
                    <a:gd name="T51" fmla="*/ 12 h 75"/>
                    <a:gd name="T52" fmla="*/ 26 w 65"/>
                    <a:gd name="T53"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23" name="Freeform 175">
                  <a:extLst>
                    <a:ext uri="{FF2B5EF4-FFF2-40B4-BE49-F238E27FC236}">
                      <a16:creationId xmlns="" xmlns:a16="http://schemas.microsoft.com/office/drawing/2014/main" id="{34AD1FA5-D6E8-48D4-B489-76777A14B035}"/>
                    </a:ext>
                  </a:extLst>
                </p:cNvPr>
                <p:cNvSpPr>
                  <a:spLocks/>
                </p:cNvSpPr>
                <p:nvPr>
                  <p:custDataLst>
                    <p:tags r:id="rId111"/>
                  </p:custDataLst>
                </p:nvPr>
              </p:nvSpPr>
              <p:spPr bwMode="auto">
                <a:xfrm>
                  <a:off x="8593943" y="3427326"/>
                  <a:ext cx="12386" cy="21393"/>
                </a:xfrm>
                <a:custGeom>
                  <a:avLst/>
                  <a:gdLst>
                    <a:gd name="T0" fmla="*/ 0 w 40"/>
                    <a:gd name="T1" fmla="*/ 62 h 62"/>
                    <a:gd name="T2" fmla="*/ 3 w 40"/>
                    <a:gd name="T3" fmla="*/ 52 h 62"/>
                    <a:gd name="T4" fmla="*/ 7 w 40"/>
                    <a:gd name="T5" fmla="*/ 43 h 62"/>
                    <a:gd name="T6" fmla="*/ 12 w 40"/>
                    <a:gd name="T7" fmla="*/ 33 h 62"/>
                    <a:gd name="T8" fmla="*/ 17 w 40"/>
                    <a:gd name="T9" fmla="*/ 25 h 62"/>
                    <a:gd name="T10" fmla="*/ 23 w 40"/>
                    <a:gd name="T11" fmla="*/ 17 h 62"/>
                    <a:gd name="T12" fmla="*/ 29 w 40"/>
                    <a:gd name="T13" fmla="*/ 9 h 62"/>
                    <a:gd name="T14" fmla="*/ 35 w 40"/>
                    <a:gd name="T15" fmla="*/ 3 h 62"/>
                    <a:gd name="T16" fmla="*/ 40 w 40"/>
                    <a:gd name="T1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24" name="Freeform 176">
                  <a:extLst>
                    <a:ext uri="{FF2B5EF4-FFF2-40B4-BE49-F238E27FC236}">
                      <a16:creationId xmlns="" xmlns:a16="http://schemas.microsoft.com/office/drawing/2014/main" id="{4F5533B7-CE74-4691-9913-207F2AD179FE}"/>
                    </a:ext>
                  </a:extLst>
                </p:cNvPr>
                <p:cNvSpPr>
                  <a:spLocks/>
                </p:cNvSpPr>
                <p:nvPr>
                  <p:custDataLst>
                    <p:tags r:id="rId112"/>
                  </p:custDataLst>
                </p:nvPr>
              </p:nvSpPr>
              <p:spPr bwMode="auto">
                <a:xfrm>
                  <a:off x="8536520" y="3340625"/>
                  <a:ext cx="48416" cy="97960"/>
                </a:xfrm>
                <a:custGeom>
                  <a:avLst/>
                  <a:gdLst>
                    <a:gd name="T0" fmla="*/ 159 w 159"/>
                    <a:gd name="T1" fmla="*/ 259 h 259"/>
                    <a:gd name="T2" fmla="*/ 159 w 159"/>
                    <a:gd name="T3" fmla="*/ 251 h 259"/>
                    <a:gd name="T4" fmla="*/ 159 w 159"/>
                    <a:gd name="T5" fmla="*/ 244 h 259"/>
                    <a:gd name="T6" fmla="*/ 159 w 159"/>
                    <a:gd name="T7" fmla="*/ 236 h 259"/>
                    <a:gd name="T8" fmla="*/ 159 w 159"/>
                    <a:gd name="T9" fmla="*/ 228 h 259"/>
                    <a:gd name="T10" fmla="*/ 159 w 159"/>
                    <a:gd name="T11" fmla="*/ 224 h 259"/>
                    <a:gd name="T12" fmla="*/ 158 w 159"/>
                    <a:gd name="T13" fmla="*/ 219 h 259"/>
                    <a:gd name="T14" fmla="*/ 156 w 159"/>
                    <a:gd name="T15" fmla="*/ 215 h 259"/>
                    <a:gd name="T16" fmla="*/ 153 w 159"/>
                    <a:gd name="T17" fmla="*/ 210 h 259"/>
                    <a:gd name="T18" fmla="*/ 145 w 159"/>
                    <a:gd name="T19" fmla="*/ 202 h 259"/>
                    <a:gd name="T20" fmla="*/ 135 w 159"/>
                    <a:gd name="T21" fmla="*/ 195 h 259"/>
                    <a:gd name="T22" fmla="*/ 124 w 159"/>
                    <a:gd name="T23" fmla="*/ 189 h 259"/>
                    <a:gd name="T24" fmla="*/ 112 w 159"/>
                    <a:gd name="T25" fmla="*/ 184 h 259"/>
                    <a:gd name="T26" fmla="*/ 99 w 159"/>
                    <a:gd name="T27" fmla="*/ 180 h 259"/>
                    <a:gd name="T28" fmla="*/ 87 w 159"/>
                    <a:gd name="T29" fmla="*/ 179 h 259"/>
                    <a:gd name="T30" fmla="*/ 85 w 159"/>
                    <a:gd name="T31" fmla="*/ 178 h 259"/>
                    <a:gd name="T32" fmla="*/ 82 w 159"/>
                    <a:gd name="T33" fmla="*/ 177 h 259"/>
                    <a:gd name="T34" fmla="*/ 81 w 159"/>
                    <a:gd name="T35" fmla="*/ 175 h 259"/>
                    <a:gd name="T36" fmla="*/ 80 w 159"/>
                    <a:gd name="T37" fmla="*/ 173 h 259"/>
                    <a:gd name="T38" fmla="*/ 80 w 159"/>
                    <a:gd name="T39" fmla="*/ 167 h 259"/>
                    <a:gd name="T40" fmla="*/ 81 w 159"/>
                    <a:gd name="T41" fmla="*/ 161 h 259"/>
                    <a:gd name="T42" fmla="*/ 85 w 159"/>
                    <a:gd name="T43" fmla="*/ 148 h 259"/>
                    <a:gd name="T44" fmla="*/ 87 w 159"/>
                    <a:gd name="T45" fmla="*/ 142 h 259"/>
                    <a:gd name="T46" fmla="*/ 73 w 159"/>
                    <a:gd name="T47" fmla="*/ 141 h 259"/>
                    <a:gd name="T48" fmla="*/ 59 w 159"/>
                    <a:gd name="T49" fmla="*/ 139 h 259"/>
                    <a:gd name="T50" fmla="*/ 48 w 159"/>
                    <a:gd name="T51" fmla="*/ 135 h 259"/>
                    <a:gd name="T52" fmla="*/ 40 w 159"/>
                    <a:gd name="T53" fmla="*/ 129 h 259"/>
                    <a:gd name="T54" fmla="*/ 31 w 159"/>
                    <a:gd name="T55" fmla="*/ 121 h 259"/>
                    <a:gd name="T56" fmla="*/ 24 w 159"/>
                    <a:gd name="T57" fmla="*/ 113 h 259"/>
                    <a:gd name="T58" fmla="*/ 18 w 159"/>
                    <a:gd name="T59" fmla="*/ 104 h 259"/>
                    <a:gd name="T60" fmla="*/ 13 w 159"/>
                    <a:gd name="T61" fmla="*/ 94 h 259"/>
                    <a:gd name="T62" fmla="*/ 9 w 159"/>
                    <a:gd name="T63" fmla="*/ 84 h 259"/>
                    <a:gd name="T64" fmla="*/ 7 w 159"/>
                    <a:gd name="T65" fmla="*/ 73 h 259"/>
                    <a:gd name="T66" fmla="*/ 5 w 159"/>
                    <a:gd name="T67" fmla="*/ 60 h 259"/>
                    <a:gd name="T68" fmla="*/ 2 w 159"/>
                    <a:gd name="T69" fmla="*/ 48 h 259"/>
                    <a:gd name="T70" fmla="*/ 0 w 159"/>
                    <a:gd name="T71" fmla="*/ 25 h 259"/>
                    <a:gd name="T72" fmla="*/ 0 w 159"/>
                    <a:gd name="T73"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25" name="Line 177">
                  <a:extLst>
                    <a:ext uri="{FF2B5EF4-FFF2-40B4-BE49-F238E27FC236}">
                      <a16:creationId xmlns="" xmlns:a16="http://schemas.microsoft.com/office/drawing/2014/main" id="{29973A98-E573-438E-ABE3-22D0CCF646D8}"/>
                    </a:ext>
                  </a:extLst>
                </p:cNvPr>
                <p:cNvSpPr>
                  <a:spLocks noChangeShapeType="1"/>
                </p:cNvSpPr>
                <p:nvPr>
                  <p:custDataLst>
                    <p:tags r:id="rId113"/>
                  </p:custDataLst>
                </p:nvPr>
              </p:nvSpPr>
              <p:spPr bwMode="auto">
                <a:xfrm flipH="1" flipV="1">
                  <a:off x="8532016" y="3316980"/>
                  <a:ext cx="4504" cy="23645"/>
                </a:xfrm>
                <a:prstGeom prst="line">
                  <a:avLst/>
                </a:prstGeom>
                <a:solidFill>
                  <a:srgbClr val="CDCDCD"/>
                </a:solidFill>
                <a:ln w="3175">
                  <a:solidFill>
                    <a:srgbClr val="FFFFFF"/>
                  </a:solidFill>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26" name="Freeform 178">
                  <a:extLst>
                    <a:ext uri="{FF2B5EF4-FFF2-40B4-BE49-F238E27FC236}">
                      <a16:creationId xmlns="" xmlns:a16="http://schemas.microsoft.com/office/drawing/2014/main" id="{73EC832A-1368-4715-A4A2-6E794364560B}"/>
                    </a:ext>
                  </a:extLst>
                </p:cNvPr>
                <p:cNvSpPr>
                  <a:spLocks/>
                </p:cNvSpPr>
                <p:nvPr>
                  <p:custDataLst>
                    <p:tags r:id="rId114"/>
                  </p:custDataLst>
                </p:nvPr>
              </p:nvSpPr>
              <p:spPr bwMode="auto">
                <a:xfrm>
                  <a:off x="8532016" y="3305721"/>
                  <a:ext cx="4504" cy="11260"/>
                </a:xfrm>
                <a:custGeom>
                  <a:avLst/>
                  <a:gdLst>
                    <a:gd name="T0" fmla="*/ 0 w 13"/>
                    <a:gd name="T1" fmla="*/ 25 h 25"/>
                    <a:gd name="T2" fmla="*/ 1 w 13"/>
                    <a:gd name="T3" fmla="*/ 19 h 25"/>
                    <a:gd name="T4" fmla="*/ 4 w 13"/>
                    <a:gd name="T5" fmla="*/ 13 h 25"/>
                    <a:gd name="T6" fmla="*/ 8 w 13"/>
                    <a:gd name="T7" fmla="*/ 6 h 25"/>
                    <a:gd name="T8" fmla="*/ 13 w 13"/>
                    <a:gd name="T9" fmla="*/ 0 h 25"/>
                  </a:gdLst>
                  <a:ahLst/>
                  <a:cxnLst>
                    <a:cxn ang="0">
                      <a:pos x="T0" y="T1"/>
                    </a:cxn>
                    <a:cxn ang="0">
                      <a:pos x="T2" y="T3"/>
                    </a:cxn>
                    <a:cxn ang="0">
                      <a:pos x="T4" y="T5"/>
                    </a:cxn>
                    <a:cxn ang="0">
                      <a:pos x="T6" y="T7"/>
                    </a:cxn>
                    <a:cxn ang="0">
                      <a:pos x="T8" y="T9"/>
                    </a:cxn>
                  </a:cxnLst>
                  <a:rect l="0" t="0" r="r" b="b"/>
                  <a:pathLst>
                    <a:path w="13" h="25">
                      <a:moveTo>
                        <a:pt x="0" y="25"/>
                      </a:moveTo>
                      <a:lnTo>
                        <a:pt x="1" y="19"/>
                      </a:lnTo>
                      <a:lnTo>
                        <a:pt x="4" y="13"/>
                      </a:lnTo>
                      <a:lnTo>
                        <a:pt x="8" y="6"/>
                      </a:lnTo>
                      <a:lnTo>
                        <a:pt x="13"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27" name="Line 179">
                  <a:extLst>
                    <a:ext uri="{FF2B5EF4-FFF2-40B4-BE49-F238E27FC236}">
                      <a16:creationId xmlns="" xmlns:a16="http://schemas.microsoft.com/office/drawing/2014/main" id="{4BE9DB46-8704-41A0-A334-9276412E1AB9}"/>
                    </a:ext>
                  </a:extLst>
                </p:cNvPr>
                <p:cNvSpPr>
                  <a:spLocks noChangeShapeType="1"/>
                </p:cNvSpPr>
                <p:nvPr>
                  <p:custDataLst>
                    <p:tags r:id="rId115"/>
                  </p:custDataLst>
                </p:nvPr>
              </p:nvSpPr>
              <p:spPr bwMode="auto">
                <a:xfrm flipV="1">
                  <a:off x="8536520" y="3296713"/>
                  <a:ext cx="0" cy="9008"/>
                </a:xfrm>
                <a:prstGeom prst="line">
                  <a:avLst/>
                </a:prstGeom>
                <a:solidFill>
                  <a:srgbClr val="CDCDCD"/>
                </a:solidFill>
                <a:ln w="3175">
                  <a:solidFill>
                    <a:srgbClr val="FFFFFF"/>
                  </a:solidFill>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28" name="Freeform 180">
                  <a:extLst>
                    <a:ext uri="{FF2B5EF4-FFF2-40B4-BE49-F238E27FC236}">
                      <a16:creationId xmlns="" xmlns:a16="http://schemas.microsoft.com/office/drawing/2014/main" id="{3DF623D4-1727-4E8E-9D7C-A51D84DCAB81}"/>
                    </a:ext>
                  </a:extLst>
                </p:cNvPr>
                <p:cNvSpPr>
                  <a:spLocks/>
                </p:cNvSpPr>
                <p:nvPr>
                  <p:custDataLst>
                    <p:tags r:id="rId116"/>
                  </p:custDataLst>
                </p:nvPr>
              </p:nvSpPr>
              <p:spPr bwMode="auto">
                <a:xfrm>
                  <a:off x="8503866" y="3249422"/>
                  <a:ext cx="32654" cy="47291"/>
                </a:xfrm>
                <a:custGeom>
                  <a:avLst/>
                  <a:gdLst>
                    <a:gd name="T0" fmla="*/ 100 w 100"/>
                    <a:gd name="T1" fmla="*/ 123 h 123"/>
                    <a:gd name="T2" fmla="*/ 90 w 100"/>
                    <a:gd name="T3" fmla="*/ 122 h 123"/>
                    <a:gd name="T4" fmla="*/ 76 w 100"/>
                    <a:gd name="T5" fmla="*/ 119 h 123"/>
                    <a:gd name="T6" fmla="*/ 60 w 100"/>
                    <a:gd name="T7" fmla="*/ 114 h 123"/>
                    <a:gd name="T8" fmla="*/ 43 w 100"/>
                    <a:gd name="T9" fmla="*/ 107 h 123"/>
                    <a:gd name="T10" fmla="*/ 34 w 100"/>
                    <a:gd name="T11" fmla="*/ 103 h 123"/>
                    <a:gd name="T12" fmla="*/ 27 w 100"/>
                    <a:gd name="T13" fmla="*/ 99 h 123"/>
                    <a:gd name="T14" fmla="*/ 20 w 100"/>
                    <a:gd name="T15" fmla="*/ 94 h 123"/>
                    <a:gd name="T16" fmla="*/ 13 w 100"/>
                    <a:gd name="T17" fmla="*/ 89 h 123"/>
                    <a:gd name="T18" fmla="*/ 8 w 100"/>
                    <a:gd name="T19" fmla="*/ 84 h 123"/>
                    <a:gd name="T20" fmla="*/ 4 w 100"/>
                    <a:gd name="T21" fmla="*/ 79 h 123"/>
                    <a:gd name="T22" fmla="*/ 1 w 100"/>
                    <a:gd name="T23" fmla="*/ 73 h 123"/>
                    <a:gd name="T24" fmla="*/ 0 w 100"/>
                    <a:gd name="T25" fmla="*/ 68 h 123"/>
                    <a:gd name="T26" fmla="*/ 2 w 100"/>
                    <a:gd name="T27" fmla="*/ 55 h 123"/>
                    <a:gd name="T28" fmla="*/ 7 w 100"/>
                    <a:gd name="T29" fmla="*/ 36 h 123"/>
                    <a:gd name="T30" fmla="*/ 11 w 100"/>
                    <a:gd name="T31" fmla="*/ 17 h 123"/>
                    <a:gd name="T32" fmla="*/ 13 w 100"/>
                    <a:gd name="T33"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29" name="Freeform 181">
                  <a:extLst>
                    <a:ext uri="{FF2B5EF4-FFF2-40B4-BE49-F238E27FC236}">
                      <a16:creationId xmlns="" xmlns:a16="http://schemas.microsoft.com/office/drawing/2014/main" id="{D5E1AF2A-A43F-45A8-88C4-52A82E0F01BF}"/>
                    </a:ext>
                  </a:extLst>
                </p:cNvPr>
                <p:cNvSpPr>
                  <a:spLocks/>
                </p:cNvSpPr>
                <p:nvPr>
                  <p:custDataLst>
                    <p:tags r:id="rId117"/>
                  </p:custDataLst>
                </p:nvPr>
              </p:nvSpPr>
              <p:spPr bwMode="auto">
                <a:xfrm>
                  <a:off x="8514000" y="3208888"/>
                  <a:ext cx="1126" cy="36031"/>
                </a:xfrm>
                <a:custGeom>
                  <a:avLst/>
                  <a:gdLst>
                    <a:gd name="T0" fmla="*/ 5 w 5"/>
                    <a:gd name="T1" fmla="*/ 0 h 99"/>
                    <a:gd name="T2" fmla="*/ 4 w 5"/>
                    <a:gd name="T3" fmla="*/ 34 h 99"/>
                    <a:gd name="T4" fmla="*/ 1 w 5"/>
                    <a:gd name="T5" fmla="*/ 59 h 99"/>
                    <a:gd name="T6" fmla="*/ 0 w 5"/>
                    <a:gd name="T7" fmla="*/ 69 h 99"/>
                    <a:gd name="T8" fmla="*/ 0 w 5"/>
                    <a:gd name="T9" fmla="*/ 78 h 99"/>
                    <a:gd name="T10" fmla="*/ 2 w 5"/>
                    <a:gd name="T11" fmla="*/ 87 h 99"/>
                    <a:gd name="T12" fmla="*/ 5 w 5"/>
                    <a:gd name="T13" fmla="*/ 99 h 99"/>
                  </a:gdLst>
                  <a:ahLst/>
                  <a:cxnLst>
                    <a:cxn ang="0">
                      <a:pos x="T0" y="T1"/>
                    </a:cxn>
                    <a:cxn ang="0">
                      <a:pos x="T2" y="T3"/>
                    </a:cxn>
                    <a:cxn ang="0">
                      <a:pos x="T4" y="T5"/>
                    </a:cxn>
                    <a:cxn ang="0">
                      <a:pos x="T6" y="T7"/>
                    </a:cxn>
                    <a:cxn ang="0">
                      <a:pos x="T8" y="T9"/>
                    </a:cxn>
                    <a:cxn ang="0">
                      <a:pos x="T10" y="T11"/>
                    </a:cxn>
                    <a:cxn ang="0">
                      <a:pos x="T12" y="T13"/>
                    </a:cxn>
                  </a:cxnLst>
                  <a:rect l="0" t="0" r="r" b="b"/>
                  <a:pathLst>
                    <a:path w="5" h="99">
                      <a:moveTo>
                        <a:pt x="5" y="0"/>
                      </a:moveTo>
                      <a:lnTo>
                        <a:pt x="4" y="34"/>
                      </a:lnTo>
                      <a:lnTo>
                        <a:pt x="1" y="59"/>
                      </a:lnTo>
                      <a:lnTo>
                        <a:pt x="0" y="69"/>
                      </a:lnTo>
                      <a:lnTo>
                        <a:pt x="0" y="78"/>
                      </a:lnTo>
                      <a:lnTo>
                        <a:pt x="2" y="87"/>
                      </a:lnTo>
                      <a:lnTo>
                        <a:pt x="5" y="99"/>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30" name="Freeform 182">
                  <a:extLst>
                    <a:ext uri="{FF2B5EF4-FFF2-40B4-BE49-F238E27FC236}">
                      <a16:creationId xmlns="" xmlns:a16="http://schemas.microsoft.com/office/drawing/2014/main" id="{4B958CE4-1106-4A13-ADD2-9D50431F4579}"/>
                    </a:ext>
                  </a:extLst>
                </p:cNvPr>
                <p:cNvSpPr>
                  <a:spLocks/>
                </p:cNvSpPr>
                <p:nvPr>
                  <p:custDataLst>
                    <p:tags r:id="rId118"/>
                  </p:custDataLst>
                </p:nvPr>
              </p:nvSpPr>
              <p:spPr bwMode="auto">
                <a:xfrm>
                  <a:off x="8518504" y="3204384"/>
                  <a:ext cx="5629" cy="25897"/>
                </a:xfrm>
                <a:custGeom>
                  <a:avLst/>
                  <a:gdLst>
                    <a:gd name="T0" fmla="*/ 14 w 14"/>
                    <a:gd name="T1" fmla="*/ 0 h 68"/>
                    <a:gd name="T2" fmla="*/ 8 w 14"/>
                    <a:gd name="T3" fmla="*/ 16 h 68"/>
                    <a:gd name="T4" fmla="*/ 4 w 14"/>
                    <a:gd name="T5" fmla="*/ 33 h 68"/>
                    <a:gd name="T6" fmla="*/ 2 w 14"/>
                    <a:gd name="T7" fmla="*/ 52 h 68"/>
                    <a:gd name="T8" fmla="*/ 0 w 14"/>
                    <a:gd name="T9" fmla="*/ 68 h 68"/>
                  </a:gdLst>
                  <a:ahLst/>
                  <a:cxnLst>
                    <a:cxn ang="0">
                      <a:pos x="T0" y="T1"/>
                    </a:cxn>
                    <a:cxn ang="0">
                      <a:pos x="T2" y="T3"/>
                    </a:cxn>
                    <a:cxn ang="0">
                      <a:pos x="T4" y="T5"/>
                    </a:cxn>
                    <a:cxn ang="0">
                      <a:pos x="T6" y="T7"/>
                    </a:cxn>
                    <a:cxn ang="0">
                      <a:pos x="T8" y="T9"/>
                    </a:cxn>
                  </a:cxnLst>
                  <a:rect l="0" t="0" r="r" b="b"/>
                  <a:pathLst>
                    <a:path w="14" h="68">
                      <a:moveTo>
                        <a:pt x="14" y="0"/>
                      </a:moveTo>
                      <a:lnTo>
                        <a:pt x="8" y="16"/>
                      </a:lnTo>
                      <a:lnTo>
                        <a:pt x="4" y="33"/>
                      </a:lnTo>
                      <a:lnTo>
                        <a:pt x="2" y="52"/>
                      </a:lnTo>
                      <a:lnTo>
                        <a:pt x="0" y="68"/>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31" name="Freeform 183">
                  <a:extLst>
                    <a:ext uri="{FF2B5EF4-FFF2-40B4-BE49-F238E27FC236}">
                      <a16:creationId xmlns="" xmlns:a16="http://schemas.microsoft.com/office/drawing/2014/main" id="{D9926244-475F-4AD4-9BFA-F2C0239CBEFA}"/>
                    </a:ext>
                  </a:extLst>
                </p:cNvPr>
                <p:cNvSpPr>
                  <a:spLocks/>
                </p:cNvSpPr>
                <p:nvPr>
                  <p:custDataLst>
                    <p:tags r:id="rId119"/>
                  </p:custDataLst>
                </p:nvPr>
              </p:nvSpPr>
              <p:spPr bwMode="auto">
                <a:xfrm>
                  <a:off x="8529764" y="3190872"/>
                  <a:ext cx="1126" cy="15763"/>
                </a:xfrm>
                <a:custGeom>
                  <a:avLst/>
                  <a:gdLst>
                    <a:gd name="T0" fmla="*/ 0 h 43"/>
                    <a:gd name="T1" fmla="*/ 13 h 43"/>
                    <a:gd name="T2" fmla="*/ 26 h 43"/>
                    <a:gd name="T3" fmla="*/ 37 h 43"/>
                    <a:gd name="T4" fmla="*/ 43 h 43"/>
                  </a:gdLst>
                  <a:ahLst/>
                  <a:cxnLst>
                    <a:cxn ang="0">
                      <a:pos x="0" y="T0"/>
                    </a:cxn>
                    <a:cxn ang="0">
                      <a:pos x="0" y="T1"/>
                    </a:cxn>
                    <a:cxn ang="0">
                      <a:pos x="0" y="T2"/>
                    </a:cxn>
                    <a:cxn ang="0">
                      <a:pos x="0" y="T3"/>
                    </a:cxn>
                    <a:cxn ang="0">
                      <a:pos x="0" y="T4"/>
                    </a:cxn>
                  </a:cxnLst>
                  <a:rect l="0" t="0" r="r" b="b"/>
                  <a:pathLst>
                    <a:path h="43">
                      <a:moveTo>
                        <a:pt x="0" y="0"/>
                      </a:moveTo>
                      <a:lnTo>
                        <a:pt x="0" y="13"/>
                      </a:lnTo>
                      <a:lnTo>
                        <a:pt x="0" y="26"/>
                      </a:lnTo>
                      <a:lnTo>
                        <a:pt x="0" y="37"/>
                      </a:lnTo>
                      <a:lnTo>
                        <a:pt x="0" y="43"/>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32" name="Line 184">
                  <a:extLst>
                    <a:ext uri="{FF2B5EF4-FFF2-40B4-BE49-F238E27FC236}">
                      <a16:creationId xmlns="" xmlns:a16="http://schemas.microsoft.com/office/drawing/2014/main" id="{8DFA0F33-247B-41DA-A871-FB04382D9F0C}"/>
                    </a:ext>
                  </a:extLst>
                </p:cNvPr>
                <p:cNvSpPr>
                  <a:spLocks noChangeShapeType="1"/>
                </p:cNvSpPr>
                <p:nvPr>
                  <p:custDataLst>
                    <p:tags r:id="rId120"/>
                  </p:custDataLst>
                </p:nvPr>
              </p:nvSpPr>
              <p:spPr bwMode="auto">
                <a:xfrm flipV="1">
                  <a:off x="8529764" y="3204384"/>
                  <a:ext cx="1126" cy="2252"/>
                </a:xfrm>
                <a:prstGeom prst="line">
                  <a:avLst/>
                </a:prstGeom>
                <a:solidFill>
                  <a:srgbClr val="CDCDCD"/>
                </a:solidFill>
                <a:ln w="3175">
                  <a:solidFill>
                    <a:srgbClr val="FFFFFF"/>
                  </a:solidFill>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33" name="Freeform 185">
                  <a:extLst>
                    <a:ext uri="{FF2B5EF4-FFF2-40B4-BE49-F238E27FC236}">
                      <a16:creationId xmlns="" xmlns:a16="http://schemas.microsoft.com/office/drawing/2014/main" id="{62024ACC-4C14-4A47-B407-13F97D4D210C}"/>
                    </a:ext>
                  </a:extLst>
                </p:cNvPr>
                <p:cNvSpPr>
                  <a:spLocks/>
                </p:cNvSpPr>
                <p:nvPr>
                  <p:custDataLst>
                    <p:tags r:id="rId121"/>
                  </p:custDataLst>
                </p:nvPr>
              </p:nvSpPr>
              <p:spPr bwMode="auto">
                <a:xfrm>
                  <a:off x="8518504" y="3193124"/>
                  <a:ext cx="1126" cy="11260"/>
                </a:xfrm>
                <a:custGeom>
                  <a:avLst/>
                  <a:gdLst>
                    <a:gd name="T0" fmla="*/ 31 h 31"/>
                    <a:gd name="T1" fmla="*/ 22 h 31"/>
                    <a:gd name="T2" fmla="*/ 15 h 31"/>
                    <a:gd name="T3" fmla="*/ 8 h 31"/>
                    <a:gd name="T4" fmla="*/ 0 h 31"/>
                  </a:gdLst>
                  <a:ahLst/>
                  <a:cxnLst>
                    <a:cxn ang="0">
                      <a:pos x="0" y="T0"/>
                    </a:cxn>
                    <a:cxn ang="0">
                      <a:pos x="0" y="T1"/>
                    </a:cxn>
                    <a:cxn ang="0">
                      <a:pos x="0" y="T2"/>
                    </a:cxn>
                    <a:cxn ang="0">
                      <a:pos x="0" y="T3"/>
                    </a:cxn>
                    <a:cxn ang="0">
                      <a:pos x="0" y="T4"/>
                    </a:cxn>
                  </a:cxnLst>
                  <a:rect l="0" t="0" r="r" b="b"/>
                  <a:pathLst>
                    <a:path h="31">
                      <a:moveTo>
                        <a:pt x="0" y="31"/>
                      </a:moveTo>
                      <a:lnTo>
                        <a:pt x="0" y="22"/>
                      </a:lnTo>
                      <a:lnTo>
                        <a:pt x="0" y="15"/>
                      </a:lnTo>
                      <a:lnTo>
                        <a:pt x="0" y="8"/>
                      </a:lnTo>
                      <a:lnTo>
                        <a:pt x="0"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34" name="Freeform 186">
                  <a:extLst>
                    <a:ext uri="{FF2B5EF4-FFF2-40B4-BE49-F238E27FC236}">
                      <a16:creationId xmlns="" xmlns:a16="http://schemas.microsoft.com/office/drawing/2014/main" id="{F0E7FF48-AECA-4899-8B96-F59A6377FAC3}"/>
                    </a:ext>
                  </a:extLst>
                </p:cNvPr>
                <p:cNvSpPr>
                  <a:spLocks/>
                </p:cNvSpPr>
                <p:nvPr>
                  <p:custDataLst>
                    <p:tags r:id="rId122"/>
                  </p:custDataLst>
                </p:nvPr>
              </p:nvSpPr>
              <p:spPr bwMode="auto">
                <a:xfrm>
                  <a:off x="8320334" y="3894601"/>
                  <a:ext cx="68684" cy="61929"/>
                </a:xfrm>
                <a:custGeom>
                  <a:avLst/>
                  <a:gdLst>
                    <a:gd name="T0" fmla="*/ 19 w 225"/>
                    <a:gd name="T1" fmla="*/ 158 h 167"/>
                    <a:gd name="T2" fmla="*/ 7 w 225"/>
                    <a:gd name="T3" fmla="*/ 142 h 167"/>
                    <a:gd name="T4" fmla="*/ 0 w 225"/>
                    <a:gd name="T5" fmla="*/ 130 h 167"/>
                    <a:gd name="T6" fmla="*/ 1 w 225"/>
                    <a:gd name="T7" fmla="*/ 108 h 167"/>
                    <a:gd name="T8" fmla="*/ 11 w 225"/>
                    <a:gd name="T9" fmla="*/ 68 h 167"/>
                    <a:gd name="T10" fmla="*/ 24 w 225"/>
                    <a:gd name="T11" fmla="*/ 39 h 167"/>
                    <a:gd name="T12" fmla="*/ 34 w 225"/>
                    <a:gd name="T13" fmla="*/ 21 h 167"/>
                    <a:gd name="T14" fmla="*/ 44 w 225"/>
                    <a:gd name="T15" fmla="*/ 9 h 167"/>
                    <a:gd name="T16" fmla="*/ 54 w 225"/>
                    <a:gd name="T17" fmla="*/ 1 h 167"/>
                    <a:gd name="T18" fmla="*/ 65 w 225"/>
                    <a:gd name="T19" fmla="*/ 1 h 167"/>
                    <a:gd name="T20" fmla="*/ 76 w 225"/>
                    <a:gd name="T21" fmla="*/ 3 h 167"/>
                    <a:gd name="T22" fmla="*/ 88 w 225"/>
                    <a:gd name="T23" fmla="*/ 8 h 167"/>
                    <a:gd name="T24" fmla="*/ 100 w 225"/>
                    <a:gd name="T25" fmla="*/ 17 h 167"/>
                    <a:gd name="T26" fmla="*/ 112 w 225"/>
                    <a:gd name="T27" fmla="*/ 24 h 167"/>
                    <a:gd name="T28" fmla="*/ 128 w 225"/>
                    <a:gd name="T29" fmla="*/ 24 h 167"/>
                    <a:gd name="T30" fmla="*/ 145 w 225"/>
                    <a:gd name="T31" fmla="*/ 19 h 167"/>
                    <a:gd name="T32" fmla="*/ 165 w 225"/>
                    <a:gd name="T33" fmla="*/ 7 h 167"/>
                    <a:gd name="T34" fmla="*/ 225 w 225"/>
                    <a:gd name="T35" fmla="*/ 0 h 167"/>
                    <a:gd name="T36" fmla="*/ 215 w 225"/>
                    <a:gd name="T37" fmla="*/ 22 h 167"/>
                    <a:gd name="T38" fmla="*/ 201 w 225"/>
                    <a:gd name="T39" fmla="*/ 41 h 167"/>
                    <a:gd name="T40" fmla="*/ 168 w 225"/>
                    <a:gd name="T41" fmla="*/ 72 h 167"/>
                    <a:gd name="T42" fmla="*/ 138 w 225"/>
                    <a:gd name="T43" fmla="*/ 100 h 167"/>
                    <a:gd name="T44" fmla="*/ 129 w 225"/>
                    <a:gd name="T45" fmla="*/ 114 h 167"/>
                    <a:gd name="T46" fmla="*/ 126 w 225"/>
                    <a:gd name="T47" fmla="*/ 130 h 167"/>
                    <a:gd name="T48" fmla="*/ 123 w 225"/>
                    <a:gd name="T49" fmla="*/ 126 h 167"/>
                    <a:gd name="T50" fmla="*/ 120 w 225"/>
                    <a:gd name="T51" fmla="*/ 117 h 167"/>
                    <a:gd name="T52" fmla="*/ 106 w 225"/>
                    <a:gd name="T53" fmla="*/ 121 h 167"/>
                    <a:gd name="T54" fmla="*/ 97 w 225"/>
                    <a:gd name="T55" fmla="*/ 128 h 167"/>
                    <a:gd name="T56" fmla="*/ 80 w 225"/>
                    <a:gd name="T57" fmla="*/ 145 h 167"/>
                    <a:gd name="T58" fmla="*/ 71 w 225"/>
                    <a:gd name="T59" fmla="*/ 153 h 167"/>
                    <a:gd name="T60" fmla="*/ 60 w 225"/>
                    <a:gd name="T61" fmla="*/ 160 h 167"/>
                    <a:gd name="T62" fmla="*/ 46 w 225"/>
                    <a:gd name="T63" fmla="*/ 165 h 167"/>
                    <a:gd name="T64" fmla="*/ 26 w 225"/>
                    <a:gd name="T65"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35" name="Freeform 187">
                  <a:extLst>
                    <a:ext uri="{FF2B5EF4-FFF2-40B4-BE49-F238E27FC236}">
                      <a16:creationId xmlns="" xmlns:a16="http://schemas.microsoft.com/office/drawing/2014/main" id="{6C430CBC-94A5-43E4-9447-684E0FF015FF}"/>
                    </a:ext>
                  </a:extLst>
                </p:cNvPr>
                <p:cNvSpPr>
                  <a:spLocks/>
                </p:cNvSpPr>
                <p:nvPr>
                  <p:custDataLst>
                    <p:tags r:id="rId123"/>
                  </p:custDataLst>
                </p:nvPr>
              </p:nvSpPr>
              <p:spPr bwMode="auto">
                <a:xfrm>
                  <a:off x="8418293" y="3340625"/>
                  <a:ext cx="2252" cy="12386"/>
                </a:xfrm>
                <a:custGeom>
                  <a:avLst/>
                  <a:gdLst>
                    <a:gd name="T0" fmla="*/ 0 w 7"/>
                    <a:gd name="T1" fmla="*/ 31 h 31"/>
                    <a:gd name="T2" fmla="*/ 5 w 7"/>
                    <a:gd name="T3" fmla="*/ 22 h 31"/>
                    <a:gd name="T4" fmla="*/ 6 w 7"/>
                    <a:gd name="T5" fmla="*/ 13 h 31"/>
                    <a:gd name="T6" fmla="*/ 7 w 7"/>
                    <a:gd name="T7" fmla="*/ 6 h 31"/>
                    <a:gd name="T8" fmla="*/ 7 w 7"/>
                    <a:gd name="T9" fmla="*/ 0 h 31"/>
                    <a:gd name="T10" fmla="*/ 6 w 7"/>
                    <a:gd name="T11" fmla="*/ 6 h 31"/>
                    <a:gd name="T12" fmla="*/ 4 w 7"/>
                    <a:gd name="T13" fmla="*/ 13 h 31"/>
                    <a:gd name="T14" fmla="*/ 1 w 7"/>
                    <a:gd name="T15" fmla="*/ 22 h 31"/>
                    <a:gd name="T16" fmla="*/ 0 w 7"/>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36" name="Freeform 188">
                  <a:extLst>
                    <a:ext uri="{FF2B5EF4-FFF2-40B4-BE49-F238E27FC236}">
                      <a16:creationId xmlns="" xmlns:a16="http://schemas.microsoft.com/office/drawing/2014/main" id="{B593DD5C-BF90-4B2D-80CD-8B6C2CCCAC99}"/>
                    </a:ext>
                  </a:extLst>
                </p:cNvPr>
                <p:cNvSpPr>
                  <a:spLocks/>
                </p:cNvSpPr>
                <p:nvPr>
                  <p:custDataLst>
                    <p:tags r:id="rId124"/>
                  </p:custDataLst>
                </p:nvPr>
              </p:nvSpPr>
              <p:spPr bwMode="auto">
                <a:xfrm>
                  <a:off x="8371002" y="3285454"/>
                  <a:ext cx="11260" cy="11260"/>
                </a:xfrm>
                <a:custGeom>
                  <a:avLst/>
                  <a:gdLst>
                    <a:gd name="T0" fmla="*/ 33 w 33"/>
                    <a:gd name="T1" fmla="*/ 31 h 31"/>
                    <a:gd name="T2" fmla="*/ 33 w 33"/>
                    <a:gd name="T3" fmla="*/ 0 h 31"/>
                    <a:gd name="T4" fmla="*/ 27 w 33"/>
                    <a:gd name="T5" fmla="*/ 0 h 31"/>
                    <a:gd name="T6" fmla="*/ 22 w 33"/>
                    <a:gd name="T7" fmla="*/ 2 h 31"/>
                    <a:gd name="T8" fmla="*/ 16 w 33"/>
                    <a:gd name="T9" fmla="*/ 5 h 31"/>
                    <a:gd name="T10" fmla="*/ 11 w 33"/>
                    <a:gd name="T11" fmla="*/ 8 h 31"/>
                    <a:gd name="T12" fmla="*/ 6 w 33"/>
                    <a:gd name="T13" fmla="*/ 12 h 31"/>
                    <a:gd name="T14" fmla="*/ 3 w 33"/>
                    <a:gd name="T15" fmla="*/ 16 h 31"/>
                    <a:gd name="T16" fmla="*/ 1 w 33"/>
                    <a:gd name="T17" fmla="*/ 21 h 31"/>
                    <a:gd name="T18" fmla="*/ 0 w 33"/>
                    <a:gd name="T19" fmla="*/ 25 h 31"/>
                    <a:gd name="T20" fmla="*/ 1 w 33"/>
                    <a:gd name="T21" fmla="*/ 27 h 31"/>
                    <a:gd name="T22" fmla="*/ 3 w 33"/>
                    <a:gd name="T23" fmla="*/ 29 h 31"/>
                    <a:gd name="T24" fmla="*/ 6 w 33"/>
                    <a:gd name="T25" fmla="*/ 30 h 31"/>
                    <a:gd name="T26" fmla="*/ 11 w 33"/>
                    <a:gd name="T27" fmla="*/ 30 h 31"/>
                    <a:gd name="T28" fmla="*/ 22 w 33"/>
                    <a:gd name="T29" fmla="*/ 31 h 31"/>
                    <a:gd name="T30" fmla="*/ 33 w 33"/>
                    <a:gd name="T3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37" name="Freeform 189">
                  <a:extLst>
                    <a:ext uri="{FF2B5EF4-FFF2-40B4-BE49-F238E27FC236}">
                      <a16:creationId xmlns="" xmlns:a16="http://schemas.microsoft.com/office/drawing/2014/main" id="{A04CB7EF-2531-4F65-B435-ACEAAE5EC636}"/>
                    </a:ext>
                  </a:extLst>
                </p:cNvPr>
                <p:cNvSpPr>
                  <a:spLocks/>
                </p:cNvSpPr>
                <p:nvPr>
                  <p:custDataLst>
                    <p:tags r:id="rId125"/>
                  </p:custDataLst>
                </p:nvPr>
              </p:nvSpPr>
              <p:spPr bwMode="auto">
                <a:xfrm>
                  <a:off x="8382262" y="3223525"/>
                  <a:ext cx="2252" cy="6756"/>
                </a:xfrm>
                <a:custGeom>
                  <a:avLst/>
                  <a:gdLst>
                    <a:gd name="T0" fmla="*/ 0 w 13"/>
                    <a:gd name="T1" fmla="*/ 19 h 19"/>
                    <a:gd name="T2" fmla="*/ 2 w 13"/>
                    <a:gd name="T3" fmla="*/ 18 h 19"/>
                    <a:gd name="T4" fmla="*/ 5 w 13"/>
                    <a:gd name="T5" fmla="*/ 17 h 19"/>
                    <a:gd name="T6" fmla="*/ 7 w 13"/>
                    <a:gd name="T7" fmla="*/ 15 h 19"/>
                    <a:gd name="T8" fmla="*/ 8 w 13"/>
                    <a:gd name="T9" fmla="*/ 12 h 19"/>
                    <a:gd name="T10" fmla="*/ 12 w 13"/>
                    <a:gd name="T11" fmla="*/ 6 h 19"/>
                    <a:gd name="T12" fmla="*/ 13 w 13"/>
                    <a:gd name="T13" fmla="*/ 0 h 19"/>
                    <a:gd name="T14" fmla="*/ 0 w 13"/>
                    <a:gd name="T15" fmla="*/ 19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38" name="Freeform 190">
                  <a:extLst>
                    <a:ext uri="{FF2B5EF4-FFF2-40B4-BE49-F238E27FC236}">
                      <a16:creationId xmlns="" xmlns:a16="http://schemas.microsoft.com/office/drawing/2014/main" id="{AD915E20-0321-4E16-9100-63C184636580}"/>
                    </a:ext>
                  </a:extLst>
                </p:cNvPr>
                <p:cNvSpPr>
                  <a:spLocks/>
                </p:cNvSpPr>
                <p:nvPr>
                  <p:custDataLst>
                    <p:tags r:id="rId126"/>
                  </p:custDataLst>
                </p:nvPr>
              </p:nvSpPr>
              <p:spPr bwMode="auto">
                <a:xfrm>
                  <a:off x="8268539" y="3225777"/>
                  <a:ext cx="25897" cy="15763"/>
                </a:xfrm>
                <a:custGeom>
                  <a:avLst/>
                  <a:gdLst>
                    <a:gd name="T0" fmla="*/ 54 w 87"/>
                    <a:gd name="T1" fmla="*/ 42 h 42"/>
                    <a:gd name="T2" fmla="*/ 59 w 87"/>
                    <a:gd name="T3" fmla="*/ 42 h 42"/>
                    <a:gd name="T4" fmla="*/ 64 w 87"/>
                    <a:gd name="T5" fmla="*/ 41 h 42"/>
                    <a:gd name="T6" fmla="*/ 68 w 87"/>
                    <a:gd name="T7" fmla="*/ 40 h 42"/>
                    <a:gd name="T8" fmla="*/ 71 w 87"/>
                    <a:gd name="T9" fmla="*/ 38 h 42"/>
                    <a:gd name="T10" fmla="*/ 75 w 87"/>
                    <a:gd name="T11" fmla="*/ 34 h 42"/>
                    <a:gd name="T12" fmla="*/ 78 w 87"/>
                    <a:gd name="T13" fmla="*/ 28 h 42"/>
                    <a:gd name="T14" fmla="*/ 79 w 87"/>
                    <a:gd name="T15" fmla="*/ 22 h 42"/>
                    <a:gd name="T16" fmla="*/ 80 w 87"/>
                    <a:gd name="T17" fmla="*/ 16 h 42"/>
                    <a:gd name="T18" fmla="*/ 82 w 87"/>
                    <a:gd name="T19" fmla="*/ 11 h 42"/>
                    <a:gd name="T20" fmla="*/ 87 w 87"/>
                    <a:gd name="T21" fmla="*/ 6 h 42"/>
                    <a:gd name="T22" fmla="*/ 77 w 87"/>
                    <a:gd name="T23" fmla="*/ 2 h 42"/>
                    <a:gd name="T24" fmla="*/ 67 w 87"/>
                    <a:gd name="T25" fmla="*/ 0 h 42"/>
                    <a:gd name="T26" fmla="*/ 57 w 87"/>
                    <a:gd name="T27" fmla="*/ 0 h 42"/>
                    <a:gd name="T28" fmla="*/ 47 w 87"/>
                    <a:gd name="T29" fmla="*/ 0 h 42"/>
                    <a:gd name="T30" fmla="*/ 40 w 87"/>
                    <a:gd name="T31" fmla="*/ 0 h 42"/>
                    <a:gd name="T32" fmla="*/ 32 w 87"/>
                    <a:gd name="T33" fmla="*/ 2 h 42"/>
                    <a:gd name="T34" fmla="*/ 25 w 87"/>
                    <a:gd name="T35" fmla="*/ 4 h 42"/>
                    <a:gd name="T36" fmla="*/ 19 w 87"/>
                    <a:gd name="T37" fmla="*/ 6 h 42"/>
                    <a:gd name="T38" fmla="*/ 8 w 87"/>
                    <a:gd name="T39" fmla="*/ 12 h 42"/>
                    <a:gd name="T40" fmla="*/ 0 w 87"/>
                    <a:gd name="T41" fmla="*/ 18 h 42"/>
                    <a:gd name="T42" fmla="*/ 11 w 87"/>
                    <a:gd name="T43" fmla="*/ 24 h 42"/>
                    <a:gd name="T44" fmla="*/ 27 w 87"/>
                    <a:gd name="T45" fmla="*/ 32 h 42"/>
                    <a:gd name="T46" fmla="*/ 43 w 87"/>
                    <a:gd name="T47" fmla="*/ 39 h 42"/>
                    <a:gd name="T48" fmla="*/ 54 w 87"/>
                    <a:gd name="T4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39" name="Freeform 191">
                  <a:extLst>
                    <a:ext uri="{FF2B5EF4-FFF2-40B4-BE49-F238E27FC236}">
                      <a16:creationId xmlns="" xmlns:a16="http://schemas.microsoft.com/office/drawing/2014/main" id="{8F27E1F9-550E-48B3-9CE3-503B3E8466FC}"/>
                    </a:ext>
                  </a:extLst>
                </p:cNvPr>
                <p:cNvSpPr>
                  <a:spLocks/>
                </p:cNvSpPr>
                <p:nvPr>
                  <p:custDataLst>
                    <p:tags r:id="rId127"/>
                  </p:custDataLst>
                </p:nvPr>
              </p:nvSpPr>
              <p:spPr bwMode="auto">
                <a:xfrm>
                  <a:off x="8441939" y="3554559"/>
                  <a:ext cx="1126" cy="10134"/>
                </a:xfrm>
                <a:custGeom>
                  <a:avLst/>
                  <a:gdLst>
                    <a:gd name="T0" fmla="*/ 0 w 7"/>
                    <a:gd name="T1" fmla="*/ 0 h 31"/>
                    <a:gd name="T2" fmla="*/ 7 w 7"/>
                    <a:gd name="T3" fmla="*/ 0 h 31"/>
                    <a:gd name="T4" fmla="*/ 7 w 7"/>
                    <a:gd name="T5" fmla="*/ 18 h 31"/>
                    <a:gd name="T6" fmla="*/ 0 w 7"/>
                    <a:gd name="T7" fmla="*/ 31 h 31"/>
                    <a:gd name="T8" fmla="*/ 0 w 7"/>
                    <a:gd name="T9" fmla="*/ 0 h 31"/>
                  </a:gdLst>
                  <a:ahLst/>
                  <a:cxnLst>
                    <a:cxn ang="0">
                      <a:pos x="T0" y="T1"/>
                    </a:cxn>
                    <a:cxn ang="0">
                      <a:pos x="T2" y="T3"/>
                    </a:cxn>
                    <a:cxn ang="0">
                      <a:pos x="T4" y="T5"/>
                    </a:cxn>
                    <a:cxn ang="0">
                      <a:pos x="T6" y="T7"/>
                    </a:cxn>
                    <a:cxn ang="0">
                      <a:pos x="T8" y="T9"/>
                    </a:cxn>
                  </a:cxnLst>
                  <a:rect l="0" t="0" r="r" b="b"/>
                  <a:pathLst>
                    <a:path w="7" h="31">
                      <a:moveTo>
                        <a:pt x="0" y="0"/>
                      </a:moveTo>
                      <a:lnTo>
                        <a:pt x="7" y="0"/>
                      </a:lnTo>
                      <a:lnTo>
                        <a:pt x="7" y="18"/>
                      </a:lnTo>
                      <a:lnTo>
                        <a:pt x="0" y="31"/>
                      </a:lnTo>
                      <a:lnTo>
                        <a:pt x="0"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40" name="Freeform 192">
                  <a:extLst>
                    <a:ext uri="{FF2B5EF4-FFF2-40B4-BE49-F238E27FC236}">
                      <a16:creationId xmlns="" xmlns:a16="http://schemas.microsoft.com/office/drawing/2014/main" id="{7D99D81C-C749-4424-95C7-C9ACA6F8AF14}"/>
                    </a:ext>
                  </a:extLst>
                </p:cNvPr>
                <p:cNvSpPr>
                  <a:spLocks/>
                </p:cNvSpPr>
                <p:nvPr>
                  <p:custDataLst>
                    <p:tags r:id="rId128"/>
                  </p:custDataLst>
                </p:nvPr>
              </p:nvSpPr>
              <p:spPr bwMode="auto">
                <a:xfrm>
                  <a:off x="7900348" y="3204384"/>
                  <a:ext cx="722871" cy="644053"/>
                </a:xfrm>
                <a:custGeom>
                  <a:avLst/>
                  <a:gdLst>
                    <a:gd name="T0" fmla="*/ 214 w 2332"/>
                    <a:gd name="T1" fmla="*/ 707 h 1731"/>
                    <a:gd name="T2" fmla="*/ 325 w 2332"/>
                    <a:gd name="T3" fmla="*/ 649 h 1731"/>
                    <a:gd name="T4" fmla="*/ 435 w 2332"/>
                    <a:gd name="T5" fmla="*/ 606 h 1731"/>
                    <a:gd name="T6" fmla="*/ 605 w 2332"/>
                    <a:gd name="T7" fmla="*/ 570 h 1731"/>
                    <a:gd name="T8" fmla="*/ 677 w 2332"/>
                    <a:gd name="T9" fmla="*/ 437 h 1731"/>
                    <a:gd name="T10" fmla="*/ 758 w 2332"/>
                    <a:gd name="T11" fmla="*/ 439 h 1731"/>
                    <a:gd name="T12" fmla="*/ 784 w 2332"/>
                    <a:gd name="T13" fmla="*/ 363 h 1731"/>
                    <a:gd name="T14" fmla="*/ 866 w 2332"/>
                    <a:gd name="T15" fmla="*/ 316 h 1731"/>
                    <a:gd name="T16" fmla="*/ 939 w 2332"/>
                    <a:gd name="T17" fmla="*/ 246 h 1731"/>
                    <a:gd name="T18" fmla="*/ 1027 w 2332"/>
                    <a:gd name="T19" fmla="*/ 223 h 1731"/>
                    <a:gd name="T20" fmla="*/ 1078 w 2332"/>
                    <a:gd name="T21" fmla="*/ 284 h 1731"/>
                    <a:gd name="T22" fmla="*/ 1135 w 2332"/>
                    <a:gd name="T23" fmla="*/ 270 h 1731"/>
                    <a:gd name="T24" fmla="*/ 1176 w 2332"/>
                    <a:gd name="T25" fmla="*/ 172 h 1731"/>
                    <a:gd name="T26" fmla="*/ 1320 w 2332"/>
                    <a:gd name="T27" fmla="*/ 117 h 1731"/>
                    <a:gd name="T28" fmla="*/ 1336 w 2332"/>
                    <a:gd name="T29" fmla="*/ 41 h 1731"/>
                    <a:gd name="T30" fmla="*/ 1432 w 2332"/>
                    <a:gd name="T31" fmla="*/ 107 h 1731"/>
                    <a:gd name="T32" fmla="*/ 1544 w 2332"/>
                    <a:gd name="T33" fmla="*/ 117 h 1731"/>
                    <a:gd name="T34" fmla="*/ 1465 w 2332"/>
                    <a:gd name="T35" fmla="*/ 262 h 1731"/>
                    <a:gd name="T36" fmla="*/ 1509 w 2332"/>
                    <a:gd name="T37" fmla="*/ 333 h 1731"/>
                    <a:gd name="T38" fmla="*/ 1582 w 2332"/>
                    <a:gd name="T39" fmla="*/ 354 h 1731"/>
                    <a:gd name="T40" fmla="*/ 1668 w 2332"/>
                    <a:gd name="T41" fmla="*/ 423 h 1731"/>
                    <a:gd name="T42" fmla="*/ 1764 w 2332"/>
                    <a:gd name="T43" fmla="*/ 413 h 1731"/>
                    <a:gd name="T44" fmla="*/ 1830 w 2332"/>
                    <a:gd name="T45" fmla="*/ 205 h 1731"/>
                    <a:gd name="T46" fmla="*/ 1904 w 2332"/>
                    <a:gd name="T47" fmla="*/ 10 h 1731"/>
                    <a:gd name="T48" fmla="*/ 1933 w 2332"/>
                    <a:gd name="T49" fmla="*/ 80 h 1731"/>
                    <a:gd name="T50" fmla="*/ 1944 w 2332"/>
                    <a:gd name="T51" fmla="*/ 176 h 1731"/>
                    <a:gd name="T52" fmla="*/ 1986 w 2332"/>
                    <a:gd name="T53" fmla="*/ 240 h 1731"/>
                    <a:gd name="T54" fmla="*/ 2040 w 2332"/>
                    <a:gd name="T55" fmla="*/ 429 h 1731"/>
                    <a:gd name="T56" fmla="*/ 2089 w 2332"/>
                    <a:gd name="T57" fmla="*/ 540 h 1731"/>
                    <a:gd name="T58" fmla="*/ 2163 w 2332"/>
                    <a:gd name="T59" fmla="*/ 686 h 1731"/>
                    <a:gd name="T60" fmla="*/ 2219 w 2332"/>
                    <a:gd name="T61" fmla="*/ 769 h 1731"/>
                    <a:gd name="T62" fmla="*/ 2332 w 2332"/>
                    <a:gd name="T63" fmla="*/ 892 h 1731"/>
                    <a:gd name="T64" fmla="*/ 2276 w 2332"/>
                    <a:gd name="T65" fmla="*/ 1105 h 1731"/>
                    <a:gd name="T66" fmla="*/ 2087 w 2332"/>
                    <a:gd name="T67" fmla="*/ 1362 h 1731"/>
                    <a:gd name="T68" fmla="*/ 2005 w 2332"/>
                    <a:gd name="T69" fmla="*/ 1432 h 1731"/>
                    <a:gd name="T70" fmla="*/ 1838 w 2332"/>
                    <a:gd name="T71" fmla="*/ 1591 h 1731"/>
                    <a:gd name="T72" fmla="*/ 1749 w 2332"/>
                    <a:gd name="T73" fmla="*/ 1676 h 1731"/>
                    <a:gd name="T74" fmla="*/ 1589 w 2332"/>
                    <a:gd name="T75" fmla="*/ 1726 h 1731"/>
                    <a:gd name="T76" fmla="*/ 1517 w 2332"/>
                    <a:gd name="T77" fmla="*/ 1693 h 1731"/>
                    <a:gd name="T78" fmla="*/ 1410 w 2332"/>
                    <a:gd name="T79" fmla="*/ 1729 h 1731"/>
                    <a:gd name="T80" fmla="*/ 1297 w 2332"/>
                    <a:gd name="T81" fmla="*/ 1693 h 1731"/>
                    <a:gd name="T82" fmla="*/ 1279 w 2332"/>
                    <a:gd name="T83" fmla="*/ 1614 h 1731"/>
                    <a:gd name="T84" fmla="*/ 1263 w 2332"/>
                    <a:gd name="T85" fmla="*/ 1516 h 1731"/>
                    <a:gd name="T86" fmla="*/ 1225 w 2332"/>
                    <a:gd name="T87" fmla="*/ 1500 h 1731"/>
                    <a:gd name="T88" fmla="*/ 1280 w 2332"/>
                    <a:gd name="T89" fmla="*/ 1382 h 1731"/>
                    <a:gd name="T90" fmla="*/ 1088 w 2332"/>
                    <a:gd name="T91" fmla="*/ 1362 h 1731"/>
                    <a:gd name="T92" fmla="*/ 961 w 2332"/>
                    <a:gd name="T93" fmla="*/ 1282 h 1731"/>
                    <a:gd name="T94" fmla="*/ 754 w 2332"/>
                    <a:gd name="T95" fmla="*/ 1323 h 1731"/>
                    <a:gd name="T96" fmla="*/ 507 w 2332"/>
                    <a:gd name="T97" fmla="*/ 1419 h 1731"/>
                    <a:gd name="T98" fmla="*/ 214 w 2332"/>
                    <a:gd name="T99" fmla="*/ 1473 h 1731"/>
                    <a:gd name="T100" fmla="*/ 55 w 2332"/>
                    <a:gd name="T101" fmla="*/ 1490 h 1731"/>
                    <a:gd name="T102" fmla="*/ 2 w 2332"/>
                    <a:gd name="T103" fmla="*/ 1423 h 1731"/>
                    <a:gd name="T104" fmla="*/ 97 w 2332"/>
                    <a:gd name="T105" fmla="*/ 1344 h 1731"/>
                    <a:gd name="T106" fmla="*/ 75 w 2332"/>
                    <a:gd name="T107" fmla="*/ 1241 h 1731"/>
                    <a:gd name="T108" fmla="*/ 113 w 2332"/>
                    <a:gd name="T109" fmla="*/ 1170 h 1731"/>
                    <a:gd name="T110" fmla="*/ 58 w 2332"/>
                    <a:gd name="T111" fmla="*/ 943 h 1731"/>
                    <a:gd name="T112" fmla="*/ 113 w 2332"/>
                    <a:gd name="T113" fmla="*/ 964 h 1731"/>
                    <a:gd name="T114" fmla="*/ 106 w 2332"/>
                    <a:gd name="T115" fmla="*/ 862 h 1731"/>
                    <a:gd name="T116" fmla="*/ 147 w 2332"/>
                    <a:gd name="T117" fmla="*/ 765 h 1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41" name="Freeform 193">
                  <a:extLst>
                    <a:ext uri="{FF2B5EF4-FFF2-40B4-BE49-F238E27FC236}">
                      <a16:creationId xmlns="" xmlns:a16="http://schemas.microsoft.com/office/drawing/2014/main" id="{A452C753-34EC-47A3-A311-2A0901CF9C4B}"/>
                    </a:ext>
                  </a:extLst>
                </p:cNvPr>
                <p:cNvSpPr>
                  <a:spLocks/>
                </p:cNvSpPr>
                <p:nvPr>
                  <p:custDataLst>
                    <p:tags r:id="rId129"/>
                  </p:custDataLst>
                </p:nvPr>
              </p:nvSpPr>
              <p:spPr bwMode="auto">
                <a:xfrm>
                  <a:off x="3989864" y="2258571"/>
                  <a:ext cx="474032" cy="412104"/>
                </a:xfrm>
                <a:custGeom>
                  <a:avLst/>
                  <a:gdLst>
                    <a:gd name="T0" fmla="*/ 1243 w 1535"/>
                    <a:gd name="T1" fmla="*/ 925 h 1109"/>
                    <a:gd name="T2" fmla="*/ 1299 w 1535"/>
                    <a:gd name="T3" fmla="*/ 982 h 1109"/>
                    <a:gd name="T4" fmla="*/ 1220 w 1535"/>
                    <a:gd name="T5" fmla="*/ 999 h 1109"/>
                    <a:gd name="T6" fmla="*/ 1177 w 1535"/>
                    <a:gd name="T7" fmla="*/ 1095 h 1109"/>
                    <a:gd name="T8" fmla="*/ 1065 w 1535"/>
                    <a:gd name="T9" fmla="*/ 1006 h 1109"/>
                    <a:gd name="T10" fmla="*/ 994 w 1535"/>
                    <a:gd name="T11" fmla="*/ 1012 h 1109"/>
                    <a:gd name="T12" fmla="*/ 913 w 1535"/>
                    <a:gd name="T13" fmla="*/ 1039 h 1109"/>
                    <a:gd name="T14" fmla="*/ 786 w 1535"/>
                    <a:gd name="T15" fmla="*/ 971 h 1109"/>
                    <a:gd name="T16" fmla="*/ 648 w 1535"/>
                    <a:gd name="T17" fmla="*/ 917 h 1109"/>
                    <a:gd name="T18" fmla="*/ 588 w 1535"/>
                    <a:gd name="T19" fmla="*/ 883 h 1109"/>
                    <a:gd name="T20" fmla="*/ 537 w 1535"/>
                    <a:gd name="T21" fmla="*/ 835 h 1109"/>
                    <a:gd name="T22" fmla="*/ 485 w 1535"/>
                    <a:gd name="T23" fmla="*/ 826 h 1109"/>
                    <a:gd name="T24" fmla="*/ 439 w 1535"/>
                    <a:gd name="T25" fmla="*/ 757 h 1109"/>
                    <a:gd name="T26" fmla="*/ 467 w 1535"/>
                    <a:gd name="T27" fmla="*/ 705 h 1109"/>
                    <a:gd name="T28" fmla="*/ 450 w 1535"/>
                    <a:gd name="T29" fmla="*/ 601 h 1109"/>
                    <a:gd name="T30" fmla="*/ 352 w 1535"/>
                    <a:gd name="T31" fmla="*/ 468 h 1109"/>
                    <a:gd name="T32" fmla="*/ 304 w 1535"/>
                    <a:gd name="T33" fmla="*/ 426 h 1109"/>
                    <a:gd name="T34" fmla="*/ 293 w 1535"/>
                    <a:gd name="T35" fmla="*/ 369 h 1109"/>
                    <a:gd name="T36" fmla="*/ 217 w 1535"/>
                    <a:gd name="T37" fmla="*/ 248 h 1109"/>
                    <a:gd name="T38" fmla="*/ 167 w 1535"/>
                    <a:gd name="T39" fmla="*/ 74 h 1109"/>
                    <a:gd name="T40" fmla="*/ 84 w 1535"/>
                    <a:gd name="T41" fmla="*/ 104 h 1109"/>
                    <a:gd name="T42" fmla="*/ 113 w 1535"/>
                    <a:gd name="T43" fmla="*/ 222 h 1109"/>
                    <a:gd name="T44" fmla="*/ 150 w 1535"/>
                    <a:gd name="T45" fmla="*/ 326 h 1109"/>
                    <a:gd name="T46" fmla="*/ 196 w 1535"/>
                    <a:gd name="T47" fmla="*/ 402 h 1109"/>
                    <a:gd name="T48" fmla="*/ 200 w 1535"/>
                    <a:gd name="T49" fmla="*/ 465 h 1109"/>
                    <a:gd name="T50" fmla="*/ 213 w 1535"/>
                    <a:gd name="T51" fmla="*/ 524 h 1109"/>
                    <a:gd name="T52" fmla="*/ 259 w 1535"/>
                    <a:gd name="T53" fmla="*/ 571 h 1109"/>
                    <a:gd name="T54" fmla="*/ 214 w 1535"/>
                    <a:gd name="T55" fmla="*/ 596 h 1109"/>
                    <a:gd name="T56" fmla="*/ 193 w 1535"/>
                    <a:gd name="T57" fmla="*/ 542 h 1109"/>
                    <a:gd name="T58" fmla="*/ 120 w 1535"/>
                    <a:gd name="T59" fmla="*/ 474 h 1109"/>
                    <a:gd name="T60" fmla="*/ 146 w 1535"/>
                    <a:gd name="T61" fmla="*/ 420 h 1109"/>
                    <a:gd name="T62" fmla="*/ 89 w 1535"/>
                    <a:gd name="T63" fmla="*/ 366 h 1109"/>
                    <a:gd name="T64" fmla="*/ 27 w 1535"/>
                    <a:gd name="T65" fmla="*/ 307 h 1109"/>
                    <a:gd name="T66" fmla="*/ 65 w 1535"/>
                    <a:gd name="T67" fmla="*/ 289 h 1109"/>
                    <a:gd name="T68" fmla="*/ 64 w 1535"/>
                    <a:gd name="T69" fmla="*/ 225 h 1109"/>
                    <a:gd name="T70" fmla="*/ 6 w 1535"/>
                    <a:gd name="T71" fmla="*/ 117 h 1109"/>
                    <a:gd name="T72" fmla="*/ 38 w 1535"/>
                    <a:gd name="T73" fmla="*/ 5 h 1109"/>
                    <a:gd name="T74" fmla="*/ 211 w 1535"/>
                    <a:gd name="T75" fmla="*/ 18 h 1109"/>
                    <a:gd name="T76" fmla="*/ 361 w 1535"/>
                    <a:gd name="T77" fmla="*/ 76 h 1109"/>
                    <a:gd name="T78" fmla="*/ 498 w 1535"/>
                    <a:gd name="T79" fmla="*/ 55 h 1109"/>
                    <a:gd name="T80" fmla="*/ 593 w 1535"/>
                    <a:gd name="T81" fmla="*/ 54 h 1109"/>
                    <a:gd name="T82" fmla="*/ 633 w 1535"/>
                    <a:gd name="T83" fmla="*/ 110 h 1109"/>
                    <a:gd name="T84" fmla="*/ 700 w 1535"/>
                    <a:gd name="T85" fmla="*/ 215 h 1109"/>
                    <a:gd name="T86" fmla="*/ 750 w 1535"/>
                    <a:gd name="T87" fmla="*/ 192 h 1109"/>
                    <a:gd name="T88" fmla="*/ 822 w 1535"/>
                    <a:gd name="T89" fmla="*/ 176 h 1109"/>
                    <a:gd name="T90" fmla="*/ 879 w 1535"/>
                    <a:gd name="T91" fmla="*/ 244 h 1109"/>
                    <a:gd name="T92" fmla="*/ 905 w 1535"/>
                    <a:gd name="T93" fmla="*/ 362 h 1109"/>
                    <a:gd name="T94" fmla="*/ 964 w 1535"/>
                    <a:gd name="T95" fmla="*/ 405 h 1109"/>
                    <a:gd name="T96" fmla="*/ 977 w 1535"/>
                    <a:gd name="T97" fmla="*/ 456 h 1109"/>
                    <a:gd name="T98" fmla="*/ 931 w 1535"/>
                    <a:gd name="T99" fmla="*/ 492 h 1109"/>
                    <a:gd name="T100" fmla="*/ 917 w 1535"/>
                    <a:gd name="T101" fmla="*/ 634 h 1109"/>
                    <a:gd name="T102" fmla="*/ 956 w 1535"/>
                    <a:gd name="T103" fmla="*/ 791 h 1109"/>
                    <a:gd name="T104" fmla="*/ 1054 w 1535"/>
                    <a:gd name="T105" fmla="*/ 877 h 1109"/>
                    <a:gd name="T106" fmla="*/ 1166 w 1535"/>
                    <a:gd name="T107" fmla="*/ 849 h 1109"/>
                    <a:gd name="T108" fmla="*/ 1249 w 1535"/>
                    <a:gd name="T109" fmla="*/ 850 h 1109"/>
                    <a:gd name="T110" fmla="*/ 1296 w 1535"/>
                    <a:gd name="T111" fmla="*/ 742 h 1109"/>
                    <a:gd name="T112" fmla="*/ 1336 w 1535"/>
                    <a:gd name="T113" fmla="*/ 693 h 1109"/>
                    <a:gd name="T114" fmla="*/ 1506 w 1535"/>
                    <a:gd name="T115" fmla="*/ 678 h 1109"/>
                    <a:gd name="T116" fmla="*/ 1503 w 1535"/>
                    <a:gd name="T117" fmla="*/ 729 h 1109"/>
                    <a:gd name="T118" fmla="*/ 1468 w 1535"/>
                    <a:gd name="T119" fmla="*/ 821 h 1109"/>
                    <a:gd name="T120" fmla="*/ 1369 w 1535"/>
                    <a:gd name="T121" fmla="*/ 888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142" name="Freeform 194">
                  <a:extLst>
                    <a:ext uri="{FF2B5EF4-FFF2-40B4-BE49-F238E27FC236}">
                      <a16:creationId xmlns="" xmlns:a16="http://schemas.microsoft.com/office/drawing/2014/main" id="{36E346D6-033D-40A3-AED1-FDC50CAAE2D6}"/>
                    </a:ext>
                  </a:extLst>
                </p:cNvPr>
                <p:cNvSpPr>
                  <a:spLocks/>
                </p:cNvSpPr>
                <p:nvPr>
                  <p:custDataLst>
                    <p:tags r:id="rId130"/>
                  </p:custDataLst>
                </p:nvPr>
              </p:nvSpPr>
              <p:spPr bwMode="auto">
                <a:xfrm>
                  <a:off x="4894015" y="3421695"/>
                  <a:ext cx="149754" cy="188037"/>
                </a:xfrm>
                <a:custGeom>
                  <a:avLst/>
                  <a:gdLst>
                    <a:gd name="T0" fmla="*/ 14 w 486"/>
                    <a:gd name="T1" fmla="*/ 176 h 505"/>
                    <a:gd name="T2" fmla="*/ 31 w 486"/>
                    <a:gd name="T3" fmla="*/ 198 h 505"/>
                    <a:gd name="T4" fmla="*/ 51 w 486"/>
                    <a:gd name="T5" fmla="*/ 232 h 505"/>
                    <a:gd name="T6" fmla="*/ 82 w 486"/>
                    <a:gd name="T7" fmla="*/ 266 h 505"/>
                    <a:gd name="T8" fmla="*/ 126 w 486"/>
                    <a:gd name="T9" fmla="*/ 293 h 505"/>
                    <a:gd name="T10" fmla="*/ 170 w 486"/>
                    <a:gd name="T11" fmla="*/ 310 h 505"/>
                    <a:gd name="T12" fmla="*/ 246 w 486"/>
                    <a:gd name="T13" fmla="*/ 328 h 505"/>
                    <a:gd name="T14" fmla="*/ 295 w 486"/>
                    <a:gd name="T15" fmla="*/ 344 h 505"/>
                    <a:gd name="T16" fmla="*/ 299 w 486"/>
                    <a:gd name="T17" fmla="*/ 381 h 505"/>
                    <a:gd name="T18" fmla="*/ 277 w 486"/>
                    <a:gd name="T19" fmla="*/ 418 h 505"/>
                    <a:gd name="T20" fmla="*/ 267 w 486"/>
                    <a:gd name="T21" fmla="*/ 443 h 505"/>
                    <a:gd name="T22" fmla="*/ 266 w 486"/>
                    <a:gd name="T23" fmla="*/ 463 h 505"/>
                    <a:gd name="T24" fmla="*/ 278 w 486"/>
                    <a:gd name="T25" fmla="*/ 482 h 505"/>
                    <a:gd name="T26" fmla="*/ 299 w 486"/>
                    <a:gd name="T27" fmla="*/ 494 h 505"/>
                    <a:gd name="T28" fmla="*/ 344 w 486"/>
                    <a:gd name="T29" fmla="*/ 504 h 505"/>
                    <a:gd name="T30" fmla="*/ 387 w 486"/>
                    <a:gd name="T31" fmla="*/ 504 h 505"/>
                    <a:gd name="T32" fmla="*/ 415 w 486"/>
                    <a:gd name="T33" fmla="*/ 494 h 505"/>
                    <a:gd name="T34" fmla="*/ 446 w 486"/>
                    <a:gd name="T35" fmla="*/ 474 h 505"/>
                    <a:gd name="T36" fmla="*/ 473 w 486"/>
                    <a:gd name="T37" fmla="*/ 447 h 505"/>
                    <a:gd name="T38" fmla="*/ 485 w 486"/>
                    <a:gd name="T39" fmla="*/ 418 h 505"/>
                    <a:gd name="T40" fmla="*/ 484 w 486"/>
                    <a:gd name="T41" fmla="*/ 397 h 505"/>
                    <a:gd name="T42" fmla="*/ 478 w 486"/>
                    <a:gd name="T43" fmla="*/ 358 h 505"/>
                    <a:gd name="T44" fmla="*/ 471 w 486"/>
                    <a:gd name="T45" fmla="*/ 316 h 505"/>
                    <a:gd name="T46" fmla="*/ 465 w 486"/>
                    <a:gd name="T47" fmla="*/ 270 h 505"/>
                    <a:gd name="T48" fmla="*/ 456 w 486"/>
                    <a:gd name="T49" fmla="*/ 252 h 505"/>
                    <a:gd name="T50" fmla="*/ 439 w 486"/>
                    <a:gd name="T51" fmla="*/ 239 h 505"/>
                    <a:gd name="T52" fmla="*/ 413 w 486"/>
                    <a:gd name="T53" fmla="*/ 232 h 505"/>
                    <a:gd name="T54" fmla="*/ 392 w 486"/>
                    <a:gd name="T55" fmla="*/ 222 h 505"/>
                    <a:gd name="T56" fmla="*/ 370 w 486"/>
                    <a:gd name="T57" fmla="*/ 207 h 505"/>
                    <a:gd name="T58" fmla="*/ 330 w 486"/>
                    <a:gd name="T59" fmla="*/ 188 h 505"/>
                    <a:gd name="T60" fmla="*/ 290 w 486"/>
                    <a:gd name="T61" fmla="*/ 172 h 505"/>
                    <a:gd name="T62" fmla="*/ 273 w 486"/>
                    <a:gd name="T63" fmla="*/ 160 h 505"/>
                    <a:gd name="T64" fmla="*/ 264 w 486"/>
                    <a:gd name="T65" fmla="*/ 151 h 505"/>
                    <a:gd name="T66" fmla="*/ 261 w 486"/>
                    <a:gd name="T67" fmla="*/ 125 h 505"/>
                    <a:gd name="T68" fmla="*/ 261 w 486"/>
                    <a:gd name="T69" fmla="*/ 90 h 505"/>
                    <a:gd name="T70" fmla="*/ 255 w 486"/>
                    <a:gd name="T71" fmla="*/ 71 h 505"/>
                    <a:gd name="T72" fmla="*/ 241 w 486"/>
                    <a:gd name="T73" fmla="*/ 55 h 505"/>
                    <a:gd name="T74" fmla="*/ 234 w 486"/>
                    <a:gd name="T75" fmla="*/ 37 h 505"/>
                    <a:gd name="T76" fmla="*/ 199 w 486"/>
                    <a:gd name="T77" fmla="*/ 12 h 505"/>
                    <a:gd name="T78" fmla="*/ 186 w 486"/>
                    <a:gd name="T79" fmla="*/ 8 h 505"/>
                    <a:gd name="T80" fmla="*/ 173 w 486"/>
                    <a:gd name="T81" fmla="*/ 2 h 505"/>
                    <a:gd name="T82" fmla="*/ 139 w 486"/>
                    <a:gd name="T83" fmla="*/ 1 h 505"/>
                    <a:gd name="T84" fmla="*/ 70 w 486"/>
                    <a:gd name="T85" fmla="*/ 11 h 505"/>
                    <a:gd name="T86" fmla="*/ 42 w 486"/>
                    <a:gd name="T87" fmla="*/ 21 h 505"/>
                    <a:gd name="T88" fmla="*/ 24 w 486"/>
                    <a:gd name="T89" fmla="*/ 37 h 505"/>
                    <a:gd name="T90" fmla="*/ 20 w 486"/>
                    <a:gd name="T91" fmla="*/ 6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143" name="Freeform 195">
                  <a:extLst>
                    <a:ext uri="{FF2B5EF4-FFF2-40B4-BE49-F238E27FC236}">
                      <a16:creationId xmlns="" xmlns:a16="http://schemas.microsoft.com/office/drawing/2014/main" id="{52707688-FA10-44F0-A457-A2025DFDEBD7}"/>
                    </a:ext>
                  </a:extLst>
                </p:cNvPr>
                <p:cNvSpPr>
                  <a:spLocks/>
                </p:cNvSpPr>
                <p:nvPr>
                  <p:custDataLst>
                    <p:tags r:id="rId131"/>
                  </p:custDataLst>
                </p:nvPr>
              </p:nvSpPr>
              <p:spPr bwMode="auto">
                <a:xfrm>
                  <a:off x="5014494" y="2857586"/>
                  <a:ext cx="51795" cy="77691"/>
                </a:xfrm>
                <a:custGeom>
                  <a:avLst/>
                  <a:gdLst>
                    <a:gd name="T0" fmla="*/ 7 w 166"/>
                    <a:gd name="T1" fmla="*/ 183 h 208"/>
                    <a:gd name="T2" fmla="*/ 79 w 166"/>
                    <a:gd name="T3" fmla="*/ 208 h 208"/>
                    <a:gd name="T4" fmla="*/ 85 w 166"/>
                    <a:gd name="T5" fmla="*/ 207 h 208"/>
                    <a:gd name="T6" fmla="*/ 90 w 166"/>
                    <a:gd name="T7" fmla="*/ 204 h 208"/>
                    <a:gd name="T8" fmla="*/ 97 w 166"/>
                    <a:gd name="T9" fmla="*/ 198 h 208"/>
                    <a:gd name="T10" fmla="*/ 104 w 166"/>
                    <a:gd name="T11" fmla="*/ 192 h 208"/>
                    <a:gd name="T12" fmla="*/ 117 w 166"/>
                    <a:gd name="T13" fmla="*/ 176 h 208"/>
                    <a:gd name="T14" fmla="*/ 130 w 166"/>
                    <a:gd name="T15" fmla="*/ 158 h 208"/>
                    <a:gd name="T16" fmla="*/ 154 w 166"/>
                    <a:gd name="T17" fmla="*/ 122 h 208"/>
                    <a:gd name="T18" fmla="*/ 166 w 166"/>
                    <a:gd name="T19" fmla="*/ 103 h 208"/>
                    <a:gd name="T20" fmla="*/ 144 w 166"/>
                    <a:gd name="T21" fmla="*/ 94 h 208"/>
                    <a:gd name="T22" fmla="*/ 126 w 166"/>
                    <a:gd name="T23" fmla="*/ 84 h 208"/>
                    <a:gd name="T24" fmla="*/ 108 w 166"/>
                    <a:gd name="T25" fmla="*/ 74 h 208"/>
                    <a:gd name="T26" fmla="*/ 93 w 166"/>
                    <a:gd name="T27" fmla="*/ 64 h 208"/>
                    <a:gd name="T28" fmla="*/ 86 w 166"/>
                    <a:gd name="T29" fmla="*/ 58 h 208"/>
                    <a:gd name="T30" fmla="*/ 81 w 166"/>
                    <a:gd name="T31" fmla="*/ 53 h 208"/>
                    <a:gd name="T32" fmla="*/ 75 w 166"/>
                    <a:gd name="T33" fmla="*/ 47 h 208"/>
                    <a:gd name="T34" fmla="*/ 71 w 166"/>
                    <a:gd name="T35" fmla="*/ 40 h 208"/>
                    <a:gd name="T36" fmla="*/ 67 w 166"/>
                    <a:gd name="T37" fmla="*/ 33 h 208"/>
                    <a:gd name="T38" fmla="*/ 64 w 166"/>
                    <a:gd name="T39" fmla="*/ 26 h 208"/>
                    <a:gd name="T40" fmla="*/ 62 w 166"/>
                    <a:gd name="T41" fmla="*/ 18 h 208"/>
                    <a:gd name="T42" fmla="*/ 60 w 166"/>
                    <a:gd name="T43" fmla="*/ 11 h 208"/>
                    <a:gd name="T44" fmla="*/ 50 w 166"/>
                    <a:gd name="T45" fmla="*/ 10 h 208"/>
                    <a:gd name="T46" fmla="*/ 43 w 166"/>
                    <a:gd name="T47" fmla="*/ 8 h 208"/>
                    <a:gd name="T48" fmla="*/ 40 w 166"/>
                    <a:gd name="T49" fmla="*/ 5 h 208"/>
                    <a:gd name="T50" fmla="*/ 39 w 166"/>
                    <a:gd name="T51" fmla="*/ 3 h 208"/>
                    <a:gd name="T52" fmla="*/ 38 w 166"/>
                    <a:gd name="T53" fmla="*/ 1 h 208"/>
                    <a:gd name="T54" fmla="*/ 36 w 166"/>
                    <a:gd name="T55" fmla="*/ 0 h 208"/>
                    <a:gd name="T56" fmla="*/ 32 w 166"/>
                    <a:gd name="T57" fmla="*/ 1 h 208"/>
                    <a:gd name="T58" fmla="*/ 27 w 166"/>
                    <a:gd name="T59" fmla="*/ 5 h 208"/>
                    <a:gd name="T60" fmla="*/ 20 w 166"/>
                    <a:gd name="T61" fmla="*/ 11 h 208"/>
                    <a:gd name="T62" fmla="*/ 11 w 166"/>
                    <a:gd name="T63" fmla="*/ 22 h 208"/>
                    <a:gd name="T64" fmla="*/ 7 w 166"/>
                    <a:gd name="T65" fmla="*/ 29 h 208"/>
                    <a:gd name="T66" fmla="*/ 4 w 166"/>
                    <a:gd name="T67" fmla="*/ 37 h 208"/>
                    <a:gd name="T68" fmla="*/ 2 w 166"/>
                    <a:gd name="T69" fmla="*/ 45 h 208"/>
                    <a:gd name="T70" fmla="*/ 0 w 166"/>
                    <a:gd name="T71" fmla="*/ 54 h 208"/>
                    <a:gd name="T72" fmla="*/ 0 w 166"/>
                    <a:gd name="T73" fmla="*/ 60 h 208"/>
                    <a:gd name="T74" fmla="*/ 2 w 166"/>
                    <a:gd name="T75" fmla="*/ 65 h 208"/>
                    <a:gd name="T76" fmla="*/ 3 w 166"/>
                    <a:gd name="T77" fmla="*/ 70 h 208"/>
                    <a:gd name="T78" fmla="*/ 5 w 166"/>
                    <a:gd name="T79" fmla="*/ 76 h 208"/>
                    <a:gd name="T80" fmla="*/ 10 w 166"/>
                    <a:gd name="T81" fmla="*/ 86 h 208"/>
                    <a:gd name="T82" fmla="*/ 17 w 166"/>
                    <a:gd name="T83" fmla="*/ 98 h 208"/>
                    <a:gd name="T84" fmla="*/ 22 w 166"/>
                    <a:gd name="T85" fmla="*/ 109 h 208"/>
                    <a:gd name="T86" fmla="*/ 28 w 166"/>
                    <a:gd name="T87" fmla="*/ 120 h 208"/>
                    <a:gd name="T88" fmla="*/ 30 w 166"/>
                    <a:gd name="T89" fmla="*/ 126 h 208"/>
                    <a:gd name="T90" fmla="*/ 32 w 166"/>
                    <a:gd name="T91" fmla="*/ 133 h 208"/>
                    <a:gd name="T92" fmla="*/ 33 w 166"/>
                    <a:gd name="T93" fmla="*/ 139 h 208"/>
                    <a:gd name="T94" fmla="*/ 33 w 166"/>
                    <a:gd name="T95" fmla="*/ 147 h 208"/>
                    <a:gd name="T96" fmla="*/ 32 w 166"/>
                    <a:gd name="T97" fmla="*/ 153 h 208"/>
                    <a:gd name="T98" fmla="*/ 31 w 166"/>
                    <a:gd name="T99" fmla="*/ 159 h 208"/>
                    <a:gd name="T100" fmla="*/ 28 w 166"/>
                    <a:gd name="T101" fmla="*/ 165 h 208"/>
                    <a:gd name="T102" fmla="*/ 25 w 166"/>
                    <a:gd name="T103" fmla="*/ 169 h 208"/>
                    <a:gd name="T104" fmla="*/ 21 w 166"/>
                    <a:gd name="T105" fmla="*/ 174 h 208"/>
                    <a:gd name="T106" fmla="*/ 17 w 166"/>
                    <a:gd name="T107" fmla="*/ 177 h 208"/>
                    <a:gd name="T108" fmla="*/ 11 w 166"/>
                    <a:gd name="T109" fmla="*/ 180 h 208"/>
                    <a:gd name="T110" fmla="*/ 7 w 166"/>
                    <a:gd name="T111" fmla="*/ 183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144" name="Freeform 196">
                  <a:extLst>
                    <a:ext uri="{FF2B5EF4-FFF2-40B4-BE49-F238E27FC236}">
                      <a16:creationId xmlns="" xmlns:a16="http://schemas.microsoft.com/office/drawing/2014/main" id="{085B3F44-2003-48E4-B26B-8DFA143BBF62}"/>
                    </a:ext>
                  </a:extLst>
                </p:cNvPr>
                <p:cNvSpPr>
                  <a:spLocks/>
                </p:cNvSpPr>
                <p:nvPr>
                  <p:custDataLst>
                    <p:tags r:id="rId132"/>
                  </p:custDataLst>
                </p:nvPr>
              </p:nvSpPr>
              <p:spPr bwMode="auto">
                <a:xfrm>
                  <a:off x="4669948" y="2544567"/>
                  <a:ext cx="49543" cy="41660"/>
                </a:xfrm>
                <a:custGeom>
                  <a:avLst/>
                  <a:gdLst>
                    <a:gd name="T0" fmla="*/ 153 w 164"/>
                    <a:gd name="T1" fmla="*/ 104 h 104"/>
                    <a:gd name="T2" fmla="*/ 134 w 164"/>
                    <a:gd name="T3" fmla="*/ 102 h 104"/>
                    <a:gd name="T4" fmla="*/ 110 w 164"/>
                    <a:gd name="T5" fmla="*/ 97 h 104"/>
                    <a:gd name="T6" fmla="*/ 96 w 164"/>
                    <a:gd name="T7" fmla="*/ 94 h 104"/>
                    <a:gd name="T8" fmla="*/ 80 w 164"/>
                    <a:gd name="T9" fmla="*/ 93 h 104"/>
                    <a:gd name="T10" fmla="*/ 73 w 164"/>
                    <a:gd name="T11" fmla="*/ 93 h 104"/>
                    <a:gd name="T12" fmla="*/ 64 w 164"/>
                    <a:gd name="T13" fmla="*/ 94 h 104"/>
                    <a:gd name="T14" fmla="*/ 55 w 164"/>
                    <a:gd name="T15" fmla="*/ 96 h 104"/>
                    <a:gd name="T16" fmla="*/ 47 w 164"/>
                    <a:gd name="T17" fmla="*/ 98 h 104"/>
                    <a:gd name="T18" fmla="*/ 41 w 164"/>
                    <a:gd name="T19" fmla="*/ 100 h 104"/>
                    <a:gd name="T20" fmla="*/ 34 w 164"/>
                    <a:gd name="T21" fmla="*/ 100 h 104"/>
                    <a:gd name="T22" fmla="*/ 27 w 164"/>
                    <a:gd name="T23" fmla="*/ 99 h 104"/>
                    <a:gd name="T24" fmla="*/ 19 w 164"/>
                    <a:gd name="T25" fmla="*/ 96 h 104"/>
                    <a:gd name="T26" fmla="*/ 11 w 164"/>
                    <a:gd name="T27" fmla="*/ 92 h 104"/>
                    <a:gd name="T28" fmla="*/ 6 w 164"/>
                    <a:gd name="T29" fmla="*/ 88 h 104"/>
                    <a:gd name="T30" fmla="*/ 3 w 164"/>
                    <a:gd name="T31" fmla="*/ 86 h 104"/>
                    <a:gd name="T32" fmla="*/ 1 w 164"/>
                    <a:gd name="T33" fmla="*/ 84 h 104"/>
                    <a:gd name="T34" fmla="*/ 0 w 164"/>
                    <a:gd name="T35" fmla="*/ 81 h 104"/>
                    <a:gd name="T36" fmla="*/ 0 w 164"/>
                    <a:gd name="T37" fmla="*/ 79 h 104"/>
                    <a:gd name="T38" fmla="*/ 0 w 164"/>
                    <a:gd name="T39" fmla="*/ 76 h 104"/>
                    <a:gd name="T40" fmla="*/ 1 w 164"/>
                    <a:gd name="T41" fmla="*/ 74 h 104"/>
                    <a:gd name="T42" fmla="*/ 3 w 164"/>
                    <a:gd name="T43" fmla="*/ 71 h 104"/>
                    <a:gd name="T44" fmla="*/ 6 w 164"/>
                    <a:gd name="T45" fmla="*/ 70 h 104"/>
                    <a:gd name="T46" fmla="*/ 12 w 164"/>
                    <a:gd name="T47" fmla="*/ 67 h 104"/>
                    <a:gd name="T48" fmla="*/ 20 w 164"/>
                    <a:gd name="T49" fmla="*/ 66 h 104"/>
                    <a:gd name="T50" fmla="*/ 40 w 164"/>
                    <a:gd name="T51" fmla="*/ 66 h 104"/>
                    <a:gd name="T52" fmla="*/ 61 w 164"/>
                    <a:gd name="T53" fmla="*/ 67 h 104"/>
                    <a:gd name="T54" fmla="*/ 70 w 164"/>
                    <a:gd name="T55" fmla="*/ 67 h 104"/>
                    <a:gd name="T56" fmla="*/ 79 w 164"/>
                    <a:gd name="T57" fmla="*/ 67 h 104"/>
                    <a:gd name="T58" fmla="*/ 87 w 164"/>
                    <a:gd name="T59" fmla="*/ 67 h 104"/>
                    <a:gd name="T60" fmla="*/ 94 w 164"/>
                    <a:gd name="T61" fmla="*/ 67 h 104"/>
                    <a:gd name="T62" fmla="*/ 94 w 164"/>
                    <a:gd name="T63" fmla="*/ 56 h 104"/>
                    <a:gd name="T64" fmla="*/ 94 w 164"/>
                    <a:gd name="T65" fmla="*/ 43 h 104"/>
                    <a:gd name="T66" fmla="*/ 94 w 164"/>
                    <a:gd name="T67" fmla="*/ 29 h 104"/>
                    <a:gd name="T68" fmla="*/ 94 w 164"/>
                    <a:gd name="T69" fmla="*/ 18 h 104"/>
                    <a:gd name="T70" fmla="*/ 79 w 164"/>
                    <a:gd name="T71" fmla="*/ 17 h 104"/>
                    <a:gd name="T72" fmla="*/ 67 w 164"/>
                    <a:gd name="T73" fmla="*/ 15 h 104"/>
                    <a:gd name="T74" fmla="*/ 62 w 164"/>
                    <a:gd name="T75" fmla="*/ 13 h 104"/>
                    <a:gd name="T76" fmla="*/ 57 w 164"/>
                    <a:gd name="T77" fmla="*/ 10 h 104"/>
                    <a:gd name="T78" fmla="*/ 52 w 164"/>
                    <a:gd name="T79" fmla="*/ 6 h 104"/>
                    <a:gd name="T80" fmla="*/ 47 w 164"/>
                    <a:gd name="T81" fmla="*/ 0 h 104"/>
                    <a:gd name="T82" fmla="*/ 146 w 164"/>
                    <a:gd name="T83" fmla="*/ 0 h 104"/>
                    <a:gd name="T84" fmla="*/ 147 w 164"/>
                    <a:gd name="T85" fmla="*/ 6 h 104"/>
                    <a:gd name="T86" fmla="*/ 148 w 164"/>
                    <a:gd name="T87" fmla="*/ 13 h 104"/>
                    <a:gd name="T88" fmla="*/ 150 w 164"/>
                    <a:gd name="T89" fmla="*/ 19 h 104"/>
                    <a:gd name="T90" fmla="*/ 152 w 164"/>
                    <a:gd name="T91" fmla="*/ 25 h 104"/>
                    <a:gd name="T92" fmla="*/ 156 w 164"/>
                    <a:gd name="T93" fmla="*/ 35 h 104"/>
                    <a:gd name="T94" fmla="*/ 159 w 164"/>
                    <a:gd name="T95" fmla="*/ 46 h 104"/>
                    <a:gd name="T96" fmla="*/ 163 w 164"/>
                    <a:gd name="T97" fmla="*/ 54 h 104"/>
                    <a:gd name="T98" fmla="*/ 164 w 164"/>
                    <a:gd name="T99" fmla="*/ 62 h 104"/>
                    <a:gd name="T100" fmla="*/ 163 w 164"/>
                    <a:gd name="T101" fmla="*/ 65 h 104"/>
                    <a:gd name="T102" fmla="*/ 160 w 164"/>
                    <a:gd name="T103" fmla="*/ 68 h 104"/>
                    <a:gd name="T104" fmla="*/ 157 w 164"/>
                    <a:gd name="T105" fmla="*/ 71 h 104"/>
                    <a:gd name="T106" fmla="*/ 153 w 164"/>
                    <a:gd name="T107" fmla="*/ 73 h 104"/>
                    <a:gd name="T108" fmla="*/ 153 w 164"/>
                    <a:gd name="T10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45" name="Freeform 203">
                  <a:extLst>
                    <a:ext uri="{FF2B5EF4-FFF2-40B4-BE49-F238E27FC236}">
                      <a16:creationId xmlns="" xmlns:a16="http://schemas.microsoft.com/office/drawing/2014/main" id="{C46CC51C-EB78-4E25-8920-98A66A37CC5C}"/>
                    </a:ext>
                  </a:extLst>
                </p:cNvPr>
                <p:cNvSpPr>
                  <a:spLocks/>
                </p:cNvSpPr>
                <p:nvPr>
                  <p:custDataLst>
                    <p:tags r:id="rId133"/>
                  </p:custDataLst>
                </p:nvPr>
              </p:nvSpPr>
              <p:spPr bwMode="auto">
                <a:xfrm>
                  <a:off x="4844473" y="4151322"/>
                  <a:ext cx="21394" cy="40535"/>
                </a:xfrm>
                <a:custGeom>
                  <a:avLst/>
                  <a:gdLst>
                    <a:gd name="T0" fmla="*/ 33 w 66"/>
                    <a:gd name="T1" fmla="*/ 0 h 19"/>
                    <a:gd name="T2" fmla="*/ 25 w 66"/>
                    <a:gd name="T3" fmla="*/ 1 h 19"/>
                    <a:gd name="T4" fmla="*/ 19 w 66"/>
                    <a:gd name="T5" fmla="*/ 2 h 19"/>
                    <a:gd name="T6" fmla="*/ 13 w 66"/>
                    <a:gd name="T7" fmla="*/ 4 h 19"/>
                    <a:gd name="T8" fmla="*/ 9 w 66"/>
                    <a:gd name="T9" fmla="*/ 7 h 19"/>
                    <a:gd name="T10" fmla="*/ 5 w 66"/>
                    <a:gd name="T11" fmla="*/ 11 h 19"/>
                    <a:gd name="T12" fmla="*/ 2 w 66"/>
                    <a:gd name="T13" fmla="*/ 14 h 19"/>
                    <a:gd name="T14" fmla="*/ 0 w 66"/>
                    <a:gd name="T15" fmla="*/ 17 h 19"/>
                    <a:gd name="T16" fmla="*/ 0 w 66"/>
                    <a:gd name="T17" fmla="*/ 19 h 19"/>
                    <a:gd name="T18" fmla="*/ 19 w 66"/>
                    <a:gd name="T19" fmla="*/ 19 h 19"/>
                    <a:gd name="T20" fmla="*/ 38 w 66"/>
                    <a:gd name="T21" fmla="*/ 19 h 19"/>
                    <a:gd name="T22" fmla="*/ 46 w 66"/>
                    <a:gd name="T23" fmla="*/ 18 h 19"/>
                    <a:gd name="T24" fmla="*/ 54 w 66"/>
                    <a:gd name="T25" fmla="*/ 17 h 19"/>
                    <a:gd name="T26" fmla="*/ 61 w 66"/>
                    <a:gd name="T27" fmla="*/ 15 h 19"/>
                    <a:gd name="T28" fmla="*/ 66 w 66"/>
                    <a:gd name="T29" fmla="*/ 13 h 19"/>
                    <a:gd name="T30" fmla="*/ 57 w 66"/>
                    <a:gd name="T31" fmla="*/ 8 h 19"/>
                    <a:gd name="T32" fmla="*/ 50 w 66"/>
                    <a:gd name="T33" fmla="*/ 4 h 19"/>
                    <a:gd name="T34" fmla="*/ 42 w 66"/>
                    <a:gd name="T35" fmla="*/ 1 h 19"/>
                    <a:gd name="T36" fmla="*/ 33 w 66"/>
                    <a:gd name="T3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46" name="Freeform 204">
                  <a:extLst>
                    <a:ext uri="{FF2B5EF4-FFF2-40B4-BE49-F238E27FC236}">
                      <a16:creationId xmlns="" xmlns:a16="http://schemas.microsoft.com/office/drawing/2014/main" id="{0C125D79-95DF-4AA5-A8AA-715EE81C5702}"/>
                    </a:ext>
                  </a:extLst>
                </p:cNvPr>
                <p:cNvSpPr>
                  <a:spLocks/>
                </p:cNvSpPr>
                <p:nvPr>
                  <p:custDataLst>
                    <p:tags r:id="rId134"/>
                  </p:custDataLst>
                </p:nvPr>
              </p:nvSpPr>
              <p:spPr bwMode="auto">
                <a:xfrm>
                  <a:off x="4773537" y="3931758"/>
                  <a:ext cx="18015" cy="42787"/>
                </a:xfrm>
                <a:custGeom>
                  <a:avLst/>
                  <a:gdLst>
                    <a:gd name="T0" fmla="*/ 13 w 53"/>
                    <a:gd name="T1" fmla="*/ 0 h 80"/>
                    <a:gd name="T2" fmla="*/ 8 w 53"/>
                    <a:gd name="T3" fmla="*/ 5 h 80"/>
                    <a:gd name="T4" fmla="*/ 4 w 53"/>
                    <a:gd name="T5" fmla="*/ 10 h 80"/>
                    <a:gd name="T6" fmla="*/ 2 w 53"/>
                    <a:gd name="T7" fmla="*/ 13 h 80"/>
                    <a:gd name="T8" fmla="*/ 1 w 53"/>
                    <a:gd name="T9" fmla="*/ 16 h 80"/>
                    <a:gd name="T10" fmla="*/ 0 w 53"/>
                    <a:gd name="T11" fmla="*/ 20 h 80"/>
                    <a:gd name="T12" fmla="*/ 0 w 53"/>
                    <a:gd name="T13" fmla="*/ 25 h 80"/>
                    <a:gd name="T14" fmla="*/ 0 w 53"/>
                    <a:gd name="T15" fmla="*/ 30 h 80"/>
                    <a:gd name="T16" fmla="*/ 2 w 53"/>
                    <a:gd name="T17" fmla="*/ 39 h 80"/>
                    <a:gd name="T18" fmla="*/ 6 w 53"/>
                    <a:gd name="T19" fmla="*/ 48 h 80"/>
                    <a:gd name="T20" fmla="*/ 9 w 53"/>
                    <a:gd name="T21" fmla="*/ 57 h 80"/>
                    <a:gd name="T22" fmla="*/ 13 w 53"/>
                    <a:gd name="T23" fmla="*/ 66 h 80"/>
                    <a:gd name="T24" fmla="*/ 20 w 53"/>
                    <a:gd name="T25" fmla="*/ 73 h 80"/>
                    <a:gd name="T26" fmla="*/ 22 w 53"/>
                    <a:gd name="T27" fmla="*/ 76 h 80"/>
                    <a:gd name="T28" fmla="*/ 26 w 53"/>
                    <a:gd name="T29" fmla="*/ 78 h 80"/>
                    <a:gd name="T30" fmla="*/ 30 w 53"/>
                    <a:gd name="T31" fmla="*/ 80 h 80"/>
                    <a:gd name="T32" fmla="*/ 33 w 53"/>
                    <a:gd name="T33" fmla="*/ 80 h 80"/>
                    <a:gd name="T34" fmla="*/ 36 w 53"/>
                    <a:gd name="T35" fmla="*/ 79 h 80"/>
                    <a:gd name="T36" fmla="*/ 38 w 53"/>
                    <a:gd name="T37" fmla="*/ 78 h 80"/>
                    <a:gd name="T38" fmla="*/ 42 w 53"/>
                    <a:gd name="T39" fmla="*/ 76 h 80"/>
                    <a:gd name="T40" fmla="*/ 45 w 53"/>
                    <a:gd name="T41" fmla="*/ 73 h 80"/>
                    <a:gd name="T42" fmla="*/ 48 w 53"/>
                    <a:gd name="T43" fmla="*/ 70 h 80"/>
                    <a:gd name="T44" fmla="*/ 51 w 53"/>
                    <a:gd name="T45" fmla="*/ 67 h 80"/>
                    <a:gd name="T46" fmla="*/ 53 w 53"/>
                    <a:gd name="T47" fmla="*/ 64 h 80"/>
                    <a:gd name="T48" fmla="*/ 53 w 53"/>
                    <a:gd name="T49" fmla="*/ 62 h 80"/>
                    <a:gd name="T50" fmla="*/ 52 w 53"/>
                    <a:gd name="T51" fmla="*/ 54 h 80"/>
                    <a:gd name="T52" fmla="*/ 49 w 53"/>
                    <a:gd name="T53" fmla="*/ 47 h 80"/>
                    <a:gd name="T54" fmla="*/ 46 w 53"/>
                    <a:gd name="T55" fmla="*/ 42 h 80"/>
                    <a:gd name="T56" fmla="*/ 43 w 53"/>
                    <a:gd name="T57" fmla="*/ 37 h 80"/>
                    <a:gd name="T58" fmla="*/ 40 w 53"/>
                    <a:gd name="T59" fmla="*/ 32 h 80"/>
                    <a:gd name="T60" fmla="*/ 36 w 53"/>
                    <a:gd name="T61" fmla="*/ 27 h 80"/>
                    <a:gd name="T62" fmla="*/ 34 w 53"/>
                    <a:gd name="T63" fmla="*/ 20 h 80"/>
                    <a:gd name="T64" fmla="*/ 33 w 53"/>
                    <a:gd name="T65" fmla="*/ 12 h 80"/>
                    <a:gd name="T66" fmla="*/ 33 w 53"/>
                    <a:gd name="T67" fmla="*/ 10 h 80"/>
                    <a:gd name="T68" fmla="*/ 31 w 53"/>
                    <a:gd name="T69" fmla="*/ 8 h 80"/>
                    <a:gd name="T70" fmla="*/ 29 w 53"/>
                    <a:gd name="T71" fmla="*/ 6 h 80"/>
                    <a:gd name="T72" fmla="*/ 25 w 53"/>
                    <a:gd name="T73" fmla="*/ 4 h 80"/>
                    <a:gd name="T74" fmla="*/ 19 w 53"/>
                    <a:gd name="T75" fmla="*/ 1 h 80"/>
                    <a:gd name="T76" fmla="*/ 13 w 53"/>
                    <a:gd name="T7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47" name="Freeform 205">
                  <a:extLst>
                    <a:ext uri="{FF2B5EF4-FFF2-40B4-BE49-F238E27FC236}">
                      <a16:creationId xmlns="" xmlns:a16="http://schemas.microsoft.com/office/drawing/2014/main" id="{DC2D0508-2C6D-443D-9435-0843DE9489B3}"/>
                    </a:ext>
                  </a:extLst>
                </p:cNvPr>
                <p:cNvSpPr>
                  <a:spLocks/>
                </p:cNvSpPr>
                <p:nvPr>
                  <p:custDataLst>
                    <p:tags r:id="rId135"/>
                  </p:custDataLst>
                </p:nvPr>
              </p:nvSpPr>
              <p:spPr bwMode="auto">
                <a:xfrm>
                  <a:off x="4794930" y="3999317"/>
                  <a:ext cx="12386" cy="38283"/>
                </a:xfrm>
                <a:custGeom>
                  <a:avLst/>
                  <a:gdLst>
                    <a:gd name="T0" fmla="*/ 0 w 41"/>
                    <a:gd name="T1" fmla="*/ 43 h 43"/>
                    <a:gd name="T2" fmla="*/ 27 w 41"/>
                    <a:gd name="T3" fmla="*/ 43 h 43"/>
                    <a:gd name="T4" fmla="*/ 41 w 41"/>
                    <a:gd name="T5" fmla="*/ 24 h 43"/>
                    <a:gd name="T6" fmla="*/ 38 w 41"/>
                    <a:gd name="T7" fmla="*/ 12 h 43"/>
                    <a:gd name="T8" fmla="*/ 34 w 41"/>
                    <a:gd name="T9" fmla="*/ 0 h 43"/>
                    <a:gd name="T10" fmla="*/ 27 w 41"/>
                    <a:gd name="T11" fmla="*/ 4 h 43"/>
                    <a:gd name="T12" fmla="*/ 20 w 41"/>
                    <a:gd name="T13" fmla="*/ 9 h 43"/>
                    <a:gd name="T14" fmla="*/ 15 w 41"/>
                    <a:gd name="T15" fmla="*/ 14 h 43"/>
                    <a:gd name="T16" fmla="*/ 10 w 41"/>
                    <a:gd name="T17" fmla="*/ 19 h 43"/>
                    <a:gd name="T18" fmla="*/ 6 w 41"/>
                    <a:gd name="T19" fmla="*/ 24 h 43"/>
                    <a:gd name="T20" fmla="*/ 3 w 41"/>
                    <a:gd name="T21" fmla="*/ 30 h 43"/>
                    <a:gd name="T22" fmla="*/ 1 w 41"/>
                    <a:gd name="T23" fmla="*/ 37 h 43"/>
                    <a:gd name="T24" fmla="*/ 0 w 41"/>
                    <a:gd name="T2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48" name="Freeform 206">
                  <a:extLst>
                    <a:ext uri="{FF2B5EF4-FFF2-40B4-BE49-F238E27FC236}">
                      <a16:creationId xmlns="" xmlns:a16="http://schemas.microsoft.com/office/drawing/2014/main" id="{FDDBDD30-3887-476E-A6D5-D524D42619D1}"/>
                    </a:ext>
                  </a:extLst>
                </p:cNvPr>
                <p:cNvSpPr>
                  <a:spLocks/>
                </p:cNvSpPr>
                <p:nvPr>
                  <p:custDataLst>
                    <p:tags r:id="rId136"/>
                  </p:custDataLst>
                </p:nvPr>
              </p:nvSpPr>
              <p:spPr bwMode="auto">
                <a:xfrm>
                  <a:off x="4798309" y="4015080"/>
                  <a:ext cx="5629" cy="41660"/>
                </a:xfrm>
                <a:custGeom>
                  <a:avLst/>
                  <a:gdLst>
                    <a:gd name="T0" fmla="*/ 20 w 20"/>
                    <a:gd name="T1" fmla="*/ 0 h 24"/>
                    <a:gd name="T2" fmla="*/ 0 w 20"/>
                    <a:gd name="T3" fmla="*/ 0 h 24"/>
                    <a:gd name="T4" fmla="*/ 1 w 20"/>
                    <a:gd name="T5" fmla="*/ 5 h 24"/>
                    <a:gd name="T6" fmla="*/ 2 w 20"/>
                    <a:gd name="T7" fmla="*/ 9 h 24"/>
                    <a:gd name="T8" fmla="*/ 4 w 20"/>
                    <a:gd name="T9" fmla="*/ 13 h 24"/>
                    <a:gd name="T10" fmla="*/ 7 w 20"/>
                    <a:gd name="T11" fmla="*/ 17 h 24"/>
                    <a:gd name="T12" fmla="*/ 10 w 20"/>
                    <a:gd name="T13" fmla="*/ 20 h 24"/>
                    <a:gd name="T14" fmla="*/ 14 w 20"/>
                    <a:gd name="T15" fmla="*/ 22 h 24"/>
                    <a:gd name="T16" fmla="*/ 17 w 20"/>
                    <a:gd name="T17" fmla="*/ 24 h 24"/>
                    <a:gd name="T18" fmla="*/ 20 w 20"/>
                    <a:gd name="T19" fmla="*/ 24 h 24"/>
                    <a:gd name="T20" fmla="*/ 20 w 20"/>
                    <a:gd name="T2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49" name="Freeform 207">
                  <a:extLst>
                    <a:ext uri="{FF2B5EF4-FFF2-40B4-BE49-F238E27FC236}">
                      <a16:creationId xmlns="" xmlns:a16="http://schemas.microsoft.com/office/drawing/2014/main" id="{C19B4786-90E9-40C3-AC27-960A26400D90}"/>
                    </a:ext>
                  </a:extLst>
                </p:cNvPr>
                <p:cNvSpPr>
                  <a:spLocks/>
                </p:cNvSpPr>
                <p:nvPr>
                  <p:custDataLst>
                    <p:tags r:id="rId137"/>
                  </p:custDataLst>
                </p:nvPr>
              </p:nvSpPr>
              <p:spPr bwMode="auto">
                <a:xfrm>
                  <a:off x="4808442" y="4058993"/>
                  <a:ext cx="12386" cy="42787"/>
                </a:xfrm>
                <a:custGeom>
                  <a:avLst/>
                  <a:gdLst>
                    <a:gd name="T0" fmla="*/ 0 w 39"/>
                    <a:gd name="T1" fmla="*/ 12 h 43"/>
                    <a:gd name="T2" fmla="*/ 2 w 39"/>
                    <a:gd name="T3" fmla="*/ 17 h 43"/>
                    <a:gd name="T4" fmla="*/ 6 w 39"/>
                    <a:gd name="T5" fmla="*/ 22 h 43"/>
                    <a:gd name="T6" fmla="*/ 12 w 39"/>
                    <a:gd name="T7" fmla="*/ 27 h 43"/>
                    <a:gd name="T8" fmla="*/ 16 w 39"/>
                    <a:gd name="T9" fmla="*/ 32 h 43"/>
                    <a:gd name="T10" fmla="*/ 23 w 39"/>
                    <a:gd name="T11" fmla="*/ 37 h 43"/>
                    <a:gd name="T12" fmla="*/ 28 w 39"/>
                    <a:gd name="T13" fmla="*/ 40 h 43"/>
                    <a:gd name="T14" fmla="*/ 34 w 39"/>
                    <a:gd name="T15" fmla="*/ 43 h 43"/>
                    <a:gd name="T16" fmla="*/ 39 w 39"/>
                    <a:gd name="T17" fmla="*/ 43 h 43"/>
                    <a:gd name="T18" fmla="*/ 38 w 39"/>
                    <a:gd name="T19" fmla="*/ 32 h 43"/>
                    <a:gd name="T20" fmla="*/ 36 w 39"/>
                    <a:gd name="T21" fmla="*/ 19 h 43"/>
                    <a:gd name="T22" fmla="*/ 34 w 39"/>
                    <a:gd name="T23" fmla="*/ 8 h 43"/>
                    <a:gd name="T24" fmla="*/ 32 w 39"/>
                    <a:gd name="T25" fmla="*/ 0 h 43"/>
                    <a:gd name="T26" fmla="*/ 19 w 39"/>
                    <a:gd name="T27" fmla="*/ 3 h 43"/>
                    <a:gd name="T28" fmla="*/ 6 w 39"/>
                    <a:gd name="T29" fmla="*/ 6 h 43"/>
                    <a:gd name="T30" fmla="*/ 0 w 39"/>
                    <a:gd name="T31" fmla="*/ 1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50" name="Freeform 208">
                  <a:extLst>
                    <a:ext uri="{FF2B5EF4-FFF2-40B4-BE49-F238E27FC236}">
                      <a16:creationId xmlns="" xmlns:a16="http://schemas.microsoft.com/office/drawing/2014/main" id="{A771BBC0-FD2F-4F68-B2D6-97BAC53A4CA7}"/>
                    </a:ext>
                  </a:extLst>
                </p:cNvPr>
                <p:cNvSpPr>
                  <a:spLocks/>
                </p:cNvSpPr>
                <p:nvPr>
                  <p:custDataLst>
                    <p:tags r:id="rId138"/>
                  </p:custDataLst>
                </p:nvPr>
              </p:nvSpPr>
              <p:spPr bwMode="auto">
                <a:xfrm>
                  <a:off x="4799434" y="4068001"/>
                  <a:ext cx="19142" cy="41661"/>
                </a:xfrm>
                <a:custGeom>
                  <a:avLst/>
                  <a:gdLst>
                    <a:gd name="T0" fmla="*/ 29 w 55"/>
                    <a:gd name="T1" fmla="*/ 26 h 62"/>
                    <a:gd name="T2" fmla="*/ 8 w 55"/>
                    <a:gd name="T3" fmla="*/ 0 h 62"/>
                    <a:gd name="T4" fmla="*/ 4 w 55"/>
                    <a:gd name="T5" fmla="*/ 5 h 62"/>
                    <a:gd name="T6" fmla="*/ 1 w 55"/>
                    <a:gd name="T7" fmla="*/ 11 h 62"/>
                    <a:gd name="T8" fmla="*/ 0 w 55"/>
                    <a:gd name="T9" fmla="*/ 16 h 62"/>
                    <a:gd name="T10" fmla="*/ 0 w 55"/>
                    <a:gd name="T11" fmla="*/ 21 h 62"/>
                    <a:gd name="T12" fmla="*/ 2 w 55"/>
                    <a:gd name="T13" fmla="*/ 26 h 62"/>
                    <a:gd name="T14" fmla="*/ 4 w 55"/>
                    <a:gd name="T15" fmla="*/ 31 h 62"/>
                    <a:gd name="T16" fmla="*/ 8 w 55"/>
                    <a:gd name="T17" fmla="*/ 36 h 62"/>
                    <a:gd name="T18" fmla="*/ 11 w 55"/>
                    <a:gd name="T19" fmla="*/ 41 h 62"/>
                    <a:gd name="T20" fmla="*/ 16 w 55"/>
                    <a:gd name="T21" fmla="*/ 45 h 62"/>
                    <a:gd name="T22" fmla="*/ 21 w 55"/>
                    <a:gd name="T23" fmla="*/ 49 h 62"/>
                    <a:gd name="T24" fmla="*/ 26 w 55"/>
                    <a:gd name="T25" fmla="*/ 53 h 62"/>
                    <a:gd name="T26" fmla="*/ 33 w 55"/>
                    <a:gd name="T27" fmla="*/ 56 h 62"/>
                    <a:gd name="T28" fmla="*/ 38 w 55"/>
                    <a:gd name="T29" fmla="*/ 58 h 62"/>
                    <a:gd name="T30" fmla="*/ 44 w 55"/>
                    <a:gd name="T31" fmla="*/ 60 h 62"/>
                    <a:gd name="T32" fmla="*/ 49 w 55"/>
                    <a:gd name="T33" fmla="*/ 61 h 62"/>
                    <a:gd name="T34" fmla="*/ 55 w 55"/>
                    <a:gd name="T35" fmla="*/ 62 h 62"/>
                    <a:gd name="T36" fmla="*/ 54 w 55"/>
                    <a:gd name="T37" fmla="*/ 53 h 62"/>
                    <a:gd name="T38" fmla="*/ 53 w 55"/>
                    <a:gd name="T39" fmla="*/ 46 h 62"/>
                    <a:gd name="T40" fmla="*/ 49 w 55"/>
                    <a:gd name="T41" fmla="*/ 40 h 62"/>
                    <a:gd name="T42" fmla="*/ 46 w 55"/>
                    <a:gd name="T43" fmla="*/ 35 h 62"/>
                    <a:gd name="T44" fmla="*/ 43 w 55"/>
                    <a:gd name="T45" fmla="*/ 31 h 62"/>
                    <a:gd name="T46" fmla="*/ 38 w 55"/>
                    <a:gd name="T47" fmla="*/ 28 h 62"/>
                    <a:gd name="T48" fmla="*/ 33 w 55"/>
                    <a:gd name="T49" fmla="*/ 26 h 62"/>
                    <a:gd name="T50" fmla="*/ 29 w 55"/>
                    <a:gd name="T51" fmla="*/ 2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51" name="Freeform 209">
                  <a:extLst>
                    <a:ext uri="{FF2B5EF4-FFF2-40B4-BE49-F238E27FC236}">
                      <a16:creationId xmlns="" xmlns:a16="http://schemas.microsoft.com/office/drawing/2014/main" id="{87BD0B95-BC8B-4C36-97C2-97300E490A86}"/>
                    </a:ext>
                  </a:extLst>
                </p:cNvPr>
                <p:cNvSpPr>
                  <a:spLocks/>
                </p:cNvSpPr>
                <p:nvPr>
                  <p:custDataLst>
                    <p:tags r:id="rId139"/>
                  </p:custDataLst>
                </p:nvPr>
              </p:nvSpPr>
              <p:spPr bwMode="auto">
                <a:xfrm>
                  <a:off x="4820828" y="4091646"/>
                  <a:ext cx="7882" cy="41660"/>
                </a:xfrm>
                <a:custGeom>
                  <a:avLst/>
                  <a:gdLst>
                    <a:gd name="T0" fmla="*/ 33 w 35"/>
                    <a:gd name="T1" fmla="*/ 13 h 43"/>
                    <a:gd name="T2" fmla="*/ 7 w 35"/>
                    <a:gd name="T3" fmla="*/ 0 h 43"/>
                    <a:gd name="T4" fmla="*/ 4 w 35"/>
                    <a:gd name="T5" fmla="*/ 8 h 43"/>
                    <a:gd name="T6" fmla="*/ 0 w 35"/>
                    <a:gd name="T7" fmla="*/ 19 h 43"/>
                    <a:gd name="T8" fmla="*/ 2 w 35"/>
                    <a:gd name="T9" fmla="*/ 28 h 43"/>
                    <a:gd name="T10" fmla="*/ 5 w 35"/>
                    <a:gd name="T11" fmla="*/ 36 h 43"/>
                    <a:gd name="T12" fmla="*/ 6 w 35"/>
                    <a:gd name="T13" fmla="*/ 39 h 43"/>
                    <a:gd name="T14" fmla="*/ 8 w 35"/>
                    <a:gd name="T15" fmla="*/ 41 h 43"/>
                    <a:gd name="T16" fmla="*/ 11 w 35"/>
                    <a:gd name="T17" fmla="*/ 43 h 43"/>
                    <a:gd name="T18" fmla="*/ 14 w 35"/>
                    <a:gd name="T19" fmla="*/ 43 h 43"/>
                    <a:gd name="T20" fmla="*/ 18 w 35"/>
                    <a:gd name="T21" fmla="*/ 43 h 43"/>
                    <a:gd name="T22" fmla="*/ 22 w 35"/>
                    <a:gd name="T23" fmla="*/ 42 h 43"/>
                    <a:gd name="T24" fmla="*/ 26 w 35"/>
                    <a:gd name="T25" fmla="*/ 41 h 43"/>
                    <a:gd name="T26" fmla="*/ 28 w 35"/>
                    <a:gd name="T27" fmla="*/ 39 h 43"/>
                    <a:gd name="T28" fmla="*/ 31 w 35"/>
                    <a:gd name="T29" fmla="*/ 35 h 43"/>
                    <a:gd name="T30" fmla="*/ 33 w 35"/>
                    <a:gd name="T31" fmla="*/ 30 h 43"/>
                    <a:gd name="T32" fmla="*/ 35 w 35"/>
                    <a:gd name="T33" fmla="*/ 20 h 43"/>
                    <a:gd name="T34" fmla="*/ 33 w 35"/>
                    <a:gd name="T35" fmla="*/ 1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52" name="Freeform 210">
                  <a:extLst>
                    <a:ext uri="{FF2B5EF4-FFF2-40B4-BE49-F238E27FC236}">
                      <a16:creationId xmlns="" xmlns:a16="http://schemas.microsoft.com/office/drawing/2014/main" id="{D777EE6C-BDFE-48A6-BA23-5297EA7BCAF2}"/>
                    </a:ext>
                  </a:extLst>
                </p:cNvPr>
                <p:cNvSpPr>
                  <a:spLocks/>
                </p:cNvSpPr>
                <p:nvPr>
                  <p:custDataLst>
                    <p:tags r:id="rId140"/>
                  </p:custDataLst>
                </p:nvPr>
              </p:nvSpPr>
              <p:spPr bwMode="auto">
                <a:xfrm>
                  <a:off x="4818576" y="4115291"/>
                  <a:ext cx="14637" cy="39409"/>
                </a:xfrm>
                <a:custGeom>
                  <a:avLst/>
                  <a:gdLst>
                    <a:gd name="T0" fmla="*/ 53 w 53"/>
                    <a:gd name="T1" fmla="*/ 0 h 21"/>
                    <a:gd name="T2" fmla="*/ 41 w 53"/>
                    <a:gd name="T3" fmla="*/ 1 h 21"/>
                    <a:gd name="T4" fmla="*/ 32 w 53"/>
                    <a:gd name="T5" fmla="*/ 2 h 21"/>
                    <a:gd name="T6" fmla="*/ 25 w 53"/>
                    <a:gd name="T7" fmla="*/ 5 h 21"/>
                    <a:gd name="T8" fmla="*/ 21 w 53"/>
                    <a:gd name="T9" fmla="*/ 7 h 21"/>
                    <a:gd name="T10" fmla="*/ 17 w 53"/>
                    <a:gd name="T11" fmla="*/ 10 h 21"/>
                    <a:gd name="T12" fmla="*/ 13 w 53"/>
                    <a:gd name="T13" fmla="*/ 13 h 21"/>
                    <a:gd name="T14" fmla="*/ 8 w 53"/>
                    <a:gd name="T15" fmla="*/ 16 h 21"/>
                    <a:gd name="T16" fmla="*/ 0 w 53"/>
                    <a:gd name="T17" fmla="*/ 18 h 21"/>
                    <a:gd name="T18" fmla="*/ 5 w 53"/>
                    <a:gd name="T19" fmla="*/ 20 h 21"/>
                    <a:gd name="T20" fmla="*/ 11 w 53"/>
                    <a:gd name="T21" fmla="*/ 21 h 21"/>
                    <a:gd name="T22" fmla="*/ 17 w 53"/>
                    <a:gd name="T23" fmla="*/ 21 h 21"/>
                    <a:gd name="T24" fmla="*/ 24 w 53"/>
                    <a:gd name="T25" fmla="*/ 21 h 21"/>
                    <a:gd name="T26" fmla="*/ 38 w 53"/>
                    <a:gd name="T27" fmla="*/ 19 h 21"/>
                    <a:gd name="T28" fmla="*/ 53 w 53"/>
                    <a:gd name="T29" fmla="*/ 18 h 21"/>
                    <a:gd name="T30" fmla="*/ 53 w 53"/>
                    <a:gd name="T3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53" name="Freeform 211">
                  <a:extLst>
                    <a:ext uri="{FF2B5EF4-FFF2-40B4-BE49-F238E27FC236}">
                      <a16:creationId xmlns="" xmlns:a16="http://schemas.microsoft.com/office/drawing/2014/main" id="{8DC88152-8B4F-43C1-8547-46E52AF82E6C}"/>
                    </a:ext>
                  </a:extLst>
                </p:cNvPr>
                <p:cNvSpPr>
                  <a:spLocks/>
                </p:cNvSpPr>
                <p:nvPr>
                  <p:custDataLst>
                    <p:tags r:id="rId141"/>
                  </p:custDataLst>
                </p:nvPr>
              </p:nvSpPr>
              <p:spPr bwMode="auto">
                <a:xfrm>
                  <a:off x="4835465" y="4125425"/>
                  <a:ext cx="12386" cy="40535"/>
                </a:xfrm>
                <a:custGeom>
                  <a:avLst/>
                  <a:gdLst>
                    <a:gd name="T0" fmla="*/ 22 w 43"/>
                    <a:gd name="T1" fmla="*/ 0 h 38"/>
                    <a:gd name="T2" fmla="*/ 12 w 43"/>
                    <a:gd name="T3" fmla="*/ 0 h 38"/>
                    <a:gd name="T4" fmla="*/ 2 w 43"/>
                    <a:gd name="T5" fmla="*/ 0 h 38"/>
                    <a:gd name="T6" fmla="*/ 1 w 43"/>
                    <a:gd name="T7" fmla="*/ 0 h 38"/>
                    <a:gd name="T8" fmla="*/ 0 w 43"/>
                    <a:gd name="T9" fmla="*/ 1 h 38"/>
                    <a:gd name="T10" fmla="*/ 0 w 43"/>
                    <a:gd name="T11" fmla="*/ 3 h 38"/>
                    <a:gd name="T12" fmla="*/ 0 w 43"/>
                    <a:gd name="T13" fmla="*/ 6 h 38"/>
                    <a:gd name="T14" fmla="*/ 1 w 43"/>
                    <a:gd name="T15" fmla="*/ 10 h 38"/>
                    <a:gd name="T16" fmla="*/ 2 w 43"/>
                    <a:gd name="T17" fmla="*/ 12 h 38"/>
                    <a:gd name="T18" fmla="*/ 3 w 43"/>
                    <a:gd name="T19" fmla="*/ 18 h 38"/>
                    <a:gd name="T20" fmla="*/ 5 w 43"/>
                    <a:gd name="T21" fmla="*/ 25 h 38"/>
                    <a:gd name="T22" fmla="*/ 10 w 43"/>
                    <a:gd name="T23" fmla="*/ 30 h 38"/>
                    <a:gd name="T24" fmla="*/ 15 w 43"/>
                    <a:gd name="T25" fmla="*/ 34 h 38"/>
                    <a:gd name="T26" fmla="*/ 21 w 43"/>
                    <a:gd name="T27" fmla="*/ 37 h 38"/>
                    <a:gd name="T28" fmla="*/ 27 w 43"/>
                    <a:gd name="T29" fmla="*/ 38 h 38"/>
                    <a:gd name="T30" fmla="*/ 35 w 43"/>
                    <a:gd name="T31" fmla="*/ 38 h 38"/>
                    <a:gd name="T32" fmla="*/ 43 w 43"/>
                    <a:gd name="T33" fmla="*/ 37 h 38"/>
                    <a:gd name="T34" fmla="*/ 40 w 43"/>
                    <a:gd name="T35" fmla="*/ 29 h 38"/>
                    <a:gd name="T36" fmla="*/ 36 w 43"/>
                    <a:gd name="T37" fmla="*/ 23 h 38"/>
                    <a:gd name="T38" fmla="*/ 33 w 43"/>
                    <a:gd name="T39" fmla="*/ 17 h 38"/>
                    <a:gd name="T40" fmla="*/ 30 w 43"/>
                    <a:gd name="T41" fmla="*/ 13 h 38"/>
                    <a:gd name="T42" fmla="*/ 27 w 43"/>
                    <a:gd name="T43" fmla="*/ 10 h 38"/>
                    <a:gd name="T44" fmla="*/ 24 w 43"/>
                    <a:gd name="T45" fmla="*/ 7 h 38"/>
                    <a:gd name="T46" fmla="*/ 23 w 43"/>
                    <a:gd name="T47" fmla="*/ 4 h 38"/>
                    <a:gd name="T48" fmla="*/ 22 w 43"/>
                    <a:gd name="T4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54" name="Freeform 212">
                  <a:extLst>
                    <a:ext uri="{FF2B5EF4-FFF2-40B4-BE49-F238E27FC236}">
                      <a16:creationId xmlns="" xmlns:a16="http://schemas.microsoft.com/office/drawing/2014/main" id="{D3D8E56E-7323-4259-AF27-D85F6E18FF85}"/>
                    </a:ext>
                  </a:extLst>
                </p:cNvPr>
                <p:cNvSpPr>
                  <a:spLocks/>
                </p:cNvSpPr>
                <p:nvPr>
                  <p:custDataLst>
                    <p:tags r:id="rId142"/>
                  </p:custDataLst>
                </p:nvPr>
              </p:nvSpPr>
              <p:spPr bwMode="auto">
                <a:xfrm>
                  <a:off x="4836591" y="4145693"/>
                  <a:ext cx="4504" cy="40535"/>
                </a:xfrm>
                <a:custGeom>
                  <a:avLst/>
                  <a:gdLst>
                    <a:gd name="T0" fmla="*/ 0 w 20"/>
                    <a:gd name="T1" fmla="*/ 0 h 5"/>
                    <a:gd name="T2" fmla="*/ 1 w 20"/>
                    <a:gd name="T3" fmla="*/ 2 h 5"/>
                    <a:gd name="T4" fmla="*/ 2 w 20"/>
                    <a:gd name="T5" fmla="*/ 3 h 5"/>
                    <a:gd name="T6" fmla="*/ 4 w 20"/>
                    <a:gd name="T7" fmla="*/ 4 h 5"/>
                    <a:gd name="T8" fmla="*/ 7 w 20"/>
                    <a:gd name="T9" fmla="*/ 5 h 5"/>
                    <a:gd name="T10" fmla="*/ 11 w 20"/>
                    <a:gd name="T11" fmla="*/ 4 h 5"/>
                    <a:gd name="T12" fmla="*/ 14 w 20"/>
                    <a:gd name="T13" fmla="*/ 3 h 5"/>
                    <a:gd name="T14" fmla="*/ 17 w 20"/>
                    <a:gd name="T15" fmla="*/ 2 h 5"/>
                    <a:gd name="T16" fmla="*/ 20 w 20"/>
                    <a:gd name="T17" fmla="*/ 0 h 5"/>
                    <a:gd name="T18" fmla="*/ 0 w 20"/>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55" name="Freeform 215">
                  <a:extLst>
                    <a:ext uri="{FF2B5EF4-FFF2-40B4-BE49-F238E27FC236}">
                      <a16:creationId xmlns="" xmlns:a16="http://schemas.microsoft.com/office/drawing/2014/main" id="{88C49CF8-0401-460A-BC48-603CA37F9107}"/>
                    </a:ext>
                  </a:extLst>
                </p:cNvPr>
                <p:cNvSpPr>
                  <a:spLocks/>
                </p:cNvSpPr>
                <p:nvPr>
                  <p:custDataLst>
                    <p:tags r:id="rId143"/>
                  </p:custDataLst>
                </p:nvPr>
              </p:nvSpPr>
              <p:spPr bwMode="auto">
                <a:xfrm>
                  <a:off x="4599012" y="2569338"/>
                  <a:ext cx="37157" cy="41660"/>
                </a:xfrm>
                <a:custGeom>
                  <a:avLst/>
                  <a:gdLst>
                    <a:gd name="T0" fmla="*/ 0 w 120"/>
                    <a:gd name="T1" fmla="*/ 18 h 56"/>
                    <a:gd name="T2" fmla="*/ 4 w 120"/>
                    <a:gd name="T3" fmla="*/ 26 h 56"/>
                    <a:gd name="T4" fmla="*/ 10 w 120"/>
                    <a:gd name="T5" fmla="*/ 33 h 56"/>
                    <a:gd name="T6" fmla="*/ 15 w 120"/>
                    <a:gd name="T7" fmla="*/ 37 h 56"/>
                    <a:gd name="T8" fmla="*/ 21 w 120"/>
                    <a:gd name="T9" fmla="*/ 41 h 56"/>
                    <a:gd name="T10" fmla="*/ 27 w 120"/>
                    <a:gd name="T11" fmla="*/ 44 h 56"/>
                    <a:gd name="T12" fmla="*/ 35 w 120"/>
                    <a:gd name="T13" fmla="*/ 46 h 56"/>
                    <a:gd name="T14" fmla="*/ 43 w 120"/>
                    <a:gd name="T15" fmla="*/ 48 h 56"/>
                    <a:gd name="T16" fmla="*/ 51 w 120"/>
                    <a:gd name="T17" fmla="*/ 49 h 56"/>
                    <a:gd name="T18" fmla="*/ 67 w 120"/>
                    <a:gd name="T19" fmla="*/ 50 h 56"/>
                    <a:gd name="T20" fmla="*/ 85 w 120"/>
                    <a:gd name="T21" fmla="*/ 51 h 56"/>
                    <a:gd name="T22" fmla="*/ 102 w 120"/>
                    <a:gd name="T23" fmla="*/ 52 h 56"/>
                    <a:gd name="T24" fmla="*/ 120 w 120"/>
                    <a:gd name="T25" fmla="*/ 56 h 56"/>
                    <a:gd name="T26" fmla="*/ 120 w 120"/>
                    <a:gd name="T27" fmla="*/ 37 h 56"/>
                    <a:gd name="T28" fmla="*/ 111 w 120"/>
                    <a:gd name="T29" fmla="*/ 34 h 56"/>
                    <a:gd name="T30" fmla="*/ 102 w 120"/>
                    <a:gd name="T31" fmla="*/ 30 h 56"/>
                    <a:gd name="T32" fmla="*/ 94 w 120"/>
                    <a:gd name="T33" fmla="*/ 24 h 56"/>
                    <a:gd name="T34" fmla="*/ 88 w 120"/>
                    <a:gd name="T35" fmla="*/ 18 h 56"/>
                    <a:gd name="T36" fmla="*/ 81 w 120"/>
                    <a:gd name="T37" fmla="*/ 13 h 56"/>
                    <a:gd name="T38" fmla="*/ 75 w 120"/>
                    <a:gd name="T39" fmla="*/ 7 h 56"/>
                    <a:gd name="T40" fmla="*/ 67 w 120"/>
                    <a:gd name="T41" fmla="*/ 3 h 56"/>
                    <a:gd name="T42" fmla="*/ 60 w 120"/>
                    <a:gd name="T43" fmla="*/ 0 h 56"/>
                    <a:gd name="T44" fmla="*/ 55 w 120"/>
                    <a:gd name="T45" fmla="*/ 1 h 56"/>
                    <a:gd name="T46" fmla="*/ 48 w 120"/>
                    <a:gd name="T47" fmla="*/ 3 h 56"/>
                    <a:gd name="T48" fmla="*/ 41 w 120"/>
                    <a:gd name="T49" fmla="*/ 6 h 56"/>
                    <a:gd name="T50" fmla="*/ 33 w 120"/>
                    <a:gd name="T51" fmla="*/ 9 h 56"/>
                    <a:gd name="T52" fmla="*/ 24 w 120"/>
                    <a:gd name="T53" fmla="*/ 13 h 56"/>
                    <a:gd name="T54" fmla="*/ 16 w 120"/>
                    <a:gd name="T55" fmla="*/ 15 h 56"/>
                    <a:gd name="T56" fmla="*/ 8 w 120"/>
                    <a:gd name="T57" fmla="*/ 18 h 56"/>
                    <a:gd name="T58" fmla="*/ 0 w 120"/>
                    <a:gd name="T59" fmla="*/ 1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56" name="Freeform 216">
                  <a:extLst>
                    <a:ext uri="{FF2B5EF4-FFF2-40B4-BE49-F238E27FC236}">
                      <a16:creationId xmlns="" xmlns:a16="http://schemas.microsoft.com/office/drawing/2014/main" id="{4C7BAD4F-62C6-4BF9-B5F4-EFC9295D22F0}"/>
                    </a:ext>
                  </a:extLst>
                </p:cNvPr>
                <p:cNvSpPr>
                  <a:spLocks/>
                </p:cNvSpPr>
                <p:nvPr>
                  <p:custDataLst>
                    <p:tags r:id="rId144"/>
                  </p:custDataLst>
                </p:nvPr>
              </p:nvSpPr>
              <p:spPr bwMode="auto">
                <a:xfrm>
                  <a:off x="4497675" y="2471379"/>
                  <a:ext cx="177903" cy="77692"/>
                </a:xfrm>
                <a:custGeom>
                  <a:avLst/>
                  <a:gdLst>
                    <a:gd name="T0" fmla="*/ 127 w 574"/>
                    <a:gd name="T1" fmla="*/ 1 h 204"/>
                    <a:gd name="T2" fmla="*/ 95 w 574"/>
                    <a:gd name="T3" fmla="*/ 6 h 204"/>
                    <a:gd name="T4" fmla="*/ 66 w 574"/>
                    <a:gd name="T5" fmla="*/ 16 h 204"/>
                    <a:gd name="T6" fmla="*/ 43 w 574"/>
                    <a:gd name="T7" fmla="*/ 26 h 204"/>
                    <a:gd name="T8" fmla="*/ 30 w 574"/>
                    <a:gd name="T9" fmla="*/ 35 h 204"/>
                    <a:gd name="T10" fmla="*/ 16 w 574"/>
                    <a:gd name="T11" fmla="*/ 51 h 204"/>
                    <a:gd name="T12" fmla="*/ 4 w 574"/>
                    <a:gd name="T13" fmla="*/ 71 h 204"/>
                    <a:gd name="T14" fmla="*/ 0 w 574"/>
                    <a:gd name="T15" fmla="*/ 82 h 204"/>
                    <a:gd name="T16" fmla="*/ 1 w 574"/>
                    <a:gd name="T17" fmla="*/ 86 h 204"/>
                    <a:gd name="T18" fmla="*/ 13 w 574"/>
                    <a:gd name="T19" fmla="*/ 86 h 204"/>
                    <a:gd name="T20" fmla="*/ 29 w 574"/>
                    <a:gd name="T21" fmla="*/ 83 h 204"/>
                    <a:gd name="T22" fmla="*/ 52 w 574"/>
                    <a:gd name="T23" fmla="*/ 75 h 204"/>
                    <a:gd name="T24" fmla="*/ 80 w 574"/>
                    <a:gd name="T25" fmla="*/ 58 h 204"/>
                    <a:gd name="T26" fmla="*/ 102 w 574"/>
                    <a:gd name="T27" fmla="*/ 46 h 204"/>
                    <a:gd name="T28" fmla="*/ 119 w 574"/>
                    <a:gd name="T29" fmla="*/ 40 h 204"/>
                    <a:gd name="T30" fmla="*/ 175 w 574"/>
                    <a:gd name="T31" fmla="*/ 37 h 204"/>
                    <a:gd name="T32" fmla="*/ 176 w 574"/>
                    <a:gd name="T33" fmla="*/ 48 h 204"/>
                    <a:gd name="T34" fmla="*/ 180 w 574"/>
                    <a:gd name="T35" fmla="*/ 55 h 204"/>
                    <a:gd name="T36" fmla="*/ 184 w 574"/>
                    <a:gd name="T37" fmla="*/ 59 h 204"/>
                    <a:gd name="T38" fmla="*/ 190 w 574"/>
                    <a:gd name="T39" fmla="*/ 61 h 204"/>
                    <a:gd name="T40" fmla="*/ 229 w 574"/>
                    <a:gd name="T41" fmla="*/ 61 h 204"/>
                    <a:gd name="T42" fmla="*/ 269 w 574"/>
                    <a:gd name="T43" fmla="*/ 78 h 204"/>
                    <a:gd name="T44" fmla="*/ 302 w 574"/>
                    <a:gd name="T45" fmla="*/ 95 h 204"/>
                    <a:gd name="T46" fmla="*/ 336 w 574"/>
                    <a:gd name="T47" fmla="*/ 111 h 204"/>
                    <a:gd name="T48" fmla="*/ 375 w 574"/>
                    <a:gd name="T49" fmla="*/ 123 h 204"/>
                    <a:gd name="T50" fmla="*/ 376 w 574"/>
                    <a:gd name="T51" fmla="*/ 134 h 204"/>
                    <a:gd name="T52" fmla="*/ 382 w 574"/>
                    <a:gd name="T53" fmla="*/ 142 h 204"/>
                    <a:gd name="T54" fmla="*/ 396 w 574"/>
                    <a:gd name="T55" fmla="*/ 152 h 204"/>
                    <a:gd name="T56" fmla="*/ 428 w 574"/>
                    <a:gd name="T57" fmla="*/ 166 h 204"/>
                    <a:gd name="T58" fmla="*/ 402 w 574"/>
                    <a:gd name="T59" fmla="*/ 191 h 204"/>
                    <a:gd name="T60" fmla="*/ 407 w 574"/>
                    <a:gd name="T61" fmla="*/ 197 h 204"/>
                    <a:gd name="T62" fmla="*/ 414 w 574"/>
                    <a:gd name="T63" fmla="*/ 201 h 204"/>
                    <a:gd name="T64" fmla="*/ 429 w 574"/>
                    <a:gd name="T65" fmla="*/ 204 h 204"/>
                    <a:gd name="T66" fmla="*/ 461 w 574"/>
                    <a:gd name="T67" fmla="*/ 204 h 204"/>
                    <a:gd name="T68" fmla="*/ 555 w 574"/>
                    <a:gd name="T69" fmla="*/ 189 h 204"/>
                    <a:gd name="T70" fmla="*/ 559 w 574"/>
                    <a:gd name="T71" fmla="*/ 183 h 204"/>
                    <a:gd name="T72" fmla="*/ 565 w 574"/>
                    <a:gd name="T73" fmla="*/ 177 h 204"/>
                    <a:gd name="T74" fmla="*/ 572 w 574"/>
                    <a:gd name="T75" fmla="*/ 173 h 204"/>
                    <a:gd name="T76" fmla="*/ 574 w 574"/>
                    <a:gd name="T77" fmla="*/ 161 h 204"/>
                    <a:gd name="T78" fmla="*/ 561 w 574"/>
                    <a:gd name="T79" fmla="*/ 153 h 204"/>
                    <a:gd name="T80" fmla="*/ 532 w 574"/>
                    <a:gd name="T81" fmla="*/ 148 h 204"/>
                    <a:gd name="T82" fmla="*/ 504 w 574"/>
                    <a:gd name="T83" fmla="*/ 138 h 204"/>
                    <a:gd name="T84" fmla="*/ 475 w 574"/>
                    <a:gd name="T85" fmla="*/ 124 h 204"/>
                    <a:gd name="T86" fmla="*/ 433 w 574"/>
                    <a:gd name="T87" fmla="*/ 100 h 204"/>
                    <a:gd name="T88" fmla="*/ 383 w 574"/>
                    <a:gd name="T89" fmla="*/ 68 h 204"/>
                    <a:gd name="T90" fmla="*/ 358 w 574"/>
                    <a:gd name="T91" fmla="*/ 54 h 204"/>
                    <a:gd name="T92" fmla="*/ 348 w 574"/>
                    <a:gd name="T93" fmla="*/ 52 h 204"/>
                    <a:gd name="T94" fmla="*/ 330 w 574"/>
                    <a:gd name="T95" fmla="*/ 52 h 204"/>
                    <a:gd name="T96" fmla="*/ 312 w 574"/>
                    <a:gd name="T97" fmla="*/ 51 h 204"/>
                    <a:gd name="T98" fmla="*/ 302 w 574"/>
                    <a:gd name="T99" fmla="*/ 49 h 204"/>
                    <a:gd name="T100" fmla="*/ 294 w 574"/>
                    <a:gd name="T101" fmla="*/ 43 h 204"/>
                    <a:gd name="T102" fmla="*/ 290 w 574"/>
                    <a:gd name="T103" fmla="*/ 32 h 204"/>
                    <a:gd name="T104" fmla="*/ 142 w 574"/>
                    <a:gd name="T10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57" name="Freeform 217">
                  <a:extLst>
                    <a:ext uri="{FF2B5EF4-FFF2-40B4-BE49-F238E27FC236}">
                      <a16:creationId xmlns="" xmlns:a16="http://schemas.microsoft.com/office/drawing/2014/main" id="{9E3D2AE5-E3A7-406A-A394-A52FFA1073E6}"/>
                    </a:ext>
                  </a:extLst>
                </p:cNvPr>
                <p:cNvSpPr>
                  <a:spLocks/>
                </p:cNvSpPr>
                <p:nvPr>
                  <p:custDataLst>
                    <p:tags r:id="rId145"/>
                  </p:custDataLst>
                </p:nvPr>
              </p:nvSpPr>
              <p:spPr bwMode="auto">
                <a:xfrm>
                  <a:off x="4713860" y="2544567"/>
                  <a:ext cx="63054" cy="49543"/>
                </a:xfrm>
                <a:custGeom>
                  <a:avLst/>
                  <a:gdLst>
                    <a:gd name="T0" fmla="*/ 41 w 207"/>
                    <a:gd name="T1" fmla="*/ 129 h 129"/>
                    <a:gd name="T2" fmla="*/ 50 w 207"/>
                    <a:gd name="T3" fmla="*/ 121 h 129"/>
                    <a:gd name="T4" fmla="*/ 60 w 207"/>
                    <a:gd name="T5" fmla="*/ 115 h 129"/>
                    <a:gd name="T6" fmla="*/ 70 w 207"/>
                    <a:gd name="T7" fmla="*/ 110 h 129"/>
                    <a:gd name="T8" fmla="*/ 81 w 207"/>
                    <a:gd name="T9" fmla="*/ 105 h 129"/>
                    <a:gd name="T10" fmla="*/ 105 w 207"/>
                    <a:gd name="T11" fmla="*/ 99 h 129"/>
                    <a:gd name="T12" fmla="*/ 129 w 207"/>
                    <a:gd name="T13" fmla="*/ 92 h 129"/>
                    <a:gd name="T14" fmla="*/ 152 w 207"/>
                    <a:gd name="T15" fmla="*/ 87 h 129"/>
                    <a:gd name="T16" fmla="*/ 173 w 207"/>
                    <a:gd name="T17" fmla="*/ 81 h 129"/>
                    <a:gd name="T18" fmla="*/ 182 w 207"/>
                    <a:gd name="T19" fmla="*/ 77 h 129"/>
                    <a:gd name="T20" fmla="*/ 191 w 207"/>
                    <a:gd name="T21" fmla="*/ 73 h 129"/>
                    <a:gd name="T22" fmla="*/ 200 w 207"/>
                    <a:gd name="T23" fmla="*/ 67 h 129"/>
                    <a:gd name="T24" fmla="*/ 207 w 207"/>
                    <a:gd name="T25" fmla="*/ 61 h 129"/>
                    <a:gd name="T26" fmla="*/ 198 w 207"/>
                    <a:gd name="T27" fmla="*/ 54 h 129"/>
                    <a:gd name="T28" fmla="*/ 188 w 207"/>
                    <a:gd name="T29" fmla="*/ 47 h 129"/>
                    <a:gd name="T30" fmla="*/ 179 w 207"/>
                    <a:gd name="T31" fmla="*/ 42 h 129"/>
                    <a:gd name="T32" fmla="*/ 169 w 207"/>
                    <a:gd name="T33" fmla="*/ 36 h 129"/>
                    <a:gd name="T34" fmla="*/ 150 w 207"/>
                    <a:gd name="T35" fmla="*/ 29 h 129"/>
                    <a:gd name="T36" fmla="*/ 129 w 207"/>
                    <a:gd name="T37" fmla="*/ 23 h 129"/>
                    <a:gd name="T38" fmla="*/ 107 w 207"/>
                    <a:gd name="T39" fmla="*/ 18 h 129"/>
                    <a:gd name="T40" fmla="*/ 85 w 207"/>
                    <a:gd name="T41" fmla="*/ 13 h 129"/>
                    <a:gd name="T42" fmla="*/ 63 w 207"/>
                    <a:gd name="T43" fmla="*/ 7 h 129"/>
                    <a:gd name="T44" fmla="*/ 41 w 207"/>
                    <a:gd name="T45" fmla="*/ 0 h 129"/>
                    <a:gd name="T46" fmla="*/ 0 w 207"/>
                    <a:gd name="T47" fmla="*/ 0 h 129"/>
                    <a:gd name="T48" fmla="*/ 1 w 207"/>
                    <a:gd name="T49" fmla="*/ 6 h 129"/>
                    <a:gd name="T50" fmla="*/ 2 w 207"/>
                    <a:gd name="T51" fmla="*/ 13 h 129"/>
                    <a:gd name="T52" fmla="*/ 4 w 207"/>
                    <a:gd name="T53" fmla="*/ 19 h 129"/>
                    <a:gd name="T54" fmla="*/ 6 w 207"/>
                    <a:gd name="T55" fmla="*/ 25 h 129"/>
                    <a:gd name="T56" fmla="*/ 10 w 207"/>
                    <a:gd name="T57" fmla="*/ 35 h 129"/>
                    <a:gd name="T58" fmla="*/ 13 w 207"/>
                    <a:gd name="T59" fmla="*/ 46 h 129"/>
                    <a:gd name="T60" fmla="*/ 17 w 207"/>
                    <a:gd name="T61" fmla="*/ 54 h 129"/>
                    <a:gd name="T62" fmla="*/ 18 w 207"/>
                    <a:gd name="T63" fmla="*/ 62 h 129"/>
                    <a:gd name="T64" fmla="*/ 17 w 207"/>
                    <a:gd name="T65" fmla="*/ 65 h 129"/>
                    <a:gd name="T66" fmla="*/ 14 w 207"/>
                    <a:gd name="T67" fmla="*/ 68 h 129"/>
                    <a:gd name="T68" fmla="*/ 11 w 207"/>
                    <a:gd name="T69" fmla="*/ 71 h 129"/>
                    <a:gd name="T70" fmla="*/ 7 w 207"/>
                    <a:gd name="T71" fmla="*/ 73 h 129"/>
                    <a:gd name="T72" fmla="*/ 0 w 207"/>
                    <a:gd name="T73" fmla="*/ 104 h 129"/>
                    <a:gd name="T74" fmla="*/ 4 w 207"/>
                    <a:gd name="T75" fmla="*/ 106 h 129"/>
                    <a:gd name="T76" fmla="*/ 13 w 207"/>
                    <a:gd name="T77" fmla="*/ 110 h 129"/>
                    <a:gd name="T78" fmla="*/ 19 w 207"/>
                    <a:gd name="T79" fmla="*/ 113 h 129"/>
                    <a:gd name="T80" fmla="*/ 25 w 207"/>
                    <a:gd name="T81" fmla="*/ 117 h 129"/>
                    <a:gd name="T82" fmla="*/ 33 w 207"/>
                    <a:gd name="T83" fmla="*/ 122 h 129"/>
                    <a:gd name="T84" fmla="*/ 41 w 207"/>
                    <a:gd name="T85"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chemeClr val="accent1"/>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58" name="Freeform 218">
                  <a:extLst>
                    <a:ext uri="{FF2B5EF4-FFF2-40B4-BE49-F238E27FC236}">
                      <a16:creationId xmlns="" xmlns:a16="http://schemas.microsoft.com/office/drawing/2014/main" id="{25BA6462-3161-48C2-8F8E-3CFA72E41327}"/>
                    </a:ext>
                  </a:extLst>
                </p:cNvPr>
                <p:cNvSpPr>
                  <a:spLocks/>
                </p:cNvSpPr>
                <p:nvPr>
                  <p:custDataLst>
                    <p:tags r:id="rId146"/>
                  </p:custDataLst>
                </p:nvPr>
              </p:nvSpPr>
              <p:spPr bwMode="auto">
                <a:xfrm>
                  <a:off x="4407598" y="2587354"/>
                  <a:ext cx="23646" cy="59676"/>
                </a:xfrm>
                <a:custGeom>
                  <a:avLst/>
                  <a:gdLst>
                    <a:gd name="T0" fmla="*/ 72 w 72"/>
                    <a:gd name="T1" fmla="*/ 0 h 154"/>
                    <a:gd name="T2" fmla="*/ 69 w 72"/>
                    <a:gd name="T3" fmla="*/ 4 h 154"/>
                    <a:gd name="T4" fmla="*/ 67 w 72"/>
                    <a:gd name="T5" fmla="*/ 9 h 154"/>
                    <a:gd name="T6" fmla="*/ 66 w 72"/>
                    <a:gd name="T7" fmla="*/ 13 h 154"/>
                    <a:gd name="T8" fmla="*/ 66 w 72"/>
                    <a:gd name="T9" fmla="*/ 18 h 154"/>
                    <a:gd name="T10" fmla="*/ 66 w 72"/>
                    <a:gd name="T11" fmla="*/ 27 h 154"/>
                    <a:gd name="T12" fmla="*/ 66 w 72"/>
                    <a:gd name="T13" fmla="*/ 37 h 154"/>
                    <a:gd name="T14" fmla="*/ 69 w 72"/>
                    <a:gd name="T15" fmla="*/ 43 h 154"/>
                    <a:gd name="T16" fmla="*/ 71 w 72"/>
                    <a:gd name="T17" fmla="*/ 50 h 154"/>
                    <a:gd name="T18" fmla="*/ 71 w 72"/>
                    <a:gd name="T19" fmla="*/ 57 h 154"/>
                    <a:gd name="T20" fmla="*/ 71 w 72"/>
                    <a:gd name="T21" fmla="*/ 65 h 154"/>
                    <a:gd name="T22" fmla="*/ 69 w 72"/>
                    <a:gd name="T23" fmla="*/ 73 h 154"/>
                    <a:gd name="T24" fmla="*/ 67 w 72"/>
                    <a:gd name="T25" fmla="*/ 82 h 154"/>
                    <a:gd name="T26" fmla="*/ 65 w 72"/>
                    <a:gd name="T27" fmla="*/ 91 h 154"/>
                    <a:gd name="T28" fmla="*/ 61 w 72"/>
                    <a:gd name="T29" fmla="*/ 100 h 154"/>
                    <a:gd name="T30" fmla="*/ 53 w 72"/>
                    <a:gd name="T31" fmla="*/ 116 h 154"/>
                    <a:gd name="T32" fmla="*/ 44 w 72"/>
                    <a:gd name="T33" fmla="*/ 131 h 154"/>
                    <a:gd name="T34" fmla="*/ 34 w 72"/>
                    <a:gd name="T35" fmla="*/ 144 h 154"/>
                    <a:gd name="T36" fmla="*/ 26 w 72"/>
                    <a:gd name="T37" fmla="*/ 154 h 154"/>
                    <a:gd name="T38" fmla="*/ 26 w 72"/>
                    <a:gd name="T39" fmla="*/ 141 h 154"/>
                    <a:gd name="T40" fmla="*/ 15 w 72"/>
                    <a:gd name="T41" fmla="*/ 144 h 154"/>
                    <a:gd name="T42" fmla="*/ 0 w 72"/>
                    <a:gd name="T43" fmla="*/ 148 h 154"/>
                    <a:gd name="T44" fmla="*/ 3 w 72"/>
                    <a:gd name="T45" fmla="*/ 129 h 154"/>
                    <a:gd name="T46" fmla="*/ 8 w 72"/>
                    <a:gd name="T47" fmla="*/ 105 h 154"/>
                    <a:gd name="T48" fmla="*/ 9 w 72"/>
                    <a:gd name="T49" fmla="*/ 92 h 154"/>
                    <a:gd name="T50" fmla="*/ 12 w 72"/>
                    <a:gd name="T51" fmla="*/ 77 h 154"/>
                    <a:gd name="T52" fmla="*/ 15 w 72"/>
                    <a:gd name="T53" fmla="*/ 63 h 154"/>
                    <a:gd name="T54" fmla="*/ 20 w 72"/>
                    <a:gd name="T55" fmla="*/ 49 h 154"/>
                    <a:gd name="T56" fmla="*/ 20 w 72"/>
                    <a:gd name="T57" fmla="*/ 0 h 154"/>
                    <a:gd name="T58" fmla="*/ 25 w 72"/>
                    <a:gd name="T59" fmla="*/ 0 h 154"/>
                    <a:gd name="T60" fmla="*/ 38 w 72"/>
                    <a:gd name="T61" fmla="*/ 0 h 154"/>
                    <a:gd name="T62" fmla="*/ 56 w 72"/>
                    <a:gd name="T63" fmla="*/ 0 h 154"/>
                    <a:gd name="T64" fmla="*/ 72 w 72"/>
                    <a:gd name="T65"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159" name="Freeform 219">
                  <a:extLst>
                    <a:ext uri="{FF2B5EF4-FFF2-40B4-BE49-F238E27FC236}">
                      <a16:creationId xmlns="" xmlns:a16="http://schemas.microsoft.com/office/drawing/2014/main" id="{3BA040F9-4C10-4EBB-A894-84BECF8DDEA5}"/>
                    </a:ext>
                  </a:extLst>
                </p:cNvPr>
                <p:cNvSpPr>
                  <a:spLocks/>
                </p:cNvSpPr>
                <p:nvPr>
                  <p:custDataLst>
                    <p:tags r:id="rId147"/>
                  </p:custDataLst>
                </p:nvPr>
              </p:nvSpPr>
              <p:spPr bwMode="auto">
                <a:xfrm>
                  <a:off x="4351299" y="2587354"/>
                  <a:ext cx="66432" cy="103589"/>
                </a:xfrm>
                <a:custGeom>
                  <a:avLst/>
                  <a:gdLst>
                    <a:gd name="T0" fmla="*/ 8 w 214"/>
                    <a:gd name="T1" fmla="*/ 207 h 271"/>
                    <a:gd name="T2" fmla="*/ 12 w 214"/>
                    <a:gd name="T3" fmla="*/ 181 h 271"/>
                    <a:gd name="T4" fmla="*/ 24 w 214"/>
                    <a:gd name="T5" fmla="*/ 148 h 271"/>
                    <a:gd name="T6" fmla="*/ 35 w 214"/>
                    <a:gd name="T7" fmla="*/ 118 h 271"/>
                    <a:gd name="T8" fmla="*/ 44 w 214"/>
                    <a:gd name="T9" fmla="*/ 112 h 271"/>
                    <a:gd name="T10" fmla="*/ 65 w 214"/>
                    <a:gd name="T11" fmla="*/ 111 h 271"/>
                    <a:gd name="T12" fmla="*/ 89 w 214"/>
                    <a:gd name="T13" fmla="*/ 111 h 271"/>
                    <a:gd name="T14" fmla="*/ 106 w 214"/>
                    <a:gd name="T15" fmla="*/ 110 h 271"/>
                    <a:gd name="T16" fmla="*/ 120 w 214"/>
                    <a:gd name="T17" fmla="*/ 105 h 271"/>
                    <a:gd name="T18" fmla="*/ 130 w 214"/>
                    <a:gd name="T19" fmla="*/ 94 h 271"/>
                    <a:gd name="T20" fmla="*/ 113 w 214"/>
                    <a:gd name="T21" fmla="*/ 73 h 271"/>
                    <a:gd name="T22" fmla="*/ 86 w 214"/>
                    <a:gd name="T23" fmla="*/ 58 h 271"/>
                    <a:gd name="T24" fmla="*/ 77 w 214"/>
                    <a:gd name="T25" fmla="*/ 49 h 271"/>
                    <a:gd name="T26" fmla="*/ 74 w 214"/>
                    <a:gd name="T27" fmla="*/ 41 h 271"/>
                    <a:gd name="T28" fmla="*/ 75 w 214"/>
                    <a:gd name="T29" fmla="*/ 34 h 271"/>
                    <a:gd name="T30" fmla="*/ 82 w 214"/>
                    <a:gd name="T31" fmla="*/ 28 h 271"/>
                    <a:gd name="T32" fmla="*/ 101 w 214"/>
                    <a:gd name="T33" fmla="*/ 19 h 271"/>
                    <a:gd name="T34" fmla="*/ 150 w 214"/>
                    <a:gd name="T35" fmla="*/ 3 h 271"/>
                    <a:gd name="T36" fmla="*/ 180 w 214"/>
                    <a:gd name="T37" fmla="*/ 0 h 271"/>
                    <a:gd name="T38" fmla="*/ 198 w 214"/>
                    <a:gd name="T39" fmla="*/ 0 h 271"/>
                    <a:gd name="T40" fmla="*/ 207 w 214"/>
                    <a:gd name="T41" fmla="*/ 49 h 271"/>
                    <a:gd name="T42" fmla="*/ 199 w 214"/>
                    <a:gd name="T43" fmla="*/ 77 h 271"/>
                    <a:gd name="T44" fmla="*/ 195 w 214"/>
                    <a:gd name="T45" fmla="*/ 105 h 271"/>
                    <a:gd name="T46" fmla="*/ 187 w 214"/>
                    <a:gd name="T47" fmla="*/ 148 h 271"/>
                    <a:gd name="T48" fmla="*/ 213 w 214"/>
                    <a:gd name="T49" fmla="*/ 154 h 271"/>
                    <a:gd name="T50" fmla="*/ 214 w 214"/>
                    <a:gd name="T51" fmla="*/ 166 h 271"/>
                    <a:gd name="T52" fmla="*/ 210 w 214"/>
                    <a:gd name="T53" fmla="*/ 174 h 271"/>
                    <a:gd name="T54" fmla="*/ 207 w 214"/>
                    <a:gd name="T55" fmla="*/ 177 h 271"/>
                    <a:gd name="T56" fmla="*/ 200 w 214"/>
                    <a:gd name="T57" fmla="*/ 178 h 271"/>
                    <a:gd name="T58" fmla="*/ 192 w 214"/>
                    <a:gd name="T59" fmla="*/ 196 h 271"/>
                    <a:gd name="T60" fmla="*/ 181 w 214"/>
                    <a:gd name="T61" fmla="*/ 214 h 271"/>
                    <a:gd name="T62" fmla="*/ 155 w 214"/>
                    <a:gd name="T63" fmla="*/ 243 h 271"/>
                    <a:gd name="T64" fmla="*/ 120 w 214"/>
                    <a:gd name="T65" fmla="*/ 271 h 271"/>
                    <a:gd name="T66" fmla="*/ 87 w 214"/>
                    <a:gd name="T67" fmla="*/ 261 h 271"/>
                    <a:gd name="T68" fmla="*/ 55 w 214"/>
                    <a:gd name="T69" fmla="*/ 248 h 271"/>
                    <a:gd name="T70" fmla="*/ 0 w 214"/>
                    <a:gd name="T71" fmla="*/ 221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160" name="Freeform 220">
                  <a:extLst>
                    <a:ext uri="{FF2B5EF4-FFF2-40B4-BE49-F238E27FC236}">
                      <a16:creationId xmlns="" xmlns:a16="http://schemas.microsoft.com/office/drawing/2014/main" id="{707E37D3-20E6-40E3-89F9-5F70B02AB4B6}"/>
                    </a:ext>
                  </a:extLst>
                </p:cNvPr>
                <p:cNvSpPr>
                  <a:spLocks/>
                </p:cNvSpPr>
                <p:nvPr>
                  <p:custDataLst>
                    <p:tags r:id="rId148"/>
                  </p:custDataLst>
                </p:nvPr>
              </p:nvSpPr>
              <p:spPr bwMode="auto">
                <a:xfrm>
                  <a:off x="4385078" y="2666172"/>
                  <a:ext cx="50669" cy="40535"/>
                </a:xfrm>
                <a:custGeom>
                  <a:avLst/>
                  <a:gdLst>
                    <a:gd name="T0" fmla="*/ 60 w 153"/>
                    <a:gd name="T1" fmla="*/ 0 h 80"/>
                    <a:gd name="T2" fmla="*/ 83 w 153"/>
                    <a:gd name="T3" fmla="*/ 14 h 80"/>
                    <a:gd name="T4" fmla="*/ 104 w 153"/>
                    <a:gd name="T5" fmla="*/ 24 h 80"/>
                    <a:gd name="T6" fmla="*/ 115 w 153"/>
                    <a:gd name="T7" fmla="*/ 28 h 80"/>
                    <a:gd name="T8" fmla="*/ 126 w 153"/>
                    <a:gd name="T9" fmla="*/ 31 h 80"/>
                    <a:gd name="T10" fmla="*/ 133 w 153"/>
                    <a:gd name="T11" fmla="*/ 32 h 80"/>
                    <a:gd name="T12" fmla="*/ 139 w 153"/>
                    <a:gd name="T13" fmla="*/ 32 h 80"/>
                    <a:gd name="T14" fmla="*/ 146 w 153"/>
                    <a:gd name="T15" fmla="*/ 31 h 80"/>
                    <a:gd name="T16" fmla="*/ 153 w 153"/>
                    <a:gd name="T17" fmla="*/ 30 h 80"/>
                    <a:gd name="T18" fmla="*/ 153 w 153"/>
                    <a:gd name="T19" fmla="*/ 56 h 80"/>
                    <a:gd name="T20" fmla="*/ 149 w 153"/>
                    <a:gd name="T21" fmla="*/ 60 h 80"/>
                    <a:gd name="T22" fmla="*/ 145 w 153"/>
                    <a:gd name="T23" fmla="*/ 65 h 80"/>
                    <a:gd name="T24" fmla="*/ 138 w 153"/>
                    <a:gd name="T25" fmla="*/ 69 h 80"/>
                    <a:gd name="T26" fmla="*/ 132 w 153"/>
                    <a:gd name="T27" fmla="*/ 72 h 80"/>
                    <a:gd name="T28" fmla="*/ 125 w 153"/>
                    <a:gd name="T29" fmla="*/ 75 h 80"/>
                    <a:gd name="T30" fmla="*/ 119 w 153"/>
                    <a:gd name="T31" fmla="*/ 78 h 80"/>
                    <a:gd name="T32" fmla="*/ 112 w 153"/>
                    <a:gd name="T33" fmla="*/ 79 h 80"/>
                    <a:gd name="T34" fmla="*/ 106 w 153"/>
                    <a:gd name="T35" fmla="*/ 80 h 80"/>
                    <a:gd name="T36" fmla="*/ 90 w 153"/>
                    <a:gd name="T37" fmla="*/ 74 h 80"/>
                    <a:gd name="T38" fmla="*/ 76 w 153"/>
                    <a:gd name="T39" fmla="*/ 71 h 80"/>
                    <a:gd name="T40" fmla="*/ 63 w 153"/>
                    <a:gd name="T41" fmla="*/ 69 h 80"/>
                    <a:gd name="T42" fmla="*/ 50 w 153"/>
                    <a:gd name="T43" fmla="*/ 69 h 80"/>
                    <a:gd name="T44" fmla="*/ 39 w 153"/>
                    <a:gd name="T45" fmla="*/ 68 h 80"/>
                    <a:gd name="T46" fmla="*/ 27 w 153"/>
                    <a:gd name="T47" fmla="*/ 67 h 80"/>
                    <a:gd name="T48" fmla="*/ 14 w 153"/>
                    <a:gd name="T49" fmla="*/ 65 h 80"/>
                    <a:gd name="T50" fmla="*/ 0 w 153"/>
                    <a:gd name="T51" fmla="*/ 62 h 80"/>
                    <a:gd name="T52" fmla="*/ 7 w 153"/>
                    <a:gd name="T53" fmla="*/ 58 h 80"/>
                    <a:gd name="T54" fmla="*/ 23 w 153"/>
                    <a:gd name="T55" fmla="*/ 45 h 80"/>
                    <a:gd name="T56" fmla="*/ 34 w 153"/>
                    <a:gd name="T57" fmla="*/ 37 h 80"/>
                    <a:gd name="T58" fmla="*/ 45 w 153"/>
                    <a:gd name="T59" fmla="*/ 28 h 80"/>
                    <a:gd name="T60" fmla="*/ 56 w 153"/>
                    <a:gd name="T61" fmla="*/ 17 h 80"/>
                    <a:gd name="T62" fmla="*/ 67 w 153"/>
                    <a:gd name="T63" fmla="*/ 6 h 80"/>
                    <a:gd name="T64" fmla="*/ 60 w 153"/>
                    <a:gd name="T65"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161" name="Freeform 221">
                  <a:extLst>
                    <a:ext uri="{FF2B5EF4-FFF2-40B4-BE49-F238E27FC236}">
                      <a16:creationId xmlns="" xmlns:a16="http://schemas.microsoft.com/office/drawing/2014/main" id="{FC7B4B16-E031-4892-9D7A-D12BFD5EBD96}"/>
                    </a:ext>
                  </a:extLst>
                </p:cNvPr>
                <p:cNvSpPr>
                  <a:spLocks/>
                </p:cNvSpPr>
                <p:nvPr>
                  <p:custDataLst>
                    <p:tags r:id="rId149"/>
                  </p:custDataLst>
                </p:nvPr>
              </p:nvSpPr>
              <p:spPr bwMode="auto">
                <a:xfrm>
                  <a:off x="4407598" y="2639149"/>
                  <a:ext cx="101337" cy="61928"/>
                </a:xfrm>
                <a:custGeom>
                  <a:avLst/>
                  <a:gdLst>
                    <a:gd name="T0" fmla="*/ 0 w 332"/>
                    <a:gd name="T1" fmla="*/ 77 h 169"/>
                    <a:gd name="T2" fmla="*/ 44 w 332"/>
                    <a:gd name="T3" fmla="*/ 101 h 169"/>
                    <a:gd name="T4" fmla="*/ 66 w 332"/>
                    <a:gd name="T5" fmla="*/ 108 h 169"/>
                    <a:gd name="T6" fmla="*/ 79 w 332"/>
                    <a:gd name="T7" fmla="*/ 109 h 169"/>
                    <a:gd name="T8" fmla="*/ 93 w 332"/>
                    <a:gd name="T9" fmla="*/ 107 h 169"/>
                    <a:gd name="T10" fmla="*/ 90 w 332"/>
                    <a:gd name="T11" fmla="*/ 144 h 169"/>
                    <a:gd name="T12" fmla="*/ 95 w 332"/>
                    <a:gd name="T13" fmla="*/ 154 h 169"/>
                    <a:gd name="T14" fmla="*/ 99 w 332"/>
                    <a:gd name="T15" fmla="*/ 163 h 169"/>
                    <a:gd name="T16" fmla="*/ 107 w 332"/>
                    <a:gd name="T17" fmla="*/ 168 h 169"/>
                    <a:gd name="T18" fmla="*/ 117 w 332"/>
                    <a:gd name="T19" fmla="*/ 169 h 169"/>
                    <a:gd name="T20" fmla="*/ 123 w 332"/>
                    <a:gd name="T21" fmla="*/ 166 h 169"/>
                    <a:gd name="T22" fmla="*/ 132 w 332"/>
                    <a:gd name="T23" fmla="*/ 157 h 169"/>
                    <a:gd name="T24" fmla="*/ 146 w 332"/>
                    <a:gd name="T25" fmla="*/ 136 h 169"/>
                    <a:gd name="T26" fmla="*/ 174 w 332"/>
                    <a:gd name="T27" fmla="*/ 115 h 169"/>
                    <a:gd name="T28" fmla="*/ 214 w 332"/>
                    <a:gd name="T29" fmla="*/ 96 h 169"/>
                    <a:gd name="T30" fmla="*/ 256 w 332"/>
                    <a:gd name="T31" fmla="*/ 80 h 169"/>
                    <a:gd name="T32" fmla="*/ 304 w 332"/>
                    <a:gd name="T33" fmla="*/ 65 h 169"/>
                    <a:gd name="T34" fmla="*/ 332 w 332"/>
                    <a:gd name="T35" fmla="*/ 46 h 169"/>
                    <a:gd name="T36" fmla="*/ 332 w 332"/>
                    <a:gd name="T37" fmla="*/ 22 h 169"/>
                    <a:gd name="T38" fmla="*/ 320 w 332"/>
                    <a:gd name="T39" fmla="*/ 2 h 169"/>
                    <a:gd name="T40" fmla="*/ 283 w 332"/>
                    <a:gd name="T41" fmla="*/ 1 h 169"/>
                    <a:gd name="T42" fmla="*/ 234 w 332"/>
                    <a:gd name="T43" fmla="*/ 0 h 169"/>
                    <a:gd name="T44" fmla="*/ 180 w 332"/>
                    <a:gd name="T45" fmla="*/ 1 h 169"/>
                    <a:gd name="T46" fmla="*/ 131 w 332"/>
                    <a:gd name="T47" fmla="*/ 4 h 169"/>
                    <a:gd name="T48" fmla="*/ 90 w 332"/>
                    <a:gd name="T49" fmla="*/ 10 h 169"/>
                    <a:gd name="T50" fmla="*/ 59 w 332"/>
                    <a:gd name="T51" fmla="*/ 19 h 169"/>
                    <a:gd name="T52" fmla="*/ 42 w 332"/>
                    <a:gd name="T53" fmla="*/ 22 h 169"/>
                    <a:gd name="T54" fmla="*/ 35 w 332"/>
                    <a:gd name="T55" fmla="*/ 23 h 169"/>
                    <a:gd name="T56" fmla="*/ 34 w 332"/>
                    <a:gd name="T57" fmla="*/ 26 h 169"/>
                    <a:gd name="T58" fmla="*/ 33 w 332"/>
                    <a:gd name="T59" fmla="*/ 38 h 169"/>
                    <a:gd name="T60" fmla="*/ 29 w 332"/>
                    <a:gd name="T61" fmla="*/ 44 h 169"/>
                    <a:gd name="T62" fmla="*/ 23 w 332"/>
                    <a:gd name="T63" fmla="*/ 46 h 169"/>
                    <a:gd name="T64" fmla="*/ 19 w 332"/>
                    <a:gd name="T65" fmla="*/ 55 h 169"/>
                    <a:gd name="T66" fmla="*/ 11 w 332"/>
                    <a:gd name="T67" fmla="*/ 72 h 169"/>
                    <a:gd name="T68" fmla="*/ 7 w 332"/>
                    <a:gd name="T69" fmla="*/ 83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162" name="Freeform 222">
                  <a:extLst>
                    <a:ext uri="{FF2B5EF4-FFF2-40B4-BE49-F238E27FC236}">
                      <a16:creationId xmlns="" xmlns:a16="http://schemas.microsoft.com/office/drawing/2014/main" id="{3189442B-FD7E-4C98-BCF7-F70EFFE71751}"/>
                    </a:ext>
                  </a:extLst>
                </p:cNvPr>
                <p:cNvSpPr>
                  <a:spLocks/>
                </p:cNvSpPr>
                <p:nvPr>
                  <p:custDataLst>
                    <p:tags r:id="rId150"/>
                  </p:custDataLst>
                </p:nvPr>
              </p:nvSpPr>
              <p:spPr bwMode="auto">
                <a:xfrm>
                  <a:off x="4419984" y="2660541"/>
                  <a:ext cx="88951" cy="86700"/>
                </a:xfrm>
                <a:custGeom>
                  <a:avLst/>
                  <a:gdLst>
                    <a:gd name="T0" fmla="*/ 44 w 286"/>
                    <a:gd name="T1" fmla="*/ 86 h 235"/>
                    <a:gd name="T2" fmla="*/ 49 w 286"/>
                    <a:gd name="T3" fmla="*/ 96 h 235"/>
                    <a:gd name="T4" fmla="*/ 53 w 286"/>
                    <a:gd name="T5" fmla="*/ 105 h 235"/>
                    <a:gd name="T6" fmla="*/ 61 w 286"/>
                    <a:gd name="T7" fmla="*/ 110 h 235"/>
                    <a:gd name="T8" fmla="*/ 71 w 286"/>
                    <a:gd name="T9" fmla="*/ 111 h 235"/>
                    <a:gd name="T10" fmla="*/ 77 w 286"/>
                    <a:gd name="T11" fmla="*/ 108 h 235"/>
                    <a:gd name="T12" fmla="*/ 86 w 286"/>
                    <a:gd name="T13" fmla="*/ 99 h 235"/>
                    <a:gd name="T14" fmla="*/ 100 w 286"/>
                    <a:gd name="T15" fmla="*/ 78 h 235"/>
                    <a:gd name="T16" fmla="*/ 128 w 286"/>
                    <a:gd name="T17" fmla="*/ 57 h 235"/>
                    <a:gd name="T18" fmla="*/ 168 w 286"/>
                    <a:gd name="T19" fmla="*/ 38 h 235"/>
                    <a:gd name="T20" fmla="*/ 210 w 286"/>
                    <a:gd name="T21" fmla="*/ 22 h 235"/>
                    <a:gd name="T22" fmla="*/ 258 w 286"/>
                    <a:gd name="T23" fmla="*/ 7 h 235"/>
                    <a:gd name="T24" fmla="*/ 286 w 286"/>
                    <a:gd name="T25" fmla="*/ 11 h 235"/>
                    <a:gd name="T26" fmla="*/ 282 w 286"/>
                    <a:gd name="T27" fmla="*/ 32 h 235"/>
                    <a:gd name="T28" fmla="*/ 272 w 286"/>
                    <a:gd name="T29" fmla="*/ 70 h 235"/>
                    <a:gd name="T30" fmla="*/ 254 w 286"/>
                    <a:gd name="T31" fmla="*/ 128 h 235"/>
                    <a:gd name="T32" fmla="*/ 244 w 286"/>
                    <a:gd name="T33" fmla="*/ 174 h 235"/>
                    <a:gd name="T34" fmla="*/ 240 w 286"/>
                    <a:gd name="T35" fmla="*/ 206 h 235"/>
                    <a:gd name="T36" fmla="*/ 146 w 286"/>
                    <a:gd name="T37" fmla="*/ 216 h 235"/>
                    <a:gd name="T38" fmla="*/ 138 w 286"/>
                    <a:gd name="T39" fmla="*/ 218 h 235"/>
                    <a:gd name="T40" fmla="*/ 132 w 286"/>
                    <a:gd name="T41" fmla="*/ 223 h 235"/>
                    <a:gd name="T42" fmla="*/ 127 w 286"/>
                    <a:gd name="T43" fmla="*/ 235 h 235"/>
                    <a:gd name="T44" fmla="*/ 109 w 286"/>
                    <a:gd name="T45" fmla="*/ 217 h 235"/>
                    <a:gd name="T46" fmla="*/ 94 w 286"/>
                    <a:gd name="T47" fmla="*/ 199 h 235"/>
                    <a:gd name="T48" fmla="*/ 69 w 286"/>
                    <a:gd name="T49" fmla="*/ 160 h 235"/>
                    <a:gd name="T50" fmla="*/ 55 w 286"/>
                    <a:gd name="T51" fmla="*/ 142 h 235"/>
                    <a:gd name="T52" fmla="*/ 41 w 286"/>
                    <a:gd name="T53" fmla="*/ 125 h 235"/>
                    <a:gd name="T54" fmla="*/ 22 w 286"/>
                    <a:gd name="T55" fmla="*/ 110 h 235"/>
                    <a:gd name="T56" fmla="*/ 0 w 286"/>
                    <a:gd name="T57" fmla="*/ 99 h 235"/>
                    <a:gd name="T58" fmla="*/ 13 w 286"/>
                    <a:gd name="T59" fmla="*/ 97 h 235"/>
                    <a:gd name="T60" fmla="*/ 26 w 286"/>
                    <a:gd name="T61" fmla="*/ 91 h 235"/>
                    <a:gd name="T62" fmla="*/ 39 w 286"/>
                    <a:gd name="T63" fmla="*/ 84 h 235"/>
                    <a:gd name="T64" fmla="*/ 47 w 286"/>
                    <a:gd name="T65" fmla="*/ 7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chemeClr val="accent1"/>
                </a:solidFill>
                <a:ln w="3175" cap="flat" cmpd="sng">
                  <a:solidFill>
                    <a:srgbClr val="FFFFFF"/>
                  </a:solidFill>
                  <a:prstDash val="solid"/>
                  <a:round/>
                  <a:headEnd type="none" w="med" len="med"/>
                  <a:tailEnd type="none" w="med" len="med"/>
                </a:ln>
                <a:effectLst/>
              </p:spPr>
              <p:txBody>
                <a:bodyPr/>
                <a:lstStyle/>
                <a:p>
                  <a:pPr defTabSz="913137">
                    <a:defRPr/>
                  </a:pPr>
                  <a:endParaRPr lang="en-US" kern="0">
                    <a:solidFill>
                      <a:sysClr val="windowText" lastClr="000000"/>
                    </a:solidFill>
                    <a:cs typeface="Calibri" panose="020F0502020204030204" pitchFamily="34" charset="0"/>
                  </a:endParaRPr>
                </a:p>
              </p:txBody>
            </p:sp>
            <p:sp>
              <p:nvSpPr>
                <p:cNvPr id="163" name="Freeform 223">
                  <a:extLst>
                    <a:ext uri="{FF2B5EF4-FFF2-40B4-BE49-F238E27FC236}">
                      <a16:creationId xmlns="" xmlns:a16="http://schemas.microsoft.com/office/drawing/2014/main" id="{97FBEBF3-D2B6-4ADE-A5BF-696BA6A841C1}"/>
                    </a:ext>
                  </a:extLst>
                </p:cNvPr>
                <p:cNvSpPr>
                  <a:spLocks/>
                </p:cNvSpPr>
                <p:nvPr>
                  <p:custDataLst>
                    <p:tags r:id="rId151"/>
                  </p:custDataLst>
                </p:nvPr>
              </p:nvSpPr>
              <p:spPr bwMode="auto">
                <a:xfrm>
                  <a:off x="4456014" y="2740485"/>
                  <a:ext cx="59676" cy="70935"/>
                </a:xfrm>
                <a:custGeom>
                  <a:avLst/>
                  <a:gdLst>
                    <a:gd name="T0" fmla="*/ 188 w 205"/>
                    <a:gd name="T1" fmla="*/ 185 h 191"/>
                    <a:gd name="T2" fmla="*/ 175 w 205"/>
                    <a:gd name="T3" fmla="*/ 185 h 191"/>
                    <a:gd name="T4" fmla="*/ 158 w 205"/>
                    <a:gd name="T5" fmla="*/ 185 h 191"/>
                    <a:gd name="T6" fmla="*/ 144 w 205"/>
                    <a:gd name="T7" fmla="*/ 180 h 191"/>
                    <a:gd name="T8" fmla="*/ 136 w 205"/>
                    <a:gd name="T9" fmla="*/ 173 h 191"/>
                    <a:gd name="T10" fmla="*/ 129 w 205"/>
                    <a:gd name="T11" fmla="*/ 163 h 191"/>
                    <a:gd name="T12" fmla="*/ 120 w 205"/>
                    <a:gd name="T13" fmla="*/ 147 h 191"/>
                    <a:gd name="T14" fmla="*/ 110 w 205"/>
                    <a:gd name="T15" fmla="*/ 131 h 191"/>
                    <a:gd name="T16" fmla="*/ 99 w 205"/>
                    <a:gd name="T17" fmla="*/ 121 h 191"/>
                    <a:gd name="T18" fmla="*/ 93 w 205"/>
                    <a:gd name="T19" fmla="*/ 126 h 191"/>
                    <a:gd name="T20" fmla="*/ 90 w 205"/>
                    <a:gd name="T21" fmla="*/ 135 h 191"/>
                    <a:gd name="T22" fmla="*/ 84 w 205"/>
                    <a:gd name="T23" fmla="*/ 130 h 191"/>
                    <a:gd name="T24" fmla="*/ 72 w 205"/>
                    <a:gd name="T25" fmla="*/ 113 h 191"/>
                    <a:gd name="T26" fmla="*/ 56 w 205"/>
                    <a:gd name="T27" fmla="*/ 87 h 191"/>
                    <a:gd name="T28" fmla="*/ 41 w 205"/>
                    <a:gd name="T29" fmla="*/ 67 h 191"/>
                    <a:gd name="T30" fmla="*/ 31 w 205"/>
                    <a:gd name="T31" fmla="*/ 58 h 191"/>
                    <a:gd name="T32" fmla="*/ 26 w 205"/>
                    <a:gd name="T33" fmla="*/ 60 h 191"/>
                    <a:gd name="T34" fmla="*/ 29 w 205"/>
                    <a:gd name="T35" fmla="*/ 69 h 191"/>
                    <a:gd name="T36" fmla="*/ 34 w 205"/>
                    <a:gd name="T37" fmla="*/ 78 h 191"/>
                    <a:gd name="T38" fmla="*/ 41 w 205"/>
                    <a:gd name="T39" fmla="*/ 84 h 191"/>
                    <a:gd name="T40" fmla="*/ 46 w 205"/>
                    <a:gd name="T41" fmla="*/ 105 h 191"/>
                    <a:gd name="T42" fmla="*/ 13 w 205"/>
                    <a:gd name="T43" fmla="*/ 98 h 191"/>
                    <a:gd name="T44" fmla="*/ 4 w 205"/>
                    <a:gd name="T45" fmla="*/ 84 h 191"/>
                    <a:gd name="T46" fmla="*/ 0 w 205"/>
                    <a:gd name="T47" fmla="*/ 60 h 191"/>
                    <a:gd name="T48" fmla="*/ 0 w 205"/>
                    <a:gd name="T49" fmla="*/ 38 h 191"/>
                    <a:gd name="T50" fmla="*/ 3 w 205"/>
                    <a:gd name="T51" fmla="*/ 28 h 191"/>
                    <a:gd name="T52" fmla="*/ 8 w 205"/>
                    <a:gd name="T53" fmla="*/ 22 h 191"/>
                    <a:gd name="T54" fmla="*/ 14 w 205"/>
                    <a:gd name="T55" fmla="*/ 13 h 191"/>
                    <a:gd name="T56" fmla="*/ 20 w 205"/>
                    <a:gd name="T57" fmla="*/ 4 h 191"/>
                    <a:gd name="T58" fmla="*/ 28 w 205"/>
                    <a:gd name="T59" fmla="*/ 0 h 191"/>
                    <a:gd name="T60" fmla="*/ 126 w 205"/>
                    <a:gd name="T61" fmla="*/ 6 h 191"/>
                    <a:gd name="T62" fmla="*/ 127 w 205"/>
                    <a:gd name="T63" fmla="*/ 21 h 191"/>
                    <a:gd name="T64" fmla="*/ 130 w 205"/>
                    <a:gd name="T65" fmla="*/ 37 h 191"/>
                    <a:gd name="T66" fmla="*/ 143 w 205"/>
                    <a:gd name="T67" fmla="*/ 70 h 191"/>
                    <a:gd name="T68" fmla="*/ 165 w 205"/>
                    <a:gd name="T69" fmla="*/ 102 h 191"/>
                    <a:gd name="T70" fmla="*/ 177 w 205"/>
                    <a:gd name="T71" fmla="*/ 117 h 191"/>
                    <a:gd name="T72" fmla="*/ 192 w 205"/>
                    <a:gd name="T73" fmla="*/ 130 h 191"/>
                    <a:gd name="T74" fmla="*/ 189 w 205"/>
                    <a:gd name="T75" fmla="*/ 143 h 191"/>
                    <a:gd name="T76" fmla="*/ 189 w 205"/>
                    <a:gd name="T77" fmla="*/ 156 h 191"/>
                    <a:gd name="T78" fmla="*/ 192 w 205"/>
                    <a:gd name="T79" fmla="*/ 191 h 191"/>
                    <a:gd name="T80" fmla="*/ 205 w 205"/>
                    <a:gd name="T81" fmla="*/ 185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CDCDCD"/>
                </a:solidFill>
                <a:ln w="3175" cap="flat" cmpd="sng">
                  <a:solidFill>
                    <a:srgbClr val="FFFFFF"/>
                  </a:solidFill>
                  <a:prstDash val="solid"/>
                  <a:round/>
                  <a:headEnd type="none" w="med" len="med"/>
                  <a:tailEnd type="none" w="med" len="med"/>
                </a:ln>
                <a:effectLst/>
              </p:spPr>
              <p:txBody>
                <a:bodyPr/>
                <a:lstStyle/>
                <a:p>
                  <a:pPr defTabSz="913137">
                    <a:defRPr/>
                  </a:pPr>
                  <a:endParaRPr lang="en-US" kern="0">
                    <a:solidFill>
                      <a:sysClr val="windowText" lastClr="000000"/>
                    </a:solidFill>
                    <a:cs typeface="Calibri" panose="020F0502020204030204" pitchFamily="34" charset="0"/>
                  </a:endParaRPr>
                </a:p>
              </p:txBody>
            </p:sp>
            <p:sp>
              <p:nvSpPr>
                <p:cNvPr id="164" name="Freeform 224">
                  <a:extLst>
                    <a:ext uri="{FF2B5EF4-FFF2-40B4-BE49-F238E27FC236}">
                      <a16:creationId xmlns="" xmlns:a16="http://schemas.microsoft.com/office/drawing/2014/main" id="{52A81F6C-19E7-4A0E-9A73-CE7DF5A973EA}"/>
                    </a:ext>
                  </a:extLst>
                </p:cNvPr>
                <p:cNvSpPr>
                  <a:spLocks/>
                </p:cNvSpPr>
                <p:nvPr>
                  <p:custDataLst>
                    <p:tags r:id="rId152"/>
                  </p:custDataLst>
                </p:nvPr>
              </p:nvSpPr>
              <p:spPr bwMode="auto">
                <a:xfrm>
                  <a:off x="4513439" y="2778768"/>
                  <a:ext cx="101337" cy="56298"/>
                </a:xfrm>
                <a:custGeom>
                  <a:avLst/>
                  <a:gdLst>
                    <a:gd name="T0" fmla="*/ 3 w 329"/>
                    <a:gd name="T1" fmla="*/ 58 h 154"/>
                    <a:gd name="T2" fmla="*/ 0 w 329"/>
                    <a:gd name="T3" fmla="*/ 42 h 154"/>
                    <a:gd name="T4" fmla="*/ 2 w 329"/>
                    <a:gd name="T5" fmla="*/ 31 h 154"/>
                    <a:gd name="T6" fmla="*/ 17 w 329"/>
                    <a:gd name="T7" fmla="*/ 33 h 154"/>
                    <a:gd name="T8" fmla="*/ 36 w 329"/>
                    <a:gd name="T9" fmla="*/ 41 h 154"/>
                    <a:gd name="T10" fmla="*/ 49 w 329"/>
                    <a:gd name="T11" fmla="*/ 43 h 154"/>
                    <a:gd name="T12" fmla="*/ 67 w 329"/>
                    <a:gd name="T13" fmla="*/ 43 h 154"/>
                    <a:gd name="T14" fmla="*/ 86 w 329"/>
                    <a:gd name="T15" fmla="*/ 39 h 154"/>
                    <a:gd name="T16" fmla="*/ 110 w 329"/>
                    <a:gd name="T17" fmla="*/ 30 h 154"/>
                    <a:gd name="T18" fmla="*/ 140 w 329"/>
                    <a:gd name="T19" fmla="*/ 13 h 154"/>
                    <a:gd name="T20" fmla="*/ 162 w 329"/>
                    <a:gd name="T21" fmla="*/ 4 h 154"/>
                    <a:gd name="T22" fmla="*/ 179 w 329"/>
                    <a:gd name="T23" fmla="*/ 0 h 154"/>
                    <a:gd name="T24" fmla="*/ 203 w 329"/>
                    <a:gd name="T25" fmla="*/ 0 h 154"/>
                    <a:gd name="T26" fmla="*/ 224 w 329"/>
                    <a:gd name="T27" fmla="*/ 6 h 154"/>
                    <a:gd name="T28" fmla="*/ 243 w 329"/>
                    <a:gd name="T29" fmla="*/ 15 h 154"/>
                    <a:gd name="T30" fmla="*/ 259 w 329"/>
                    <a:gd name="T31" fmla="*/ 28 h 154"/>
                    <a:gd name="T32" fmla="*/ 280 w 329"/>
                    <a:gd name="T33" fmla="*/ 46 h 154"/>
                    <a:gd name="T34" fmla="*/ 302 w 329"/>
                    <a:gd name="T35" fmla="*/ 61 h 154"/>
                    <a:gd name="T36" fmla="*/ 319 w 329"/>
                    <a:gd name="T37" fmla="*/ 67 h 154"/>
                    <a:gd name="T38" fmla="*/ 313 w 329"/>
                    <a:gd name="T39" fmla="*/ 82 h 154"/>
                    <a:gd name="T40" fmla="*/ 293 w 329"/>
                    <a:gd name="T41" fmla="*/ 106 h 154"/>
                    <a:gd name="T42" fmla="*/ 277 w 329"/>
                    <a:gd name="T43" fmla="*/ 138 h 154"/>
                    <a:gd name="T44" fmla="*/ 265 w 329"/>
                    <a:gd name="T45" fmla="*/ 153 h 154"/>
                    <a:gd name="T46" fmla="*/ 253 w 329"/>
                    <a:gd name="T47" fmla="*/ 146 h 154"/>
                    <a:gd name="T48" fmla="*/ 240 w 329"/>
                    <a:gd name="T49" fmla="*/ 136 h 154"/>
                    <a:gd name="T50" fmla="*/ 230 w 329"/>
                    <a:gd name="T51" fmla="*/ 126 h 154"/>
                    <a:gd name="T52" fmla="*/ 230 w 329"/>
                    <a:gd name="T53" fmla="*/ 114 h 154"/>
                    <a:gd name="T54" fmla="*/ 235 w 329"/>
                    <a:gd name="T55" fmla="*/ 100 h 154"/>
                    <a:gd name="T56" fmla="*/ 249 w 329"/>
                    <a:gd name="T57" fmla="*/ 86 h 154"/>
                    <a:gd name="T58" fmla="*/ 233 w 329"/>
                    <a:gd name="T59" fmla="*/ 68 h 154"/>
                    <a:gd name="T60" fmla="*/ 207 w 329"/>
                    <a:gd name="T61" fmla="*/ 55 h 154"/>
                    <a:gd name="T62" fmla="*/ 195 w 329"/>
                    <a:gd name="T63" fmla="*/ 41 h 154"/>
                    <a:gd name="T64" fmla="*/ 179 w 329"/>
                    <a:gd name="T65" fmla="*/ 34 h 154"/>
                    <a:gd name="T66" fmla="*/ 163 w 329"/>
                    <a:gd name="T67" fmla="*/ 41 h 154"/>
                    <a:gd name="T68" fmla="*/ 150 w 329"/>
                    <a:gd name="T69" fmla="*/ 50 h 154"/>
                    <a:gd name="T70" fmla="*/ 140 w 329"/>
                    <a:gd name="T71" fmla="*/ 61 h 154"/>
                    <a:gd name="T72" fmla="*/ 132 w 329"/>
                    <a:gd name="T73" fmla="*/ 74 h 154"/>
                    <a:gd name="T74" fmla="*/ 128 w 329"/>
                    <a:gd name="T75" fmla="*/ 88 h 154"/>
                    <a:gd name="T76" fmla="*/ 123 w 329"/>
                    <a:gd name="T77" fmla="*/ 109 h 154"/>
                    <a:gd name="T78" fmla="*/ 122 w 329"/>
                    <a:gd name="T79" fmla="*/ 125 h 154"/>
                    <a:gd name="T80" fmla="*/ 118 w 329"/>
                    <a:gd name="T81" fmla="*/ 129 h 154"/>
                    <a:gd name="T82" fmla="*/ 108 w 329"/>
                    <a:gd name="T83" fmla="*/ 135 h 154"/>
                    <a:gd name="T84" fmla="*/ 96 w 329"/>
                    <a:gd name="T85" fmla="*/ 135 h 154"/>
                    <a:gd name="T86" fmla="*/ 83 w 329"/>
                    <a:gd name="T87" fmla="*/ 129 h 154"/>
                    <a:gd name="T88" fmla="*/ 66 w 329"/>
                    <a:gd name="T89" fmla="*/ 116 h 154"/>
                    <a:gd name="T90" fmla="*/ 48 w 329"/>
                    <a:gd name="T91" fmla="*/ 94 h 154"/>
                    <a:gd name="T92" fmla="*/ 33 w 329"/>
                    <a:gd name="T93" fmla="*/ 80 h 154"/>
                    <a:gd name="T94" fmla="*/ 22 w 329"/>
                    <a:gd name="T95" fmla="*/ 74 h 154"/>
                    <a:gd name="T96" fmla="*/ 3 w 329"/>
                    <a:gd name="T97" fmla="*/ 7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chemeClr val="accent1"/>
                </a:solidFill>
                <a:ln w="3175" cap="flat" cmpd="sng">
                  <a:solidFill>
                    <a:srgbClr val="FFFFFF"/>
                  </a:solidFill>
                  <a:prstDash val="solid"/>
                  <a:round/>
                  <a:headEnd type="none" w="med" len="med"/>
                  <a:tailEnd type="none" w="med" len="med"/>
                </a:ln>
                <a:effectLst/>
              </p:spPr>
              <p:txBody>
                <a:bodyPr/>
                <a:lstStyle/>
                <a:p>
                  <a:pPr defTabSz="913137">
                    <a:defRPr/>
                  </a:pPr>
                  <a:endParaRPr lang="en-US" kern="0">
                    <a:solidFill>
                      <a:sysClr val="windowText" lastClr="000000"/>
                    </a:solidFill>
                    <a:cs typeface="Calibri" panose="020F0502020204030204" pitchFamily="34" charset="0"/>
                  </a:endParaRPr>
                </a:p>
              </p:txBody>
            </p:sp>
            <p:sp>
              <p:nvSpPr>
                <p:cNvPr id="165" name="Freeform 225">
                  <a:extLst>
                    <a:ext uri="{FF2B5EF4-FFF2-40B4-BE49-F238E27FC236}">
                      <a16:creationId xmlns="" xmlns:a16="http://schemas.microsoft.com/office/drawing/2014/main" id="{0A0AD083-9F9A-42A3-9183-1073CA399CE2}"/>
                    </a:ext>
                  </a:extLst>
                </p:cNvPr>
                <p:cNvSpPr>
                  <a:spLocks/>
                </p:cNvSpPr>
                <p:nvPr>
                  <p:custDataLst>
                    <p:tags r:id="rId153"/>
                  </p:custDataLst>
                </p:nvPr>
              </p:nvSpPr>
              <p:spPr bwMode="auto">
                <a:xfrm>
                  <a:off x="4996479" y="3668282"/>
                  <a:ext cx="94581" cy="110344"/>
                </a:xfrm>
                <a:custGeom>
                  <a:avLst/>
                  <a:gdLst>
                    <a:gd name="T0" fmla="*/ 297 w 306"/>
                    <a:gd name="T1" fmla="*/ 181 h 293"/>
                    <a:gd name="T2" fmla="*/ 296 w 306"/>
                    <a:gd name="T3" fmla="*/ 185 h 293"/>
                    <a:gd name="T4" fmla="*/ 291 w 306"/>
                    <a:gd name="T5" fmla="*/ 194 h 293"/>
                    <a:gd name="T6" fmla="*/ 282 w 306"/>
                    <a:gd name="T7" fmla="*/ 199 h 293"/>
                    <a:gd name="T8" fmla="*/ 272 w 306"/>
                    <a:gd name="T9" fmla="*/ 201 h 293"/>
                    <a:gd name="T10" fmla="*/ 263 w 306"/>
                    <a:gd name="T11" fmla="*/ 207 h 293"/>
                    <a:gd name="T12" fmla="*/ 253 w 306"/>
                    <a:gd name="T13" fmla="*/ 229 h 293"/>
                    <a:gd name="T14" fmla="*/ 242 w 306"/>
                    <a:gd name="T15" fmla="*/ 254 h 293"/>
                    <a:gd name="T16" fmla="*/ 231 w 306"/>
                    <a:gd name="T17" fmla="*/ 267 h 293"/>
                    <a:gd name="T18" fmla="*/ 221 w 306"/>
                    <a:gd name="T19" fmla="*/ 273 h 293"/>
                    <a:gd name="T20" fmla="*/ 200 w 306"/>
                    <a:gd name="T21" fmla="*/ 281 h 293"/>
                    <a:gd name="T22" fmla="*/ 164 w 306"/>
                    <a:gd name="T23" fmla="*/ 290 h 293"/>
                    <a:gd name="T24" fmla="*/ 139 w 306"/>
                    <a:gd name="T25" fmla="*/ 293 h 293"/>
                    <a:gd name="T26" fmla="*/ 123 w 306"/>
                    <a:gd name="T27" fmla="*/ 293 h 293"/>
                    <a:gd name="T28" fmla="*/ 106 w 306"/>
                    <a:gd name="T29" fmla="*/ 290 h 293"/>
                    <a:gd name="T30" fmla="*/ 92 w 306"/>
                    <a:gd name="T31" fmla="*/ 286 h 293"/>
                    <a:gd name="T32" fmla="*/ 80 w 306"/>
                    <a:gd name="T33" fmla="*/ 278 h 293"/>
                    <a:gd name="T34" fmla="*/ 71 w 306"/>
                    <a:gd name="T35" fmla="*/ 268 h 293"/>
                    <a:gd name="T36" fmla="*/ 1 w 306"/>
                    <a:gd name="T37" fmla="*/ 236 h 293"/>
                    <a:gd name="T38" fmla="*/ 0 w 306"/>
                    <a:gd name="T39" fmla="*/ 88 h 293"/>
                    <a:gd name="T40" fmla="*/ 1 w 306"/>
                    <a:gd name="T41" fmla="*/ 49 h 293"/>
                    <a:gd name="T42" fmla="*/ 4 w 306"/>
                    <a:gd name="T43" fmla="*/ 35 h 293"/>
                    <a:gd name="T44" fmla="*/ 11 w 306"/>
                    <a:gd name="T45" fmla="*/ 21 h 293"/>
                    <a:gd name="T46" fmla="*/ 20 w 306"/>
                    <a:gd name="T47" fmla="*/ 8 h 293"/>
                    <a:gd name="T48" fmla="*/ 41 w 306"/>
                    <a:gd name="T49" fmla="*/ 2 h 293"/>
                    <a:gd name="T50" fmla="*/ 53 w 306"/>
                    <a:gd name="T51" fmla="*/ 0 h 293"/>
                    <a:gd name="T52" fmla="*/ 72 w 306"/>
                    <a:gd name="T53" fmla="*/ 6 h 293"/>
                    <a:gd name="T54" fmla="*/ 80 w 306"/>
                    <a:gd name="T55" fmla="*/ 7 h 293"/>
                    <a:gd name="T56" fmla="*/ 84 w 306"/>
                    <a:gd name="T57" fmla="*/ 4 h 293"/>
                    <a:gd name="T58" fmla="*/ 87 w 306"/>
                    <a:gd name="T59" fmla="*/ 5 h 293"/>
                    <a:gd name="T60" fmla="*/ 90 w 306"/>
                    <a:gd name="T61" fmla="*/ 11 h 293"/>
                    <a:gd name="T62" fmla="*/ 99 w 306"/>
                    <a:gd name="T63" fmla="*/ 19 h 293"/>
                    <a:gd name="T64" fmla="*/ 121 w 306"/>
                    <a:gd name="T65" fmla="*/ 31 h 293"/>
                    <a:gd name="T66" fmla="*/ 148 w 306"/>
                    <a:gd name="T67" fmla="*/ 41 h 293"/>
                    <a:gd name="T68" fmla="*/ 182 w 306"/>
                    <a:gd name="T69" fmla="*/ 59 h 293"/>
                    <a:gd name="T70" fmla="*/ 210 w 306"/>
                    <a:gd name="T71" fmla="*/ 79 h 293"/>
                    <a:gd name="T72" fmla="*/ 241 w 306"/>
                    <a:gd name="T73" fmla="*/ 102 h 293"/>
                    <a:gd name="T74" fmla="*/ 261 w 306"/>
                    <a:gd name="T75" fmla="*/ 117 h 293"/>
                    <a:gd name="T76" fmla="*/ 266 w 306"/>
                    <a:gd name="T77" fmla="*/ 124 h 293"/>
                    <a:gd name="T78" fmla="*/ 280 w 306"/>
                    <a:gd name="T79" fmla="*/ 135 h 293"/>
                    <a:gd name="T80" fmla="*/ 299 w 306"/>
                    <a:gd name="T81" fmla="*/ 151 h 293"/>
                    <a:gd name="T82" fmla="*/ 306 w 306"/>
                    <a:gd name="T83" fmla="*/ 161 h 293"/>
                    <a:gd name="T84" fmla="*/ 304 w 306"/>
                    <a:gd name="T85" fmla="*/ 166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166" name="Freeform 226">
                  <a:extLst>
                    <a:ext uri="{FF2B5EF4-FFF2-40B4-BE49-F238E27FC236}">
                      <a16:creationId xmlns="" xmlns:a16="http://schemas.microsoft.com/office/drawing/2014/main" id="{F35DABC5-E129-4415-A3FE-515D30E8A9A2}"/>
                    </a:ext>
                  </a:extLst>
                </p:cNvPr>
                <p:cNvSpPr>
                  <a:spLocks/>
                </p:cNvSpPr>
                <p:nvPr>
                  <p:custDataLst>
                    <p:tags r:id="rId154"/>
                  </p:custDataLst>
                </p:nvPr>
              </p:nvSpPr>
              <p:spPr bwMode="auto">
                <a:xfrm>
                  <a:off x="6093170" y="1268846"/>
                  <a:ext cx="167769" cy="65306"/>
                </a:xfrm>
                <a:custGeom>
                  <a:avLst/>
                  <a:gdLst>
                    <a:gd name="T0" fmla="*/ 74 w 546"/>
                    <a:gd name="T1" fmla="*/ 19 h 173"/>
                    <a:gd name="T2" fmla="*/ 94 w 546"/>
                    <a:gd name="T3" fmla="*/ 34 h 173"/>
                    <a:gd name="T4" fmla="*/ 110 w 546"/>
                    <a:gd name="T5" fmla="*/ 27 h 173"/>
                    <a:gd name="T6" fmla="*/ 132 w 546"/>
                    <a:gd name="T7" fmla="*/ 27 h 173"/>
                    <a:gd name="T8" fmla="*/ 161 w 546"/>
                    <a:gd name="T9" fmla="*/ 44 h 173"/>
                    <a:gd name="T10" fmla="*/ 209 w 546"/>
                    <a:gd name="T11" fmla="*/ 19 h 173"/>
                    <a:gd name="T12" fmla="*/ 243 w 546"/>
                    <a:gd name="T13" fmla="*/ 19 h 173"/>
                    <a:gd name="T14" fmla="*/ 260 w 546"/>
                    <a:gd name="T15" fmla="*/ 16 h 173"/>
                    <a:gd name="T16" fmla="*/ 269 w 546"/>
                    <a:gd name="T17" fmla="*/ 14 h 173"/>
                    <a:gd name="T18" fmla="*/ 279 w 546"/>
                    <a:gd name="T19" fmla="*/ 11 h 173"/>
                    <a:gd name="T20" fmla="*/ 286 w 546"/>
                    <a:gd name="T21" fmla="*/ 3 h 173"/>
                    <a:gd name="T22" fmla="*/ 321 w 546"/>
                    <a:gd name="T23" fmla="*/ 5 h 173"/>
                    <a:gd name="T24" fmla="*/ 333 w 546"/>
                    <a:gd name="T25" fmla="*/ 12 h 173"/>
                    <a:gd name="T26" fmla="*/ 348 w 546"/>
                    <a:gd name="T27" fmla="*/ 7 h 173"/>
                    <a:gd name="T28" fmla="*/ 353 w 546"/>
                    <a:gd name="T29" fmla="*/ 0 h 173"/>
                    <a:gd name="T30" fmla="*/ 367 w 546"/>
                    <a:gd name="T31" fmla="*/ 7 h 173"/>
                    <a:gd name="T32" fmla="*/ 389 w 546"/>
                    <a:gd name="T33" fmla="*/ 7 h 173"/>
                    <a:gd name="T34" fmla="*/ 436 w 546"/>
                    <a:gd name="T35" fmla="*/ 1 h 173"/>
                    <a:gd name="T36" fmla="*/ 482 w 546"/>
                    <a:gd name="T37" fmla="*/ 6 h 173"/>
                    <a:gd name="T38" fmla="*/ 528 w 546"/>
                    <a:gd name="T39" fmla="*/ 12 h 173"/>
                    <a:gd name="T40" fmla="*/ 545 w 546"/>
                    <a:gd name="T41" fmla="*/ 49 h 173"/>
                    <a:gd name="T42" fmla="*/ 537 w 546"/>
                    <a:gd name="T43" fmla="*/ 60 h 173"/>
                    <a:gd name="T44" fmla="*/ 513 w 546"/>
                    <a:gd name="T45" fmla="*/ 62 h 173"/>
                    <a:gd name="T46" fmla="*/ 483 w 546"/>
                    <a:gd name="T47" fmla="*/ 54 h 173"/>
                    <a:gd name="T48" fmla="*/ 413 w 546"/>
                    <a:gd name="T49" fmla="*/ 44 h 173"/>
                    <a:gd name="T50" fmla="*/ 438 w 546"/>
                    <a:gd name="T51" fmla="*/ 81 h 173"/>
                    <a:gd name="T52" fmla="*/ 471 w 546"/>
                    <a:gd name="T53" fmla="*/ 102 h 173"/>
                    <a:gd name="T54" fmla="*/ 493 w 546"/>
                    <a:gd name="T55" fmla="*/ 119 h 173"/>
                    <a:gd name="T56" fmla="*/ 475 w 546"/>
                    <a:gd name="T57" fmla="*/ 136 h 173"/>
                    <a:gd name="T58" fmla="*/ 449 w 546"/>
                    <a:gd name="T59" fmla="*/ 142 h 173"/>
                    <a:gd name="T60" fmla="*/ 426 w 546"/>
                    <a:gd name="T61" fmla="*/ 141 h 173"/>
                    <a:gd name="T62" fmla="*/ 412 w 546"/>
                    <a:gd name="T63" fmla="*/ 134 h 173"/>
                    <a:gd name="T64" fmla="*/ 399 w 546"/>
                    <a:gd name="T65" fmla="*/ 130 h 173"/>
                    <a:gd name="T66" fmla="*/ 385 w 546"/>
                    <a:gd name="T67" fmla="*/ 121 h 173"/>
                    <a:gd name="T68" fmla="*/ 375 w 546"/>
                    <a:gd name="T69" fmla="*/ 104 h 173"/>
                    <a:gd name="T70" fmla="*/ 365 w 546"/>
                    <a:gd name="T71" fmla="*/ 92 h 173"/>
                    <a:gd name="T72" fmla="*/ 344 w 546"/>
                    <a:gd name="T73" fmla="*/ 84 h 173"/>
                    <a:gd name="T74" fmla="*/ 325 w 546"/>
                    <a:gd name="T75" fmla="*/ 76 h 173"/>
                    <a:gd name="T76" fmla="*/ 303 w 546"/>
                    <a:gd name="T77" fmla="*/ 87 h 173"/>
                    <a:gd name="T78" fmla="*/ 258 w 546"/>
                    <a:gd name="T79" fmla="*/ 134 h 173"/>
                    <a:gd name="T80" fmla="*/ 236 w 546"/>
                    <a:gd name="T81" fmla="*/ 163 h 173"/>
                    <a:gd name="T82" fmla="*/ 220 w 546"/>
                    <a:gd name="T83" fmla="*/ 172 h 173"/>
                    <a:gd name="T84" fmla="*/ 188 w 546"/>
                    <a:gd name="T85" fmla="*/ 167 h 173"/>
                    <a:gd name="T86" fmla="*/ 165 w 546"/>
                    <a:gd name="T87" fmla="*/ 155 h 173"/>
                    <a:gd name="T88" fmla="*/ 113 w 546"/>
                    <a:gd name="T89" fmla="*/ 105 h 173"/>
                    <a:gd name="T90" fmla="*/ 95 w 546"/>
                    <a:gd name="T91" fmla="*/ 91 h 173"/>
                    <a:gd name="T92" fmla="*/ 60 w 546"/>
                    <a:gd name="T93" fmla="*/ 76 h 173"/>
                    <a:gd name="T94" fmla="*/ 16 w 546"/>
                    <a:gd name="T95" fmla="*/ 58 h 173"/>
                    <a:gd name="T96" fmla="*/ 11 w 546"/>
                    <a:gd name="T97" fmla="*/ 34 h 173"/>
                    <a:gd name="T98" fmla="*/ 28 w 546"/>
                    <a:gd name="T99" fmla="*/ 19 h 173"/>
                    <a:gd name="T100" fmla="*/ 47 w 546"/>
                    <a:gd name="T101" fmla="*/ 1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167" name="Freeform 227">
                  <a:extLst>
                    <a:ext uri="{FF2B5EF4-FFF2-40B4-BE49-F238E27FC236}">
                      <a16:creationId xmlns="" xmlns:a16="http://schemas.microsoft.com/office/drawing/2014/main" id="{92D505D8-584E-4438-B553-57CEBE78B04C}"/>
                    </a:ext>
                  </a:extLst>
                </p:cNvPr>
                <p:cNvSpPr>
                  <a:spLocks/>
                </p:cNvSpPr>
                <p:nvPr>
                  <p:custDataLst>
                    <p:tags r:id="rId155"/>
                  </p:custDataLst>
                </p:nvPr>
              </p:nvSpPr>
              <p:spPr bwMode="auto">
                <a:xfrm>
                  <a:off x="6041376" y="1432111"/>
                  <a:ext cx="318648" cy="256721"/>
                </a:xfrm>
                <a:custGeom>
                  <a:avLst/>
                  <a:gdLst>
                    <a:gd name="T0" fmla="*/ 240 w 1037"/>
                    <a:gd name="T1" fmla="*/ 622 h 690"/>
                    <a:gd name="T2" fmla="*/ 155 w 1037"/>
                    <a:gd name="T3" fmla="*/ 683 h 690"/>
                    <a:gd name="T4" fmla="*/ 32 w 1037"/>
                    <a:gd name="T5" fmla="*/ 654 h 690"/>
                    <a:gd name="T6" fmla="*/ 67 w 1037"/>
                    <a:gd name="T7" fmla="*/ 634 h 690"/>
                    <a:gd name="T8" fmla="*/ 18 w 1037"/>
                    <a:gd name="T9" fmla="*/ 596 h 690"/>
                    <a:gd name="T10" fmla="*/ 44 w 1037"/>
                    <a:gd name="T11" fmla="*/ 595 h 690"/>
                    <a:gd name="T12" fmla="*/ 67 w 1037"/>
                    <a:gd name="T13" fmla="*/ 567 h 690"/>
                    <a:gd name="T14" fmla="*/ 8 w 1037"/>
                    <a:gd name="T15" fmla="*/ 546 h 690"/>
                    <a:gd name="T16" fmla="*/ 74 w 1037"/>
                    <a:gd name="T17" fmla="*/ 523 h 690"/>
                    <a:gd name="T18" fmla="*/ 0 w 1037"/>
                    <a:gd name="T19" fmla="*/ 499 h 690"/>
                    <a:gd name="T20" fmla="*/ 20 w 1037"/>
                    <a:gd name="T21" fmla="*/ 456 h 690"/>
                    <a:gd name="T22" fmla="*/ 37 w 1037"/>
                    <a:gd name="T23" fmla="*/ 461 h 690"/>
                    <a:gd name="T24" fmla="*/ 77 w 1037"/>
                    <a:gd name="T25" fmla="*/ 449 h 690"/>
                    <a:gd name="T26" fmla="*/ 92 w 1037"/>
                    <a:gd name="T27" fmla="*/ 424 h 690"/>
                    <a:gd name="T28" fmla="*/ 130 w 1037"/>
                    <a:gd name="T29" fmla="*/ 409 h 690"/>
                    <a:gd name="T30" fmla="*/ 220 w 1037"/>
                    <a:gd name="T31" fmla="*/ 382 h 690"/>
                    <a:gd name="T32" fmla="*/ 227 w 1037"/>
                    <a:gd name="T33" fmla="*/ 339 h 690"/>
                    <a:gd name="T34" fmla="*/ 283 w 1037"/>
                    <a:gd name="T35" fmla="*/ 325 h 690"/>
                    <a:gd name="T36" fmla="*/ 282 w 1037"/>
                    <a:gd name="T37" fmla="*/ 310 h 690"/>
                    <a:gd name="T38" fmla="*/ 298 w 1037"/>
                    <a:gd name="T39" fmla="*/ 285 h 690"/>
                    <a:gd name="T40" fmla="*/ 335 w 1037"/>
                    <a:gd name="T41" fmla="*/ 243 h 690"/>
                    <a:gd name="T42" fmla="*/ 343 w 1037"/>
                    <a:gd name="T43" fmla="*/ 226 h 690"/>
                    <a:gd name="T44" fmla="*/ 390 w 1037"/>
                    <a:gd name="T45" fmla="*/ 200 h 690"/>
                    <a:gd name="T46" fmla="*/ 387 w 1037"/>
                    <a:gd name="T47" fmla="*/ 157 h 690"/>
                    <a:gd name="T48" fmla="*/ 373 w 1037"/>
                    <a:gd name="T49" fmla="*/ 142 h 690"/>
                    <a:gd name="T50" fmla="*/ 334 w 1037"/>
                    <a:gd name="T51" fmla="*/ 154 h 690"/>
                    <a:gd name="T52" fmla="*/ 390 w 1037"/>
                    <a:gd name="T53" fmla="*/ 103 h 690"/>
                    <a:gd name="T54" fmla="*/ 411 w 1037"/>
                    <a:gd name="T55" fmla="*/ 96 h 690"/>
                    <a:gd name="T56" fmla="*/ 463 w 1037"/>
                    <a:gd name="T57" fmla="*/ 114 h 690"/>
                    <a:gd name="T58" fmla="*/ 466 w 1037"/>
                    <a:gd name="T59" fmla="*/ 91 h 690"/>
                    <a:gd name="T60" fmla="*/ 558 w 1037"/>
                    <a:gd name="T61" fmla="*/ 61 h 690"/>
                    <a:gd name="T62" fmla="*/ 591 w 1037"/>
                    <a:gd name="T63" fmla="*/ 63 h 690"/>
                    <a:gd name="T64" fmla="*/ 645 w 1037"/>
                    <a:gd name="T65" fmla="*/ 55 h 690"/>
                    <a:gd name="T66" fmla="*/ 645 w 1037"/>
                    <a:gd name="T67" fmla="*/ 33 h 690"/>
                    <a:gd name="T68" fmla="*/ 699 w 1037"/>
                    <a:gd name="T69" fmla="*/ 13 h 690"/>
                    <a:gd name="T70" fmla="*/ 705 w 1037"/>
                    <a:gd name="T71" fmla="*/ 29 h 690"/>
                    <a:gd name="T72" fmla="*/ 712 w 1037"/>
                    <a:gd name="T73" fmla="*/ 40 h 690"/>
                    <a:gd name="T74" fmla="*/ 758 w 1037"/>
                    <a:gd name="T75" fmla="*/ 12 h 690"/>
                    <a:gd name="T76" fmla="*/ 817 w 1037"/>
                    <a:gd name="T77" fmla="*/ 6 h 690"/>
                    <a:gd name="T78" fmla="*/ 844 w 1037"/>
                    <a:gd name="T79" fmla="*/ 8 h 690"/>
                    <a:gd name="T80" fmla="*/ 862 w 1037"/>
                    <a:gd name="T81" fmla="*/ 11 h 690"/>
                    <a:gd name="T82" fmla="*/ 924 w 1037"/>
                    <a:gd name="T83" fmla="*/ 6 h 690"/>
                    <a:gd name="T84" fmla="*/ 1037 w 1037"/>
                    <a:gd name="T85" fmla="*/ 43 h 690"/>
                    <a:gd name="T86" fmla="*/ 1005 w 1037"/>
                    <a:gd name="T87" fmla="*/ 79 h 690"/>
                    <a:gd name="T88" fmla="*/ 930 w 1037"/>
                    <a:gd name="T89" fmla="*/ 55 h 690"/>
                    <a:gd name="T90" fmla="*/ 873 w 1037"/>
                    <a:gd name="T91" fmla="*/ 74 h 690"/>
                    <a:gd name="T92" fmla="*/ 848 w 1037"/>
                    <a:gd name="T93" fmla="*/ 116 h 690"/>
                    <a:gd name="T94" fmla="*/ 811 w 1037"/>
                    <a:gd name="T95" fmla="*/ 111 h 690"/>
                    <a:gd name="T96" fmla="*/ 745 w 1037"/>
                    <a:gd name="T97" fmla="*/ 128 h 690"/>
                    <a:gd name="T98" fmla="*/ 694 w 1037"/>
                    <a:gd name="T99" fmla="*/ 92 h 690"/>
                    <a:gd name="T100" fmla="*/ 620 w 1037"/>
                    <a:gd name="T101" fmla="*/ 112 h 690"/>
                    <a:gd name="T102" fmla="*/ 534 w 1037"/>
                    <a:gd name="T103" fmla="*/ 134 h 690"/>
                    <a:gd name="T104" fmla="*/ 486 w 1037"/>
                    <a:gd name="T105" fmla="*/ 210 h 690"/>
                    <a:gd name="T106" fmla="*/ 430 w 1037"/>
                    <a:gd name="T107" fmla="*/ 279 h 690"/>
                    <a:gd name="T108" fmla="*/ 399 w 1037"/>
                    <a:gd name="T109" fmla="*/ 364 h 690"/>
                    <a:gd name="T110" fmla="*/ 333 w 1037"/>
                    <a:gd name="T111" fmla="*/ 425 h 690"/>
                    <a:gd name="T112" fmla="*/ 355 w 1037"/>
                    <a:gd name="T113" fmla="*/ 497 h 690"/>
                    <a:gd name="T114" fmla="*/ 354 w 1037"/>
                    <a:gd name="T115" fmla="*/ 558 h 690"/>
                    <a:gd name="T116" fmla="*/ 331 w 1037"/>
                    <a:gd name="T117" fmla="*/ 615 h 690"/>
                    <a:gd name="T118" fmla="*/ 295 w 1037"/>
                    <a:gd name="T119" fmla="*/ 645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168" name="Freeform 228">
                  <a:extLst>
                    <a:ext uri="{FF2B5EF4-FFF2-40B4-BE49-F238E27FC236}">
                      <a16:creationId xmlns="" xmlns:a16="http://schemas.microsoft.com/office/drawing/2014/main" id="{CF96A130-B59C-4B59-AB32-A9F269CD5EE9}"/>
                    </a:ext>
                  </a:extLst>
                </p:cNvPr>
                <p:cNvSpPr>
                  <a:spLocks/>
                </p:cNvSpPr>
                <p:nvPr>
                  <p:custDataLst>
                    <p:tags r:id="rId156"/>
                  </p:custDataLst>
                </p:nvPr>
              </p:nvSpPr>
              <p:spPr bwMode="auto">
                <a:xfrm>
                  <a:off x="6282333" y="2028874"/>
                  <a:ext cx="34905" cy="64180"/>
                </a:xfrm>
                <a:custGeom>
                  <a:avLst/>
                  <a:gdLst>
                    <a:gd name="T0" fmla="*/ 120 w 120"/>
                    <a:gd name="T1" fmla="*/ 99 h 173"/>
                    <a:gd name="T2" fmla="*/ 92 w 120"/>
                    <a:gd name="T3" fmla="*/ 60 h 173"/>
                    <a:gd name="T4" fmla="*/ 70 w 120"/>
                    <a:gd name="T5" fmla="*/ 28 h 173"/>
                    <a:gd name="T6" fmla="*/ 60 w 120"/>
                    <a:gd name="T7" fmla="*/ 16 h 173"/>
                    <a:gd name="T8" fmla="*/ 53 w 120"/>
                    <a:gd name="T9" fmla="*/ 8 h 173"/>
                    <a:gd name="T10" fmla="*/ 48 w 120"/>
                    <a:gd name="T11" fmla="*/ 4 h 173"/>
                    <a:gd name="T12" fmla="*/ 45 w 120"/>
                    <a:gd name="T13" fmla="*/ 2 h 173"/>
                    <a:gd name="T14" fmla="*/ 43 w 120"/>
                    <a:gd name="T15" fmla="*/ 1 h 173"/>
                    <a:gd name="T16" fmla="*/ 39 w 120"/>
                    <a:gd name="T17" fmla="*/ 0 h 173"/>
                    <a:gd name="T18" fmla="*/ 33 w 120"/>
                    <a:gd name="T19" fmla="*/ 0 h 173"/>
                    <a:gd name="T20" fmla="*/ 27 w 120"/>
                    <a:gd name="T21" fmla="*/ 1 h 173"/>
                    <a:gd name="T22" fmla="*/ 24 w 120"/>
                    <a:gd name="T23" fmla="*/ 3 h 173"/>
                    <a:gd name="T24" fmla="*/ 21 w 120"/>
                    <a:gd name="T25" fmla="*/ 5 h 173"/>
                    <a:gd name="T26" fmla="*/ 19 w 120"/>
                    <a:gd name="T27" fmla="*/ 8 h 173"/>
                    <a:gd name="T28" fmla="*/ 16 w 120"/>
                    <a:gd name="T29" fmla="*/ 12 h 173"/>
                    <a:gd name="T30" fmla="*/ 15 w 120"/>
                    <a:gd name="T31" fmla="*/ 15 h 173"/>
                    <a:gd name="T32" fmla="*/ 15 w 120"/>
                    <a:gd name="T33" fmla="*/ 20 h 173"/>
                    <a:gd name="T34" fmla="*/ 14 w 120"/>
                    <a:gd name="T35" fmla="*/ 30 h 173"/>
                    <a:gd name="T36" fmla="*/ 12 w 120"/>
                    <a:gd name="T37" fmla="*/ 42 h 173"/>
                    <a:gd name="T38" fmla="*/ 10 w 120"/>
                    <a:gd name="T39" fmla="*/ 48 h 173"/>
                    <a:gd name="T40" fmla="*/ 8 w 120"/>
                    <a:gd name="T41" fmla="*/ 54 h 173"/>
                    <a:gd name="T42" fmla="*/ 4 w 120"/>
                    <a:gd name="T43" fmla="*/ 61 h 173"/>
                    <a:gd name="T44" fmla="*/ 0 w 120"/>
                    <a:gd name="T45" fmla="*/ 68 h 173"/>
                    <a:gd name="T46" fmla="*/ 5 w 120"/>
                    <a:gd name="T47" fmla="*/ 82 h 173"/>
                    <a:gd name="T48" fmla="*/ 10 w 120"/>
                    <a:gd name="T49" fmla="*/ 99 h 173"/>
                    <a:gd name="T50" fmla="*/ 15 w 120"/>
                    <a:gd name="T51" fmla="*/ 115 h 173"/>
                    <a:gd name="T52" fmla="*/ 20 w 120"/>
                    <a:gd name="T53" fmla="*/ 129 h 173"/>
                    <a:gd name="T54" fmla="*/ 24 w 120"/>
                    <a:gd name="T55" fmla="*/ 134 h 173"/>
                    <a:gd name="T56" fmla="*/ 30 w 120"/>
                    <a:gd name="T57" fmla="*/ 139 h 173"/>
                    <a:gd name="T58" fmla="*/ 37 w 120"/>
                    <a:gd name="T59" fmla="*/ 145 h 173"/>
                    <a:gd name="T60" fmla="*/ 46 w 120"/>
                    <a:gd name="T61" fmla="*/ 151 h 173"/>
                    <a:gd name="T62" fmla="*/ 54 w 120"/>
                    <a:gd name="T63" fmla="*/ 157 h 173"/>
                    <a:gd name="T64" fmla="*/ 60 w 120"/>
                    <a:gd name="T65" fmla="*/ 163 h 173"/>
                    <a:gd name="T66" fmla="*/ 62 w 120"/>
                    <a:gd name="T67" fmla="*/ 165 h 173"/>
                    <a:gd name="T68" fmla="*/ 65 w 120"/>
                    <a:gd name="T69" fmla="*/ 168 h 173"/>
                    <a:gd name="T70" fmla="*/ 66 w 120"/>
                    <a:gd name="T71" fmla="*/ 170 h 173"/>
                    <a:gd name="T72" fmla="*/ 67 w 120"/>
                    <a:gd name="T73" fmla="*/ 173 h 173"/>
                    <a:gd name="T74" fmla="*/ 76 w 120"/>
                    <a:gd name="T75" fmla="*/ 167 h 173"/>
                    <a:gd name="T76" fmla="*/ 86 w 120"/>
                    <a:gd name="T77" fmla="*/ 160 h 173"/>
                    <a:gd name="T78" fmla="*/ 93 w 120"/>
                    <a:gd name="T79" fmla="*/ 152 h 173"/>
                    <a:gd name="T80" fmla="*/ 101 w 120"/>
                    <a:gd name="T81" fmla="*/ 142 h 173"/>
                    <a:gd name="T82" fmla="*/ 106 w 120"/>
                    <a:gd name="T83" fmla="*/ 132 h 173"/>
                    <a:gd name="T84" fmla="*/ 112 w 120"/>
                    <a:gd name="T85" fmla="*/ 121 h 173"/>
                    <a:gd name="T86" fmla="*/ 116 w 120"/>
                    <a:gd name="T87" fmla="*/ 110 h 173"/>
                    <a:gd name="T88" fmla="*/ 120 w 120"/>
                    <a:gd name="T89" fmla="*/ 99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69" name="Freeform 229">
                  <a:extLst>
                    <a:ext uri="{FF2B5EF4-FFF2-40B4-BE49-F238E27FC236}">
                      <a16:creationId xmlns="" xmlns:a16="http://schemas.microsoft.com/office/drawing/2014/main" id="{E2D3A1C1-17D7-4CDE-96FE-012E87FBD48D}"/>
                    </a:ext>
                  </a:extLst>
                </p:cNvPr>
                <p:cNvSpPr>
                  <a:spLocks/>
                </p:cNvSpPr>
                <p:nvPr>
                  <p:custDataLst>
                    <p:tags r:id="rId157"/>
                  </p:custDataLst>
                </p:nvPr>
              </p:nvSpPr>
              <p:spPr bwMode="auto">
                <a:xfrm>
                  <a:off x="6075155" y="1915151"/>
                  <a:ext cx="59676" cy="41661"/>
                </a:xfrm>
                <a:custGeom>
                  <a:avLst/>
                  <a:gdLst>
                    <a:gd name="T0" fmla="*/ 200 w 200"/>
                    <a:gd name="T1" fmla="*/ 55 h 98"/>
                    <a:gd name="T2" fmla="*/ 195 w 200"/>
                    <a:gd name="T3" fmla="*/ 56 h 98"/>
                    <a:gd name="T4" fmla="*/ 186 w 200"/>
                    <a:gd name="T5" fmla="*/ 60 h 98"/>
                    <a:gd name="T6" fmla="*/ 177 w 200"/>
                    <a:gd name="T7" fmla="*/ 65 h 98"/>
                    <a:gd name="T8" fmla="*/ 166 w 200"/>
                    <a:gd name="T9" fmla="*/ 73 h 98"/>
                    <a:gd name="T10" fmla="*/ 155 w 200"/>
                    <a:gd name="T11" fmla="*/ 80 h 98"/>
                    <a:gd name="T12" fmla="*/ 145 w 200"/>
                    <a:gd name="T13" fmla="*/ 87 h 98"/>
                    <a:gd name="T14" fmla="*/ 137 w 200"/>
                    <a:gd name="T15" fmla="*/ 93 h 98"/>
                    <a:gd name="T16" fmla="*/ 133 w 200"/>
                    <a:gd name="T17" fmla="*/ 98 h 98"/>
                    <a:gd name="T18" fmla="*/ 127 w 200"/>
                    <a:gd name="T19" fmla="*/ 98 h 98"/>
                    <a:gd name="T20" fmla="*/ 122 w 200"/>
                    <a:gd name="T21" fmla="*/ 98 h 98"/>
                    <a:gd name="T22" fmla="*/ 116 w 200"/>
                    <a:gd name="T23" fmla="*/ 97 h 98"/>
                    <a:gd name="T24" fmla="*/ 111 w 200"/>
                    <a:gd name="T25" fmla="*/ 95 h 98"/>
                    <a:gd name="T26" fmla="*/ 106 w 200"/>
                    <a:gd name="T27" fmla="*/ 93 h 98"/>
                    <a:gd name="T28" fmla="*/ 103 w 200"/>
                    <a:gd name="T29" fmla="*/ 88 h 98"/>
                    <a:gd name="T30" fmla="*/ 101 w 200"/>
                    <a:gd name="T31" fmla="*/ 82 h 98"/>
                    <a:gd name="T32" fmla="*/ 100 w 200"/>
                    <a:gd name="T33" fmla="*/ 74 h 98"/>
                    <a:gd name="T34" fmla="*/ 91 w 200"/>
                    <a:gd name="T35" fmla="*/ 80 h 98"/>
                    <a:gd name="T36" fmla="*/ 82 w 200"/>
                    <a:gd name="T37" fmla="*/ 86 h 98"/>
                    <a:gd name="T38" fmla="*/ 78 w 200"/>
                    <a:gd name="T39" fmla="*/ 90 h 98"/>
                    <a:gd name="T40" fmla="*/ 72 w 200"/>
                    <a:gd name="T41" fmla="*/ 93 h 98"/>
                    <a:gd name="T42" fmla="*/ 67 w 200"/>
                    <a:gd name="T43" fmla="*/ 96 h 98"/>
                    <a:gd name="T44" fmla="*/ 60 w 200"/>
                    <a:gd name="T45" fmla="*/ 98 h 98"/>
                    <a:gd name="T46" fmla="*/ 39 w 200"/>
                    <a:gd name="T47" fmla="*/ 98 h 98"/>
                    <a:gd name="T48" fmla="*/ 34 w 200"/>
                    <a:gd name="T49" fmla="*/ 98 h 98"/>
                    <a:gd name="T50" fmla="*/ 28 w 200"/>
                    <a:gd name="T51" fmla="*/ 95 h 98"/>
                    <a:gd name="T52" fmla="*/ 22 w 200"/>
                    <a:gd name="T53" fmla="*/ 92 h 98"/>
                    <a:gd name="T54" fmla="*/ 15 w 200"/>
                    <a:gd name="T55" fmla="*/ 89 h 98"/>
                    <a:gd name="T56" fmla="*/ 9 w 200"/>
                    <a:gd name="T57" fmla="*/ 85 h 98"/>
                    <a:gd name="T58" fmla="*/ 4 w 200"/>
                    <a:gd name="T59" fmla="*/ 81 h 98"/>
                    <a:gd name="T60" fmla="*/ 1 w 200"/>
                    <a:gd name="T61" fmla="*/ 77 h 98"/>
                    <a:gd name="T62" fmla="*/ 0 w 200"/>
                    <a:gd name="T63" fmla="*/ 74 h 98"/>
                    <a:gd name="T64" fmla="*/ 5 w 200"/>
                    <a:gd name="T65" fmla="*/ 71 h 98"/>
                    <a:gd name="T66" fmla="*/ 10 w 200"/>
                    <a:gd name="T67" fmla="*/ 67 h 98"/>
                    <a:gd name="T68" fmla="*/ 14 w 200"/>
                    <a:gd name="T69" fmla="*/ 60 h 98"/>
                    <a:gd name="T70" fmla="*/ 20 w 200"/>
                    <a:gd name="T71" fmla="*/ 53 h 98"/>
                    <a:gd name="T72" fmla="*/ 23 w 200"/>
                    <a:gd name="T73" fmla="*/ 45 h 98"/>
                    <a:gd name="T74" fmla="*/ 27 w 200"/>
                    <a:gd name="T75" fmla="*/ 37 h 98"/>
                    <a:gd name="T76" fmla="*/ 30 w 200"/>
                    <a:gd name="T77" fmla="*/ 28 h 98"/>
                    <a:gd name="T78" fmla="*/ 33 w 200"/>
                    <a:gd name="T79" fmla="*/ 19 h 98"/>
                    <a:gd name="T80" fmla="*/ 66 w 200"/>
                    <a:gd name="T81" fmla="*/ 14 h 98"/>
                    <a:gd name="T82" fmla="*/ 103 w 200"/>
                    <a:gd name="T83" fmla="*/ 9 h 98"/>
                    <a:gd name="T84" fmla="*/ 145 w 200"/>
                    <a:gd name="T85" fmla="*/ 4 h 98"/>
                    <a:gd name="T86" fmla="*/ 193 w 200"/>
                    <a:gd name="T87" fmla="*/ 0 h 98"/>
                    <a:gd name="T88" fmla="*/ 166 w 200"/>
                    <a:gd name="T89" fmla="*/ 31 h 98"/>
                    <a:gd name="T90" fmla="*/ 166 w 200"/>
                    <a:gd name="T91" fmla="*/ 34 h 98"/>
                    <a:gd name="T92" fmla="*/ 164 w 200"/>
                    <a:gd name="T93" fmla="*/ 37 h 98"/>
                    <a:gd name="T94" fmla="*/ 162 w 200"/>
                    <a:gd name="T95" fmla="*/ 39 h 98"/>
                    <a:gd name="T96" fmla="*/ 161 w 200"/>
                    <a:gd name="T97" fmla="*/ 41 h 98"/>
                    <a:gd name="T98" fmla="*/ 157 w 200"/>
                    <a:gd name="T99" fmla="*/ 45 h 98"/>
                    <a:gd name="T100" fmla="*/ 156 w 200"/>
                    <a:gd name="T101" fmla="*/ 47 h 98"/>
                    <a:gd name="T102" fmla="*/ 156 w 200"/>
                    <a:gd name="T103" fmla="*/ 49 h 98"/>
                    <a:gd name="T104" fmla="*/ 157 w 200"/>
                    <a:gd name="T105" fmla="*/ 50 h 98"/>
                    <a:gd name="T106" fmla="*/ 159 w 200"/>
                    <a:gd name="T107" fmla="*/ 50 h 98"/>
                    <a:gd name="T108" fmla="*/ 163 w 200"/>
                    <a:gd name="T109" fmla="*/ 51 h 98"/>
                    <a:gd name="T110" fmla="*/ 177 w 200"/>
                    <a:gd name="T111" fmla="*/ 53 h 98"/>
                    <a:gd name="T112" fmla="*/ 200 w 200"/>
                    <a:gd name="T113"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170" name="Freeform 230">
                  <a:extLst>
                    <a:ext uri="{FF2B5EF4-FFF2-40B4-BE49-F238E27FC236}">
                      <a16:creationId xmlns="" xmlns:a16="http://schemas.microsoft.com/office/drawing/2014/main" id="{1CBE9B92-E674-4B0B-8F1E-CA8DF33D2625}"/>
                    </a:ext>
                  </a:extLst>
                </p:cNvPr>
                <p:cNvSpPr>
                  <a:spLocks/>
                </p:cNvSpPr>
                <p:nvPr>
                  <p:custDataLst>
                    <p:tags r:id="rId158"/>
                  </p:custDataLst>
                </p:nvPr>
              </p:nvSpPr>
              <p:spPr bwMode="auto">
                <a:xfrm>
                  <a:off x="6031242" y="1786791"/>
                  <a:ext cx="59677" cy="51795"/>
                </a:xfrm>
                <a:custGeom>
                  <a:avLst/>
                  <a:gdLst>
                    <a:gd name="T0" fmla="*/ 0 w 186"/>
                    <a:gd name="T1" fmla="*/ 112 h 142"/>
                    <a:gd name="T2" fmla="*/ 2 w 186"/>
                    <a:gd name="T3" fmla="*/ 116 h 142"/>
                    <a:gd name="T4" fmla="*/ 3 w 186"/>
                    <a:gd name="T5" fmla="*/ 107 h 142"/>
                    <a:gd name="T6" fmla="*/ 3 w 186"/>
                    <a:gd name="T7" fmla="*/ 93 h 142"/>
                    <a:gd name="T8" fmla="*/ 9 w 186"/>
                    <a:gd name="T9" fmla="*/ 82 h 142"/>
                    <a:gd name="T10" fmla="*/ 17 w 186"/>
                    <a:gd name="T11" fmla="*/ 69 h 142"/>
                    <a:gd name="T12" fmla="*/ 20 w 186"/>
                    <a:gd name="T13" fmla="*/ 56 h 142"/>
                    <a:gd name="T14" fmla="*/ 23 w 186"/>
                    <a:gd name="T15" fmla="*/ 46 h 142"/>
                    <a:gd name="T16" fmla="*/ 28 w 186"/>
                    <a:gd name="T17" fmla="*/ 37 h 142"/>
                    <a:gd name="T18" fmla="*/ 35 w 186"/>
                    <a:gd name="T19" fmla="*/ 32 h 142"/>
                    <a:gd name="T20" fmla="*/ 41 w 186"/>
                    <a:gd name="T21" fmla="*/ 38 h 142"/>
                    <a:gd name="T22" fmla="*/ 43 w 186"/>
                    <a:gd name="T23" fmla="*/ 49 h 142"/>
                    <a:gd name="T24" fmla="*/ 47 w 186"/>
                    <a:gd name="T25" fmla="*/ 58 h 142"/>
                    <a:gd name="T26" fmla="*/ 55 w 186"/>
                    <a:gd name="T27" fmla="*/ 65 h 142"/>
                    <a:gd name="T28" fmla="*/ 87 w 186"/>
                    <a:gd name="T29" fmla="*/ 67 h 142"/>
                    <a:gd name="T30" fmla="*/ 79 w 186"/>
                    <a:gd name="T31" fmla="*/ 41 h 142"/>
                    <a:gd name="T32" fmla="*/ 69 w 186"/>
                    <a:gd name="T33" fmla="*/ 36 h 142"/>
                    <a:gd name="T34" fmla="*/ 63 w 186"/>
                    <a:gd name="T35" fmla="*/ 30 h 142"/>
                    <a:gd name="T36" fmla="*/ 61 w 186"/>
                    <a:gd name="T37" fmla="*/ 23 h 142"/>
                    <a:gd name="T38" fmla="*/ 70 w 186"/>
                    <a:gd name="T39" fmla="*/ 17 h 142"/>
                    <a:gd name="T40" fmla="*/ 87 w 186"/>
                    <a:gd name="T41" fmla="*/ 14 h 142"/>
                    <a:gd name="T42" fmla="*/ 98 w 186"/>
                    <a:gd name="T43" fmla="*/ 10 h 142"/>
                    <a:gd name="T44" fmla="*/ 111 w 186"/>
                    <a:gd name="T45" fmla="*/ 6 h 142"/>
                    <a:gd name="T46" fmla="*/ 130 w 186"/>
                    <a:gd name="T47" fmla="*/ 3 h 142"/>
                    <a:gd name="T48" fmla="*/ 147 w 186"/>
                    <a:gd name="T49" fmla="*/ 1 h 142"/>
                    <a:gd name="T50" fmla="*/ 159 w 186"/>
                    <a:gd name="T51" fmla="*/ 2 h 142"/>
                    <a:gd name="T52" fmla="*/ 176 w 186"/>
                    <a:gd name="T53" fmla="*/ 1 h 142"/>
                    <a:gd name="T54" fmla="*/ 183 w 186"/>
                    <a:gd name="T55" fmla="*/ 10 h 142"/>
                    <a:gd name="T56" fmla="*/ 178 w 186"/>
                    <a:gd name="T57" fmla="*/ 26 h 142"/>
                    <a:gd name="T58" fmla="*/ 169 w 186"/>
                    <a:gd name="T59" fmla="*/ 40 h 142"/>
                    <a:gd name="T60" fmla="*/ 159 w 186"/>
                    <a:gd name="T61" fmla="*/ 51 h 142"/>
                    <a:gd name="T62" fmla="*/ 155 w 186"/>
                    <a:gd name="T63" fmla="*/ 63 h 142"/>
                    <a:gd name="T64" fmla="*/ 153 w 186"/>
                    <a:gd name="T65" fmla="*/ 76 h 142"/>
                    <a:gd name="T66" fmla="*/ 120 w 186"/>
                    <a:gd name="T67" fmla="*/ 142 h 142"/>
                    <a:gd name="T68" fmla="*/ 80 w 186"/>
                    <a:gd name="T69" fmla="*/ 122 h 142"/>
                    <a:gd name="T70" fmla="*/ 35 w 186"/>
                    <a:gd name="T71" fmla="*/ 117 h 142"/>
                    <a:gd name="T72" fmla="*/ 8 w 186"/>
                    <a:gd name="T73" fmla="*/ 113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171" name="Freeform 231">
                  <a:extLst>
                    <a:ext uri="{FF2B5EF4-FFF2-40B4-BE49-F238E27FC236}">
                      <a16:creationId xmlns="" xmlns:a16="http://schemas.microsoft.com/office/drawing/2014/main" id="{C15B8948-D771-4F6F-AAFB-8C08BE1D1DAD}"/>
                    </a:ext>
                  </a:extLst>
                </p:cNvPr>
                <p:cNvSpPr>
                  <a:spLocks/>
                </p:cNvSpPr>
                <p:nvPr>
                  <p:custDataLst>
                    <p:tags r:id="rId159"/>
                  </p:custDataLst>
                </p:nvPr>
              </p:nvSpPr>
              <p:spPr bwMode="auto">
                <a:xfrm>
                  <a:off x="6017731" y="1831830"/>
                  <a:ext cx="59677" cy="40535"/>
                </a:xfrm>
                <a:custGeom>
                  <a:avLst/>
                  <a:gdLst>
                    <a:gd name="T0" fmla="*/ 192 w 192"/>
                    <a:gd name="T1" fmla="*/ 61 h 105"/>
                    <a:gd name="T2" fmla="*/ 189 w 192"/>
                    <a:gd name="T3" fmla="*/ 62 h 105"/>
                    <a:gd name="T4" fmla="*/ 184 w 192"/>
                    <a:gd name="T5" fmla="*/ 63 h 105"/>
                    <a:gd name="T6" fmla="*/ 180 w 192"/>
                    <a:gd name="T7" fmla="*/ 64 h 105"/>
                    <a:gd name="T8" fmla="*/ 177 w 192"/>
                    <a:gd name="T9" fmla="*/ 67 h 105"/>
                    <a:gd name="T10" fmla="*/ 168 w 192"/>
                    <a:gd name="T11" fmla="*/ 72 h 105"/>
                    <a:gd name="T12" fmla="*/ 160 w 192"/>
                    <a:gd name="T13" fmla="*/ 79 h 105"/>
                    <a:gd name="T14" fmla="*/ 154 w 192"/>
                    <a:gd name="T15" fmla="*/ 86 h 105"/>
                    <a:gd name="T16" fmla="*/ 147 w 192"/>
                    <a:gd name="T17" fmla="*/ 93 h 105"/>
                    <a:gd name="T18" fmla="*/ 143 w 192"/>
                    <a:gd name="T19" fmla="*/ 99 h 105"/>
                    <a:gd name="T20" fmla="*/ 139 w 192"/>
                    <a:gd name="T21" fmla="*/ 105 h 105"/>
                    <a:gd name="T22" fmla="*/ 120 w 192"/>
                    <a:gd name="T23" fmla="*/ 97 h 105"/>
                    <a:gd name="T24" fmla="*/ 102 w 192"/>
                    <a:gd name="T25" fmla="*/ 89 h 105"/>
                    <a:gd name="T26" fmla="*/ 86 w 192"/>
                    <a:gd name="T27" fmla="*/ 80 h 105"/>
                    <a:gd name="T28" fmla="*/ 69 w 192"/>
                    <a:gd name="T29" fmla="*/ 71 h 105"/>
                    <a:gd name="T30" fmla="*/ 53 w 192"/>
                    <a:gd name="T31" fmla="*/ 61 h 105"/>
                    <a:gd name="T32" fmla="*/ 36 w 192"/>
                    <a:gd name="T33" fmla="*/ 53 h 105"/>
                    <a:gd name="T34" fmla="*/ 19 w 192"/>
                    <a:gd name="T35" fmla="*/ 44 h 105"/>
                    <a:gd name="T36" fmla="*/ 0 w 192"/>
                    <a:gd name="T37" fmla="*/ 37 h 105"/>
                    <a:gd name="T38" fmla="*/ 0 w 192"/>
                    <a:gd name="T39" fmla="*/ 13 h 105"/>
                    <a:gd name="T40" fmla="*/ 7 w 192"/>
                    <a:gd name="T41" fmla="*/ 7 h 105"/>
                    <a:gd name="T42" fmla="*/ 16 w 192"/>
                    <a:gd name="T43" fmla="*/ 4 h 105"/>
                    <a:gd name="T44" fmla="*/ 29 w 192"/>
                    <a:gd name="T45" fmla="*/ 1 h 105"/>
                    <a:gd name="T46" fmla="*/ 40 w 192"/>
                    <a:gd name="T47" fmla="*/ 0 h 105"/>
                    <a:gd name="T48" fmla="*/ 60 w 192"/>
                    <a:gd name="T49" fmla="*/ 2 h 105"/>
                    <a:gd name="T50" fmla="*/ 93 w 192"/>
                    <a:gd name="T51" fmla="*/ 5 h 105"/>
                    <a:gd name="T52" fmla="*/ 111 w 192"/>
                    <a:gd name="T53" fmla="*/ 7 h 105"/>
                    <a:gd name="T54" fmla="*/ 128 w 192"/>
                    <a:gd name="T55" fmla="*/ 7 h 105"/>
                    <a:gd name="T56" fmla="*/ 143 w 192"/>
                    <a:gd name="T57" fmla="*/ 7 h 105"/>
                    <a:gd name="T58" fmla="*/ 153 w 192"/>
                    <a:gd name="T59" fmla="*/ 6 h 105"/>
                    <a:gd name="T60" fmla="*/ 155 w 192"/>
                    <a:gd name="T61" fmla="*/ 11 h 105"/>
                    <a:gd name="T62" fmla="*/ 159 w 192"/>
                    <a:gd name="T63" fmla="*/ 17 h 105"/>
                    <a:gd name="T64" fmla="*/ 161 w 192"/>
                    <a:gd name="T65" fmla="*/ 20 h 105"/>
                    <a:gd name="T66" fmla="*/ 164 w 192"/>
                    <a:gd name="T67" fmla="*/ 23 h 105"/>
                    <a:gd name="T68" fmla="*/ 165 w 192"/>
                    <a:gd name="T69" fmla="*/ 27 h 105"/>
                    <a:gd name="T70" fmla="*/ 166 w 192"/>
                    <a:gd name="T71" fmla="*/ 31 h 105"/>
                    <a:gd name="T72" fmla="*/ 170 w 192"/>
                    <a:gd name="T73" fmla="*/ 32 h 105"/>
                    <a:gd name="T74" fmla="*/ 177 w 192"/>
                    <a:gd name="T75" fmla="*/ 33 h 105"/>
                    <a:gd name="T76" fmla="*/ 180 w 192"/>
                    <a:gd name="T77" fmla="*/ 34 h 105"/>
                    <a:gd name="T78" fmla="*/ 183 w 192"/>
                    <a:gd name="T79" fmla="*/ 34 h 105"/>
                    <a:gd name="T80" fmla="*/ 188 w 192"/>
                    <a:gd name="T81" fmla="*/ 33 h 105"/>
                    <a:gd name="T82" fmla="*/ 192 w 192"/>
                    <a:gd name="T83" fmla="*/ 31 h 105"/>
                    <a:gd name="T84" fmla="*/ 192 w 192"/>
                    <a:gd name="T85" fmla="*/ 6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172" name="Freeform 232">
                  <a:extLst>
                    <a:ext uri="{FF2B5EF4-FFF2-40B4-BE49-F238E27FC236}">
                      <a16:creationId xmlns="" xmlns:a16="http://schemas.microsoft.com/office/drawing/2014/main" id="{EF999785-9BC6-46C6-8395-C8DC324FA0E6}"/>
                    </a:ext>
                  </a:extLst>
                </p:cNvPr>
                <p:cNvSpPr>
                  <a:spLocks/>
                </p:cNvSpPr>
                <p:nvPr>
                  <p:custDataLst>
                    <p:tags r:id="rId160"/>
                  </p:custDataLst>
                </p:nvPr>
              </p:nvSpPr>
              <p:spPr bwMode="auto">
                <a:xfrm>
                  <a:off x="6557069" y="2224793"/>
                  <a:ext cx="23645" cy="93455"/>
                </a:xfrm>
                <a:custGeom>
                  <a:avLst/>
                  <a:gdLst>
                    <a:gd name="T0" fmla="*/ 33 w 80"/>
                    <a:gd name="T1" fmla="*/ 0 h 254"/>
                    <a:gd name="T2" fmla="*/ 37 w 80"/>
                    <a:gd name="T3" fmla="*/ 2 h 254"/>
                    <a:gd name="T4" fmla="*/ 40 w 80"/>
                    <a:gd name="T5" fmla="*/ 4 h 254"/>
                    <a:gd name="T6" fmla="*/ 43 w 80"/>
                    <a:gd name="T7" fmla="*/ 7 h 254"/>
                    <a:gd name="T8" fmla="*/ 46 w 80"/>
                    <a:gd name="T9" fmla="*/ 10 h 254"/>
                    <a:gd name="T10" fmla="*/ 52 w 80"/>
                    <a:gd name="T11" fmla="*/ 18 h 254"/>
                    <a:gd name="T12" fmla="*/ 56 w 80"/>
                    <a:gd name="T13" fmla="*/ 25 h 254"/>
                    <a:gd name="T14" fmla="*/ 62 w 80"/>
                    <a:gd name="T15" fmla="*/ 32 h 254"/>
                    <a:gd name="T16" fmla="*/ 67 w 80"/>
                    <a:gd name="T17" fmla="*/ 38 h 254"/>
                    <a:gd name="T18" fmla="*/ 70 w 80"/>
                    <a:gd name="T19" fmla="*/ 40 h 254"/>
                    <a:gd name="T20" fmla="*/ 73 w 80"/>
                    <a:gd name="T21" fmla="*/ 42 h 254"/>
                    <a:gd name="T22" fmla="*/ 76 w 80"/>
                    <a:gd name="T23" fmla="*/ 43 h 254"/>
                    <a:gd name="T24" fmla="*/ 80 w 80"/>
                    <a:gd name="T25" fmla="*/ 44 h 254"/>
                    <a:gd name="T26" fmla="*/ 80 w 80"/>
                    <a:gd name="T27" fmla="*/ 53 h 254"/>
                    <a:gd name="T28" fmla="*/ 80 w 80"/>
                    <a:gd name="T29" fmla="*/ 62 h 254"/>
                    <a:gd name="T30" fmla="*/ 53 w 80"/>
                    <a:gd name="T31" fmla="*/ 254 h 254"/>
                    <a:gd name="T32" fmla="*/ 0 w 80"/>
                    <a:gd name="T33" fmla="*/ 93 h 254"/>
                    <a:gd name="T34" fmla="*/ 4 w 80"/>
                    <a:gd name="T35" fmla="*/ 88 h 254"/>
                    <a:gd name="T36" fmla="*/ 11 w 80"/>
                    <a:gd name="T37" fmla="*/ 71 h 254"/>
                    <a:gd name="T38" fmla="*/ 17 w 80"/>
                    <a:gd name="T39" fmla="*/ 57 h 254"/>
                    <a:gd name="T40" fmla="*/ 22 w 80"/>
                    <a:gd name="T41" fmla="*/ 41 h 254"/>
                    <a:gd name="T42" fmla="*/ 28 w 80"/>
                    <a:gd name="T43" fmla="*/ 23 h 254"/>
                    <a:gd name="T44" fmla="*/ 33 w 80"/>
                    <a:gd name="T45"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73" name="Freeform 233">
                  <a:extLst>
                    <a:ext uri="{FF2B5EF4-FFF2-40B4-BE49-F238E27FC236}">
                      <a16:creationId xmlns="" xmlns:a16="http://schemas.microsoft.com/office/drawing/2014/main" id="{DB46A73C-4D01-4DBA-98FC-68B6B53D0AF7}"/>
                    </a:ext>
                  </a:extLst>
                </p:cNvPr>
                <p:cNvSpPr>
                  <a:spLocks/>
                </p:cNvSpPr>
                <p:nvPr>
                  <p:custDataLst>
                    <p:tags r:id="rId161"/>
                  </p:custDataLst>
                </p:nvPr>
              </p:nvSpPr>
              <p:spPr bwMode="auto">
                <a:xfrm>
                  <a:off x="6521038" y="2261949"/>
                  <a:ext cx="49543" cy="92329"/>
                </a:xfrm>
                <a:custGeom>
                  <a:avLst/>
                  <a:gdLst>
                    <a:gd name="T0" fmla="*/ 114 w 167"/>
                    <a:gd name="T1" fmla="*/ 0 h 259"/>
                    <a:gd name="T2" fmla="*/ 167 w 167"/>
                    <a:gd name="T3" fmla="*/ 155 h 259"/>
                    <a:gd name="T4" fmla="*/ 121 w 167"/>
                    <a:gd name="T5" fmla="*/ 259 h 259"/>
                    <a:gd name="T6" fmla="*/ 113 w 167"/>
                    <a:gd name="T7" fmla="*/ 259 h 259"/>
                    <a:gd name="T8" fmla="*/ 107 w 167"/>
                    <a:gd name="T9" fmla="*/ 257 h 259"/>
                    <a:gd name="T10" fmla="*/ 100 w 167"/>
                    <a:gd name="T11" fmla="*/ 254 h 259"/>
                    <a:gd name="T12" fmla="*/ 95 w 167"/>
                    <a:gd name="T13" fmla="*/ 251 h 259"/>
                    <a:gd name="T14" fmla="*/ 89 w 167"/>
                    <a:gd name="T15" fmla="*/ 245 h 259"/>
                    <a:gd name="T16" fmla="*/ 85 w 167"/>
                    <a:gd name="T17" fmla="*/ 240 h 259"/>
                    <a:gd name="T18" fmla="*/ 80 w 167"/>
                    <a:gd name="T19" fmla="*/ 235 h 259"/>
                    <a:gd name="T20" fmla="*/ 76 w 167"/>
                    <a:gd name="T21" fmla="*/ 229 h 259"/>
                    <a:gd name="T22" fmla="*/ 69 w 167"/>
                    <a:gd name="T23" fmla="*/ 217 h 259"/>
                    <a:gd name="T24" fmla="*/ 65 w 167"/>
                    <a:gd name="T25" fmla="*/ 205 h 259"/>
                    <a:gd name="T26" fmla="*/ 62 w 167"/>
                    <a:gd name="T27" fmla="*/ 194 h 259"/>
                    <a:gd name="T28" fmla="*/ 62 w 167"/>
                    <a:gd name="T29" fmla="*/ 185 h 259"/>
                    <a:gd name="T30" fmla="*/ 55 w 167"/>
                    <a:gd name="T31" fmla="*/ 184 h 259"/>
                    <a:gd name="T32" fmla="*/ 51 w 167"/>
                    <a:gd name="T33" fmla="*/ 183 h 259"/>
                    <a:gd name="T34" fmla="*/ 45 w 167"/>
                    <a:gd name="T35" fmla="*/ 182 h 259"/>
                    <a:gd name="T36" fmla="*/ 42 w 167"/>
                    <a:gd name="T37" fmla="*/ 180 h 259"/>
                    <a:gd name="T38" fmla="*/ 39 w 167"/>
                    <a:gd name="T39" fmla="*/ 177 h 259"/>
                    <a:gd name="T40" fmla="*/ 36 w 167"/>
                    <a:gd name="T41" fmla="*/ 174 h 259"/>
                    <a:gd name="T42" fmla="*/ 34 w 167"/>
                    <a:gd name="T43" fmla="*/ 170 h 259"/>
                    <a:gd name="T44" fmla="*/ 32 w 167"/>
                    <a:gd name="T45" fmla="*/ 167 h 259"/>
                    <a:gd name="T46" fmla="*/ 30 w 167"/>
                    <a:gd name="T47" fmla="*/ 158 h 259"/>
                    <a:gd name="T48" fmla="*/ 29 w 167"/>
                    <a:gd name="T49" fmla="*/ 149 h 259"/>
                    <a:gd name="T50" fmla="*/ 28 w 167"/>
                    <a:gd name="T51" fmla="*/ 140 h 259"/>
                    <a:gd name="T52" fmla="*/ 28 w 167"/>
                    <a:gd name="T53" fmla="*/ 129 h 259"/>
                    <a:gd name="T54" fmla="*/ 21 w 167"/>
                    <a:gd name="T55" fmla="*/ 129 h 259"/>
                    <a:gd name="T56" fmla="*/ 16 w 167"/>
                    <a:gd name="T57" fmla="*/ 127 h 259"/>
                    <a:gd name="T58" fmla="*/ 11 w 167"/>
                    <a:gd name="T59" fmla="*/ 125 h 259"/>
                    <a:gd name="T60" fmla="*/ 7 w 167"/>
                    <a:gd name="T61" fmla="*/ 121 h 259"/>
                    <a:gd name="T62" fmla="*/ 5 w 167"/>
                    <a:gd name="T63" fmla="*/ 117 h 259"/>
                    <a:gd name="T64" fmla="*/ 2 w 167"/>
                    <a:gd name="T65" fmla="*/ 112 h 259"/>
                    <a:gd name="T66" fmla="*/ 0 w 167"/>
                    <a:gd name="T67" fmla="*/ 107 h 259"/>
                    <a:gd name="T68" fmla="*/ 0 w 167"/>
                    <a:gd name="T69" fmla="*/ 101 h 259"/>
                    <a:gd name="T70" fmla="*/ 0 w 167"/>
                    <a:gd name="T71" fmla="*/ 75 h 259"/>
                    <a:gd name="T72" fmla="*/ 1 w 167"/>
                    <a:gd name="T73" fmla="*/ 50 h 259"/>
                    <a:gd name="T74" fmla="*/ 12 w 167"/>
                    <a:gd name="T75" fmla="*/ 52 h 259"/>
                    <a:gd name="T76" fmla="*/ 22 w 167"/>
                    <a:gd name="T77" fmla="*/ 53 h 259"/>
                    <a:gd name="T78" fmla="*/ 32 w 167"/>
                    <a:gd name="T79" fmla="*/ 53 h 259"/>
                    <a:gd name="T80" fmla="*/ 42 w 167"/>
                    <a:gd name="T81" fmla="*/ 52 h 259"/>
                    <a:gd name="T82" fmla="*/ 50 w 167"/>
                    <a:gd name="T83" fmla="*/ 51 h 259"/>
                    <a:gd name="T84" fmla="*/ 58 w 167"/>
                    <a:gd name="T85" fmla="*/ 49 h 259"/>
                    <a:gd name="T86" fmla="*/ 66 w 167"/>
                    <a:gd name="T87" fmla="*/ 47 h 259"/>
                    <a:gd name="T88" fmla="*/ 73 w 167"/>
                    <a:gd name="T89" fmla="*/ 44 h 259"/>
                    <a:gd name="T90" fmla="*/ 79 w 167"/>
                    <a:gd name="T91" fmla="*/ 40 h 259"/>
                    <a:gd name="T92" fmla="*/ 86 w 167"/>
                    <a:gd name="T93" fmla="*/ 36 h 259"/>
                    <a:gd name="T94" fmla="*/ 91 w 167"/>
                    <a:gd name="T95" fmla="*/ 31 h 259"/>
                    <a:gd name="T96" fmla="*/ 97 w 167"/>
                    <a:gd name="T97" fmla="*/ 26 h 259"/>
                    <a:gd name="T98" fmla="*/ 107 w 167"/>
                    <a:gd name="T99" fmla="*/ 13 h 259"/>
                    <a:gd name="T100" fmla="*/ 114 w 167"/>
                    <a:gd name="T101" fmla="*/ 0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74" name="Freeform 234">
                  <a:extLst>
                    <a:ext uri="{FF2B5EF4-FFF2-40B4-BE49-F238E27FC236}">
                      <a16:creationId xmlns="" xmlns:a16="http://schemas.microsoft.com/office/drawing/2014/main" id="{2E2B26A4-4976-47E9-9C5C-1E74184FD10A}"/>
                    </a:ext>
                  </a:extLst>
                </p:cNvPr>
                <p:cNvSpPr>
                  <a:spLocks/>
                </p:cNvSpPr>
                <p:nvPr>
                  <p:custDataLst>
                    <p:tags r:id="rId162"/>
                  </p:custDataLst>
                </p:nvPr>
              </p:nvSpPr>
              <p:spPr bwMode="auto">
                <a:xfrm>
                  <a:off x="5812805" y="1732744"/>
                  <a:ext cx="68684" cy="102463"/>
                </a:xfrm>
                <a:custGeom>
                  <a:avLst/>
                  <a:gdLst>
                    <a:gd name="T0" fmla="*/ 185 w 225"/>
                    <a:gd name="T1" fmla="*/ 67 h 273"/>
                    <a:gd name="T2" fmla="*/ 173 w 225"/>
                    <a:gd name="T3" fmla="*/ 78 h 273"/>
                    <a:gd name="T4" fmla="*/ 159 w 225"/>
                    <a:gd name="T5" fmla="*/ 82 h 273"/>
                    <a:gd name="T6" fmla="*/ 163 w 225"/>
                    <a:gd name="T7" fmla="*/ 93 h 273"/>
                    <a:gd name="T8" fmla="*/ 174 w 225"/>
                    <a:gd name="T9" fmla="*/ 101 h 273"/>
                    <a:gd name="T10" fmla="*/ 195 w 225"/>
                    <a:gd name="T11" fmla="*/ 105 h 273"/>
                    <a:gd name="T12" fmla="*/ 225 w 225"/>
                    <a:gd name="T13" fmla="*/ 106 h 273"/>
                    <a:gd name="T14" fmla="*/ 225 w 225"/>
                    <a:gd name="T15" fmla="*/ 152 h 273"/>
                    <a:gd name="T16" fmla="*/ 224 w 225"/>
                    <a:gd name="T17" fmla="*/ 176 h 273"/>
                    <a:gd name="T18" fmla="*/ 215 w 225"/>
                    <a:gd name="T19" fmla="*/ 187 h 273"/>
                    <a:gd name="T20" fmla="*/ 197 w 225"/>
                    <a:gd name="T21" fmla="*/ 205 h 273"/>
                    <a:gd name="T22" fmla="*/ 192 w 225"/>
                    <a:gd name="T23" fmla="*/ 214 h 273"/>
                    <a:gd name="T24" fmla="*/ 179 w 225"/>
                    <a:gd name="T25" fmla="*/ 218 h 273"/>
                    <a:gd name="T26" fmla="*/ 164 w 225"/>
                    <a:gd name="T27" fmla="*/ 225 h 273"/>
                    <a:gd name="T28" fmla="*/ 159 w 225"/>
                    <a:gd name="T29" fmla="*/ 236 h 273"/>
                    <a:gd name="T30" fmla="*/ 140 w 225"/>
                    <a:gd name="T31" fmla="*/ 242 h 273"/>
                    <a:gd name="T32" fmla="*/ 128 w 225"/>
                    <a:gd name="T33" fmla="*/ 252 h 273"/>
                    <a:gd name="T34" fmla="*/ 101 w 225"/>
                    <a:gd name="T35" fmla="*/ 255 h 273"/>
                    <a:gd name="T36" fmla="*/ 60 w 225"/>
                    <a:gd name="T37" fmla="*/ 261 h 273"/>
                    <a:gd name="T38" fmla="*/ 19 w 225"/>
                    <a:gd name="T39" fmla="*/ 261 h 273"/>
                    <a:gd name="T40" fmla="*/ 0 w 225"/>
                    <a:gd name="T41" fmla="*/ 217 h 273"/>
                    <a:gd name="T42" fmla="*/ 21 w 225"/>
                    <a:gd name="T43" fmla="*/ 212 h 273"/>
                    <a:gd name="T44" fmla="*/ 26 w 225"/>
                    <a:gd name="T45" fmla="*/ 205 h 273"/>
                    <a:gd name="T46" fmla="*/ 60 w 225"/>
                    <a:gd name="T47" fmla="*/ 202 h 273"/>
                    <a:gd name="T48" fmla="*/ 72 w 225"/>
                    <a:gd name="T49" fmla="*/ 193 h 273"/>
                    <a:gd name="T50" fmla="*/ 48 w 225"/>
                    <a:gd name="T51" fmla="*/ 198 h 273"/>
                    <a:gd name="T52" fmla="*/ 40 w 225"/>
                    <a:gd name="T53" fmla="*/ 197 h 273"/>
                    <a:gd name="T54" fmla="*/ 39 w 225"/>
                    <a:gd name="T55" fmla="*/ 188 h 273"/>
                    <a:gd name="T56" fmla="*/ 46 w 225"/>
                    <a:gd name="T57" fmla="*/ 173 h 273"/>
                    <a:gd name="T58" fmla="*/ 39 w 225"/>
                    <a:gd name="T59" fmla="*/ 160 h 273"/>
                    <a:gd name="T60" fmla="*/ 14 w 225"/>
                    <a:gd name="T61" fmla="*/ 150 h 273"/>
                    <a:gd name="T62" fmla="*/ 6 w 225"/>
                    <a:gd name="T63" fmla="*/ 130 h 273"/>
                    <a:gd name="T64" fmla="*/ 22 w 225"/>
                    <a:gd name="T65" fmla="*/ 115 h 273"/>
                    <a:gd name="T66" fmla="*/ 35 w 225"/>
                    <a:gd name="T67" fmla="*/ 102 h 273"/>
                    <a:gd name="T68" fmla="*/ 68 w 225"/>
                    <a:gd name="T69" fmla="*/ 94 h 273"/>
                    <a:gd name="T70" fmla="*/ 90 w 225"/>
                    <a:gd name="T71" fmla="*/ 94 h 273"/>
                    <a:gd name="T72" fmla="*/ 100 w 225"/>
                    <a:gd name="T73" fmla="*/ 88 h 273"/>
                    <a:gd name="T74" fmla="*/ 108 w 225"/>
                    <a:gd name="T75" fmla="*/ 52 h 273"/>
                    <a:gd name="T76" fmla="*/ 120 w 225"/>
                    <a:gd name="T77" fmla="*/ 31 h 273"/>
                    <a:gd name="T78" fmla="*/ 130 w 225"/>
                    <a:gd name="T79" fmla="*/ 20 h 273"/>
                    <a:gd name="T80" fmla="*/ 141 w 225"/>
                    <a:gd name="T81" fmla="*/ 7 h 273"/>
                    <a:gd name="T82" fmla="*/ 155 w 225"/>
                    <a:gd name="T83" fmla="*/ 1 h 273"/>
                    <a:gd name="T84" fmla="*/ 179 w 225"/>
                    <a:gd name="T85" fmla="*/ 3 h 273"/>
                    <a:gd name="T86" fmla="*/ 195 w 225"/>
                    <a:gd name="T87" fmla="*/ 38 h 273"/>
                    <a:gd name="T88" fmla="*/ 196 w 225"/>
                    <a:gd name="T89" fmla="*/ 47 h 273"/>
                    <a:gd name="T90" fmla="*/ 190 w 225"/>
                    <a:gd name="T91" fmla="*/ 56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175" name="Freeform 235">
                  <a:extLst>
                    <a:ext uri="{FF2B5EF4-FFF2-40B4-BE49-F238E27FC236}">
                      <a16:creationId xmlns="" xmlns:a16="http://schemas.microsoft.com/office/drawing/2014/main" id="{1CE77664-8EC4-4AF7-AAE3-17191DE9D3A3}"/>
                    </a:ext>
                  </a:extLst>
                </p:cNvPr>
                <p:cNvSpPr>
                  <a:spLocks/>
                </p:cNvSpPr>
                <p:nvPr>
                  <p:custDataLst>
                    <p:tags r:id="rId163"/>
                  </p:custDataLst>
                </p:nvPr>
              </p:nvSpPr>
              <p:spPr bwMode="auto">
                <a:xfrm>
                  <a:off x="5679941" y="2379050"/>
                  <a:ext cx="217312" cy="276988"/>
                </a:xfrm>
                <a:custGeom>
                  <a:avLst/>
                  <a:gdLst>
                    <a:gd name="T0" fmla="*/ 94 w 232"/>
                    <a:gd name="T1" fmla="*/ 246 h 248"/>
                    <a:gd name="T2" fmla="*/ 96 w 232"/>
                    <a:gd name="T3" fmla="*/ 243 h 248"/>
                    <a:gd name="T4" fmla="*/ 98 w 232"/>
                    <a:gd name="T5" fmla="*/ 238 h 248"/>
                    <a:gd name="T6" fmla="*/ 100 w 232"/>
                    <a:gd name="T7" fmla="*/ 232 h 248"/>
                    <a:gd name="T8" fmla="*/ 103 w 232"/>
                    <a:gd name="T9" fmla="*/ 231 h 248"/>
                    <a:gd name="T10" fmla="*/ 104 w 232"/>
                    <a:gd name="T11" fmla="*/ 238 h 248"/>
                    <a:gd name="T12" fmla="*/ 106 w 232"/>
                    <a:gd name="T13" fmla="*/ 241 h 248"/>
                    <a:gd name="T14" fmla="*/ 108 w 232"/>
                    <a:gd name="T15" fmla="*/ 242 h 248"/>
                    <a:gd name="T16" fmla="*/ 110 w 232"/>
                    <a:gd name="T17" fmla="*/ 242 h 248"/>
                    <a:gd name="T18" fmla="*/ 113 w 232"/>
                    <a:gd name="T19" fmla="*/ 241 h 248"/>
                    <a:gd name="T20" fmla="*/ 116 w 232"/>
                    <a:gd name="T21" fmla="*/ 238 h 248"/>
                    <a:gd name="T22" fmla="*/ 216 w 232"/>
                    <a:gd name="T23" fmla="*/ 234 h 248"/>
                    <a:gd name="T24" fmla="*/ 213 w 232"/>
                    <a:gd name="T25" fmla="*/ 204 h 248"/>
                    <a:gd name="T26" fmla="*/ 207 w 232"/>
                    <a:gd name="T27" fmla="*/ 138 h 248"/>
                    <a:gd name="T28" fmla="*/ 201 w 232"/>
                    <a:gd name="T29" fmla="*/ 73 h 248"/>
                    <a:gd name="T30" fmla="*/ 198 w 232"/>
                    <a:gd name="T31" fmla="*/ 43 h 248"/>
                    <a:gd name="T32" fmla="*/ 215 w 232"/>
                    <a:gd name="T33" fmla="*/ 44 h 248"/>
                    <a:gd name="T34" fmla="*/ 232 w 232"/>
                    <a:gd name="T35" fmla="*/ 46 h 248"/>
                    <a:gd name="T36" fmla="*/ 161 w 232"/>
                    <a:gd name="T37" fmla="*/ 2 h 248"/>
                    <a:gd name="T38" fmla="*/ 160 w 232"/>
                    <a:gd name="T39" fmla="*/ 8 h 248"/>
                    <a:gd name="T40" fmla="*/ 161 w 232"/>
                    <a:gd name="T41" fmla="*/ 18 h 248"/>
                    <a:gd name="T42" fmla="*/ 98 w 232"/>
                    <a:gd name="T43" fmla="*/ 24 h 248"/>
                    <a:gd name="T44" fmla="*/ 98 w 232"/>
                    <a:gd name="T45" fmla="*/ 74 h 248"/>
                    <a:gd name="T46" fmla="*/ 95 w 232"/>
                    <a:gd name="T47" fmla="*/ 76 h 248"/>
                    <a:gd name="T48" fmla="*/ 87 w 232"/>
                    <a:gd name="T49" fmla="*/ 78 h 248"/>
                    <a:gd name="T50" fmla="*/ 72 w 232"/>
                    <a:gd name="T51" fmla="*/ 82 h 248"/>
                    <a:gd name="T52" fmla="*/ 74 w 232"/>
                    <a:gd name="T53" fmla="*/ 88 h 248"/>
                    <a:gd name="T54" fmla="*/ 78 w 232"/>
                    <a:gd name="T55" fmla="*/ 96 h 248"/>
                    <a:gd name="T56" fmla="*/ 80 w 232"/>
                    <a:gd name="T57" fmla="*/ 105 h 248"/>
                    <a:gd name="T58" fmla="*/ 81 w 232"/>
                    <a:gd name="T59" fmla="*/ 115 h 248"/>
                    <a:gd name="T60" fmla="*/ 9 w 232"/>
                    <a:gd name="T61" fmla="*/ 119 h 248"/>
                    <a:gd name="T62" fmla="*/ 5 w 232"/>
                    <a:gd name="T63" fmla="*/ 130 h 248"/>
                    <a:gd name="T64" fmla="*/ 6 w 232"/>
                    <a:gd name="T65" fmla="*/ 143 h 248"/>
                    <a:gd name="T66" fmla="*/ 8 w 232"/>
                    <a:gd name="T67" fmla="*/ 155 h 248"/>
                    <a:gd name="T68" fmla="*/ 9 w 232"/>
                    <a:gd name="T69" fmla="*/ 168 h 248"/>
                    <a:gd name="T70" fmla="*/ 9 w 232"/>
                    <a:gd name="T71" fmla="*/ 182 h 248"/>
                    <a:gd name="T72" fmla="*/ 8 w 232"/>
                    <a:gd name="T73" fmla="*/ 194 h 248"/>
                    <a:gd name="T74" fmla="*/ 6 w 232"/>
                    <a:gd name="T75" fmla="*/ 206 h 248"/>
                    <a:gd name="T76" fmla="*/ 2 w 232"/>
                    <a:gd name="T77" fmla="*/ 216 h 248"/>
                    <a:gd name="T78" fmla="*/ 2 w 232"/>
                    <a:gd name="T79" fmla="*/ 219 h 248"/>
                    <a:gd name="T80" fmla="*/ 3 w 232"/>
                    <a:gd name="T81" fmla="*/ 220 h 248"/>
                    <a:gd name="T82" fmla="*/ 3 w 232"/>
                    <a:gd name="T83" fmla="*/ 222 h 248"/>
                    <a:gd name="T84" fmla="*/ 7 w 232"/>
                    <a:gd name="T85" fmla="*/ 217 h 248"/>
                    <a:gd name="T86" fmla="*/ 18 w 232"/>
                    <a:gd name="T87" fmla="*/ 213 h 248"/>
                    <a:gd name="T88" fmla="*/ 36 w 232"/>
                    <a:gd name="T89" fmla="*/ 207 h 248"/>
                    <a:gd name="T90" fmla="*/ 45 w 232"/>
                    <a:gd name="T91" fmla="*/ 208 h 248"/>
                    <a:gd name="T92" fmla="*/ 51 w 232"/>
                    <a:gd name="T93" fmla="*/ 212 h 248"/>
                    <a:gd name="T94" fmla="*/ 56 w 232"/>
                    <a:gd name="T95" fmla="*/ 214 h 248"/>
                    <a:gd name="T96" fmla="*/ 62 w 232"/>
                    <a:gd name="T97" fmla="*/ 215 h 248"/>
                    <a:gd name="T98" fmla="*/ 66 w 232"/>
                    <a:gd name="T99" fmla="*/ 219 h 248"/>
                    <a:gd name="T100" fmla="*/ 67 w 232"/>
                    <a:gd name="T101" fmla="*/ 225 h 248"/>
                    <a:gd name="T102" fmla="*/ 70 w 232"/>
                    <a:gd name="T103" fmla="*/ 231 h 248"/>
                    <a:gd name="T104" fmla="*/ 74 w 232"/>
                    <a:gd name="T105" fmla="*/ 235 h 248"/>
                    <a:gd name="T106" fmla="*/ 85 w 232"/>
                    <a:gd name="T107" fmla="*/ 243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76" name="Freeform 236">
                  <a:extLst>
                    <a:ext uri="{FF2B5EF4-FFF2-40B4-BE49-F238E27FC236}">
                      <a16:creationId xmlns="" xmlns:a16="http://schemas.microsoft.com/office/drawing/2014/main" id="{0A247140-BC74-4833-942A-FE38C63BDEAB}"/>
                    </a:ext>
                  </a:extLst>
                </p:cNvPr>
                <p:cNvSpPr>
                  <a:spLocks/>
                </p:cNvSpPr>
                <p:nvPr>
                  <p:custDataLst>
                    <p:tags r:id="rId164"/>
                  </p:custDataLst>
                </p:nvPr>
              </p:nvSpPr>
              <p:spPr bwMode="auto">
                <a:xfrm>
                  <a:off x="5762136" y="2421836"/>
                  <a:ext cx="293877" cy="332160"/>
                </a:xfrm>
                <a:custGeom>
                  <a:avLst/>
                  <a:gdLst>
                    <a:gd name="T0" fmla="*/ 90 w 948"/>
                    <a:gd name="T1" fmla="*/ 788 h 893"/>
                    <a:gd name="T2" fmla="*/ 121 w 948"/>
                    <a:gd name="T3" fmla="*/ 788 h 893"/>
                    <a:gd name="T4" fmla="*/ 146 w 948"/>
                    <a:gd name="T5" fmla="*/ 783 h 893"/>
                    <a:gd name="T6" fmla="*/ 186 w 948"/>
                    <a:gd name="T7" fmla="*/ 776 h 893"/>
                    <a:gd name="T8" fmla="*/ 197 w 948"/>
                    <a:gd name="T9" fmla="*/ 813 h 893"/>
                    <a:gd name="T10" fmla="*/ 212 w 948"/>
                    <a:gd name="T11" fmla="*/ 835 h 893"/>
                    <a:gd name="T12" fmla="*/ 226 w 948"/>
                    <a:gd name="T13" fmla="*/ 846 h 893"/>
                    <a:gd name="T14" fmla="*/ 246 w 948"/>
                    <a:gd name="T15" fmla="*/ 850 h 893"/>
                    <a:gd name="T16" fmla="*/ 246 w 948"/>
                    <a:gd name="T17" fmla="*/ 881 h 893"/>
                    <a:gd name="T18" fmla="*/ 326 w 948"/>
                    <a:gd name="T19" fmla="*/ 889 h 893"/>
                    <a:gd name="T20" fmla="*/ 334 w 948"/>
                    <a:gd name="T21" fmla="*/ 876 h 893"/>
                    <a:gd name="T22" fmla="*/ 347 w 948"/>
                    <a:gd name="T23" fmla="*/ 871 h 893"/>
                    <a:gd name="T24" fmla="*/ 348 w 948"/>
                    <a:gd name="T25" fmla="*/ 888 h 893"/>
                    <a:gd name="T26" fmla="*/ 358 w 948"/>
                    <a:gd name="T27" fmla="*/ 893 h 893"/>
                    <a:gd name="T28" fmla="*/ 385 w 948"/>
                    <a:gd name="T29" fmla="*/ 893 h 893"/>
                    <a:gd name="T30" fmla="*/ 401 w 948"/>
                    <a:gd name="T31" fmla="*/ 854 h 893"/>
                    <a:gd name="T32" fmla="*/ 412 w 948"/>
                    <a:gd name="T33" fmla="*/ 788 h 893"/>
                    <a:gd name="T34" fmla="*/ 424 w 948"/>
                    <a:gd name="T35" fmla="*/ 771 h 893"/>
                    <a:gd name="T36" fmla="*/ 452 w 948"/>
                    <a:gd name="T37" fmla="*/ 754 h 893"/>
                    <a:gd name="T38" fmla="*/ 485 w 948"/>
                    <a:gd name="T39" fmla="*/ 743 h 893"/>
                    <a:gd name="T40" fmla="*/ 501 w 948"/>
                    <a:gd name="T41" fmla="*/ 729 h 893"/>
                    <a:gd name="T42" fmla="*/ 515 w 948"/>
                    <a:gd name="T43" fmla="*/ 702 h 893"/>
                    <a:gd name="T44" fmla="*/ 535 w 948"/>
                    <a:gd name="T45" fmla="*/ 668 h 893"/>
                    <a:gd name="T46" fmla="*/ 547 w 948"/>
                    <a:gd name="T47" fmla="*/ 660 h 893"/>
                    <a:gd name="T48" fmla="*/ 572 w 948"/>
                    <a:gd name="T49" fmla="*/ 659 h 893"/>
                    <a:gd name="T50" fmla="*/ 605 w 948"/>
                    <a:gd name="T51" fmla="*/ 644 h 893"/>
                    <a:gd name="T52" fmla="*/ 639 w 948"/>
                    <a:gd name="T53" fmla="*/ 624 h 893"/>
                    <a:gd name="T54" fmla="*/ 674 w 948"/>
                    <a:gd name="T55" fmla="*/ 613 h 893"/>
                    <a:gd name="T56" fmla="*/ 724 w 948"/>
                    <a:gd name="T57" fmla="*/ 610 h 893"/>
                    <a:gd name="T58" fmla="*/ 788 w 948"/>
                    <a:gd name="T59" fmla="*/ 602 h 893"/>
                    <a:gd name="T60" fmla="*/ 815 w 948"/>
                    <a:gd name="T61" fmla="*/ 594 h 893"/>
                    <a:gd name="T62" fmla="*/ 863 w 948"/>
                    <a:gd name="T63" fmla="*/ 590 h 893"/>
                    <a:gd name="T64" fmla="*/ 901 w 948"/>
                    <a:gd name="T65" fmla="*/ 583 h 893"/>
                    <a:gd name="T66" fmla="*/ 913 w 948"/>
                    <a:gd name="T67" fmla="*/ 574 h 893"/>
                    <a:gd name="T68" fmla="*/ 931 w 948"/>
                    <a:gd name="T69" fmla="*/ 544 h 893"/>
                    <a:gd name="T70" fmla="*/ 943 w 948"/>
                    <a:gd name="T71" fmla="*/ 504 h 893"/>
                    <a:gd name="T72" fmla="*/ 948 w 948"/>
                    <a:gd name="T73" fmla="*/ 461 h 893"/>
                    <a:gd name="T74" fmla="*/ 947 w 948"/>
                    <a:gd name="T75" fmla="*/ 421 h 893"/>
                    <a:gd name="T76" fmla="*/ 943 w 948"/>
                    <a:gd name="T77" fmla="*/ 363 h 893"/>
                    <a:gd name="T78" fmla="*/ 922 w 948"/>
                    <a:gd name="T79" fmla="*/ 356 h 893"/>
                    <a:gd name="T80" fmla="*/ 862 w 948"/>
                    <a:gd name="T81" fmla="*/ 322 h 893"/>
                    <a:gd name="T82" fmla="*/ 794 w 948"/>
                    <a:gd name="T83" fmla="*/ 278 h 893"/>
                    <a:gd name="T84" fmla="*/ 738 w 948"/>
                    <a:gd name="T85" fmla="*/ 216 h 893"/>
                    <a:gd name="T86" fmla="*/ 412 w 948"/>
                    <a:gd name="T87" fmla="*/ 12 h 893"/>
                    <a:gd name="T88" fmla="*/ 348 w 948"/>
                    <a:gd name="T89" fmla="*/ 102 h 893"/>
                    <a:gd name="T90" fmla="*/ 379 w 948"/>
                    <a:gd name="T91" fmla="*/ 405 h 893"/>
                    <a:gd name="T92" fmla="*/ 392 w 948"/>
                    <a:gd name="T93" fmla="*/ 565 h 893"/>
                    <a:gd name="T94" fmla="*/ 93 w 948"/>
                    <a:gd name="T95" fmla="*/ 591 h 893"/>
                    <a:gd name="T96" fmla="*/ 79 w 948"/>
                    <a:gd name="T97" fmla="*/ 606 h 893"/>
                    <a:gd name="T98" fmla="*/ 67 w 948"/>
                    <a:gd name="T99" fmla="*/ 610 h 893"/>
                    <a:gd name="T100" fmla="*/ 57 w 948"/>
                    <a:gd name="T101" fmla="*/ 607 h 893"/>
                    <a:gd name="T102" fmla="*/ 49 w 948"/>
                    <a:gd name="T103" fmla="*/ 591 h 893"/>
                    <a:gd name="T104" fmla="*/ 40 w 948"/>
                    <a:gd name="T105" fmla="*/ 581 h 893"/>
                    <a:gd name="T106" fmla="*/ 29 w 948"/>
                    <a:gd name="T107" fmla="*/ 605 h 893"/>
                    <a:gd name="T108" fmla="*/ 15 w 948"/>
                    <a:gd name="T109" fmla="*/ 623 h 893"/>
                    <a:gd name="T110" fmla="*/ 67 w 948"/>
                    <a:gd name="T111" fmla="*/ 733 h 893"/>
                    <a:gd name="T112" fmla="*/ 61 w 948"/>
                    <a:gd name="T113" fmla="*/ 748 h 893"/>
                    <a:gd name="T114" fmla="*/ 62 w 948"/>
                    <a:gd name="T115" fmla="*/ 760 h 893"/>
                    <a:gd name="T116" fmla="*/ 54 w 948"/>
                    <a:gd name="T117" fmla="*/ 788 h 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77" name="Freeform 237">
                  <a:extLst>
                    <a:ext uri="{FF2B5EF4-FFF2-40B4-BE49-F238E27FC236}">
                      <a16:creationId xmlns="" xmlns:a16="http://schemas.microsoft.com/office/drawing/2014/main" id="{C35A97CC-DF95-4550-A2A8-6D3BCBB68549}"/>
                    </a:ext>
                  </a:extLst>
                </p:cNvPr>
                <p:cNvSpPr>
                  <a:spLocks/>
                </p:cNvSpPr>
                <p:nvPr>
                  <p:custDataLst>
                    <p:tags r:id="rId165"/>
                  </p:custDataLst>
                </p:nvPr>
              </p:nvSpPr>
              <p:spPr bwMode="auto">
                <a:xfrm>
                  <a:off x="5831946" y="2142597"/>
                  <a:ext cx="350176" cy="410978"/>
                </a:xfrm>
                <a:custGeom>
                  <a:avLst/>
                  <a:gdLst>
                    <a:gd name="T0" fmla="*/ 238 w 373"/>
                    <a:gd name="T1" fmla="*/ 367 h 370"/>
                    <a:gd name="T2" fmla="*/ 244 w 373"/>
                    <a:gd name="T3" fmla="*/ 365 h 370"/>
                    <a:gd name="T4" fmla="*/ 255 w 373"/>
                    <a:gd name="T5" fmla="*/ 368 h 370"/>
                    <a:gd name="T6" fmla="*/ 372 w 373"/>
                    <a:gd name="T7" fmla="*/ 277 h 370"/>
                    <a:gd name="T8" fmla="*/ 369 w 373"/>
                    <a:gd name="T9" fmla="*/ 270 h 370"/>
                    <a:gd name="T10" fmla="*/ 361 w 373"/>
                    <a:gd name="T11" fmla="*/ 264 h 370"/>
                    <a:gd name="T12" fmla="*/ 347 w 373"/>
                    <a:gd name="T13" fmla="*/ 259 h 370"/>
                    <a:gd name="T14" fmla="*/ 339 w 373"/>
                    <a:gd name="T15" fmla="*/ 254 h 370"/>
                    <a:gd name="T16" fmla="*/ 336 w 373"/>
                    <a:gd name="T17" fmla="*/ 247 h 370"/>
                    <a:gd name="T18" fmla="*/ 337 w 373"/>
                    <a:gd name="T19" fmla="*/ 228 h 370"/>
                    <a:gd name="T20" fmla="*/ 337 w 373"/>
                    <a:gd name="T21" fmla="*/ 196 h 370"/>
                    <a:gd name="T22" fmla="*/ 334 w 373"/>
                    <a:gd name="T23" fmla="*/ 168 h 370"/>
                    <a:gd name="T24" fmla="*/ 329 w 373"/>
                    <a:gd name="T25" fmla="*/ 155 h 370"/>
                    <a:gd name="T26" fmla="*/ 323 w 373"/>
                    <a:gd name="T27" fmla="*/ 142 h 370"/>
                    <a:gd name="T28" fmla="*/ 315 w 373"/>
                    <a:gd name="T29" fmla="*/ 109 h 370"/>
                    <a:gd name="T30" fmla="*/ 306 w 373"/>
                    <a:gd name="T31" fmla="*/ 90 h 370"/>
                    <a:gd name="T32" fmla="*/ 297 w 373"/>
                    <a:gd name="T33" fmla="*/ 78 h 370"/>
                    <a:gd name="T34" fmla="*/ 300 w 373"/>
                    <a:gd name="T35" fmla="*/ 63 h 370"/>
                    <a:gd name="T36" fmla="*/ 301 w 373"/>
                    <a:gd name="T37" fmla="*/ 43 h 370"/>
                    <a:gd name="T38" fmla="*/ 302 w 373"/>
                    <a:gd name="T39" fmla="*/ 23 h 370"/>
                    <a:gd name="T40" fmla="*/ 310 w 373"/>
                    <a:gd name="T41" fmla="*/ 7 h 370"/>
                    <a:gd name="T42" fmla="*/ 302 w 373"/>
                    <a:gd name="T43" fmla="*/ 6 h 370"/>
                    <a:gd name="T44" fmla="*/ 278 w 373"/>
                    <a:gd name="T45" fmla="*/ 12 h 370"/>
                    <a:gd name="T46" fmla="*/ 245 w 373"/>
                    <a:gd name="T47" fmla="*/ 12 h 370"/>
                    <a:gd name="T48" fmla="*/ 206 w 373"/>
                    <a:gd name="T49" fmla="*/ 14 h 370"/>
                    <a:gd name="T50" fmla="*/ 168 w 373"/>
                    <a:gd name="T51" fmla="*/ 24 h 370"/>
                    <a:gd name="T52" fmla="*/ 145 w 373"/>
                    <a:gd name="T53" fmla="*/ 32 h 370"/>
                    <a:gd name="T54" fmla="*/ 124 w 373"/>
                    <a:gd name="T55" fmla="*/ 44 h 370"/>
                    <a:gd name="T56" fmla="*/ 123 w 373"/>
                    <a:gd name="T57" fmla="*/ 52 h 370"/>
                    <a:gd name="T58" fmla="*/ 131 w 373"/>
                    <a:gd name="T59" fmla="*/ 89 h 370"/>
                    <a:gd name="T60" fmla="*/ 134 w 373"/>
                    <a:gd name="T61" fmla="*/ 93 h 370"/>
                    <a:gd name="T62" fmla="*/ 141 w 373"/>
                    <a:gd name="T63" fmla="*/ 98 h 370"/>
                    <a:gd name="T64" fmla="*/ 142 w 373"/>
                    <a:gd name="T65" fmla="*/ 102 h 370"/>
                    <a:gd name="T66" fmla="*/ 139 w 373"/>
                    <a:gd name="T67" fmla="*/ 107 h 370"/>
                    <a:gd name="T68" fmla="*/ 128 w 373"/>
                    <a:gd name="T69" fmla="*/ 107 h 370"/>
                    <a:gd name="T70" fmla="*/ 106 w 373"/>
                    <a:gd name="T71" fmla="*/ 113 h 370"/>
                    <a:gd name="T72" fmla="*/ 95 w 373"/>
                    <a:gd name="T73" fmla="*/ 122 h 370"/>
                    <a:gd name="T74" fmla="*/ 90 w 373"/>
                    <a:gd name="T75" fmla="*/ 131 h 370"/>
                    <a:gd name="T76" fmla="*/ 82 w 373"/>
                    <a:gd name="T77" fmla="*/ 137 h 370"/>
                    <a:gd name="T78" fmla="*/ 66 w 373"/>
                    <a:gd name="T79" fmla="*/ 150 h 370"/>
                    <a:gd name="T80" fmla="*/ 51 w 373"/>
                    <a:gd name="T81" fmla="*/ 158 h 370"/>
                    <a:gd name="T82" fmla="*/ 31 w 373"/>
                    <a:gd name="T83" fmla="*/ 160 h 370"/>
                    <a:gd name="T84" fmla="*/ 20 w 373"/>
                    <a:gd name="T85" fmla="*/ 164 h 370"/>
                    <a:gd name="T86" fmla="*/ 8 w 373"/>
                    <a:gd name="T87" fmla="*/ 174 h 370"/>
                    <a:gd name="T88" fmla="*/ 0 w 373"/>
                    <a:gd name="T89" fmla="*/ 200 h 370"/>
                    <a:gd name="T90" fmla="*/ 179 w 373"/>
                    <a:gd name="T91" fmla="*/ 331 h 370"/>
                    <a:gd name="T92" fmla="*/ 201 w 373"/>
                    <a:gd name="T93" fmla="*/ 352 h 370"/>
                    <a:gd name="T94" fmla="*/ 229 w 373"/>
                    <a:gd name="T95" fmla="*/ 368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3" h="370">
                      <a:moveTo>
                        <a:pt x="235" y="370"/>
                      </a:moveTo>
                      <a:lnTo>
                        <a:pt x="237" y="369"/>
                      </a:lnTo>
                      <a:lnTo>
                        <a:pt x="238" y="367"/>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78" name="Freeform 238">
                  <a:extLst>
                    <a:ext uri="{FF2B5EF4-FFF2-40B4-BE49-F238E27FC236}">
                      <a16:creationId xmlns="" xmlns:a16="http://schemas.microsoft.com/office/drawing/2014/main" id="{1B4C6EC0-6481-4ED4-B389-E84E59DD6EA9}"/>
                    </a:ext>
                  </a:extLst>
                </p:cNvPr>
                <p:cNvSpPr>
                  <a:spLocks/>
                </p:cNvSpPr>
                <p:nvPr>
                  <p:custDataLst>
                    <p:tags r:id="rId166"/>
                  </p:custDataLst>
                </p:nvPr>
              </p:nvSpPr>
              <p:spPr bwMode="auto">
                <a:xfrm>
                  <a:off x="6141587" y="2238304"/>
                  <a:ext cx="272484" cy="309641"/>
                </a:xfrm>
                <a:custGeom>
                  <a:avLst/>
                  <a:gdLst>
                    <a:gd name="T0" fmla="*/ 36 w 877"/>
                    <a:gd name="T1" fmla="*/ 141 h 826"/>
                    <a:gd name="T2" fmla="*/ 46 w 877"/>
                    <a:gd name="T3" fmla="*/ 109 h 826"/>
                    <a:gd name="T4" fmla="*/ 46 w 877"/>
                    <a:gd name="T5" fmla="*/ 70 h 826"/>
                    <a:gd name="T6" fmla="*/ 61 w 877"/>
                    <a:gd name="T7" fmla="*/ 64 h 826"/>
                    <a:gd name="T8" fmla="*/ 89 w 877"/>
                    <a:gd name="T9" fmla="*/ 55 h 826"/>
                    <a:gd name="T10" fmla="*/ 99 w 877"/>
                    <a:gd name="T11" fmla="*/ 20 h 826"/>
                    <a:gd name="T12" fmla="*/ 168 w 877"/>
                    <a:gd name="T13" fmla="*/ 6 h 826"/>
                    <a:gd name="T14" fmla="*/ 242 w 877"/>
                    <a:gd name="T15" fmla="*/ 24 h 826"/>
                    <a:gd name="T16" fmla="*/ 273 w 877"/>
                    <a:gd name="T17" fmla="*/ 43 h 826"/>
                    <a:gd name="T18" fmla="*/ 285 w 877"/>
                    <a:gd name="T19" fmla="*/ 78 h 826"/>
                    <a:gd name="T20" fmla="*/ 295 w 877"/>
                    <a:gd name="T21" fmla="*/ 101 h 826"/>
                    <a:gd name="T22" fmla="*/ 325 w 877"/>
                    <a:gd name="T23" fmla="*/ 110 h 826"/>
                    <a:gd name="T24" fmla="*/ 363 w 877"/>
                    <a:gd name="T25" fmla="*/ 109 h 826"/>
                    <a:gd name="T26" fmla="*/ 421 w 877"/>
                    <a:gd name="T27" fmla="*/ 133 h 826"/>
                    <a:gd name="T28" fmla="*/ 478 w 877"/>
                    <a:gd name="T29" fmla="*/ 162 h 826"/>
                    <a:gd name="T30" fmla="*/ 513 w 877"/>
                    <a:gd name="T31" fmla="*/ 166 h 826"/>
                    <a:gd name="T32" fmla="*/ 538 w 877"/>
                    <a:gd name="T33" fmla="*/ 158 h 826"/>
                    <a:gd name="T34" fmla="*/ 549 w 877"/>
                    <a:gd name="T35" fmla="*/ 126 h 826"/>
                    <a:gd name="T36" fmla="*/ 544 w 877"/>
                    <a:gd name="T37" fmla="*/ 103 h 826"/>
                    <a:gd name="T38" fmla="*/ 531 w 877"/>
                    <a:gd name="T39" fmla="*/ 81 h 826"/>
                    <a:gd name="T40" fmla="*/ 539 w 877"/>
                    <a:gd name="T41" fmla="*/ 49 h 826"/>
                    <a:gd name="T42" fmla="*/ 574 w 877"/>
                    <a:gd name="T43" fmla="*/ 34 h 826"/>
                    <a:gd name="T44" fmla="*/ 617 w 877"/>
                    <a:gd name="T45" fmla="*/ 4 h 826"/>
                    <a:gd name="T46" fmla="*/ 650 w 877"/>
                    <a:gd name="T47" fmla="*/ 0 h 826"/>
                    <a:gd name="T48" fmla="*/ 681 w 877"/>
                    <a:gd name="T49" fmla="*/ 6 h 826"/>
                    <a:gd name="T50" fmla="*/ 695 w 877"/>
                    <a:gd name="T51" fmla="*/ 24 h 826"/>
                    <a:gd name="T52" fmla="*/ 706 w 877"/>
                    <a:gd name="T53" fmla="*/ 50 h 826"/>
                    <a:gd name="T54" fmla="*/ 728 w 877"/>
                    <a:gd name="T55" fmla="*/ 63 h 826"/>
                    <a:gd name="T56" fmla="*/ 798 w 877"/>
                    <a:gd name="T57" fmla="*/ 71 h 826"/>
                    <a:gd name="T58" fmla="*/ 830 w 877"/>
                    <a:gd name="T59" fmla="*/ 97 h 826"/>
                    <a:gd name="T60" fmla="*/ 834 w 877"/>
                    <a:gd name="T61" fmla="*/ 117 h 826"/>
                    <a:gd name="T62" fmla="*/ 843 w 877"/>
                    <a:gd name="T63" fmla="*/ 140 h 826"/>
                    <a:gd name="T64" fmla="*/ 836 w 877"/>
                    <a:gd name="T65" fmla="*/ 159 h 826"/>
                    <a:gd name="T66" fmla="*/ 824 w 877"/>
                    <a:gd name="T67" fmla="*/ 170 h 826"/>
                    <a:gd name="T68" fmla="*/ 829 w 877"/>
                    <a:gd name="T69" fmla="*/ 207 h 826"/>
                    <a:gd name="T70" fmla="*/ 858 w 877"/>
                    <a:gd name="T71" fmla="*/ 245 h 826"/>
                    <a:gd name="T72" fmla="*/ 876 w 877"/>
                    <a:gd name="T73" fmla="*/ 687 h 826"/>
                    <a:gd name="T74" fmla="*/ 877 w 877"/>
                    <a:gd name="T75" fmla="*/ 741 h 826"/>
                    <a:gd name="T76" fmla="*/ 870 w 877"/>
                    <a:gd name="T77" fmla="*/ 775 h 826"/>
                    <a:gd name="T78" fmla="*/ 848 w 877"/>
                    <a:gd name="T79" fmla="*/ 783 h 826"/>
                    <a:gd name="T80" fmla="*/ 830 w 877"/>
                    <a:gd name="T81" fmla="*/ 804 h 826"/>
                    <a:gd name="T82" fmla="*/ 366 w 877"/>
                    <a:gd name="T83" fmla="*/ 593 h 826"/>
                    <a:gd name="T84" fmla="*/ 331 w 877"/>
                    <a:gd name="T85" fmla="*/ 607 h 826"/>
                    <a:gd name="T86" fmla="*/ 292 w 877"/>
                    <a:gd name="T87" fmla="*/ 626 h 826"/>
                    <a:gd name="T88" fmla="*/ 263 w 877"/>
                    <a:gd name="T89" fmla="*/ 627 h 826"/>
                    <a:gd name="T90" fmla="*/ 230 w 877"/>
                    <a:gd name="T91" fmla="*/ 609 h 826"/>
                    <a:gd name="T92" fmla="*/ 193 w 877"/>
                    <a:gd name="T93" fmla="*/ 586 h 826"/>
                    <a:gd name="T94" fmla="*/ 152 w 877"/>
                    <a:gd name="T95" fmla="*/ 578 h 826"/>
                    <a:gd name="T96" fmla="*/ 138 w 877"/>
                    <a:gd name="T97" fmla="*/ 577 h 826"/>
                    <a:gd name="T98" fmla="*/ 130 w 877"/>
                    <a:gd name="T99" fmla="*/ 553 h 826"/>
                    <a:gd name="T100" fmla="*/ 109 w 877"/>
                    <a:gd name="T101" fmla="*/ 535 h 826"/>
                    <a:gd name="T102" fmla="*/ 63 w 877"/>
                    <a:gd name="T103" fmla="*/ 517 h 826"/>
                    <a:gd name="T104" fmla="*/ 28 w 877"/>
                    <a:gd name="T105" fmla="*/ 499 h 826"/>
                    <a:gd name="T106" fmla="*/ 16 w 877"/>
                    <a:gd name="T107" fmla="*/ 482 h 826"/>
                    <a:gd name="T108" fmla="*/ 14 w 877"/>
                    <a:gd name="T109" fmla="*/ 439 h 826"/>
                    <a:gd name="T110" fmla="*/ 19 w 877"/>
                    <a:gd name="T111" fmla="*/ 352 h 826"/>
                    <a:gd name="T112" fmla="*/ 17 w 877"/>
                    <a:gd name="T113" fmla="*/ 258 h 826"/>
                    <a:gd name="T114" fmla="*/ 4 w 877"/>
                    <a:gd name="T115" fmla="*/ 202 h 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79" name="Freeform 239">
                  <a:extLst>
                    <a:ext uri="{FF2B5EF4-FFF2-40B4-BE49-F238E27FC236}">
                      <a16:creationId xmlns="" xmlns:a16="http://schemas.microsoft.com/office/drawing/2014/main" id="{FD07D387-BEFD-4BA0-AAC3-5EB458461135}"/>
                    </a:ext>
                  </a:extLst>
                </p:cNvPr>
                <p:cNvSpPr>
                  <a:spLocks/>
                </p:cNvSpPr>
                <p:nvPr>
                  <p:custDataLst>
                    <p:tags r:id="rId167"/>
                  </p:custDataLst>
                </p:nvPr>
              </p:nvSpPr>
              <p:spPr bwMode="auto">
                <a:xfrm>
                  <a:off x="6107808" y="2142597"/>
                  <a:ext cx="66432" cy="167770"/>
                </a:xfrm>
                <a:custGeom>
                  <a:avLst/>
                  <a:gdLst>
                    <a:gd name="T0" fmla="*/ 103 w 206"/>
                    <a:gd name="T1" fmla="*/ 441 h 455"/>
                    <a:gd name="T2" fmla="*/ 125 w 206"/>
                    <a:gd name="T3" fmla="*/ 420 h 455"/>
                    <a:gd name="T4" fmla="*/ 140 w 206"/>
                    <a:gd name="T5" fmla="*/ 404 h 455"/>
                    <a:gd name="T6" fmla="*/ 147 w 206"/>
                    <a:gd name="T7" fmla="*/ 390 h 455"/>
                    <a:gd name="T8" fmla="*/ 152 w 206"/>
                    <a:gd name="T9" fmla="*/ 373 h 455"/>
                    <a:gd name="T10" fmla="*/ 154 w 206"/>
                    <a:gd name="T11" fmla="*/ 352 h 455"/>
                    <a:gd name="T12" fmla="*/ 153 w 206"/>
                    <a:gd name="T13" fmla="*/ 335 h 455"/>
                    <a:gd name="T14" fmla="*/ 156 w 206"/>
                    <a:gd name="T15" fmla="*/ 331 h 455"/>
                    <a:gd name="T16" fmla="*/ 168 w 206"/>
                    <a:gd name="T17" fmla="*/ 329 h 455"/>
                    <a:gd name="T18" fmla="*/ 185 w 206"/>
                    <a:gd name="T19" fmla="*/ 325 h 455"/>
                    <a:gd name="T20" fmla="*/ 196 w 206"/>
                    <a:gd name="T21" fmla="*/ 318 h 455"/>
                    <a:gd name="T22" fmla="*/ 203 w 206"/>
                    <a:gd name="T23" fmla="*/ 304 h 455"/>
                    <a:gd name="T24" fmla="*/ 206 w 206"/>
                    <a:gd name="T25" fmla="*/ 280 h 455"/>
                    <a:gd name="T26" fmla="*/ 202 w 206"/>
                    <a:gd name="T27" fmla="*/ 265 h 455"/>
                    <a:gd name="T28" fmla="*/ 193 w 206"/>
                    <a:gd name="T29" fmla="*/ 264 h 455"/>
                    <a:gd name="T30" fmla="*/ 177 w 206"/>
                    <a:gd name="T31" fmla="*/ 256 h 455"/>
                    <a:gd name="T32" fmla="*/ 155 w 206"/>
                    <a:gd name="T33" fmla="*/ 242 h 455"/>
                    <a:gd name="T34" fmla="*/ 140 w 206"/>
                    <a:gd name="T35" fmla="*/ 231 h 455"/>
                    <a:gd name="T36" fmla="*/ 130 w 206"/>
                    <a:gd name="T37" fmla="*/ 228 h 455"/>
                    <a:gd name="T38" fmla="*/ 119 w 206"/>
                    <a:gd name="T39" fmla="*/ 222 h 455"/>
                    <a:gd name="T40" fmla="*/ 101 w 206"/>
                    <a:gd name="T41" fmla="*/ 212 h 455"/>
                    <a:gd name="T42" fmla="*/ 95 w 206"/>
                    <a:gd name="T43" fmla="*/ 206 h 455"/>
                    <a:gd name="T44" fmla="*/ 95 w 206"/>
                    <a:gd name="T45" fmla="*/ 199 h 455"/>
                    <a:gd name="T46" fmla="*/ 104 w 206"/>
                    <a:gd name="T47" fmla="*/ 181 h 455"/>
                    <a:gd name="T48" fmla="*/ 119 w 206"/>
                    <a:gd name="T49" fmla="*/ 158 h 455"/>
                    <a:gd name="T50" fmla="*/ 134 w 206"/>
                    <a:gd name="T51" fmla="*/ 140 h 455"/>
                    <a:gd name="T52" fmla="*/ 136 w 206"/>
                    <a:gd name="T53" fmla="*/ 129 h 455"/>
                    <a:gd name="T54" fmla="*/ 126 w 206"/>
                    <a:gd name="T55" fmla="*/ 116 h 455"/>
                    <a:gd name="T56" fmla="*/ 115 w 206"/>
                    <a:gd name="T57" fmla="*/ 105 h 455"/>
                    <a:gd name="T58" fmla="*/ 108 w 206"/>
                    <a:gd name="T59" fmla="*/ 93 h 455"/>
                    <a:gd name="T60" fmla="*/ 107 w 206"/>
                    <a:gd name="T61" fmla="*/ 84 h 455"/>
                    <a:gd name="T62" fmla="*/ 111 w 206"/>
                    <a:gd name="T63" fmla="*/ 78 h 455"/>
                    <a:gd name="T64" fmla="*/ 116 w 206"/>
                    <a:gd name="T65" fmla="*/ 72 h 455"/>
                    <a:gd name="T66" fmla="*/ 123 w 206"/>
                    <a:gd name="T67" fmla="*/ 69 h 455"/>
                    <a:gd name="T68" fmla="*/ 126 w 206"/>
                    <a:gd name="T69" fmla="*/ 37 h 455"/>
                    <a:gd name="T70" fmla="*/ 110 w 206"/>
                    <a:gd name="T71" fmla="*/ 32 h 455"/>
                    <a:gd name="T72" fmla="*/ 87 w 206"/>
                    <a:gd name="T73" fmla="*/ 21 h 455"/>
                    <a:gd name="T74" fmla="*/ 53 w 206"/>
                    <a:gd name="T75" fmla="*/ 0 h 455"/>
                    <a:gd name="T76" fmla="*/ 47 w 206"/>
                    <a:gd name="T77" fmla="*/ 11 h 455"/>
                    <a:gd name="T78" fmla="*/ 34 w 206"/>
                    <a:gd name="T79" fmla="*/ 44 h 455"/>
                    <a:gd name="T80" fmla="*/ 28 w 206"/>
                    <a:gd name="T81" fmla="*/ 70 h 455"/>
                    <a:gd name="T82" fmla="*/ 22 w 206"/>
                    <a:gd name="T83" fmla="*/ 99 h 455"/>
                    <a:gd name="T84" fmla="*/ 20 w 206"/>
                    <a:gd name="T85" fmla="*/ 133 h 455"/>
                    <a:gd name="T86" fmla="*/ 20 w 206"/>
                    <a:gd name="T87" fmla="*/ 172 h 455"/>
                    <a:gd name="T88" fmla="*/ 12 w 206"/>
                    <a:gd name="T89" fmla="*/ 188 h 455"/>
                    <a:gd name="T90" fmla="*/ 8 w 206"/>
                    <a:gd name="T91" fmla="*/ 206 h 455"/>
                    <a:gd name="T92" fmla="*/ 0 w 206"/>
                    <a:gd name="T93" fmla="*/ 235 h 455"/>
                    <a:gd name="T94" fmla="*/ 22 w 206"/>
                    <a:gd name="T95" fmla="*/ 259 h 455"/>
                    <a:gd name="T96" fmla="*/ 41 w 206"/>
                    <a:gd name="T97" fmla="*/ 281 h 455"/>
                    <a:gd name="T98" fmla="*/ 55 w 206"/>
                    <a:gd name="T99" fmla="*/ 305 h 455"/>
                    <a:gd name="T100" fmla="*/ 66 w 206"/>
                    <a:gd name="T101" fmla="*/ 329 h 455"/>
                    <a:gd name="T102" fmla="*/ 75 w 206"/>
                    <a:gd name="T103" fmla="*/ 355 h 455"/>
                    <a:gd name="T104" fmla="*/ 82 w 206"/>
                    <a:gd name="T105" fmla="*/ 384 h 455"/>
                    <a:gd name="T106" fmla="*/ 93 w 206"/>
                    <a:gd name="T107" fmla="*/ 45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80" name="Freeform 240">
                  <a:extLst>
                    <a:ext uri="{FF2B5EF4-FFF2-40B4-BE49-F238E27FC236}">
                      <a16:creationId xmlns="" xmlns:a16="http://schemas.microsoft.com/office/drawing/2014/main" id="{5C2659AD-46D8-4BF1-A8D1-4833189337A5}"/>
                    </a:ext>
                  </a:extLst>
                </p:cNvPr>
                <p:cNvSpPr>
                  <a:spLocks/>
                </p:cNvSpPr>
                <p:nvPr>
                  <p:custDataLst>
                    <p:tags r:id="rId168"/>
                  </p:custDataLst>
                </p:nvPr>
              </p:nvSpPr>
              <p:spPr bwMode="auto">
                <a:xfrm>
                  <a:off x="5669807" y="2363286"/>
                  <a:ext cx="164392" cy="153132"/>
                </a:xfrm>
                <a:custGeom>
                  <a:avLst/>
                  <a:gdLst>
                    <a:gd name="T0" fmla="*/ 326 w 518"/>
                    <a:gd name="T1" fmla="*/ 110 h 406"/>
                    <a:gd name="T2" fmla="*/ 326 w 518"/>
                    <a:gd name="T3" fmla="*/ 259 h 406"/>
                    <a:gd name="T4" fmla="*/ 315 w 518"/>
                    <a:gd name="T5" fmla="*/ 264 h 406"/>
                    <a:gd name="T6" fmla="*/ 291 w 518"/>
                    <a:gd name="T7" fmla="*/ 271 h 406"/>
                    <a:gd name="T8" fmla="*/ 246 w 518"/>
                    <a:gd name="T9" fmla="*/ 283 h 406"/>
                    <a:gd name="T10" fmla="*/ 253 w 518"/>
                    <a:gd name="T11" fmla="*/ 302 h 406"/>
                    <a:gd name="T12" fmla="*/ 265 w 518"/>
                    <a:gd name="T13" fmla="*/ 326 h 406"/>
                    <a:gd name="T14" fmla="*/ 269 w 518"/>
                    <a:gd name="T15" fmla="*/ 353 h 406"/>
                    <a:gd name="T16" fmla="*/ 272 w 518"/>
                    <a:gd name="T17" fmla="*/ 382 h 406"/>
                    <a:gd name="T18" fmla="*/ 52 w 518"/>
                    <a:gd name="T19" fmla="*/ 394 h 406"/>
                    <a:gd name="T20" fmla="*/ 22 w 518"/>
                    <a:gd name="T21" fmla="*/ 406 h 406"/>
                    <a:gd name="T22" fmla="*/ 5 w 518"/>
                    <a:gd name="T23" fmla="*/ 403 h 406"/>
                    <a:gd name="T24" fmla="*/ 1 w 518"/>
                    <a:gd name="T25" fmla="*/ 398 h 406"/>
                    <a:gd name="T26" fmla="*/ 1 w 518"/>
                    <a:gd name="T27" fmla="*/ 385 h 406"/>
                    <a:gd name="T28" fmla="*/ 4 w 518"/>
                    <a:gd name="T29" fmla="*/ 371 h 406"/>
                    <a:gd name="T30" fmla="*/ 11 w 518"/>
                    <a:gd name="T31" fmla="*/ 354 h 406"/>
                    <a:gd name="T32" fmla="*/ 20 w 518"/>
                    <a:gd name="T33" fmla="*/ 341 h 406"/>
                    <a:gd name="T34" fmla="*/ 30 w 518"/>
                    <a:gd name="T35" fmla="*/ 334 h 406"/>
                    <a:gd name="T36" fmla="*/ 38 w 518"/>
                    <a:gd name="T37" fmla="*/ 326 h 406"/>
                    <a:gd name="T38" fmla="*/ 44 w 518"/>
                    <a:gd name="T39" fmla="*/ 317 h 406"/>
                    <a:gd name="T40" fmla="*/ 49 w 518"/>
                    <a:gd name="T41" fmla="*/ 292 h 406"/>
                    <a:gd name="T42" fmla="*/ 56 w 518"/>
                    <a:gd name="T43" fmla="*/ 265 h 406"/>
                    <a:gd name="T44" fmla="*/ 62 w 518"/>
                    <a:gd name="T45" fmla="*/ 257 h 406"/>
                    <a:gd name="T46" fmla="*/ 74 w 518"/>
                    <a:gd name="T47" fmla="*/ 246 h 406"/>
                    <a:gd name="T48" fmla="*/ 92 w 518"/>
                    <a:gd name="T49" fmla="*/ 238 h 406"/>
                    <a:gd name="T50" fmla="*/ 107 w 518"/>
                    <a:gd name="T51" fmla="*/ 231 h 406"/>
                    <a:gd name="T52" fmla="*/ 122 w 518"/>
                    <a:gd name="T53" fmla="*/ 218 h 406"/>
                    <a:gd name="T54" fmla="*/ 136 w 518"/>
                    <a:gd name="T55" fmla="*/ 195 h 406"/>
                    <a:gd name="T56" fmla="*/ 150 w 518"/>
                    <a:gd name="T57" fmla="*/ 156 h 406"/>
                    <a:gd name="T58" fmla="*/ 162 w 518"/>
                    <a:gd name="T59" fmla="*/ 117 h 406"/>
                    <a:gd name="T60" fmla="*/ 172 w 518"/>
                    <a:gd name="T61" fmla="*/ 94 h 406"/>
                    <a:gd name="T62" fmla="*/ 186 w 518"/>
                    <a:gd name="T63" fmla="*/ 73 h 406"/>
                    <a:gd name="T64" fmla="*/ 201 w 518"/>
                    <a:gd name="T65" fmla="*/ 62 h 406"/>
                    <a:gd name="T66" fmla="*/ 213 w 518"/>
                    <a:gd name="T67" fmla="*/ 57 h 406"/>
                    <a:gd name="T68" fmla="*/ 219 w 518"/>
                    <a:gd name="T69" fmla="*/ 44 h 406"/>
                    <a:gd name="T70" fmla="*/ 223 w 518"/>
                    <a:gd name="T71" fmla="*/ 28 h 406"/>
                    <a:gd name="T72" fmla="*/ 228 w 518"/>
                    <a:gd name="T73" fmla="*/ 16 h 406"/>
                    <a:gd name="T74" fmla="*/ 239 w 518"/>
                    <a:gd name="T75" fmla="*/ 8 h 406"/>
                    <a:gd name="T76" fmla="*/ 511 w 518"/>
                    <a:gd name="T77" fmla="*/ 0 h 406"/>
                    <a:gd name="T78" fmla="*/ 515 w 518"/>
                    <a:gd name="T79" fmla="*/ 46 h 406"/>
                    <a:gd name="T80" fmla="*/ 518 w 518"/>
                    <a:gd name="T81" fmla="*/ 110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81" name="Freeform 241">
                  <a:extLst>
                    <a:ext uri="{FF2B5EF4-FFF2-40B4-BE49-F238E27FC236}">
                      <a16:creationId xmlns="" xmlns:a16="http://schemas.microsoft.com/office/drawing/2014/main" id="{8C98AE99-A280-4C06-9F68-4E6C0A233775}"/>
                    </a:ext>
                  </a:extLst>
                </p:cNvPr>
                <p:cNvSpPr>
                  <a:spLocks/>
                </p:cNvSpPr>
                <p:nvPr>
                  <p:custDataLst>
                    <p:tags r:id="rId169"/>
                  </p:custDataLst>
                </p:nvPr>
              </p:nvSpPr>
              <p:spPr bwMode="auto">
                <a:xfrm>
                  <a:off x="5647287" y="1517685"/>
                  <a:ext cx="135116" cy="66432"/>
                </a:xfrm>
                <a:custGeom>
                  <a:avLst/>
                  <a:gdLst>
                    <a:gd name="T0" fmla="*/ 34 w 446"/>
                    <a:gd name="T1" fmla="*/ 61 h 178"/>
                    <a:gd name="T2" fmla="*/ 41 w 446"/>
                    <a:gd name="T3" fmla="*/ 42 h 178"/>
                    <a:gd name="T4" fmla="*/ 68 w 446"/>
                    <a:gd name="T5" fmla="*/ 37 h 178"/>
                    <a:gd name="T6" fmla="*/ 80 w 446"/>
                    <a:gd name="T7" fmla="*/ 18 h 178"/>
                    <a:gd name="T8" fmla="*/ 72 w 446"/>
                    <a:gd name="T9" fmla="*/ 14 h 178"/>
                    <a:gd name="T10" fmla="*/ 60 w 446"/>
                    <a:gd name="T11" fmla="*/ 0 h 178"/>
                    <a:gd name="T12" fmla="*/ 85 w 446"/>
                    <a:gd name="T13" fmla="*/ 10 h 178"/>
                    <a:gd name="T14" fmla="*/ 108 w 446"/>
                    <a:gd name="T15" fmla="*/ 39 h 178"/>
                    <a:gd name="T16" fmla="*/ 125 w 446"/>
                    <a:gd name="T17" fmla="*/ 62 h 178"/>
                    <a:gd name="T18" fmla="*/ 139 w 446"/>
                    <a:gd name="T19" fmla="*/ 67 h 178"/>
                    <a:gd name="T20" fmla="*/ 157 w 446"/>
                    <a:gd name="T21" fmla="*/ 63 h 178"/>
                    <a:gd name="T22" fmla="*/ 181 w 446"/>
                    <a:gd name="T23" fmla="*/ 45 h 178"/>
                    <a:gd name="T24" fmla="*/ 205 w 446"/>
                    <a:gd name="T25" fmla="*/ 23 h 178"/>
                    <a:gd name="T26" fmla="*/ 220 w 446"/>
                    <a:gd name="T27" fmla="*/ 31 h 178"/>
                    <a:gd name="T28" fmla="*/ 359 w 446"/>
                    <a:gd name="T29" fmla="*/ 11 h 178"/>
                    <a:gd name="T30" fmla="*/ 376 w 446"/>
                    <a:gd name="T31" fmla="*/ 23 h 178"/>
                    <a:gd name="T32" fmla="*/ 396 w 446"/>
                    <a:gd name="T33" fmla="*/ 22 h 178"/>
                    <a:gd name="T34" fmla="*/ 413 w 446"/>
                    <a:gd name="T35" fmla="*/ 37 h 178"/>
                    <a:gd name="T36" fmla="*/ 415 w 446"/>
                    <a:gd name="T37" fmla="*/ 43 h 178"/>
                    <a:gd name="T38" fmla="*/ 429 w 446"/>
                    <a:gd name="T39" fmla="*/ 54 h 178"/>
                    <a:gd name="T40" fmla="*/ 443 w 446"/>
                    <a:gd name="T41" fmla="*/ 68 h 178"/>
                    <a:gd name="T42" fmla="*/ 446 w 446"/>
                    <a:gd name="T43" fmla="*/ 80 h 178"/>
                    <a:gd name="T44" fmla="*/ 438 w 446"/>
                    <a:gd name="T45" fmla="*/ 96 h 178"/>
                    <a:gd name="T46" fmla="*/ 413 w 446"/>
                    <a:gd name="T47" fmla="*/ 111 h 178"/>
                    <a:gd name="T48" fmla="*/ 397 w 446"/>
                    <a:gd name="T49" fmla="*/ 120 h 178"/>
                    <a:gd name="T50" fmla="*/ 366 w 446"/>
                    <a:gd name="T51" fmla="*/ 123 h 178"/>
                    <a:gd name="T52" fmla="*/ 300 w 446"/>
                    <a:gd name="T53" fmla="*/ 146 h 178"/>
                    <a:gd name="T54" fmla="*/ 234 w 446"/>
                    <a:gd name="T55" fmla="*/ 171 h 178"/>
                    <a:gd name="T56" fmla="*/ 199 w 446"/>
                    <a:gd name="T57" fmla="*/ 178 h 178"/>
                    <a:gd name="T58" fmla="*/ 177 w 446"/>
                    <a:gd name="T59" fmla="*/ 174 h 178"/>
                    <a:gd name="T60" fmla="*/ 172 w 446"/>
                    <a:gd name="T61" fmla="*/ 164 h 178"/>
                    <a:gd name="T62" fmla="*/ 170 w 446"/>
                    <a:gd name="T63" fmla="*/ 161 h 178"/>
                    <a:gd name="T64" fmla="*/ 156 w 446"/>
                    <a:gd name="T65" fmla="*/ 161 h 178"/>
                    <a:gd name="T66" fmla="*/ 139 w 446"/>
                    <a:gd name="T67" fmla="*/ 160 h 178"/>
                    <a:gd name="T68" fmla="*/ 100 w 446"/>
                    <a:gd name="T69" fmla="*/ 147 h 178"/>
                    <a:gd name="T70" fmla="*/ 85 w 446"/>
                    <a:gd name="T71" fmla="*/ 137 h 178"/>
                    <a:gd name="T72" fmla="*/ 81 w 446"/>
                    <a:gd name="T73" fmla="*/ 125 h 178"/>
                    <a:gd name="T74" fmla="*/ 87 w 446"/>
                    <a:gd name="T75" fmla="*/ 111 h 178"/>
                    <a:gd name="T76" fmla="*/ 27 w 446"/>
                    <a:gd name="T77" fmla="*/ 103 h 178"/>
                    <a:gd name="T78" fmla="*/ 9 w 446"/>
                    <a:gd name="T79" fmla="*/ 105 h 178"/>
                    <a:gd name="T80" fmla="*/ 0 w 446"/>
                    <a:gd name="T81" fmla="*/ 80 h 178"/>
                    <a:gd name="T82" fmla="*/ 60 w 446"/>
                    <a:gd name="T83" fmla="*/ 86 h 178"/>
                    <a:gd name="T84" fmla="*/ 87 w 446"/>
                    <a:gd name="T85" fmla="*/ 80 h 178"/>
                    <a:gd name="T86" fmla="*/ 23 w 446"/>
                    <a:gd name="T87" fmla="*/ 68 h 178"/>
                    <a:gd name="T88" fmla="*/ 16 w 446"/>
                    <a:gd name="T89" fmla="*/ 5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82" name="Freeform 242">
                  <a:extLst>
                    <a:ext uri="{FF2B5EF4-FFF2-40B4-BE49-F238E27FC236}">
                      <a16:creationId xmlns="" xmlns:a16="http://schemas.microsoft.com/office/drawing/2014/main" id="{B6590059-E0AA-4336-9B22-BD4B6A923CCA}"/>
                    </a:ext>
                  </a:extLst>
                </p:cNvPr>
                <p:cNvSpPr>
                  <a:spLocks/>
                </p:cNvSpPr>
                <p:nvPr>
                  <p:custDataLst>
                    <p:tags r:id="rId170"/>
                  </p:custDataLst>
                </p:nvPr>
              </p:nvSpPr>
              <p:spPr bwMode="auto">
                <a:xfrm>
                  <a:off x="6209145" y="1704596"/>
                  <a:ext cx="10134" cy="40535"/>
                </a:xfrm>
                <a:custGeom>
                  <a:avLst/>
                  <a:gdLst>
                    <a:gd name="T0" fmla="*/ 0 w 28"/>
                    <a:gd name="T1" fmla="*/ 73 h 73"/>
                    <a:gd name="T2" fmla="*/ 2 w 28"/>
                    <a:gd name="T3" fmla="*/ 47 h 73"/>
                    <a:gd name="T4" fmla="*/ 6 w 28"/>
                    <a:gd name="T5" fmla="*/ 28 h 73"/>
                    <a:gd name="T6" fmla="*/ 7 w 28"/>
                    <a:gd name="T7" fmla="*/ 20 h 73"/>
                    <a:gd name="T8" fmla="*/ 6 w 28"/>
                    <a:gd name="T9" fmla="*/ 13 h 73"/>
                    <a:gd name="T10" fmla="*/ 4 w 28"/>
                    <a:gd name="T11" fmla="*/ 7 h 73"/>
                    <a:gd name="T12" fmla="*/ 0 w 28"/>
                    <a:gd name="T13" fmla="*/ 0 h 73"/>
                    <a:gd name="T14" fmla="*/ 28 w 28"/>
                    <a:gd name="T15" fmla="*/ 0 h 73"/>
                    <a:gd name="T16" fmla="*/ 22 w 28"/>
                    <a:gd name="T17" fmla="*/ 16 h 73"/>
                    <a:gd name="T18" fmla="*/ 17 w 28"/>
                    <a:gd name="T19" fmla="*/ 30 h 73"/>
                    <a:gd name="T20" fmla="*/ 12 w 28"/>
                    <a:gd name="T21" fmla="*/ 43 h 73"/>
                    <a:gd name="T22" fmla="*/ 7 w 28"/>
                    <a:gd name="T23" fmla="*/ 55 h 73"/>
                    <a:gd name="T24" fmla="*/ 0 w 28"/>
                    <a:gd name="T25"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183" name="Freeform 243">
                  <a:extLst>
                    <a:ext uri="{FF2B5EF4-FFF2-40B4-BE49-F238E27FC236}">
                      <a16:creationId xmlns="" xmlns:a16="http://schemas.microsoft.com/office/drawing/2014/main" id="{65A924FF-3284-412C-B7E5-05DDB7D3767A}"/>
                    </a:ext>
                  </a:extLst>
                </p:cNvPr>
                <p:cNvSpPr>
                  <a:spLocks/>
                </p:cNvSpPr>
                <p:nvPr>
                  <p:custDataLst>
                    <p:tags r:id="rId171"/>
                  </p:custDataLst>
                </p:nvPr>
              </p:nvSpPr>
              <p:spPr bwMode="auto">
                <a:xfrm>
                  <a:off x="6129202" y="1465891"/>
                  <a:ext cx="166643" cy="280365"/>
                </a:xfrm>
                <a:custGeom>
                  <a:avLst/>
                  <a:gdLst>
                    <a:gd name="T0" fmla="*/ 419 w 531"/>
                    <a:gd name="T1" fmla="*/ 203 h 757"/>
                    <a:gd name="T2" fmla="*/ 406 w 531"/>
                    <a:gd name="T3" fmla="*/ 221 h 757"/>
                    <a:gd name="T4" fmla="*/ 404 w 531"/>
                    <a:gd name="T5" fmla="*/ 237 h 757"/>
                    <a:gd name="T6" fmla="*/ 382 w 531"/>
                    <a:gd name="T7" fmla="*/ 275 h 757"/>
                    <a:gd name="T8" fmla="*/ 325 w 531"/>
                    <a:gd name="T9" fmla="*/ 306 h 757"/>
                    <a:gd name="T10" fmla="*/ 252 w 531"/>
                    <a:gd name="T11" fmla="*/ 354 h 757"/>
                    <a:gd name="T12" fmla="*/ 237 w 531"/>
                    <a:gd name="T13" fmla="*/ 369 h 757"/>
                    <a:gd name="T14" fmla="*/ 245 w 531"/>
                    <a:gd name="T15" fmla="*/ 381 h 757"/>
                    <a:gd name="T16" fmla="*/ 240 w 531"/>
                    <a:gd name="T17" fmla="*/ 424 h 757"/>
                    <a:gd name="T18" fmla="*/ 239 w 531"/>
                    <a:gd name="T19" fmla="*/ 449 h 757"/>
                    <a:gd name="T20" fmla="*/ 262 w 531"/>
                    <a:gd name="T21" fmla="*/ 468 h 757"/>
                    <a:gd name="T22" fmla="*/ 320 w 531"/>
                    <a:gd name="T23" fmla="*/ 485 h 757"/>
                    <a:gd name="T24" fmla="*/ 332 w 531"/>
                    <a:gd name="T25" fmla="*/ 505 h 757"/>
                    <a:gd name="T26" fmla="*/ 310 w 531"/>
                    <a:gd name="T27" fmla="*/ 531 h 757"/>
                    <a:gd name="T28" fmla="*/ 272 w 531"/>
                    <a:gd name="T29" fmla="*/ 547 h 757"/>
                    <a:gd name="T30" fmla="*/ 265 w 531"/>
                    <a:gd name="T31" fmla="*/ 560 h 757"/>
                    <a:gd name="T32" fmla="*/ 252 w 531"/>
                    <a:gd name="T33" fmla="*/ 631 h 757"/>
                    <a:gd name="T34" fmla="*/ 239 w 531"/>
                    <a:gd name="T35" fmla="*/ 721 h 757"/>
                    <a:gd name="T36" fmla="*/ 173 w 531"/>
                    <a:gd name="T37" fmla="*/ 727 h 757"/>
                    <a:gd name="T38" fmla="*/ 152 w 531"/>
                    <a:gd name="T39" fmla="*/ 738 h 757"/>
                    <a:gd name="T40" fmla="*/ 153 w 531"/>
                    <a:gd name="T41" fmla="*/ 757 h 757"/>
                    <a:gd name="T42" fmla="*/ 106 w 531"/>
                    <a:gd name="T43" fmla="*/ 757 h 757"/>
                    <a:gd name="T44" fmla="*/ 95 w 531"/>
                    <a:gd name="T45" fmla="*/ 752 h 757"/>
                    <a:gd name="T46" fmla="*/ 71 w 531"/>
                    <a:gd name="T47" fmla="*/ 718 h 757"/>
                    <a:gd name="T48" fmla="*/ 41 w 531"/>
                    <a:gd name="T49" fmla="*/ 640 h 757"/>
                    <a:gd name="T50" fmla="*/ 34 w 531"/>
                    <a:gd name="T51" fmla="*/ 597 h 757"/>
                    <a:gd name="T52" fmla="*/ 14 w 531"/>
                    <a:gd name="T53" fmla="*/ 586 h 757"/>
                    <a:gd name="T54" fmla="*/ 19 w 531"/>
                    <a:gd name="T55" fmla="*/ 561 h 757"/>
                    <a:gd name="T56" fmla="*/ 36 w 531"/>
                    <a:gd name="T57" fmla="*/ 538 h 757"/>
                    <a:gd name="T58" fmla="*/ 53 w 531"/>
                    <a:gd name="T59" fmla="*/ 504 h 757"/>
                    <a:gd name="T60" fmla="*/ 61 w 531"/>
                    <a:gd name="T61" fmla="*/ 471 h 757"/>
                    <a:gd name="T62" fmla="*/ 64 w 531"/>
                    <a:gd name="T63" fmla="*/ 441 h 757"/>
                    <a:gd name="T64" fmla="*/ 58 w 531"/>
                    <a:gd name="T65" fmla="*/ 408 h 757"/>
                    <a:gd name="T66" fmla="*/ 43 w 531"/>
                    <a:gd name="T67" fmla="*/ 377 h 757"/>
                    <a:gd name="T68" fmla="*/ 74 w 531"/>
                    <a:gd name="T69" fmla="*/ 276 h 757"/>
                    <a:gd name="T70" fmla="*/ 103 w 531"/>
                    <a:gd name="T71" fmla="*/ 275 h 757"/>
                    <a:gd name="T72" fmla="*/ 113 w 531"/>
                    <a:gd name="T73" fmla="*/ 234 h 757"/>
                    <a:gd name="T74" fmla="*/ 137 w 531"/>
                    <a:gd name="T75" fmla="*/ 192 h 757"/>
                    <a:gd name="T76" fmla="*/ 180 w 531"/>
                    <a:gd name="T77" fmla="*/ 145 h 757"/>
                    <a:gd name="T78" fmla="*/ 198 w 531"/>
                    <a:gd name="T79" fmla="*/ 111 h 757"/>
                    <a:gd name="T80" fmla="*/ 228 w 531"/>
                    <a:gd name="T81" fmla="*/ 60 h 757"/>
                    <a:gd name="T82" fmla="*/ 249 w 531"/>
                    <a:gd name="T83" fmla="*/ 43 h 757"/>
                    <a:gd name="T84" fmla="*/ 309 w 531"/>
                    <a:gd name="T85" fmla="*/ 29 h 757"/>
                    <a:gd name="T86" fmla="*/ 368 w 531"/>
                    <a:gd name="T87" fmla="*/ 13 h 757"/>
                    <a:gd name="T88" fmla="*/ 401 w 531"/>
                    <a:gd name="T89" fmla="*/ 5 h 757"/>
                    <a:gd name="T90" fmla="*/ 431 w 531"/>
                    <a:gd name="T91" fmla="*/ 32 h 757"/>
                    <a:gd name="T92" fmla="*/ 457 w 531"/>
                    <a:gd name="T93" fmla="*/ 42 h 757"/>
                    <a:gd name="T94" fmla="*/ 513 w 531"/>
                    <a:gd name="T95" fmla="*/ 111 h 757"/>
                    <a:gd name="T96" fmla="*/ 528 w 531"/>
                    <a:gd name="T97" fmla="*/ 150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184" name="Freeform 244">
                  <a:extLst>
                    <a:ext uri="{FF2B5EF4-FFF2-40B4-BE49-F238E27FC236}">
                      <a16:creationId xmlns="" xmlns:a16="http://schemas.microsoft.com/office/drawing/2014/main" id="{893869E3-AD95-4294-86C1-DFB49876693D}"/>
                    </a:ext>
                  </a:extLst>
                </p:cNvPr>
                <p:cNvSpPr>
                  <a:spLocks/>
                </p:cNvSpPr>
                <p:nvPr>
                  <p:custDataLst>
                    <p:tags r:id="rId172"/>
                  </p:custDataLst>
                </p:nvPr>
              </p:nvSpPr>
              <p:spPr bwMode="auto">
                <a:xfrm>
                  <a:off x="6227161" y="1688832"/>
                  <a:ext cx="19142" cy="40535"/>
                </a:xfrm>
                <a:custGeom>
                  <a:avLst/>
                  <a:gdLst>
                    <a:gd name="T0" fmla="*/ 0 w 60"/>
                    <a:gd name="T1" fmla="*/ 37 h 51"/>
                    <a:gd name="T2" fmla="*/ 6 w 60"/>
                    <a:gd name="T3" fmla="*/ 30 h 51"/>
                    <a:gd name="T4" fmla="*/ 15 w 60"/>
                    <a:gd name="T5" fmla="*/ 19 h 51"/>
                    <a:gd name="T6" fmla="*/ 20 w 60"/>
                    <a:gd name="T7" fmla="*/ 13 h 51"/>
                    <a:gd name="T8" fmla="*/ 27 w 60"/>
                    <a:gd name="T9" fmla="*/ 8 h 51"/>
                    <a:gd name="T10" fmla="*/ 33 w 60"/>
                    <a:gd name="T11" fmla="*/ 4 h 51"/>
                    <a:gd name="T12" fmla="*/ 40 w 60"/>
                    <a:gd name="T13" fmla="*/ 0 h 51"/>
                    <a:gd name="T14" fmla="*/ 50 w 60"/>
                    <a:gd name="T15" fmla="*/ 7 h 51"/>
                    <a:gd name="T16" fmla="*/ 60 w 60"/>
                    <a:gd name="T17" fmla="*/ 13 h 51"/>
                    <a:gd name="T18" fmla="*/ 59 w 60"/>
                    <a:gd name="T19" fmla="*/ 20 h 51"/>
                    <a:gd name="T20" fmla="*/ 56 w 60"/>
                    <a:gd name="T21" fmla="*/ 29 h 51"/>
                    <a:gd name="T22" fmla="*/ 54 w 60"/>
                    <a:gd name="T23" fmla="*/ 34 h 51"/>
                    <a:gd name="T24" fmla="*/ 52 w 60"/>
                    <a:gd name="T25" fmla="*/ 38 h 51"/>
                    <a:gd name="T26" fmla="*/ 49 w 60"/>
                    <a:gd name="T27" fmla="*/ 42 h 51"/>
                    <a:gd name="T28" fmla="*/ 45 w 60"/>
                    <a:gd name="T29" fmla="*/ 45 h 51"/>
                    <a:gd name="T30" fmla="*/ 41 w 60"/>
                    <a:gd name="T31" fmla="*/ 48 h 51"/>
                    <a:gd name="T32" fmla="*/ 37 w 60"/>
                    <a:gd name="T33" fmla="*/ 50 h 51"/>
                    <a:gd name="T34" fmla="*/ 31 w 60"/>
                    <a:gd name="T35" fmla="*/ 51 h 51"/>
                    <a:gd name="T36" fmla="*/ 27 w 60"/>
                    <a:gd name="T37" fmla="*/ 51 h 51"/>
                    <a:gd name="T38" fmla="*/ 20 w 60"/>
                    <a:gd name="T39" fmla="*/ 50 h 51"/>
                    <a:gd name="T40" fmla="*/ 15 w 60"/>
                    <a:gd name="T41" fmla="*/ 47 h 51"/>
                    <a:gd name="T42" fmla="*/ 7 w 60"/>
                    <a:gd name="T43" fmla="*/ 43 h 51"/>
                    <a:gd name="T44" fmla="*/ 0 w 60"/>
                    <a:gd name="T45" fmla="*/ 3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185" name="Freeform 245">
                  <a:extLst>
                    <a:ext uri="{FF2B5EF4-FFF2-40B4-BE49-F238E27FC236}">
                      <a16:creationId xmlns="" xmlns:a16="http://schemas.microsoft.com/office/drawing/2014/main" id="{FD4ACCDA-360A-41B1-BE2B-2A8B8038DDD3}"/>
                    </a:ext>
                  </a:extLst>
                </p:cNvPr>
                <p:cNvSpPr>
                  <a:spLocks/>
                </p:cNvSpPr>
                <p:nvPr>
                  <p:custDataLst>
                    <p:tags r:id="rId173"/>
                  </p:custDataLst>
                </p:nvPr>
              </p:nvSpPr>
              <p:spPr bwMode="auto">
                <a:xfrm>
                  <a:off x="5833072" y="1803681"/>
                  <a:ext cx="20268" cy="40535"/>
                </a:xfrm>
                <a:custGeom>
                  <a:avLst/>
                  <a:gdLst>
                    <a:gd name="T0" fmla="*/ 59 w 66"/>
                    <a:gd name="T1" fmla="*/ 48 h 51"/>
                    <a:gd name="T2" fmla="*/ 42 w 66"/>
                    <a:gd name="T3" fmla="*/ 50 h 51"/>
                    <a:gd name="T4" fmla="*/ 22 w 66"/>
                    <a:gd name="T5" fmla="*/ 51 h 51"/>
                    <a:gd name="T6" fmla="*/ 17 w 66"/>
                    <a:gd name="T7" fmla="*/ 50 h 51"/>
                    <a:gd name="T8" fmla="*/ 13 w 66"/>
                    <a:gd name="T9" fmla="*/ 49 h 51"/>
                    <a:gd name="T10" fmla="*/ 10 w 66"/>
                    <a:gd name="T11" fmla="*/ 48 h 51"/>
                    <a:gd name="T12" fmla="*/ 7 w 66"/>
                    <a:gd name="T13" fmla="*/ 46 h 51"/>
                    <a:gd name="T14" fmla="*/ 3 w 66"/>
                    <a:gd name="T15" fmla="*/ 43 h 51"/>
                    <a:gd name="T16" fmla="*/ 1 w 66"/>
                    <a:gd name="T17" fmla="*/ 40 h 51"/>
                    <a:gd name="T18" fmla="*/ 0 w 66"/>
                    <a:gd name="T19" fmla="*/ 35 h 51"/>
                    <a:gd name="T20" fmla="*/ 0 w 66"/>
                    <a:gd name="T21" fmla="*/ 30 h 51"/>
                    <a:gd name="T22" fmla="*/ 4 w 66"/>
                    <a:gd name="T23" fmla="*/ 29 h 51"/>
                    <a:gd name="T24" fmla="*/ 10 w 66"/>
                    <a:gd name="T25" fmla="*/ 27 h 51"/>
                    <a:gd name="T26" fmla="*/ 14 w 66"/>
                    <a:gd name="T27" fmla="*/ 24 h 51"/>
                    <a:gd name="T28" fmla="*/ 19 w 66"/>
                    <a:gd name="T29" fmla="*/ 20 h 51"/>
                    <a:gd name="T30" fmla="*/ 26 w 66"/>
                    <a:gd name="T31" fmla="*/ 10 h 51"/>
                    <a:gd name="T32" fmla="*/ 33 w 66"/>
                    <a:gd name="T33" fmla="*/ 0 h 51"/>
                    <a:gd name="T34" fmla="*/ 46 w 66"/>
                    <a:gd name="T35" fmla="*/ 1 h 51"/>
                    <a:gd name="T36" fmla="*/ 52 w 66"/>
                    <a:gd name="T37" fmla="*/ 2 h 51"/>
                    <a:gd name="T38" fmla="*/ 56 w 66"/>
                    <a:gd name="T39" fmla="*/ 3 h 51"/>
                    <a:gd name="T40" fmla="*/ 66 w 66"/>
                    <a:gd name="T41" fmla="*/ 0 h 51"/>
                    <a:gd name="T42" fmla="*/ 65 w 66"/>
                    <a:gd name="T43" fmla="*/ 13 h 51"/>
                    <a:gd name="T44" fmla="*/ 63 w 66"/>
                    <a:gd name="T45" fmla="*/ 24 h 51"/>
                    <a:gd name="T46" fmla="*/ 60 w 66"/>
                    <a:gd name="T47" fmla="*/ 36 h 51"/>
                    <a:gd name="T48" fmla="*/ 59 w 66"/>
                    <a:gd name="T49" fmla="*/ 4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186" name="Freeform 246">
                  <a:extLst>
                    <a:ext uri="{FF2B5EF4-FFF2-40B4-BE49-F238E27FC236}">
                      <a16:creationId xmlns="" xmlns:a16="http://schemas.microsoft.com/office/drawing/2014/main" id="{81BC8924-3BE5-4BFF-8474-C0BBB60770D1}"/>
                    </a:ext>
                  </a:extLst>
                </p:cNvPr>
                <p:cNvSpPr>
                  <a:spLocks/>
                </p:cNvSpPr>
                <p:nvPr>
                  <p:custDataLst>
                    <p:tags r:id="rId174"/>
                  </p:custDataLst>
                </p:nvPr>
              </p:nvSpPr>
              <p:spPr bwMode="auto">
                <a:xfrm>
                  <a:off x="6508652" y="2178627"/>
                  <a:ext cx="36031" cy="40535"/>
                </a:xfrm>
                <a:custGeom>
                  <a:avLst/>
                  <a:gdLst>
                    <a:gd name="T0" fmla="*/ 0 w 113"/>
                    <a:gd name="T1" fmla="*/ 44 h 74"/>
                    <a:gd name="T2" fmla="*/ 20 w 113"/>
                    <a:gd name="T3" fmla="*/ 74 h 74"/>
                    <a:gd name="T4" fmla="*/ 37 w 113"/>
                    <a:gd name="T5" fmla="*/ 69 h 74"/>
                    <a:gd name="T6" fmla="*/ 51 w 113"/>
                    <a:gd name="T7" fmla="*/ 65 h 74"/>
                    <a:gd name="T8" fmla="*/ 64 w 113"/>
                    <a:gd name="T9" fmla="*/ 59 h 74"/>
                    <a:gd name="T10" fmla="*/ 74 w 113"/>
                    <a:gd name="T11" fmla="*/ 53 h 74"/>
                    <a:gd name="T12" fmla="*/ 78 w 113"/>
                    <a:gd name="T13" fmla="*/ 49 h 74"/>
                    <a:gd name="T14" fmla="*/ 83 w 113"/>
                    <a:gd name="T15" fmla="*/ 45 h 74"/>
                    <a:gd name="T16" fmla="*/ 86 w 113"/>
                    <a:gd name="T17" fmla="*/ 41 h 74"/>
                    <a:gd name="T18" fmla="*/ 88 w 113"/>
                    <a:gd name="T19" fmla="*/ 37 h 74"/>
                    <a:gd name="T20" fmla="*/ 90 w 113"/>
                    <a:gd name="T21" fmla="*/ 32 h 74"/>
                    <a:gd name="T22" fmla="*/ 91 w 113"/>
                    <a:gd name="T23" fmla="*/ 26 h 74"/>
                    <a:gd name="T24" fmla="*/ 93 w 113"/>
                    <a:gd name="T25" fmla="*/ 19 h 74"/>
                    <a:gd name="T26" fmla="*/ 94 w 113"/>
                    <a:gd name="T27" fmla="*/ 13 h 74"/>
                    <a:gd name="T28" fmla="*/ 99 w 113"/>
                    <a:gd name="T29" fmla="*/ 12 h 74"/>
                    <a:gd name="T30" fmla="*/ 106 w 113"/>
                    <a:gd name="T31" fmla="*/ 9 h 74"/>
                    <a:gd name="T32" fmla="*/ 108 w 113"/>
                    <a:gd name="T33" fmla="*/ 7 h 74"/>
                    <a:gd name="T34" fmla="*/ 111 w 113"/>
                    <a:gd name="T35" fmla="*/ 5 h 74"/>
                    <a:gd name="T36" fmla="*/ 112 w 113"/>
                    <a:gd name="T37" fmla="*/ 3 h 74"/>
                    <a:gd name="T38" fmla="*/ 113 w 113"/>
                    <a:gd name="T39" fmla="*/ 0 h 74"/>
                    <a:gd name="T40" fmla="*/ 98 w 113"/>
                    <a:gd name="T41" fmla="*/ 4 h 74"/>
                    <a:gd name="T42" fmla="*/ 82 w 113"/>
                    <a:gd name="T43" fmla="*/ 8 h 74"/>
                    <a:gd name="T44" fmla="*/ 65 w 113"/>
                    <a:gd name="T45" fmla="*/ 13 h 74"/>
                    <a:gd name="T46" fmla="*/ 49 w 113"/>
                    <a:gd name="T47" fmla="*/ 19 h 74"/>
                    <a:gd name="T48" fmla="*/ 20 w 113"/>
                    <a:gd name="T49" fmla="*/ 33 h 74"/>
                    <a:gd name="T50" fmla="*/ 0 w 113"/>
                    <a:gd name="T51" fmla="*/ 4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87" name="Freeform 247">
                  <a:extLst>
                    <a:ext uri="{FF2B5EF4-FFF2-40B4-BE49-F238E27FC236}">
                      <a16:creationId xmlns="" xmlns:a16="http://schemas.microsoft.com/office/drawing/2014/main" id="{E062E664-0C1B-4F5E-9672-207C5915A29D}"/>
                    </a:ext>
                  </a:extLst>
                </p:cNvPr>
                <p:cNvSpPr>
                  <a:spLocks/>
                </p:cNvSpPr>
                <p:nvPr>
                  <p:custDataLst>
                    <p:tags r:id="rId175"/>
                  </p:custDataLst>
                </p:nvPr>
              </p:nvSpPr>
              <p:spPr bwMode="auto">
                <a:xfrm>
                  <a:off x="6230539" y="2740485"/>
                  <a:ext cx="230823" cy="173399"/>
                </a:xfrm>
                <a:custGeom>
                  <a:avLst/>
                  <a:gdLst>
                    <a:gd name="T0" fmla="*/ 98 w 746"/>
                    <a:gd name="T1" fmla="*/ 452 h 469"/>
                    <a:gd name="T2" fmla="*/ 54 w 746"/>
                    <a:gd name="T3" fmla="*/ 440 h 469"/>
                    <a:gd name="T4" fmla="*/ 21 w 746"/>
                    <a:gd name="T5" fmla="*/ 429 h 469"/>
                    <a:gd name="T6" fmla="*/ 5 w 746"/>
                    <a:gd name="T7" fmla="*/ 413 h 469"/>
                    <a:gd name="T8" fmla="*/ 0 w 746"/>
                    <a:gd name="T9" fmla="*/ 363 h 469"/>
                    <a:gd name="T10" fmla="*/ 5 w 746"/>
                    <a:gd name="T11" fmla="*/ 309 h 469"/>
                    <a:gd name="T12" fmla="*/ 23 w 746"/>
                    <a:gd name="T13" fmla="*/ 273 h 469"/>
                    <a:gd name="T14" fmla="*/ 56 w 746"/>
                    <a:gd name="T15" fmla="*/ 228 h 469"/>
                    <a:gd name="T16" fmla="*/ 121 w 746"/>
                    <a:gd name="T17" fmla="*/ 204 h 469"/>
                    <a:gd name="T18" fmla="*/ 166 w 746"/>
                    <a:gd name="T19" fmla="*/ 188 h 469"/>
                    <a:gd name="T20" fmla="*/ 235 w 746"/>
                    <a:gd name="T21" fmla="*/ 173 h 469"/>
                    <a:gd name="T22" fmla="*/ 262 w 746"/>
                    <a:gd name="T23" fmla="*/ 153 h 469"/>
                    <a:gd name="T24" fmla="*/ 267 w 746"/>
                    <a:gd name="T25" fmla="*/ 136 h 469"/>
                    <a:gd name="T26" fmla="*/ 292 w 746"/>
                    <a:gd name="T27" fmla="*/ 120 h 469"/>
                    <a:gd name="T28" fmla="*/ 332 w 746"/>
                    <a:gd name="T29" fmla="*/ 115 h 469"/>
                    <a:gd name="T30" fmla="*/ 359 w 746"/>
                    <a:gd name="T31" fmla="*/ 101 h 469"/>
                    <a:gd name="T32" fmla="*/ 389 w 746"/>
                    <a:gd name="T33" fmla="*/ 67 h 469"/>
                    <a:gd name="T34" fmla="*/ 425 w 746"/>
                    <a:gd name="T35" fmla="*/ 22 h 469"/>
                    <a:gd name="T36" fmla="*/ 450 w 746"/>
                    <a:gd name="T37" fmla="*/ 6 h 469"/>
                    <a:gd name="T38" fmla="*/ 486 w 746"/>
                    <a:gd name="T39" fmla="*/ 0 h 469"/>
                    <a:gd name="T40" fmla="*/ 507 w 746"/>
                    <a:gd name="T41" fmla="*/ 29 h 469"/>
                    <a:gd name="T42" fmla="*/ 532 w 746"/>
                    <a:gd name="T43" fmla="*/ 53 h 469"/>
                    <a:gd name="T44" fmla="*/ 553 w 746"/>
                    <a:gd name="T45" fmla="*/ 107 h 469"/>
                    <a:gd name="T46" fmla="*/ 579 w 746"/>
                    <a:gd name="T47" fmla="*/ 159 h 469"/>
                    <a:gd name="T48" fmla="*/ 613 w 746"/>
                    <a:gd name="T49" fmla="*/ 172 h 469"/>
                    <a:gd name="T50" fmla="*/ 628 w 746"/>
                    <a:gd name="T51" fmla="*/ 193 h 469"/>
                    <a:gd name="T52" fmla="*/ 650 w 746"/>
                    <a:gd name="T53" fmla="*/ 233 h 469"/>
                    <a:gd name="T54" fmla="*/ 702 w 746"/>
                    <a:gd name="T55" fmla="*/ 279 h 469"/>
                    <a:gd name="T56" fmla="*/ 741 w 746"/>
                    <a:gd name="T57" fmla="*/ 315 h 469"/>
                    <a:gd name="T58" fmla="*/ 711 w 746"/>
                    <a:gd name="T59" fmla="*/ 345 h 469"/>
                    <a:gd name="T60" fmla="*/ 691 w 746"/>
                    <a:gd name="T61" fmla="*/ 342 h 469"/>
                    <a:gd name="T62" fmla="*/ 679 w 746"/>
                    <a:gd name="T63" fmla="*/ 321 h 469"/>
                    <a:gd name="T64" fmla="*/ 651 w 746"/>
                    <a:gd name="T65" fmla="*/ 330 h 469"/>
                    <a:gd name="T66" fmla="*/ 639 w 746"/>
                    <a:gd name="T67" fmla="*/ 352 h 469"/>
                    <a:gd name="T68" fmla="*/ 604 w 746"/>
                    <a:gd name="T69" fmla="*/ 356 h 469"/>
                    <a:gd name="T70" fmla="*/ 553 w 746"/>
                    <a:gd name="T71" fmla="*/ 356 h 469"/>
                    <a:gd name="T72" fmla="*/ 522 w 746"/>
                    <a:gd name="T73" fmla="*/ 365 h 469"/>
                    <a:gd name="T74" fmla="*/ 496 w 746"/>
                    <a:gd name="T75" fmla="*/ 387 h 469"/>
                    <a:gd name="T76" fmla="*/ 486 w 746"/>
                    <a:gd name="T77" fmla="*/ 394 h 469"/>
                    <a:gd name="T78" fmla="*/ 426 w 746"/>
                    <a:gd name="T79" fmla="*/ 400 h 469"/>
                    <a:gd name="T80" fmla="*/ 396 w 746"/>
                    <a:gd name="T81" fmla="*/ 392 h 469"/>
                    <a:gd name="T82" fmla="*/ 349 w 746"/>
                    <a:gd name="T83" fmla="*/ 354 h 469"/>
                    <a:gd name="T84" fmla="*/ 319 w 746"/>
                    <a:gd name="T85" fmla="*/ 345 h 469"/>
                    <a:gd name="T86" fmla="*/ 291 w 746"/>
                    <a:gd name="T87" fmla="*/ 355 h 469"/>
                    <a:gd name="T88" fmla="*/ 266 w 746"/>
                    <a:gd name="T89" fmla="*/ 377 h 469"/>
                    <a:gd name="T90" fmla="*/ 227 w 746"/>
                    <a:gd name="T91" fmla="*/ 437 h 469"/>
                    <a:gd name="T92" fmla="*/ 150 w 746"/>
                    <a:gd name="T93" fmla="*/ 439 h 469"/>
                    <a:gd name="T94" fmla="*/ 135 w 746"/>
                    <a:gd name="T95" fmla="*/ 448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88" name="Freeform 248">
                  <a:extLst>
                    <a:ext uri="{FF2B5EF4-FFF2-40B4-BE49-F238E27FC236}">
                      <a16:creationId xmlns="" xmlns:a16="http://schemas.microsoft.com/office/drawing/2014/main" id="{27AAFA17-7875-4E05-819E-5CFF18EEF694}"/>
                    </a:ext>
                  </a:extLst>
                </p:cNvPr>
                <p:cNvSpPr>
                  <a:spLocks/>
                </p:cNvSpPr>
                <p:nvPr>
                  <p:custDataLst>
                    <p:tags r:id="rId176"/>
                  </p:custDataLst>
                </p:nvPr>
              </p:nvSpPr>
              <p:spPr bwMode="auto">
                <a:xfrm>
                  <a:off x="6185500" y="2859838"/>
                  <a:ext cx="354679" cy="391837"/>
                </a:xfrm>
                <a:custGeom>
                  <a:avLst/>
                  <a:gdLst>
                    <a:gd name="T0" fmla="*/ 902 w 1145"/>
                    <a:gd name="T1" fmla="*/ 57 h 1053"/>
                    <a:gd name="T2" fmla="*/ 993 w 1145"/>
                    <a:gd name="T3" fmla="*/ 66 h 1053"/>
                    <a:gd name="T4" fmla="*/ 1080 w 1145"/>
                    <a:gd name="T5" fmla="*/ 81 h 1053"/>
                    <a:gd name="T6" fmla="*/ 1126 w 1145"/>
                    <a:gd name="T7" fmla="*/ 175 h 1053"/>
                    <a:gd name="T8" fmla="*/ 1133 w 1145"/>
                    <a:gd name="T9" fmla="*/ 211 h 1053"/>
                    <a:gd name="T10" fmla="*/ 1058 w 1145"/>
                    <a:gd name="T11" fmla="*/ 272 h 1053"/>
                    <a:gd name="T12" fmla="*/ 1045 w 1145"/>
                    <a:gd name="T13" fmla="*/ 360 h 1053"/>
                    <a:gd name="T14" fmla="*/ 1003 w 1145"/>
                    <a:gd name="T15" fmla="*/ 440 h 1053"/>
                    <a:gd name="T16" fmla="*/ 990 w 1145"/>
                    <a:gd name="T17" fmla="*/ 476 h 1053"/>
                    <a:gd name="T18" fmla="*/ 1019 w 1145"/>
                    <a:gd name="T19" fmla="*/ 576 h 1053"/>
                    <a:gd name="T20" fmla="*/ 1026 w 1145"/>
                    <a:gd name="T21" fmla="*/ 664 h 1053"/>
                    <a:gd name="T22" fmla="*/ 1047 w 1145"/>
                    <a:gd name="T23" fmla="*/ 731 h 1053"/>
                    <a:gd name="T24" fmla="*/ 1079 w 1145"/>
                    <a:gd name="T25" fmla="*/ 765 h 1053"/>
                    <a:gd name="T26" fmla="*/ 1092 w 1145"/>
                    <a:gd name="T27" fmla="*/ 825 h 1053"/>
                    <a:gd name="T28" fmla="*/ 1040 w 1145"/>
                    <a:gd name="T29" fmla="*/ 844 h 1053"/>
                    <a:gd name="T30" fmla="*/ 997 w 1145"/>
                    <a:gd name="T31" fmla="*/ 856 h 1053"/>
                    <a:gd name="T32" fmla="*/ 960 w 1145"/>
                    <a:gd name="T33" fmla="*/ 992 h 1053"/>
                    <a:gd name="T34" fmla="*/ 930 w 1145"/>
                    <a:gd name="T35" fmla="*/ 1026 h 1053"/>
                    <a:gd name="T36" fmla="*/ 902 w 1145"/>
                    <a:gd name="T37" fmla="*/ 1031 h 1053"/>
                    <a:gd name="T38" fmla="*/ 840 w 1145"/>
                    <a:gd name="T39" fmla="*/ 1053 h 1053"/>
                    <a:gd name="T40" fmla="*/ 782 w 1145"/>
                    <a:gd name="T41" fmla="*/ 1037 h 1053"/>
                    <a:gd name="T42" fmla="*/ 743 w 1145"/>
                    <a:gd name="T43" fmla="*/ 1014 h 1053"/>
                    <a:gd name="T44" fmla="*/ 707 w 1145"/>
                    <a:gd name="T45" fmla="*/ 997 h 1053"/>
                    <a:gd name="T46" fmla="*/ 674 w 1145"/>
                    <a:gd name="T47" fmla="*/ 986 h 1053"/>
                    <a:gd name="T48" fmla="*/ 608 w 1145"/>
                    <a:gd name="T49" fmla="*/ 987 h 1053"/>
                    <a:gd name="T50" fmla="*/ 594 w 1145"/>
                    <a:gd name="T51" fmla="*/ 942 h 1053"/>
                    <a:gd name="T52" fmla="*/ 575 w 1145"/>
                    <a:gd name="T53" fmla="*/ 884 h 1053"/>
                    <a:gd name="T54" fmla="*/ 590 w 1145"/>
                    <a:gd name="T55" fmla="*/ 846 h 1053"/>
                    <a:gd name="T56" fmla="*/ 590 w 1145"/>
                    <a:gd name="T57" fmla="*/ 779 h 1053"/>
                    <a:gd name="T58" fmla="*/ 454 w 1145"/>
                    <a:gd name="T59" fmla="*/ 755 h 1053"/>
                    <a:gd name="T60" fmla="*/ 443 w 1145"/>
                    <a:gd name="T61" fmla="*/ 785 h 1053"/>
                    <a:gd name="T62" fmla="*/ 396 w 1145"/>
                    <a:gd name="T63" fmla="*/ 817 h 1053"/>
                    <a:gd name="T64" fmla="*/ 337 w 1145"/>
                    <a:gd name="T65" fmla="*/ 797 h 1053"/>
                    <a:gd name="T66" fmla="*/ 297 w 1145"/>
                    <a:gd name="T67" fmla="*/ 708 h 1053"/>
                    <a:gd name="T68" fmla="*/ 3 w 1145"/>
                    <a:gd name="T69" fmla="*/ 671 h 1053"/>
                    <a:gd name="T70" fmla="*/ 45 w 1145"/>
                    <a:gd name="T71" fmla="*/ 667 h 1053"/>
                    <a:gd name="T72" fmla="*/ 26 w 1145"/>
                    <a:gd name="T73" fmla="*/ 631 h 1053"/>
                    <a:gd name="T74" fmla="*/ 75 w 1145"/>
                    <a:gd name="T75" fmla="*/ 615 h 1053"/>
                    <a:gd name="T76" fmla="*/ 145 w 1145"/>
                    <a:gd name="T77" fmla="*/ 614 h 1053"/>
                    <a:gd name="T78" fmla="*/ 183 w 1145"/>
                    <a:gd name="T79" fmla="*/ 620 h 1053"/>
                    <a:gd name="T80" fmla="*/ 220 w 1145"/>
                    <a:gd name="T81" fmla="*/ 574 h 1053"/>
                    <a:gd name="T82" fmla="*/ 260 w 1145"/>
                    <a:gd name="T83" fmla="*/ 555 h 1053"/>
                    <a:gd name="T84" fmla="*/ 281 w 1145"/>
                    <a:gd name="T85" fmla="*/ 440 h 1053"/>
                    <a:gd name="T86" fmla="*/ 346 w 1145"/>
                    <a:gd name="T87" fmla="*/ 370 h 1053"/>
                    <a:gd name="T88" fmla="*/ 370 w 1145"/>
                    <a:gd name="T89" fmla="*/ 276 h 1053"/>
                    <a:gd name="T90" fmla="*/ 372 w 1145"/>
                    <a:gd name="T91" fmla="*/ 180 h 1053"/>
                    <a:gd name="T92" fmla="*/ 383 w 1145"/>
                    <a:gd name="T93" fmla="*/ 122 h 1053"/>
                    <a:gd name="T94" fmla="*/ 440 w 1145"/>
                    <a:gd name="T95" fmla="*/ 35 h 1053"/>
                    <a:gd name="T96" fmla="*/ 491 w 1145"/>
                    <a:gd name="T97" fmla="*/ 30 h 1053"/>
                    <a:gd name="T98" fmla="*/ 558 w 1145"/>
                    <a:gd name="T99" fmla="*/ 77 h 1053"/>
                    <a:gd name="T100" fmla="*/ 637 w 1145"/>
                    <a:gd name="T101" fmla="*/ 73 h 1053"/>
                    <a:gd name="T102" fmla="*/ 670 w 1145"/>
                    <a:gd name="T103" fmla="*/ 44 h 1053"/>
                    <a:gd name="T104" fmla="*/ 734 w 1145"/>
                    <a:gd name="T105" fmla="*/ 34 h 1053"/>
                    <a:gd name="T106" fmla="*/ 795 w 1145"/>
                    <a:gd name="T107" fmla="*/ 17 h 1053"/>
                    <a:gd name="T108" fmla="*/ 828 w 1145"/>
                    <a:gd name="T109" fmla="*/ 8 h 1053"/>
                    <a:gd name="T110" fmla="*/ 859 w 1145"/>
                    <a:gd name="T111" fmla="*/ 24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89" name="Freeform 249">
                  <a:extLst>
                    <a:ext uri="{FF2B5EF4-FFF2-40B4-BE49-F238E27FC236}">
                      <a16:creationId xmlns="" xmlns:a16="http://schemas.microsoft.com/office/drawing/2014/main" id="{5C59191B-1B73-4C03-ADE8-697878DA7B02}"/>
                    </a:ext>
                  </a:extLst>
                </p:cNvPr>
                <p:cNvSpPr>
                  <a:spLocks/>
                </p:cNvSpPr>
                <p:nvPr>
                  <p:custDataLst>
                    <p:tags r:id="rId177"/>
                  </p:custDataLst>
                </p:nvPr>
              </p:nvSpPr>
              <p:spPr bwMode="auto">
                <a:xfrm>
                  <a:off x="6140461" y="2930774"/>
                  <a:ext cx="39409" cy="39409"/>
                </a:xfrm>
                <a:custGeom>
                  <a:avLst/>
                  <a:gdLst>
                    <a:gd name="T0" fmla="*/ 120 w 125"/>
                    <a:gd name="T1" fmla="*/ 0 h 81"/>
                    <a:gd name="T2" fmla="*/ 121 w 125"/>
                    <a:gd name="T3" fmla="*/ 27 h 81"/>
                    <a:gd name="T4" fmla="*/ 124 w 125"/>
                    <a:gd name="T5" fmla="*/ 46 h 81"/>
                    <a:gd name="T6" fmla="*/ 125 w 125"/>
                    <a:gd name="T7" fmla="*/ 53 h 81"/>
                    <a:gd name="T8" fmla="*/ 125 w 125"/>
                    <a:gd name="T9" fmla="*/ 59 h 81"/>
                    <a:gd name="T10" fmla="*/ 125 w 125"/>
                    <a:gd name="T11" fmla="*/ 65 h 81"/>
                    <a:gd name="T12" fmla="*/ 123 w 125"/>
                    <a:gd name="T13" fmla="*/ 69 h 81"/>
                    <a:gd name="T14" fmla="*/ 119 w 125"/>
                    <a:gd name="T15" fmla="*/ 72 h 81"/>
                    <a:gd name="T16" fmla="*/ 112 w 125"/>
                    <a:gd name="T17" fmla="*/ 74 h 81"/>
                    <a:gd name="T18" fmla="*/ 103 w 125"/>
                    <a:gd name="T19" fmla="*/ 76 h 81"/>
                    <a:gd name="T20" fmla="*/ 91 w 125"/>
                    <a:gd name="T21" fmla="*/ 77 h 81"/>
                    <a:gd name="T22" fmla="*/ 57 w 125"/>
                    <a:gd name="T23" fmla="*/ 79 h 81"/>
                    <a:gd name="T24" fmla="*/ 7 w 125"/>
                    <a:gd name="T25" fmla="*/ 81 h 81"/>
                    <a:gd name="T26" fmla="*/ 5 w 125"/>
                    <a:gd name="T27" fmla="*/ 79 h 81"/>
                    <a:gd name="T28" fmla="*/ 3 w 125"/>
                    <a:gd name="T29" fmla="*/ 72 h 81"/>
                    <a:gd name="T30" fmla="*/ 1 w 125"/>
                    <a:gd name="T31" fmla="*/ 59 h 81"/>
                    <a:gd name="T32" fmla="*/ 0 w 125"/>
                    <a:gd name="T33" fmla="*/ 43 h 81"/>
                    <a:gd name="T34" fmla="*/ 0 w 125"/>
                    <a:gd name="T35" fmla="*/ 37 h 81"/>
                    <a:gd name="T36" fmla="*/ 1 w 125"/>
                    <a:gd name="T37" fmla="*/ 31 h 81"/>
                    <a:gd name="T38" fmla="*/ 2 w 125"/>
                    <a:gd name="T39" fmla="*/ 25 h 81"/>
                    <a:gd name="T40" fmla="*/ 4 w 125"/>
                    <a:gd name="T41" fmla="*/ 20 h 81"/>
                    <a:gd name="T42" fmla="*/ 8 w 125"/>
                    <a:gd name="T43" fmla="*/ 15 h 81"/>
                    <a:gd name="T44" fmla="*/ 11 w 125"/>
                    <a:gd name="T45" fmla="*/ 10 h 81"/>
                    <a:gd name="T46" fmla="*/ 14 w 125"/>
                    <a:gd name="T47" fmla="*/ 5 h 81"/>
                    <a:gd name="T48" fmla="*/ 20 w 125"/>
                    <a:gd name="T49" fmla="*/ 0 h 81"/>
                    <a:gd name="T50" fmla="*/ 120 w 125"/>
                    <a:gd name="T51"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90" name="Freeform 250">
                  <a:extLst>
                    <a:ext uri="{FF2B5EF4-FFF2-40B4-BE49-F238E27FC236}">
                      <a16:creationId xmlns="" xmlns:a16="http://schemas.microsoft.com/office/drawing/2014/main" id="{064949E1-2B88-45FB-A415-96DD9E3EBA9F}"/>
                    </a:ext>
                  </a:extLst>
                </p:cNvPr>
                <p:cNvSpPr>
                  <a:spLocks/>
                </p:cNvSpPr>
                <p:nvPr>
                  <p:custDataLst>
                    <p:tags r:id="rId178"/>
                  </p:custDataLst>
                </p:nvPr>
              </p:nvSpPr>
              <p:spPr bwMode="auto">
                <a:xfrm>
                  <a:off x="6128075" y="2930774"/>
                  <a:ext cx="108093" cy="142998"/>
                </a:xfrm>
                <a:custGeom>
                  <a:avLst/>
                  <a:gdLst>
                    <a:gd name="T0" fmla="*/ 262 w 355"/>
                    <a:gd name="T1" fmla="*/ 15 h 388"/>
                    <a:gd name="T2" fmla="*/ 257 w 355"/>
                    <a:gd name="T3" fmla="*/ 37 h 388"/>
                    <a:gd name="T4" fmla="*/ 264 w 355"/>
                    <a:gd name="T5" fmla="*/ 51 h 388"/>
                    <a:gd name="T6" fmla="*/ 283 w 355"/>
                    <a:gd name="T7" fmla="*/ 60 h 388"/>
                    <a:gd name="T8" fmla="*/ 319 w 355"/>
                    <a:gd name="T9" fmla="*/ 55 h 388"/>
                    <a:gd name="T10" fmla="*/ 332 w 355"/>
                    <a:gd name="T11" fmla="*/ 57 h 388"/>
                    <a:gd name="T12" fmla="*/ 340 w 355"/>
                    <a:gd name="T13" fmla="*/ 68 h 388"/>
                    <a:gd name="T14" fmla="*/ 345 w 355"/>
                    <a:gd name="T15" fmla="*/ 83 h 388"/>
                    <a:gd name="T16" fmla="*/ 351 w 355"/>
                    <a:gd name="T17" fmla="*/ 94 h 388"/>
                    <a:gd name="T18" fmla="*/ 345 w 355"/>
                    <a:gd name="T19" fmla="*/ 108 h 388"/>
                    <a:gd name="T20" fmla="*/ 320 w 355"/>
                    <a:gd name="T21" fmla="*/ 136 h 388"/>
                    <a:gd name="T22" fmla="*/ 348 w 355"/>
                    <a:gd name="T23" fmla="*/ 175 h 388"/>
                    <a:gd name="T24" fmla="*/ 355 w 355"/>
                    <a:gd name="T25" fmla="*/ 202 h 388"/>
                    <a:gd name="T26" fmla="*/ 353 w 355"/>
                    <a:gd name="T27" fmla="*/ 219 h 388"/>
                    <a:gd name="T28" fmla="*/ 345 w 355"/>
                    <a:gd name="T29" fmla="*/ 254 h 388"/>
                    <a:gd name="T30" fmla="*/ 333 w 355"/>
                    <a:gd name="T31" fmla="*/ 271 h 388"/>
                    <a:gd name="T32" fmla="*/ 312 w 355"/>
                    <a:gd name="T33" fmla="*/ 280 h 388"/>
                    <a:gd name="T34" fmla="*/ 286 w 355"/>
                    <a:gd name="T35" fmla="*/ 282 h 388"/>
                    <a:gd name="T36" fmla="*/ 270 w 355"/>
                    <a:gd name="T37" fmla="*/ 282 h 388"/>
                    <a:gd name="T38" fmla="*/ 252 w 355"/>
                    <a:gd name="T39" fmla="*/ 265 h 388"/>
                    <a:gd name="T40" fmla="*/ 240 w 355"/>
                    <a:gd name="T41" fmla="*/ 259 h 388"/>
                    <a:gd name="T42" fmla="*/ 221 w 355"/>
                    <a:gd name="T43" fmla="*/ 269 h 388"/>
                    <a:gd name="T44" fmla="*/ 205 w 355"/>
                    <a:gd name="T45" fmla="*/ 279 h 388"/>
                    <a:gd name="T46" fmla="*/ 194 w 355"/>
                    <a:gd name="T47" fmla="*/ 285 h 388"/>
                    <a:gd name="T48" fmla="*/ 185 w 355"/>
                    <a:gd name="T49" fmla="*/ 298 h 388"/>
                    <a:gd name="T50" fmla="*/ 187 w 355"/>
                    <a:gd name="T51" fmla="*/ 321 h 388"/>
                    <a:gd name="T52" fmla="*/ 207 w 355"/>
                    <a:gd name="T53" fmla="*/ 358 h 388"/>
                    <a:gd name="T54" fmla="*/ 195 w 355"/>
                    <a:gd name="T55" fmla="*/ 353 h 388"/>
                    <a:gd name="T56" fmla="*/ 177 w 355"/>
                    <a:gd name="T57" fmla="*/ 355 h 388"/>
                    <a:gd name="T58" fmla="*/ 162 w 355"/>
                    <a:gd name="T59" fmla="*/ 365 h 388"/>
                    <a:gd name="T60" fmla="*/ 146 w 355"/>
                    <a:gd name="T61" fmla="*/ 388 h 388"/>
                    <a:gd name="T62" fmla="*/ 123 w 355"/>
                    <a:gd name="T63" fmla="*/ 370 h 388"/>
                    <a:gd name="T64" fmla="*/ 113 w 355"/>
                    <a:gd name="T65" fmla="*/ 358 h 388"/>
                    <a:gd name="T66" fmla="*/ 96 w 355"/>
                    <a:gd name="T67" fmla="*/ 324 h 388"/>
                    <a:gd name="T68" fmla="*/ 50 w 355"/>
                    <a:gd name="T69" fmla="*/ 280 h 388"/>
                    <a:gd name="T70" fmla="*/ 22 w 355"/>
                    <a:gd name="T71" fmla="*/ 254 h 388"/>
                    <a:gd name="T72" fmla="*/ 5 w 355"/>
                    <a:gd name="T73" fmla="*/ 223 h 388"/>
                    <a:gd name="T74" fmla="*/ 1 w 355"/>
                    <a:gd name="T75" fmla="*/ 187 h 388"/>
                    <a:gd name="T76" fmla="*/ 11 w 355"/>
                    <a:gd name="T77" fmla="*/ 162 h 388"/>
                    <a:gd name="T78" fmla="*/ 41 w 355"/>
                    <a:gd name="T79" fmla="*/ 134 h 388"/>
                    <a:gd name="T80" fmla="*/ 54 w 355"/>
                    <a:gd name="T81" fmla="*/ 116 h 388"/>
                    <a:gd name="T82" fmla="*/ 56 w 355"/>
                    <a:gd name="T83" fmla="*/ 91 h 388"/>
                    <a:gd name="T84" fmla="*/ 108 w 355"/>
                    <a:gd name="T85" fmla="*/ 83 h 388"/>
                    <a:gd name="T86" fmla="*/ 156 w 355"/>
                    <a:gd name="T87" fmla="*/ 80 h 388"/>
                    <a:gd name="T88" fmla="*/ 172 w 355"/>
                    <a:gd name="T89" fmla="*/ 73 h 388"/>
                    <a:gd name="T90" fmla="*/ 177 w 355"/>
                    <a:gd name="T91" fmla="*/ 63 h 388"/>
                    <a:gd name="T92" fmla="*/ 174 w 355"/>
                    <a:gd name="T93" fmla="*/ 41 h 388"/>
                    <a:gd name="T94" fmla="*/ 167 w 355"/>
                    <a:gd name="T95" fmla="*/ 1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91" name="Freeform 251">
                  <a:extLst>
                    <a:ext uri="{FF2B5EF4-FFF2-40B4-BE49-F238E27FC236}">
                      <a16:creationId xmlns="" xmlns:a16="http://schemas.microsoft.com/office/drawing/2014/main" id="{0C36A991-50F8-4C21-913C-C76078576839}"/>
                    </a:ext>
                  </a:extLst>
                </p:cNvPr>
                <p:cNvSpPr>
                  <a:spLocks/>
                </p:cNvSpPr>
                <p:nvPr>
                  <p:custDataLst>
                    <p:tags r:id="rId179"/>
                  </p:custDataLst>
                </p:nvPr>
              </p:nvSpPr>
              <p:spPr bwMode="auto">
                <a:xfrm>
                  <a:off x="6506400" y="3217896"/>
                  <a:ext cx="184659" cy="369317"/>
                </a:xfrm>
                <a:custGeom>
                  <a:avLst/>
                  <a:gdLst>
                    <a:gd name="T0" fmla="*/ 0 w 599"/>
                    <a:gd name="T1" fmla="*/ 259 h 993"/>
                    <a:gd name="T2" fmla="*/ 182 w 599"/>
                    <a:gd name="T3" fmla="*/ 224 h 993"/>
                    <a:gd name="T4" fmla="*/ 230 w 599"/>
                    <a:gd name="T5" fmla="*/ 240 h 993"/>
                    <a:gd name="T6" fmla="*/ 258 w 599"/>
                    <a:gd name="T7" fmla="*/ 258 h 993"/>
                    <a:gd name="T8" fmla="*/ 252 w 599"/>
                    <a:gd name="T9" fmla="*/ 296 h 993"/>
                    <a:gd name="T10" fmla="*/ 234 w 599"/>
                    <a:gd name="T11" fmla="*/ 327 h 993"/>
                    <a:gd name="T12" fmla="*/ 250 w 599"/>
                    <a:gd name="T13" fmla="*/ 357 h 993"/>
                    <a:gd name="T14" fmla="*/ 294 w 599"/>
                    <a:gd name="T15" fmla="*/ 365 h 993"/>
                    <a:gd name="T16" fmla="*/ 319 w 599"/>
                    <a:gd name="T17" fmla="*/ 340 h 993"/>
                    <a:gd name="T18" fmla="*/ 338 w 599"/>
                    <a:gd name="T19" fmla="*/ 317 h 993"/>
                    <a:gd name="T20" fmla="*/ 332 w 599"/>
                    <a:gd name="T21" fmla="*/ 261 h 993"/>
                    <a:gd name="T22" fmla="*/ 314 w 599"/>
                    <a:gd name="T23" fmla="*/ 204 h 993"/>
                    <a:gd name="T24" fmla="*/ 271 w 599"/>
                    <a:gd name="T25" fmla="*/ 157 h 993"/>
                    <a:gd name="T26" fmla="*/ 254 w 599"/>
                    <a:gd name="T27" fmla="*/ 125 h 993"/>
                    <a:gd name="T28" fmla="*/ 270 w 599"/>
                    <a:gd name="T29" fmla="*/ 62 h 993"/>
                    <a:gd name="T30" fmla="*/ 320 w 599"/>
                    <a:gd name="T31" fmla="*/ 55 h 993"/>
                    <a:gd name="T32" fmla="*/ 418 w 599"/>
                    <a:gd name="T33" fmla="*/ 60 h 993"/>
                    <a:gd name="T34" fmla="*/ 521 w 599"/>
                    <a:gd name="T35" fmla="*/ 36 h 993"/>
                    <a:gd name="T36" fmla="*/ 597 w 599"/>
                    <a:gd name="T37" fmla="*/ 3 h 993"/>
                    <a:gd name="T38" fmla="*/ 597 w 599"/>
                    <a:gd name="T39" fmla="*/ 30 h 993"/>
                    <a:gd name="T40" fmla="*/ 597 w 599"/>
                    <a:gd name="T41" fmla="*/ 126 h 993"/>
                    <a:gd name="T42" fmla="*/ 592 w 599"/>
                    <a:gd name="T43" fmla="*/ 228 h 993"/>
                    <a:gd name="T44" fmla="*/ 585 w 599"/>
                    <a:gd name="T45" fmla="*/ 276 h 993"/>
                    <a:gd name="T46" fmla="*/ 550 w 599"/>
                    <a:gd name="T47" fmla="*/ 337 h 993"/>
                    <a:gd name="T48" fmla="*/ 468 w 599"/>
                    <a:gd name="T49" fmla="*/ 402 h 993"/>
                    <a:gd name="T50" fmla="*/ 374 w 599"/>
                    <a:gd name="T51" fmla="*/ 426 h 993"/>
                    <a:gd name="T52" fmla="*/ 353 w 599"/>
                    <a:gd name="T53" fmla="*/ 464 h 993"/>
                    <a:gd name="T54" fmla="*/ 293 w 599"/>
                    <a:gd name="T55" fmla="*/ 507 h 993"/>
                    <a:gd name="T56" fmla="*/ 243 w 599"/>
                    <a:gd name="T57" fmla="*/ 549 h 993"/>
                    <a:gd name="T58" fmla="*/ 229 w 599"/>
                    <a:gd name="T59" fmla="*/ 582 h 993"/>
                    <a:gd name="T60" fmla="*/ 237 w 599"/>
                    <a:gd name="T61" fmla="*/ 619 h 993"/>
                    <a:gd name="T62" fmla="*/ 267 w 599"/>
                    <a:gd name="T63" fmla="*/ 654 h 993"/>
                    <a:gd name="T64" fmla="*/ 254 w 599"/>
                    <a:gd name="T65" fmla="*/ 694 h 993"/>
                    <a:gd name="T66" fmla="*/ 265 w 599"/>
                    <a:gd name="T67" fmla="*/ 729 h 993"/>
                    <a:gd name="T68" fmla="*/ 267 w 599"/>
                    <a:gd name="T69" fmla="*/ 790 h 993"/>
                    <a:gd name="T70" fmla="*/ 256 w 599"/>
                    <a:gd name="T71" fmla="*/ 814 h 993"/>
                    <a:gd name="T72" fmla="*/ 193 w 599"/>
                    <a:gd name="T73" fmla="*/ 873 h 993"/>
                    <a:gd name="T74" fmla="*/ 147 w 599"/>
                    <a:gd name="T75" fmla="*/ 887 h 993"/>
                    <a:gd name="T76" fmla="*/ 102 w 599"/>
                    <a:gd name="T77" fmla="*/ 894 h 993"/>
                    <a:gd name="T78" fmla="*/ 87 w 599"/>
                    <a:gd name="T79" fmla="*/ 913 h 993"/>
                    <a:gd name="T80" fmla="*/ 95 w 599"/>
                    <a:gd name="T81" fmla="*/ 939 h 993"/>
                    <a:gd name="T82" fmla="*/ 91 w 599"/>
                    <a:gd name="T83" fmla="*/ 992 h 993"/>
                    <a:gd name="T84" fmla="*/ 74 w 599"/>
                    <a:gd name="T85" fmla="*/ 810 h 993"/>
                    <a:gd name="T86" fmla="*/ 58 w 599"/>
                    <a:gd name="T87" fmla="*/ 765 h 993"/>
                    <a:gd name="T88" fmla="*/ 41 w 599"/>
                    <a:gd name="T89" fmla="*/ 720 h 993"/>
                    <a:gd name="T90" fmla="*/ 108 w 599"/>
                    <a:gd name="T91" fmla="*/ 666 h 993"/>
                    <a:gd name="T92" fmla="*/ 109 w 599"/>
                    <a:gd name="T93" fmla="*/ 614 h 993"/>
                    <a:gd name="T94" fmla="*/ 149 w 599"/>
                    <a:gd name="T95" fmla="*/ 571 h 993"/>
                    <a:gd name="T96" fmla="*/ 174 w 599"/>
                    <a:gd name="T97" fmla="*/ 526 h 993"/>
                    <a:gd name="T98" fmla="*/ 168 w 599"/>
                    <a:gd name="T99" fmla="*/ 441 h 993"/>
                    <a:gd name="T100" fmla="*/ 152 w 599"/>
                    <a:gd name="T101" fmla="*/ 364 h 993"/>
                    <a:gd name="T102" fmla="*/ 81 w 599"/>
                    <a:gd name="T103" fmla="*/ 341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92" name="Freeform 252">
                  <a:extLst>
                    <a:ext uri="{FF2B5EF4-FFF2-40B4-BE49-F238E27FC236}">
                      <a16:creationId xmlns="" xmlns:a16="http://schemas.microsoft.com/office/drawing/2014/main" id="{F93DAFF8-F3A8-470E-9562-9142F6851A5F}"/>
                    </a:ext>
                  </a:extLst>
                </p:cNvPr>
                <p:cNvSpPr>
                  <a:spLocks/>
                </p:cNvSpPr>
                <p:nvPr>
                  <p:custDataLst>
                    <p:tags r:id="rId180"/>
                  </p:custDataLst>
                </p:nvPr>
              </p:nvSpPr>
              <p:spPr bwMode="auto">
                <a:xfrm>
                  <a:off x="6318364" y="3387916"/>
                  <a:ext cx="168895" cy="203801"/>
                </a:xfrm>
                <a:custGeom>
                  <a:avLst/>
                  <a:gdLst>
                    <a:gd name="T0" fmla="*/ 30 w 545"/>
                    <a:gd name="T1" fmla="*/ 428 h 549"/>
                    <a:gd name="T2" fmla="*/ 46 w 545"/>
                    <a:gd name="T3" fmla="*/ 454 h 549"/>
                    <a:gd name="T4" fmla="*/ 46 w 545"/>
                    <a:gd name="T5" fmla="*/ 512 h 549"/>
                    <a:gd name="T6" fmla="*/ 48 w 545"/>
                    <a:gd name="T7" fmla="*/ 527 h 549"/>
                    <a:gd name="T8" fmla="*/ 55 w 545"/>
                    <a:gd name="T9" fmla="*/ 537 h 549"/>
                    <a:gd name="T10" fmla="*/ 68 w 545"/>
                    <a:gd name="T11" fmla="*/ 545 h 549"/>
                    <a:gd name="T12" fmla="*/ 100 w 545"/>
                    <a:gd name="T13" fmla="*/ 549 h 549"/>
                    <a:gd name="T14" fmla="*/ 113 w 545"/>
                    <a:gd name="T15" fmla="*/ 546 h 549"/>
                    <a:gd name="T16" fmla="*/ 130 w 545"/>
                    <a:gd name="T17" fmla="*/ 533 h 549"/>
                    <a:gd name="T18" fmla="*/ 143 w 545"/>
                    <a:gd name="T19" fmla="*/ 507 h 549"/>
                    <a:gd name="T20" fmla="*/ 154 w 545"/>
                    <a:gd name="T21" fmla="*/ 477 h 549"/>
                    <a:gd name="T22" fmla="*/ 169 w 545"/>
                    <a:gd name="T23" fmla="*/ 454 h 549"/>
                    <a:gd name="T24" fmla="*/ 183 w 545"/>
                    <a:gd name="T25" fmla="*/ 445 h 549"/>
                    <a:gd name="T26" fmla="*/ 201 w 545"/>
                    <a:gd name="T27" fmla="*/ 444 h 549"/>
                    <a:gd name="T28" fmla="*/ 222 w 545"/>
                    <a:gd name="T29" fmla="*/ 448 h 549"/>
                    <a:gd name="T30" fmla="*/ 252 w 545"/>
                    <a:gd name="T31" fmla="*/ 461 h 549"/>
                    <a:gd name="T32" fmla="*/ 272 w 545"/>
                    <a:gd name="T33" fmla="*/ 468 h 549"/>
                    <a:gd name="T34" fmla="*/ 297 w 545"/>
                    <a:gd name="T35" fmla="*/ 469 h 549"/>
                    <a:gd name="T36" fmla="*/ 319 w 545"/>
                    <a:gd name="T37" fmla="*/ 464 h 549"/>
                    <a:gd name="T38" fmla="*/ 332 w 545"/>
                    <a:gd name="T39" fmla="*/ 453 h 549"/>
                    <a:gd name="T40" fmla="*/ 359 w 545"/>
                    <a:gd name="T41" fmla="*/ 388 h 549"/>
                    <a:gd name="T42" fmla="*/ 382 w 545"/>
                    <a:gd name="T43" fmla="*/ 363 h 549"/>
                    <a:gd name="T44" fmla="*/ 447 w 545"/>
                    <a:gd name="T45" fmla="*/ 314 h 549"/>
                    <a:gd name="T46" fmla="*/ 527 w 545"/>
                    <a:gd name="T47" fmla="*/ 264 h 549"/>
                    <a:gd name="T48" fmla="*/ 528 w 545"/>
                    <a:gd name="T49" fmla="*/ 232 h 549"/>
                    <a:gd name="T50" fmla="*/ 503 w 545"/>
                    <a:gd name="T51" fmla="*/ 218 h 549"/>
                    <a:gd name="T52" fmla="*/ 485 w 545"/>
                    <a:gd name="T53" fmla="*/ 199 h 549"/>
                    <a:gd name="T54" fmla="*/ 460 w 545"/>
                    <a:gd name="T55" fmla="*/ 157 h 549"/>
                    <a:gd name="T56" fmla="*/ 440 w 545"/>
                    <a:gd name="T57" fmla="*/ 132 h 549"/>
                    <a:gd name="T58" fmla="*/ 377 w 545"/>
                    <a:gd name="T59" fmla="*/ 76 h 549"/>
                    <a:gd name="T60" fmla="*/ 359 w 545"/>
                    <a:gd name="T61" fmla="*/ 53 h 549"/>
                    <a:gd name="T62" fmla="*/ 348 w 545"/>
                    <a:gd name="T63" fmla="*/ 24 h 549"/>
                    <a:gd name="T64" fmla="*/ 319 w 545"/>
                    <a:gd name="T65" fmla="*/ 0 h 549"/>
                    <a:gd name="T66" fmla="*/ 244 w 545"/>
                    <a:gd name="T67" fmla="*/ 2 h 549"/>
                    <a:gd name="T68" fmla="*/ 176 w 545"/>
                    <a:gd name="T69" fmla="*/ 13 h 549"/>
                    <a:gd name="T70" fmla="*/ 95 w 545"/>
                    <a:gd name="T71" fmla="*/ 22 h 549"/>
                    <a:gd name="T72" fmla="*/ 71 w 545"/>
                    <a:gd name="T73" fmla="*/ 27 h 549"/>
                    <a:gd name="T74" fmla="*/ 67 w 545"/>
                    <a:gd name="T75" fmla="*/ 38 h 549"/>
                    <a:gd name="T76" fmla="*/ 73 w 545"/>
                    <a:gd name="T77" fmla="*/ 56 h 549"/>
                    <a:gd name="T78" fmla="*/ 84 w 545"/>
                    <a:gd name="T79" fmla="*/ 74 h 549"/>
                    <a:gd name="T80" fmla="*/ 86 w 545"/>
                    <a:gd name="T81" fmla="*/ 107 h 549"/>
                    <a:gd name="T82" fmla="*/ 74 w 545"/>
                    <a:gd name="T83" fmla="*/ 171 h 549"/>
                    <a:gd name="T84" fmla="*/ 62 w 545"/>
                    <a:gd name="T85" fmla="*/ 237 h 549"/>
                    <a:gd name="T86" fmla="*/ 47 w 545"/>
                    <a:gd name="T87" fmla="*/ 263 h 549"/>
                    <a:gd name="T88" fmla="*/ 26 w 545"/>
                    <a:gd name="T89" fmla="*/ 277 h 549"/>
                    <a:gd name="T90" fmla="*/ 5 w 545"/>
                    <a:gd name="T91" fmla="*/ 307 h 549"/>
                    <a:gd name="T92" fmla="*/ 1 w 545"/>
                    <a:gd name="T93" fmla="*/ 339 h 549"/>
                    <a:gd name="T94" fmla="*/ 8 w 545"/>
                    <a:gd name="T95" fmla="*/ 367 h 549"/>
                    <a:gd name="T96" fmla="*/ 8 w 545"/>
                    <a:gd name="T97" fmla="*/ 391 h 549"/>
                    <a:gd name="T98" fmla="*/ 0 w 545"/>
                    <a:gd name="T99" fmla="*/ 408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93" name="Freeform 253">
                  <a:extLst>
                    <a:ext uri="{FF2B5EF4-FFF2-40B4-BE49-F238E27FC236}">
                      <a16:creationId xmlns="" xmlns:a16="http://schemas.microsoft.com/office/drawing/2014/main" id="{0F6E3C23-202F-48EA-8C91-29DE22966479}"/>
                    </a:ext>
                  </a:extLst>
                </p:cNvPr>
                <p:cNvSpPr>
                  <a:spLocks/>
                </p:cNvSpPr>
                <p:nvPr>
                  <p:custDataLst>
                    <p:tags r:id="rId181"/>
                  </p:custDataLst>
                </p:nvPr>
              </p:nvSpPr>
              <p:spPr bwMode="auto">
                <a:xfrm>
                  <a:off x="6724838" y="3247171"/>
                  <a:ext cx="139620" cy="308515"/>
                </a:xfrm>
                <a:custGeom>
                  <a:avLst/>
                  <a:gdLst>
                    <a:gd name="T0" fmla="*/ 112 w 452"/>
                    <a:gd name="T1" fmla="*/ 261 h 832"/>
                    <a:gd name="T2" fmla="*/ 138 w 452"/>
                    <a:gd name="T3" fmla="*/ 248 h 832"/>
                    <a:gd name="T4" fmla="*/ 165 w 452"/>
                    <a:gd name="T5" fmla="*/ 240 h 832"/>
                    <a:gd name="T6" fmla="*/ 192 w 452"/>
                    <a:gd name="T7" fmla="*/ 232 h 832"/>
                    <a:gd name="T8" fmla="*/ 215 w 452"/>
                    <a:gd name="T9" fmla="*/ 217 h 832"/>
                    <a:gd name="T10" fmla="*/ 232 w 452"/>
                    <a:gd name="T11" fmla="*/ 200 h 832"/>
                    <a:gd name="T12" fmla="*/ 232 w 452"/>
                    <a:gd name="T13" fmla="*/ 179 h 832"/>
                    <a:gd name="T14" fmla="*/ 265 w 452"/>
                    <a:gd name="T15" fmla="*/ 178 h 832"/>
                    <a:gd name="T16" fmla="*/ 282 w 452"/>
                    <a:gd name="T17" fmla="*/ 173 h 832"/>
                    <a:gd name="T18" fmla="*/ 298 w 452"/>
                    <a:gd name="T19" fmla="*/ 162 h 832"/>
                    <a:gd name="T20" fmla="*/ 320 w 452"/>
                    <a:gd name="T21" fmla="*/ 133 h 832"/>
                    <a:gd name="T22" fmla="*/ 350 w 452"/>
                    <a:gd name="T23" fmla="*/ 75 h 832"/>
                    <a:gd name="T24" fmla="*/ 378 w 452"/>
                    <a:gd name="T25" fmla="*/ 0 h 832"/>
                    <a:gd name="T26" fmla="*/ 385 w 452"/>
                    <a:gd name="T27" fmla="*/ 19 h 832"/>
                    <a:gd name="T28" fmla="*/ 407 w 452"/>
                    <a:gd name="T29" fmla="*/ 47 h 832"/>
                    <a:gd name="T30" fmla="*/ 448 w 452"/>
                    <a:gd name="T31" fmla="*/ 85 h 832"/>
                    <a:gd name="T32" fmla="*/ 440 w 452"/>
                    <a:gd name="T33" fmla="*/ 103 h 832"/>
                    <a:gd name="T34" fmla="*/ 444 w 452"/>
                    <a:gd name="T35" fmla="*/ 138 h 832"/>
                    <a:gd name="T36" fmla="*/ 452 w 452"/>
                    <a:gd name="T37" fmla="*/ 185 h 832"/>
                    <a:gd name="T38" fmla="*/ 448 w 452"/>
                    <a:gd name="T39" fmla="*/ 206 h 832"/>
                    <a:gd name="T40" fmla="*/ 428 w 452"/>
                    <a:gd name="T41" fmla="*/ 234 h 832"/>
                    <a:gd name="T42" fmla="*/ 409 w 452"/>
                    <a:gd name="T43" fmla="*/ 261 h 832"/>
                    <a:gd name="T44" fmla="*/ 405 w 452"/>
                    <a:gd name="T45" fmla="*/ 283 h 832"/>
                    <a:gd name="T46" fmla="*/ 393 w 452"/>
                    <a:gd name="T47" fmla="*/ 308 h 832"/>
                    <a:gd name="T48" fmla="*/ 383 w 452"/>
                    <a:gd name="T49" fmla="*/ 318 h 832"/>
                    <a:gd name="T50" fmla="*/ 377 w 452"/>
                    <a:gd name="T51" fmla="*/ 332 h 832"/>
                    <a:gd name="T52" fmla="*/ 368 w 452"/>
                    <a:gd name="T53" fmla="*/ 364 h 832"/>
                    <a:gd name="T54" fmla="*/ 338 w 452"/>
                    <a:gd name="T55" fmla="*/ 427 h 832"/>
                    <a:gd name="T56" fmla="*/ 321 w 452"/>
                    <a:gd name="T57" fmla="*/ 470 h 832"/>
                    <a:gd name="T58" fmla="*/ 318 w 452"/>
                    <a:gd name="T59" fmla="*/ 500 h 832"/>
                    <a:gd name="T60" fmla="*/ 310 w 452"/>
                    <a:gd name="T61" fmla="*/ 531 h 832"/>
                    <a:gd name="T62" fmla="*/ 281 w 452"/>
                    <a:gd name="T63" fmla="*/ 602 h 832"/>
                    <a:gd name="T64" fmla="*/ 260 w 452"/>
                    <a:gd name="T65" fmla="*/ 637 h 832"/>
                    <a:gd name="T66" fmla="*/ 242 w 452"/>
                    <a:gd name="T67" fmla="*/ 655 h 832"/>
                    <a:gd name="T68" fmla="*/ 232 w 452"/>
                    <a:gd name="T69" fmla="*/ 660 h 832"/>
                    <a:gd name="T70" fmla="*/ 228 w 452"/>
                    <a:gd name="T71" fmla="*/ 714 h 832"/>
                    <a:gd name="T72" fmla="*/ 215 w 452"/>
                    <a:gd name="T73" fmla="*/ 759 h 832"/>
                    <a:gd name="T74" fmla="*/ 191 w 452"/>
                    <a:gd name="T75" fmla="*/ 795 h 832"/>
                    <a:gd name="T76" fmla="*/ 157 w 452"/>
                    <a:gd name="T77" fmla="*/ 819 h 832"/>
                    <a:gd name="T78" fmla="*/ 110 w 452"/>
                    <a:gd name="T79" fmla="*/ 831 h 832"/>
                    <a:gd name="T80" fmla="*/ 80 w 452"/>
                    <a:gd name="T81" fmla="*/ 827 h 832"/>
                    <a:gd name="T82" fmla="*/ 73 w 452"/>
                    <a:gd name="T83" fmla="*/ 817 h 832"/>
                    <a:gd name="T84" fmla="*/ 50 w 452"/>
                    <a:gd name="T85" fmla="*/ 810 h 832"/>
                    <a:gd name="T86" fmla="*/ 26 w 452"/>
                    <a:gd name="T87" fmla="*/ 798 h 832"/>
                    <a:gd name="T88" fmla="*/ 12 w 452"/>
                    <a:gd name="T89" fmla="*/ 777 h 832"/>
                    <a:gd name="T90" fmla="*/ 3 w 452"/>
                    <a:gd name="T91" fmla="*/ 752 h 832"/>
                    <a:gd name="T92" fmla="*/ 0 w 452"/>
                    <a:gd name="T93" fmla="*/ 708 h 832"/>
                    <a:gd name="T94" fmla="*/ 4 w 452"/>
                    <a:gd name="T95" fmla="*/ 694 h 832"/>
                    <a:gd name="T96" fmla="*/ 19 w 452"/>
                    <a:gd name="T97" fmla="*/ 678 h 832"/>
                    <a:gd name="T98" fmla="*/ 11 w 452"/>
                    <a:gd name="T99" fmla="*/ 672 h 832"/>
                    <a:gd name="T100" fmla="*/ 0 w 452"/>
                    <a:gd name="T101" fmla="*/ 652 h 832"/>
                    <a:gd name="T102" fmla="*/ 5 w 452"/>
                    <a:gd name="T103" fmla="*/ 628 h 832"/>
                    <a:gd name="T104" fmla="*/ 8 w 452"/>
                    <a:gd name="T105" fmla="*/ 610 h 832"/>
                    <a:gd name="T106" fmla="*/ 5 w 452"/>
                    <a:gd name="T107" fmla="*/ 591 h 832"/>
                    <a:gd name="T108" fmla="*/ 18 w 452"/>
                    <a:gd name="T109" fmla="*/ 587 h 832"/>
                    <a:gd name="T110" fmla="*/ 43 w 452"/>
                    <a:gd name="T111" fmla="*/ 568 h 832"/>
                    <a:gd name="T112" fmla="*/ 63 w 452"/>
                    <a:gd name="T113" fmla="*/ 538 h 832"/>
                    <a:gd name="T114" fmla="*/ 76 w 452"/>
                    <a:gd name="T115" fmla="*/ 506 h 832"/>
                    <a:gd name="T116" fmla="*/ 86 w 452"/>
                    <a:gd name="T117" fmla="*/ 462 h 832"/>
                    <a:gd name="T118" fmla="*/ 83 w 452"/>
                    <a:gd name="T119" fmla="*/ 438 h 832"/>
                    <a:gd name="T120" fmla="*/ 70 w 452"/>
                    <a:gd name="T121" fmla="*/ 408 h 832"/>
                    <a:gd name="T122" fmla="*/ 56 w 452"/>
                    <a:gd name="T123" fmla="*/ 382 h 832"/>
                    <a:gd name="T124" fmla="*/ 53 w 452"/>
                    <a:gd name="T125" fmla="*/ 363 h 8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94" name="Freeform 254">
                  <a:extLst>
                    <a:ext uri="{FF2B5EF4-FFF2-40B4-BE49-F238E27FC236}">
                      <a16:creationId xmlns="" xmlns:a16="http://schemas.microsoft.com/office/drawing/2014/main" id="{BBDDC8ED-3BE4-4449-9A0F-E71FEFB958A1}"/>
                    </a:ext>
                  </a:extLst>
                </p:cNvPr>
                <p:cNvSpPr>
                  <a:spLocks/>
                </p:cNvSpPr>
                <p:nvPr>
                  <p:custDataLst>
                    <p:tags r:id="rId182"/>
                  </p:custDataLst>
                </p:nvPr>
              </p:nvSpPr>
              <p:spPr bwMode="auto">
                <a:xfrm>
                  <a:off x="6495141" y="3033237"/>
                  <a:ext cx="25898" cy="47291"/>
                </a:xfrm>
                <a:custGeom>
                  <a:avLst/>
                  <a:gdLst>
                    <a:gd name="T0" fmla="*/ 80 w 80"/>
                    <a:gd name="T1" fmla="*/ 2 h 126"/>
                    <a:gd name="T2" fmla="*/ 80 w 80"/>
                    <a:gd name="T3" fmla="*/ 101 h 126"/>
                    <a:gd name="T4" fmla="*/ 78 w 80"/>
                    <a:gd name="T5" fmla="*/ 104 h 126"/>
                    <a:gd name="T6" fmla="*/ 75 w 80"/>
                    <a:gd name="T7" fmla="*/ 107 h 126"/>
                    <a:gd name="T8" fmla="*/ 70 w 80"/>
                    <a:gd name="T9" fmla="*/ 109 h 126"/>
                    <a:gd name="T10" fmla="*/ 67 w 80"/>
                    <a:gd name="T11" fmla="*/ 111 h 126"/>
                    <a:gd name="T12" fmla="*/ 58 w 80"/>
                    <a:gd name="T13" fmla="*/ 114 h 126"/>
                    <a:gd name="T14" fmla="*/ 48 w 80"/>
                    <a:gd name="T15" fmla="*/ 116 h 126"/>
                    <a:gd name="T16" fmla="*/ 36 w 80"/>
                    <a:gd name="T17" fmla="*/ 117 h 126"/>
                    <a:gd name="T18" fmla="*/ 25 w 80"/>
                    <a:gd name="T19" fmla="*/ 119 h 126"/>
                    <a:gd name="T20" fmla="*/ 13 w 80"/>
                    <a:gd name="T21" fmla="*/ 123 h 126"/>
                    <a:gd name="T22" fmla="*/ 0 w 80"/>
                    <a:gd name="T23" fmla="*/ 126 h 126"/>
                    <a:gd name="T24" fmla="*/ 7 w 80"/>
                    <a:gd name="T25" fmla="*/ 40 h 126"/>
                    <a:gd name="T26" fmla="*/ 23 w 80"/>
                    <a:gd name="T27" fmla="*/ 27 h 126"/>
                    <a:gd name="T28" fmla="*/ 41 w 80"/>
                    <a:gd name="T29" fmla="*/ 12 h 126"/>
                    <a:gd name="T30" fmla="*/ 51 w 80"/>
                    <a:gd name="T31" fmla="*/ 5 h 126"/>
                    <a:gd name="T32" fmla="*/ 60 w 80"/>
                    <a:gd name="T33" fmla="*/ 1 h 126"/>
                    <a:gd name="T34" fmla="*/ 65 w 80"/>
                    <a:gd name="T35" fmla="*/ 0 h 126"/>
                    <a:gd name="T36" fmla="*/ 70 w 80"/>
                    <a:gd name="T37" fmla="*/ 0 h 126"/>
                    <a:gd name="T38" fmla="*/ 75 w 80"/>
                    <a:gd name="T39" fmla="*/ 1 h 126"/>
                    <a:gd name="T40" fmla="*/ 80 w 80"/>
                    <a:gd name="T41" fmla="*/ 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95" name="Freeform 255">
                  <a:extLst>
                    <a:ext uri="{FF2B5EF4-FFF2-40B4-BE49-F238E27FC236}">
                      <a16:creationId xmlns="" xmlns:a16="http://schemas.microsoft.com/office/drawing/2014/main" id="{0B54C1B1-0F96-4ECA-A8C0-87CB4962520B}"/>
                    </a:ext>
                  </a:extLst>
                </p:cNvPr>
                <p:cNvSpPr>
                  <a:spLocks/>
                </p:cNvSpPr>
                <p:nvPr>
                  <p:custDataLst>
                    <p:tags r:id="rId183"/>
                  </p:custDataLst>
                </p:nvPr>
              </p:nvSpPr>
              <p:spPr bwMode="auto">
                <a:xfrm>
                  <a:off x="6487259" y="3005087"/>
                  <a:ext cx="39409" cy="42787"/>
                </a:xfrm>
                <a:custGeom>
                  <a:avLst/>
                  <a:gdLst>
                    <a:gd name="T0" fmla="*/ 113 w 124"/>
                    <a:gd name="T1" fmla="*/ 0 h 117"/>
                    <a:gd name="T2" fmla="*/ 116 w 124"/>
                    <a:gd name="T3" fmla="*/ 15 h 117"/>
                    <a:gd name="T4" fmla="*/ 122 w 124"/>
                    <a:gd name="T5" fmla="*/ 35 h 117"/>
                    <a:gd name="T6" fmla="*/ 124 w 124"/>
                    <a:gd name="T7" fmla="*/ 45 h 117"/>
                    <a:gd name="T8" fmla="*/ 124 w 124"/>
                    <a:gd name="T9" fmla="*/ 54 h 117"/>
                    <a:gd name="T10" fmla="*/ 124 w 124"/>
                    <a:gd name="T11" fmla="*/ 59 h 117"/>
                    <a:gd name="T12" fmla="*/ 123 w 124"/>
                    <a:gd name="T13" fmla="*/ 64 h 117"/>
                    <a:gd name="T14" fmla="*/ 122 w 124"/>
                    <a:gd name="T15" fmla="*/ 69 h 117"/>
                    <a:gd name="T16" fmla="*/ 119 w 124"/>
                    <a:gd name="T17" fmla="*/ 73 h 117"/>
                    <a:gd name="T18" fmla="*/ 114 w 124"/>
                    <a:gd name="T19" fmla="*/ 72 h 117"/>
                    <a:gd name="T20" fmla="*/ 108 w 124"/>
                    <a:gd name="T21" fmla="*/ 71 h 117"/>
                    <a:gd name="T22" fmla="*/ 103 w 124"/>
                    <a:gd name="T23" fmla="*/ 72 h 117"/>
                    <a:gd name="T24" fmla="*/ 96 w 124"/>
                    <a:gd name="T25" fmla="*/ 73 h 117"/>
                    <a:gd name="T26" fmla="*/ 83 w 124"/>
                    <a:gd name="T27" fmla="*/ 78 h 117"/>
                    <a:gd name="T28" fmla="*/ 71 w 124"/>
                    <a:gd name="T29" fmla="*/ 85 h 117"/>
                    <a:gd name="T30" fmla="*/ 46 w 124"/>
                    <a:gd name="T31" fmla="*/ 103 h 117"/>
                    <a:gd name="T32" fmla="*/ 26 w 124"/>
                    <a:gd name="T33" fmla="*/ 117 h 117"/>
                    <a:gd name="T34" fmla="*/ 23 w 124"/>
                    <a:gd name="T35" fmla="*/ 112 h 117"/>
                    <a:gd name="T36" fmla="*/ 13 w 124"/>
                    <a:gd name="T37" fmla="*/ 101 h 117"/>
                    <a:gd name="T38" fmla="*/ 4 w 124"/>
                    <a:gd name="T39" fmla="*/ 89 h 117"/>
                    <a:gd name="T40" fmla="*/ 0 w 124"/>
                    <a:gd name="T41" fmla="*/ 79 h 117"/>
                    <a:gd name="T42" fmla="*/ 1 w 124"/>
                    <a:gd name="T43" fmla="*/ 76 h 117"/>
                    <a:gd name="T44" fmla="*/ 2 w 124"/>
                    <a:gd name="T45" fmla="*/ 72 h 117"/>
                    <a:gd name="T46" fmla="*/ 5 w 124"/>
                    <a:gd name="T47" fmla="*/ 67 h 117"/>
                    <a:gd name="T48" fmla="*/ 9 w 124"/>
                    <a:gd name="T49" fmla="*/ 62 h 117"/>
                    <a:gd name="T50" fmla="*/ 17 w 124"/>
                    <a:gd name="T51" fmla="*/ 52 h 117"/>
                    <a:gd name="T52" fmla="*/ 27 w 124"/>
                    <a:gd name="T53" fmla="*/ 42 h 117"/>
                    <a:gd name="T54" fmla="*/ 48 w 124"/>
                    <a:gd name="T55" fmla="*/ 22 h 117"/>
                    <a:gd name="T56" fmla="*/ 60 w 124"/>
                    <a:gd name="T57" fmla="*/ 12 h 117"/>
                    <a:gd name="T58" fmla="*/ 73 w 124"/>
                    <a:gd name="T59" fmla="*/ 12 h 117"/>
                    <a:gd name="T60" fmla="*/ 86 w 124"/>
                    <a:gd name="T61" fmla="*/ 12 h 117"/>
                    <a:gd name="T62" fmla="*/ 100 w 124"/>
                    <a:gd name="T63" fmla="*/ 6 h 117"/>
                    <a:gd name="T64" fmla="*/ 113 w 124"/>
                    <a:gd name="T6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96" name="Freeform 256">
                  <a:extLst>
                    <a:ext uri="{FF2B5EF4-FFF2-40B4-BE49-F238E27FC236}">
                      <a16:creationId xmlns="" xmlns:a16="http://schemas.microsoft.com/office/drawing/2014/main" id="{B5995CED-1C6A-43AF-875A-2DE9E66726DD}"/>
                    </a:ext>
                  </a:extLst>
                </p:cNvPr>
                <p:cNvSpPr>
                  <a:spLocks/>
                </p:cNvSpPr>
                <p:nvPr>
                  <p:custDataLst>
                    <p:tags r:id="rId184"/>
                  </p:custDataLst>
                </p:nvPr>
              </p:nvSpPr>
              <p:spPr bwMode="auto">
                <a:xfrm>
                  <a:off x="6706822" y="2082921"/>
                  <a:ext cx="356932" cy="335538"/>
                </a:xfrm>
                <a:custGeom>
                  <a:avLst/>
                  <a:gdLst>
                    <a:gd name="T0" fmla="*/ 928 w 1156"/>
                    <a:gd name="T1" fmla="*/ 191 h 900"/>
                    <a:gd name="T2" fmla="*/ 859 w 1156"/>
                    <a:gd name="T3" fmla="*/ 162 h 900"/>
                    <a:gd name="T4" fmla="*/ 773 w 1156"/>
                    <a:gd name="T5" fmla="*/ 111 h 900"/>
                    <a:gd name="T6" fmla="*/ 617 w 1156"/>
                    <a:gd name="T7" fmla="*/ 104 h 900"/>
                    <a:gd name="T8" fmla="*/ 551 w 1156"/>
                    <a:gd name="T9" fmla="*/ 154 h 900"/>
                    <a:gd name="T10" fmla="*/ 504 w 1156"/>
                    <a:gd name="T11" fmla="*/ 179 h 900"/>
                    <a:gd name="T12" fmla="*/ 426 w 1156"/>
                    <a:gd name="T13" fmla="*/ 197 h 900"/>
                    <a:gd name="T14" fmla="*/ 383 w 1156"/>
                    <a:gd name="T15" fmla="*/ 199 h 900"/>
                    <a:gd name="T16" fmla="*/ 355 w 1156"/>
                    <a:gd name="T17" fmla="*/ 173 h 900"/>
                    <a:gd name="T18" fmla="*/ 260 w 1156"/>
                    <a:gd name="T19" fmla="*/ 136 h 900"/>
                    <a:gd name="T20" fmla="*/ 228 w 1156"/>
                    <a:gd name="T21" fmla="*/ 86 h 900"/>
                    <a:gd name="T22" fmla="*/ 220 w 1156"/>
                    <a:gd name="T23" fmla="*/ 23 h 900"/>
                    <a:gd name="T24" fmla="*/ 188 w 1156"/>
                    <a:gd name="T25" fmla="*/ 1 h 900"/>
                    <a:gd name="T26" fmla="*/ 155 w 1156"/>
                    <a:gd name="T27" fmla="*/ 21 h 900"/>
                    <a:gd name="T28" fmla="*/ 136 w 1156"/>
                    <a:gd name="T29" fmla="*/ 67 h 900"/>
                    <a:gd name="T30" fmla="*/ 79 w 1156"/>
                    <a:gd name="T31" fmla="*/ 54 h 900"/>
                    <a:gd name="T32" fmla="*/ 4 w 1156"/>
                    <a:gd name="T33" fmla="*/ 16 h 900"/>
                    <a:gd name="T34" fmla="*/ 5 w 1156"/>
                    <a:gd name="T35" fmla="*/ 72 h 900"/>
                    <a:gd name="T36" fmla="*/ 45 w 1156"/>
                    <a:gd name="T37" fmla="*/ 146 h 900"/>
                    <a:gd name="T38" fmla="*/ 73 w 1156"/>
                    <a:gd name="T39" fmla="*/ 205 h 900"/>
                    <a:gd name="T40" fmla="*/ 135 w 1156"/>
                    <a:gd name="T41" fmla="*/ 284 h 900"/>
                    <a:gd name="T42" fmla="*/ 122 w 1156"/>
                    <a:gd name="T43" fmla="*/ 316 h 900"/>
                    <a:gd name="T44" fmla="*/ 133 w 1156"/>
                    <a:gd name="T45" fmla="*/ 370 h 900"/>
                    <a:gd name="T46" fmla="*/ 188 w 1156"/>
                    <a:gd name="T47" fmla="*/ 428 h 900"/>
                    <a:gd name="T48" fmla="*/ 259 w 1156"/>
                    <a:gd name="T49" fmla="*/ 456 h 900"/>
                    <a:gd name="T50" fmla="*/ 259 w 1156"/>
                    <a:gd name="T51" fmla="*/ 524 h 900"/>
                    <a:gd name="T52" fmla="*/ 335 w 1156"/>
                    <a:gd name="T53" fmla="*/ 581 h 900"/>
                    <a:gd name="T54" fmla="*/ 423 w 1156"/>
                    <a:gd name="T55" fmla="*/ 664 h 900"/>
                    <a:gd name="T56" fmla="*/ 471 w 1156"/>
                    <a:gd name="T57" fmla="*/ 720 h 900"/>
                    <a:gd name="T58" fmla="*/ 504 w 1156"/>
                    <a:gd name="T59" fmla="*/ 733 h 900"/>
                    <a:gd name="T60" fmla="*/ 542 w 1156"/>
                    <a:gd name="T61" fmla="*/ 755 h 900"/>
                    <a:gd name="T62" fmla="*/ 598 w 1156"/>
                    <a:gd name="T63" fmla="*/ 787 h 900"/>
                    <a:gd name="T64" fmla="*/ 685 w 1156"/>
                    <a:gd name="T65" fmla="*/ 795 h 900"/>
                    <a:gd name="T66" fmla="*/ 732 w 1156"/>
                    <a:gd name="T67" fmla="*/ 780 h 900"/>
                    <a:gd name="T68" fmla="*/ 779 w 1156"/>
                    <a:gd name="T69" fmla="*/ 764 h 900"/>
                    <a:gd name="T70" fmla="*/ 801 w 1156"/>
                    <a:gd name="T71" fmla="*/ 796 h 900"/>
                    <a:gd name="T72" fmla="*/ 813 w 1156"/>
                    <a:gd name="T73" fmla="*/ 857 h 900"/>
                    <a:gd name="T74" fmla="*/ 874 w 1156"/>
                    <a:gd name="T75" fmla="*/ 874 h 900"/>
                    <a:gd name="T76" fmla="*/ 1011 w 1156"/>
                    <a:gd name="T77" fmla="*/ 892 h 900"/>
                    <a:gd name="T78" fmla="*/ 1091 w 1156"/>
                    <a:gd name="T79" fmla="*/ 879 h 900"/>
                    <a:gd name="T80" fmla="*/ 1099 w 1156"/>
                    <a:gd name="T81" fmla="*/ 831 h 900"/>
                    <a:gd name="T82" fmla="*/ 1156 w 1156"/>
                    <a:gd name="T83" fmla="*/ 770 h 900"/>
                    <a:gd name="T84" fmla="*/ 1132 w 1156"/>
                    <a:gd name="T85" fmla="*/ 750 h 900"/>
                    <a:gd name="T86" fmla="*/ 1096 w 1156"/>
                    <a:gd name="T87" fmla="*/ 708 h 900"/>
                    <a:gd name="T88" fmla="*/ 1031 w 1156"/>
                    <a:gd name="T89" fmla="*/ 643 h 900"/>
                    <a:gd name="T90" fmla="*/ 1018 w 1156"/>
                    <a:gd name="T91" fmla="*/ 603 h 900"/>
                    <a:gd name="T92" fmla="*/ 1044 w 1156"/>
                    <a:gd name="T93" fmla="*/ 559 h 900"/>
                    <a:gd name="T94" fmla="*/ 1048 w 1156"/>
                    <a:gd name="T95" fmla="*/ 526 h 900"/>
                    <a:gd name="T96" fmla="*/ 1030 w 1156"/>
                    <a:gd name="T97" fmla="*/ 512 h 900"/>
                    <a:gd name="T98" fmla="*/ 983 w 1156"/>
                    <a:gd name="T99" fmla="*/ 507 h 900"/>
                    <a:gd name="T100" fmla="*/ 954 w 1156"/>
                    <a:gd name="T101" fmla="*/ 453 h 900"/>
                    <a:gd name="T102" fmla="*/ 937 w 1156"/>
                    <a:gd name="T103" fmla="*/ 373 h 900"/>
                    <a:gd name="T104" fmla="*/ 924 w 1156"/>
                    <a:gd name="T105" fmla="*/ 357 h 900"/>
                    <a:gd name="T106" fmla="*/ 940 w 1156"/>
                    <a:gd name="T107" fmla="*/ 334 h 900"/>
                    <a:gd name="T108" fmla="*/ 960 w 1156"/>
                    <a:gd name="T109" fmla="*/ 293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97" name="Freeform 257">
                  <a:extLst>
                    <a:ext uri="{FF2B5EF4-FFF2-40B4-BE49-F238E27FC236}">
                      <a16:creationId xmlns="" xmlns:a16="http://schemas.microsoft.com/office/drawing/2014/main" id="{3258F57F-D7A4-42D7-866F-472CD096E10E}"/>
                    </a:ext>
                  </a:extLst>
                </p:cNvPr>
                <p:cNvSpPr>
                  <a:spLocks/>
                </p:cNvSpPr>
                <p:nvPr>
                  <p:custDataLst>
                    <p:tags r:id="rId185"/>
                  </p:custDataLst>
                </p:nvPr>
              </p:nvSpPr>
              <p:spPr bwMode="auto">
                <a:xfrm>
                  <a:off x="6723713" y="2549071"/>
                  <a:ext cx="175651" cy="162139"/>
                </a:xfrm>
                <a:custGeom>
                  <a:avLst/>
                  <a:gdLst>
                    <a:gd name="T0" fmla="*/ 26 w 571"/>
                    <a:gd name="T1" fmla="*/ 190 h 443"/>
                    <a:gd name="T2" fmla="*/ 37 w 571"/>
                    <a:gd name="T3" fmla="*/ 177 h 443"/>
                    <a:gd name="T4" fmla="*/ 41 w 571"/>
                    <a:gd name="T5" fmla="*/ 164 h 443"/>
                    <a:gd name="T6" fmla="*/ 39 w 571"/>
                    <a:gd name="T7" fmla="*/ 129 h 443"/>
                    <a:gd name="T8" fmla="*/ 44 w 571"/>
                    <a:gd name="T9" fmla="*/ 120 h 443"/>
                    <a:gd name="T10" fmla="*/ 55 w 571"/>
                    <a:gd name="T11" fmla="*/ 112 h 443"/>
                    <a:gd name="T12" fmla="*/ 68 w 571"/>
                    <a:gd name="T13" fmla="*/ 107 h 443"/>
                    <a:gd name="T14" fmla="*/ 80 w 571"/>
                    <a:gd name="T15" fmla="*/ 104 h 443"/>
                    <a:gd name="T16" fmla="*/ 103 w 571"/>
                    <a:gd name="T17" fmla="*/ 106 h 443"/>
                    <a:gd name="T18" fmla="*/ 124 w 571"/>
                    <a:gd name="T19" fmla="*/ 109 h 443"/>
                    <a:gd name="T20" fmla="*/ 158 w 571"/>
                    <a:gd name="T21" fmla="*/ 120 h 443"/>
                    <a:gd name="T22" fmla="*/ 184 w 571"/>
                    <a:gd name="T23" fmla="*/ 135 h 443"/>
                    <a:gd name="T24" fmla="*/ 206 w 571"/>
                    <a:gd name="T25" fmla="*/ 154 h 443"/>
                    <a:gd name="T26" fmla="*/ 254 w 571"/>
                    <a:gd name="T27" fmla="*/ 92 h 443"/>
                    <a:gd name="T28" fmla="*/ 285 w 571"/>
                    <a:gd name="T29" fmla="*/ 49 h 443"/>
                    <a:gd name="T30" fmla="*/ 538 w 571"/>
                    <a:gd name="T31" fmla="*/ 43 h 443"/>
                    <a:gd name="T32" fmla="*/ 557 w 571"/>
                    <a:gd name="T33" fmla="*/ 78 h 443"/>
                    <a:gd name="T34" fmla="*/ 562 w 571"/>
                    <a:gd name="T35" fmla="*/ 98 h 443"/>
                    <a:gd name="T36" fmla="*/ 564 w 571"/>
                    <a:gd name="T37" fmla="*/ 123 h 443"/>
                    <a:gd name="T38" fmla="*/ 568 w 571"/>
                    <a:gd name="T39" fmla="*/ 151 h 443"/>
                    <a:gd name="T40" fmla="*/ 571 w 571"/>
                    <a:gd name="T41" fmla="*/ 178 h 443"/>
                    <a:gd name="T42" fmla="*/ 564 w 571"/>
                    <a:gd name="T43" fmla="*/ 180 h 443"/>
                    <a:gd name="T44" fmla="*/ 562 w 571"/>
                    <a:gd name="T45" fmla="*/ 179 h 443"/>
                    <a:gd name="T46" fmla="*/ 558 w 571"/>
                    <a:gd name="T47" fmla="*/ 184 h 443"/>
                    <a:gd name="T48" fmla="*/ 548 w 571"/>
                    <a:gd name="T49" fmla="*/ 207 h 443"/>
                    <a:gd name="T50" fmla="*/ 534 w 571"/>
                    <a:gd name="T51" fmla="*/ 225 h 443"/>
                    <a:gd name="T52" fmla="*/ 515 w 571"/>
                    <a:gd name="T53" fmla="*/ 239 h 443"/>
                    <a:gd name="T54" fmla="*/ 494 w 571"/>
                    <a:gd name="T55" fmla="*/ 249 h 443"/>
                    <a:gd name="T56" fmla="*/ 405 w 571"/>
                    <a:gd name="T57" fmla="*/ 283 h 443"/>
                    <a:gd name="T58" fmla="*/ 347 w 571"/>
                    <a:gd name="T59" fmla="*/ 307 h 443"/>
                    <a:gd name="T60" fmla="*/ 295 w 571"/>
                    <a:gd name="T61" fmla="*/ 328 h 443"/>
                    <a:gd name="T62" fmla="*/ 245 w 571"/>
                    <a:gd name="T63" fmla="*/ 345 h 443"/>
                    <a:gd name="T64" fmla="*/ 186 w 571"/>
                    <a:gd name="T65" fmla="*/ 363 h 443"/>
                    <a:gd name="T66" fmla="*/ 167 w 571"/>
                    <a:gd name="T67" fmla="*/ 371 h 443"/>
                    <a:gd name="T68" fmla="*/ 149 w 571"/>
                    <a:gd name="T69" fmla="*/ 381 h 443"/>
                    <a:gd name="T70" fmla="*/ 119 w 571"/>
                    <a:gd name="T71" fmla="*/ 403 h 443"/>
                    <a:gd name="T72" fmla="*/ 92 w 571"/>
                    <a:gd name="T73" fmla="*/ 426 h 443"/>
                    <a:gd name="T74" fmla="*/ 67 w 571"/>
                    <a:gd name="T75" fmla="*/ 443 h 443"/>
                    <a:gd name="T76" fmla="*/ 50 w 571"/>
                    <a:gd name="T77" fmla="*/ 378 h 443"/>
                    <a:gd name="T78" fmla="*/ 33 w 571"/>
                    <a:gd name="T79" fmla="*/ 313 h 443"/>
                    <a:gd name="T80" fmla="*/ 16 w 571"/>
                    <a:gd name="T81" fmla="*/ 251 h 443"/>
                    <a:gd name="T82" fmla="*/ 0 w 571"/>
                    <a:gd name="T83" fmla="*/ 196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198" name="Freeform 258">
                  <a:extLst>
                    <a:ext uri="{FF2B5EF4-FFF2-40B4-BE49-F238E27FC236}">
                      <a16:creationId xmlns="" xmlns:a16="http://schemas.microsoft.com/office/drawing/2014/main" id="{8CFBEC2C-9666-4E94-A820-18D7EC679A07}"/>
                    </a:ext>
                  </a:extLst>
                </p:cNvPr>
                <p:cNvSpPr>
                  <a:spLocks/>
                </p:cNvSpPr>
                <p:nvPr>
                  <p:custDataLst>
                    <p:tags r:id="rId186"/>
                  </p:custDataLst>
                </p:nvPr>
              </p:nvSpPr>
              <p:spPr bwMode="auto">
                <a:xfrm>
                  <a:off x="6862206" y="2389183"/>
                  <a:ext cx="85574" cy="85574"/>
                </a:xfrm>
                <a:custGeom>
                  <a:avLst/>
                  <a:gdLst>
                    <a:gd name="T0" fmla="*/ 0 w 286"/>
                    <a:gd name="T1" fmla="*/ 111 h 228"/>
                    <a:gd name="T2" fmla="*/ 4 w 286"/>
                    <a:gd name="T3" fmla="*/ 109 h 228"/>
                    <a:gd name="T4" fmla="*/ 7 w 286"/>
                    <a:gd name="T5" fmla="*/ 109 h 228"/>
                    <a:gd name="T6" fmla="*/ 10 w 286"/>
                    <a:gd name="T7" fmla="*/ 110 h 228"/>
                    <a:gd name="T8" fmla="*/ 11 w 286"/>
                    <a:gd name="T9" fmla="*/ 111 h 228"/>
                    <a:gd name="T10" fmla="*/ 12 w 286"/>
                    <a:gd name="T11" fmla="*/ 117 h 228"/>
                    <a:gd name="T12" fmla="*/ 13 w 286"/>
                    <a:gd name="T13" fmla="*/ 123 h 228"/>
                    <a:gd name="T14" fmla="*/ 14 w 286"/>
                    <a:gd name="T15" fmla="*/ 128 h 228"/>
                    <a:gd name="T16" fmla="*/ 16 w 286"/>
                    <a:gd name="T17" fmla="*/ 131 h 228"/>
                    <a:gd name="T18" fmla="*/ 19 w 286"/>
                    <a:gd name="T19" fmla="*/ 134 h 228"/>
                    <a:gd name="T20" fmla="*/ 24 w 286"/>
                    <a:gd name="T21" fmla="*/ 136 h 228"/>
                    <a:gd name="T22" fmla="*/ 29 w 286"/>
                    <a:gd name="T23" fmla="*/ 137 h 228"/>
                    <a:gd name="T24" fmla="*/ 37 w 286"/>
                    <a:gd name="T25" fmla="*/ 138 h 228"/>
                    <a:gd name="T26" fmla="*/ 48 w 286"/>
                    <a:gd name="T27" fmla="*/ 138 h 228"/>
                    <a:gd name="T28" fmla="*/ 60 w 286"/>
                    <a:gd name="T29" fmla="*/ 136 h 228"/>
                    <a:gd name="T30" fmla="*/ 98 w 286"/>
                    <a:gd name="T31" fmla="*/ 130 h 228"/>
                    <a:gd name="T32" fmla="*/ 129 w 286"/>
                    <a:gd name="T33" fmla="*/ 122 h 228"/>
                    <a:gd name="T34" fmla="*/ 143 w 286"/>
                    <a:gd name="T35" fmla="*/ 118 h 228"/>
                    <a:gd name="T36" fmla="*/ 156 w 286"/>
                    <a:gd name="T37" fmla="*/ 114 h 228"/>
                    <a:gd name="T38" fmla="*/ 167 w 286"/>
                    <a:gd name="T39" fmla="*/ 109 h 228"/>
                    <a:gd name="T40" fmla="*/ 178 w 286"/>
                    <a:gd name="T41" fmla="*/ 103 h 228"/>
                    <a:gd name="T42" fmla="*/ 188 w 286"/>
                    <a:gd name="T43" fmla="*/ 96 h 228"/>
                    <a:gd name="T44" fmla="*/ 198 w 286"/>
                    <a:gd name="T45" fmla="*/ 87 h 228"/>
                    <a:gd name="T46" fmla="*/ 208 w 286"/>
                    <a:gd name="T47" fmla="*/ 78 h 228"/>
                    <a:gd name="T48" fmla="*/ 219 w 286"/>
                    <a:gd name="T49" fmla="*/ 65 h 228"/>
                    <a:gd name="T50" fmla="*/ 229 w 286"/>
                    <a:gd name="T51" fmla="*/ 52 h 228"/>
                    <a:gd name="T52" fmla="*/ 241 w 286"/>
                    <a:gd name="T53" fmla="*/ 37 h 228"/>
                    <a:gd name="T54" fmla="*/ 253 w 286"/>
                    <a:gd name="T55" fmla="*/ 20 h 228"/>
                    <a:gd name="T56" fmla="*/ 266 w 286"/>
                    <a:gd name="T57" fmla="*/ 0 h 228"/>
                    <a:gd name="T58" fmla="*/ 270 w 286"/>
                    <a:gd name="T59" fmla="*/ 7 h 228"/>
                    <a:gd name="T60" fmla="*/ 274 w 286"/>
                    <a:gd name="T61" fmla="*/ 13 h 228"/>
                    <a:gd name="T62" fmla="*/ 276 w 286"/>
                    <a:gd name="T63" fmla="*/ 20 h 228"/>
                    <a:gd name="T64" fmla="*/ 279 w 286"/>
                    <a:gd name="T65" fmla="*/ 27 h 228"/>
                    <a:gd name="T66" fmla="*/ 282 w 286"/>
                    <a:gd name="T67" fmla="*/ 42 h 228"/>
                    <a:gd name="T68" fmla="*/ 286 w 286"/>
                    <a:gd name="T69" fmla="*/ 62 h 228"/>
                    <a:gd name="T70" fmla="*/ 246 w 286"/>
                    <a:gd name="T71" fmla="*/ 198 h 228"/>
                    <a:gd name="T72" fmla="*/ 226 w 286"/>
                    <a:gd name="T73" fmla="*/ 228 h 228"/>
                    <a:gd name="T74" fmla="*/ 53 w 286"/>
                    <a:gd name="T75" fmla="*/ 210 h 228"/>
                    <a:gd name="T76" fmla="*/ 0 w 286"/>
                    <a:gd name="T77" fmla="*/ 111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199" name="Freeform 259">
                  <a:extLst>
                    <a:ext uri="{FF2B5EF4-FFF2-40B4-BE49-F238E27FC236}">
                      <a16:creationId xmlns="" xmlns:a16="http://schemas.microsoft.com/office/drawing/2014/main" id="{30A87382-A1F8-48E9-BE38-19D85E16C9B2}"/>
                    </a:ext>
                  </a:extLst>
                </p:cNvPr>
                <p:cNvSpPr>
                  <a:spLocks/>
                </p:cNvSpPr>
                <p:nvPr>
                  <p:custDataLst>
                    <p:tags r:id="rId187"/>
                  </p:custDataLst>
                </p:nvPr>
              </p:nvSpPr>
              <p:spPr bwMode="auto">
                <a:xfrm>
                  <a:off x="6640391" y="2142597"/>
                  <a:ext cx="157635" cy="186910"/>
                </a:xfrm>
                <a:custGeom>
                  <a:avLst/>
                  <a:gdLst>
                    <a:gd name="T0" fmla="*/ 478 w 524"/>
                    <a:gd name="T1" fmla="*/ 370 h 505"/>
                    <a:gd name="T2" fmla="*/ 484 w 524"/>
                    <a:gd name="T3" fmla="*/ 346 h 505"/>
                    <a:gd name="T4" fmla="*/ 483 w 524"/>
                    <a:gd name="T5" fmla="*/ 329 h 505"/>
                    <a:gd name="T6" fmla="*/ 478 w 524"/>
                    <a:gd name="T7" fmla="*/ 302 h 505"/>
                    <a:gd name="T8" fmla="*/ 455 w 524"/>
                    <a:gd name="T9" fmla="*/ 299 h 505"/>
                    <a:gd name="T10" fmla="*/ 431 w 524"/>
                    <a:gd name="T11" fmla="*/ 288 h 505"/>
                    <a:gd name="T12" fmla="*/ 407 w 524"/>
                    <a:gd name="T13" fmla="*/ 274 h 505"/>
                    <a:gd name="T14" fmla="*/ 386 w 524"/>
                    <a:gd name="T15" fmla="*/ 256 h 505"/>
                    <a:gd name="T16" fmla="*/ 366 w 524"/>
                    <a:gd name="T17" fmla="*/ 237 h 505"/>
                    <a:gd name="T18" fmla="*/ 352 w 524"/>
                    <a:gd name="T19" fmla="*/ 216 h 505"/>
                    <a:gd name="T20" fmla="*/ 342 w 524"/>
                    <a:gd name="T21" fmla="*/ 196 h 505"/>
                    <a:gd name="T22" fmla="*/ 339 w 524"/>
                    <a:gd name="T23" fmla="*/ 178 h 505"/>
                    <a:gd name="T24" fmla="*/ 341 w 524"/>
                    <a:gd name="T25" fmla="*/ 162 h 505"/>
                    <a:gd name="T26" fmla="*/ 349 w 524"/>
                    <a:gd name="T27" fmla="*/ 150 h 505"/>
                    <a:gd name="T28" fmla="*/ 365 w 524"/>
                    <a:gd name="T29" fmla="*/ 136 h 505"/>
                    <a:gd name="T30" fmla="*/ 354 w 524"/>
                    <a:gd name="T31" fmla="*/ 130 h 505"/>
                    <a:gd name="T32" fmla="*/ 341 w 524"/>
                    <a:gd name="T33" fmla="*/ 119 h 505"/>
                    <a:gd name="T34" fmla="*/ 315 w 524"/>
                    <a:gd name="T35" fmla="*/ 87 h 505"/>
                    <a:gd name="T36" fmla="*/ 292 w 524"/>
                    <a:gd name="T37" fmla="*/ 51 h 505"/>
                    <a:gd name="T38" fmla="*/ 279 w 524"/>
                    <a:gd name="T39" fmla="*/ 25 h 505"/>
                    <a:gd name="T40" fmla="*/ 260 w 524"/>
                    <a:gd name="T41" fmla="*/ 24 h 505"/>
                    <a:gd name="T42" fmla="*/ 239 w 524"/>
                    <a:gd name="T43" fmla="*/ 19 h 505"/>
                    <a:gd name="T44" fmla="*/ 219 w 524"/>
                    <a:gd name="T45" fmla="*/ 11 h 505"/>
                    <a:gd name="T46" fmla="*/ 197 w 524"/>
                    <a:gd name="T47" fmla="*/ 6 h 505"/>
                    <a:gd name="T48" fmla="*/ 170 w 524"/>
                    <a:gd name="T49" fmla="*/ 3 h 505"/>
                    <a:gd name="T50" fmla="*/ 149 w 524"/>
                    <a:gd name="T51" fmla="*/ 8 h 505"/>
                    <a:gd name="T52" fmla="*/ 114 w 524"/>
                    <a:gd name="T53" fmla="*/ 41 h 505"/>
                    <a:gd name="T54" fmla="*/ 98 w 524"/>
                    <a:gd name="T55" fmla="*/ 57 h 505"/>
                    <a:gd name="T56" fmla="*/ 93 w 524"/>
                    <a:gd name="T57" fmla="*/ 64 h 505"/>
                    <a:gd name="T58" fmla="*/ 94 w 524"/>
                    <a:gd name="T59" fmla="*/ 94 h 505"/>
                    <a:gd name="T60" fmla="*/ 95 w 524"/>
                    <a:gd name="T61" fmla="*/ 140 h 505"/>
                    <a:gd name="T62" fmla="*/ 94 w 524"/>
                    <a:gd name="T63" fmla="*/ 164 h 505"/>
                    <a:gd name="T64" fmla="*/ 86 w 524"/>
                    <a:gd name="T65" fmla="*/ 180 h 505"/>
                    <a:gd name="T66" fmla="*/ 67 w 524"/>
                    <a:gd name="T67" fmla="*/ 197 h 505"/>
                    <a:gd name="T68" fmla="*/ 40 w 524"/>
                    <a:gd name="T69" fmla="*/ 214 h 505"/>
                    <a:gd name="T70" fmla="*/ 13 w 524"/>
                    <a:gd name="T71" fmla="*/ 228 h 505"/>
                    <a:gd name="T72" fmla="*/ 2 w 524"/>
                    <a:gd name="T73" fmla="*/ 246 h 505"/>
                    <a:gd name="T74" fmla="*/ 2 w 524"/>
                    <a:gd name="T75" fmla="*/ 264 h 505"/>
                    <a:gd name="T76" fmla="*/ 0 w 524"/>
                    <a:gd name="T77" fmla="*/ 278 h 505"/>
                    <a:gd name="T78" fmla="*/ 0 w 524"/>
                    <a:gd name="T79" fmla="*/ 289 h 505"/>
                    <a:gd name="T80" fmla="*/ 7 w 524"/>
                    <a:gd name="T81" fmla="*/ 301 h 505"/>
                    <a:gd name="T82" fmla="*/ 26 w 524"/>
                    <a:gd name="T83" fmla="*/ 314 h 505"/>
                    <a:gd name="T84" fmla="*/ 62 w 524"/>
                    <a:gd name="T85" fmla="*/ 331 h 505"/>
                    <a:gd name="T86" fmla="*/ 120 w 524"/>
                    <a:gd name="T87" fmla="*/ 355 h 505"/>
                    <a:gd name="T88" fmla="*/ 180 w 524"/>
                    <a:gd name="T89" fmla="*/ 374 h 505"/>
                    <a:gd name="T90" fmla="*/ 214 w 524"/>
                    <a:gd name="T91" fmla="*/ 385 h 505"/>
                    <a:gd name="T92" fmla="*/ 237 w 524"/>
                    <a:gd name="T93" fmla="*/ 400 h 505"/>
                    <a:gd name="T94" fmla="*/ 252 w 524"/>
                    <a:gd name="T95" fmla="*/ 418 h 505"/>
                    <a:gd name="T96" fmla="*/ 262 w 524"/>
                    <a:gd name="T97" fmla="*/ 435 h 505"/>
                    <a:gd name="T98" fmla="*/ 266 w 524"/>
                    <a:gd name="T99" fmla="*/ 451 h 505"/>
                    <a:gd name="T100" fmla="*/ 270 w 524"/>
                    <a:gd name="T101" fmla="*/ 469 h 505"/>
                    <a:gd name="T102" fmla="*/ 277 w 524"/>
                    <a:gd name="T103" fmla="*/ 481 h 505"/>
                    <a:gd name="T104" fmla="*/ 287 w 524"/>
                    <a:gd name="T105" fmla="*/ 489 h 505"/>
                    <a:gd name="T106" fmla="*/ 307 w 524"/>
                    <a:gd name="T107" fmla="*/ 497 h 505"/>
                    <a:gd name="T108" fmla="*/ 328 w 524"/>
                    <a:gd name="T109" fmla="*/ 503 h 505"/>
                    <a:gd name="T110" fmla="*/ 335 w 524"/>
                    <a:gd name="T111" fmla="*/ 500 h 505"/>
                    <a:gd name="T112" fmla="*/ 346 w 524"/>
                    <a:gd name="T113" fmla="*/ 499 h 505"/>
                    <a:gd name="T114" fmla="*/ 366 w 524"/>
                    <a:gd name="T115" fmla="*/ 503 h 505"/>
                    <a:gd name="T116" fmla="*/ 383 w 524"/>
                    <a:gd name="T117" fmla="*/ 505 h 505"/>
                    <a:gd name="T118" fmla="*/ 437 w 524"/>
                    <a:gd name="T119" fmla="*/ 505 h 505"/>
                    <a:gd name="T120" fmla="*/ 465 w 524"/>
                    <a:gd name="T121" fmla="*/ 449 h 505"/>
                    <a:gd name="T122" fmla="*/ 492 w 524"/>
                    <a:gd name="T123" fmla="*/ 437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200" name="Freeform 260">
                  <a:extLst>
                    <a:ext uri="{FF2B5EF4-FFF2-40B4-BE49-F238E27FC236}">
                      <a16:creationId xmlns="" xmlns:a16="http://schemas.microsoft.com/office/drawing/2014/main" id="{3965B9FC-3B0B-4FFA-8623-A31744497FFD}"/>
                    </a:ext>
                  </a:extLst>
                </p:cNvPr>
                <p:cNvSpPr>
                  <a:spLocks/>
                </p:cNvSpPr>
                <p:nvPr>
                  <p:custDataLst>
                    <p:tags r:id="rId188"/>
                  </p:custDataLst>
                </p:nvPr>
              </p:nvSpPr>
              <p:spPr bwMode="auto">
                <a:xfrm>
                  <a:off x="6995070" y="2114447"/>
                  <a:ext cx="235328" cy="206052"/>
                </a:xfrm>
                <a:custGeom>
                  <a:avLst/>
                  <a:gdLst>
                    <a:gd name="T0" fmla="*/ 62 w 764"/>
                    <a:gd name="T1" fmla="*/ 196 h 555"/>
                    <a:gd name="T2" fmla="*/ 93 w 764"/>
                    <a:gd name="T3" fmla="*/ 190 h 555"/>
                    <a:gd name="T4" fmla="*/ 128 w 764"/>
                    <a:gd name="T5" fmla="*/ 182 h 555"/>
                    <a:gd name="T6" fmla="*/ 175 w 764"/>
                    <a:gd name="T7" fmla="*/ 151 h 555"/>
                    <a:gd name="T8" fmla="*/ 194 w 764"/>
                    <a:gd name="T9" fmla="*/ 126 h 555"/>
                    <a:gd name="T10" fmla="*/ 199 w 764"/>
                    <a:gd name="T11" fmla="*/ 88 h 555"/>
                    <a:gd name="T12" fmla="*/ 208 w 764"/>
                    <a:gd name="T13" fmla="*/ 69 h 555"/>
                    <a:gd name="T14" fmla="*/ 240 w 764"/>
                    <a:gd name="T15" fmla="*/ 60 h 555"/>
                    <a:gd name="T16" fmla="*/ 294 w 764"/>
                    <a:gd name="T17" fmla="*/ 62 h 555"/>
                    <a:gd name="T18" fmla="*/ 329 w 764"/>
                    <a:gd name="T19" fmla="*/ 71 h 555"/>
                    <a:gd name="T20" fmla="*/ 362 w 764"/>
                    <a:gd name="T21" fmla="*/ 90 h 555"/>
                    <a:gd name="T22" fmla="*/ 386 w 764"/>
                    <a:gd name="T23" fmla="*/ 93 h 555"/>
                    <a:gd name="T24" fmla="*/ 419 w 764"/>
                    <a:gd name="T25" fmla="*/ 84 h 555"/>
                    <a:gd name="T26" fmla="*/ 460 w 764"/>
                    <a:gd name="T27" fmla="*/ 61 h 555"/>
                    <a:gd name="T28" fmla="*/ 479 w 764"/>
                    <a:gd name="T29" fmla="*/ 33 h 555"/>
                    <a:gd name="T30" fmla="*/ 508 w 764"/>
                    <a:gd name="T31" fmla="*/ 4 h 555"/>
                    <a:gd name="T32" fmla="*/ 530 w 764"/>
                    <a:gd name="T33" fmla="*/ 19 h 555"/>
                    <a:gd name="T34" fmla="*/ 550 w 764"/>
                    <a:gd name="T35" fmla="*/ 45 h 555"/>
                    <a:gd name="T36" fmla="*/ 561 w 764"/>
                    <a:gd name="T37" fmla="*/ 87 h 555"/>
                    <a:gd name="T38" fmla="*/ 570 w 764"/>
                    <a:gd name="T39" fmla="*/ 101 h 555"/>
                    <a:gd name="T40" fmla="*/ 589 w 764"/>
                    <a:gd name="T41" fmla="*/ 104 h 555"/>
                    <a:gd name="T42" fmla="*/ 622 w 764"/>
                    <a:gd name="T43" fmla="*/ 73 h 555"/>
                    <a:gd name="T44" fmla="*/ 743 w 764"/>
                    <a:gd name="T45" fmla="*/ 66 h 555"/>
                    <a:gd name="T46" fmla="*/ 759 w 764"/>
                    <a:gd name="T47" fmla="*/ 87 h 555"/>
                    <a:gd name="T48" fmla="*/ 679 w 764"/>
                    <a:gd name="T49" fmla="*/ 100 h 555"/>
                    <a:gd name="T50" fmla="*/ 605 w 764"/>
                    <a:gd name="T51" fmla="*/ 112 h 555"/>
                    <a:gd name="T52" fmla="*/ 574 w 764"/>
                    <a:gd name="T53" fmla="*/ 130 h 555"/>
                    <a:gd name="T54" fmla="*/ 571 w 764"/>
                    <a:gd name="T55" fmla="*/ 147 h 555"/>
                    <a:gd name="T56" fmla="*/ 582 w 764"/>
                    <a:gd name="T57" fmla="*/ 164 h 555"/>
                    <a:gd name="T58" fmla="*/ 601 w 764"/>
                    <a:gd name="T59" fmla="*/ 180 h 555"/>
                    <a:gd name="T60" fmla="*/ 604 w 764"/>
                    <a:gd name="T61" fmla="*/ 195 h 555"/>
                    <a:gd name="T62" fmla="*/ 594 w 764"/>
                    <a:gd name="T63" fmla="*/ 213 h 555"/>
                    <a:gd name="T64" fmla="*/ 574 w 764"/>
                    <a:gd name="T65" fmla="*/ 237 h 555"/>
                    <a:gd name="T66" fmla="*/ 565 w 764"/>
                    <a:gd name="T67" fmla="*/ 255 h 555"/>
                    <a:gd name="T68" fmla="*/ 542 w 764"/>
                    <a:gd name="T69" fmla="*/ 269 h 555"/>
                    <a:gd name="T70" fmla="*/ 519 w 764"/>
                    <a:gd name="T71" fmla="*/ 310 h 555"/>
                    <a:gd name="T72" fmla="*/ 508 w 764"/>
                    <a:gd name="T73" fmla="*/ 363 h 555"/>
                    <a:gd name="T74" fmla="*/ 497 w 764"/>
                    <a:gd name="T75" fmla="*/ 425 h 555"/>
                    <a:gd name="T76" fmla="*/ 477 w 764"/>
                    <a:gd name="T77" fmla="*/ 412 h 555"/>
                    <a:gd name="T78" fmla="*/ 460 w 764"/>
                    <a:gd name="T79" fmla="*/ 407 h 555"/>
                    <a:gd name="T80" fmla="*/ 439 w 764"/>
                    <a:gd name="T81" fmla="*/ 418 h 555"/>
                    <a:gd name="T82" fmla="*/ 411 w 764"/>
                    <a:gd name="T83" fmla="*/ 440 h 555"/>
                    <a:gd name="T84" fmla="*/ 393 w 764"/>
                    <a:gd name="T85" fmla="*/ 444 h 555"/>
                    <a:gd name="T86" fmla="*/ 375 w 764"/>
                    <a:gd name="T87" fmla="*/ 463 h 555"/>
                    <a:gd name="T88" fmla="*/ 365 w 764"/>
                    <a:gd name="T89" fmla="*/ 511 h 555"/>
                    <a:gd name="T90" fmla="*/ 350 w 764"/>
                    <a:gd name="T91" fmla="*/ 525 h 555"/>
                    <a:gd name="T92" fmla="*/ 270 w 764"/>
                    <a:gd name="T93" fmla="*/ 546 h 555"/>
                    <a:gd name="T94" fmla="*/ 194 w 764"/>
                    <a:gd name="T95" fmla="*/ 554 h 555"/>
                    <a:gd name="T96" fmla="*/ 113 w 764"/>
                    <a:gd name="T97" fmla="*/ 542 h 555"/>
                    <a:gd name="T98" fmla="*/ 95 w 764"/>
                    <a:gd name="T99" fmla="*/ 518 h 555"/>
                    <a:gd name="T100" fmla="*/ 115 w 764"/>
                    <a:gd name="T101" fmla="*/ 488 h 555"/>
                    <a:gd name="T102" fmla="*/ 125 w 764"/>
                    <a:gd name="T103" fmla="*/ 462 h 555"/>
                    <a:gd name="T104" fmla="*/ 123 w 764"/>
                    <a:gd name="T105" fmla="*/ 442 h 555"/>
                    <a:gd name="T106" fmla="*/ 111 w 764"/>
                    <a:gd name="T107" fmla="*/ 433 h 555"/>
                    <a:gd name="T108" fmla="*/ 69 w 764"/>
                    <a:gd name="T109" fmla="*/ 431 h 555"/>
                    <a:gd name="T110" fmla="*/ 52 w 764"/>
                    <a:gd name="T111" fmla="*/ 421 h 555"/>
                    <a:gd name="T112" fmla="*/ 34 w 764"/>
                    <a:gd name="T113" fmla="*/ 384 h 555"/>
                    <a:gd name="T114" fmla="*/ 19 w 764"/>
                    <a:gd name="T115" fmla="*/ 309 h 555"/>
                    <a:gd name="T116" fmla="*/ 10 w 764"/>
                    <a:gd name="T117" fmla="*/ 291 h 555"/>
                    <a:gd name="T118" fmla="*/ 0 w 764"/>
                    <a:gd name="T119" fmla="*/ 280 h 555"/>
                    <a:gd name="T120" fmla="*/ 2 w 764"/>
                    <a:gd name="T121" fmla="*/ 268 h 555"/>
                    <a:gd name="T122" fmla="*/ 22 w 764"/>
                    <a:gd name="T123" fmla="*/ 248 h 555"/>
                    <a:gd name="T124" fmla="*/ 34 w 764"/>
                    <a:gd name="T125" fmla="*/ 221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201" name="Freeform 261">
                  <a:extLst>
                    <a:ext uri="{FF2B5EF4-FFF2-40B4-BE49-F238E27FC236}">
                      <a16:creationId xmlns="" xmlns:a16="http://schemas.microsoft.com/office/drawing/2014/main" id="{3E6DE676-8966-4669-92FC-FF3CCCC11649}"/>
                    </a:ext>
                  </a:extLst>
                </p:cNvPr>
                <p:cNvSpPr>
                  <a:spLocks/>
                </p:cNvSpPr>
                <p:nvPr>
                  <p:custDataLst>
                    <p:tags r:id="rId189"/>
                  </p:custDataLst>
                </p:nvPr>
              </p:nvSpPr>
              <p:spPr bwMode="auto">
                <a:xfrm>
                  <a:off x="7017589" y="2149352"/>
                  <a:ext cx="258973" cy="300634"/>
                </a:xfrm>
                <a:custGeom>
                  <a:avLst/>
                  <a:gdLst>
                    <a:gd name="T0" fmla="*/ 779 w 831"/>
                    <a:gd name="T1" fmla="*/ 82 h 812"/>
                    <a:gd name="T2" fmla="*/ 707 w 831"/>
                    <a:gd name="T3" fmla="*/ 29 h 812"/>
                    <a:gd name="T4" fmla="*/ 562 w 831"/>
                    <a:gd name="T5" fmla="*/ 10 h 812"/>
                    <a:gd name="T6" fmla="*/ 499 w 831"/>
                    <a:gd name="T7" fmla="*/ 29 h 812"/>
                    <a:gd name="T8" fmla="*/ 486 w 831"/>
                    <a:gd name="T9" fmla="*/ 49 h 812"/>
                    <a:gd name="T10" fmla="*/ 497 w 831"/>
                    <a:gd name="T11" fmla="*/ 71 h 812"/>
                    <a:gd name="T12" fmla="*/ 517 w 831"/>
                    <a:gd name="T13" fmla="*/ 90 h 812"/>
                    <a:gd name="T14" fmla="*/ 516 w 831"/>
                    <a:gd name="T15" fmla="*/ 111 h 812"/>
                    <a:gd name="T16" fmla="*/ 491 w 831"/>
                    <a:gd name="T17" fmla="*/ 140 h 812"/>
                    <a:gd name="T18" fmla="*/ 480 w 831"/>
                    <a:gd name="T19" fmla="*/ 162 h 812"/>
                    <a:gd name="T20" fmla="*/ 450 w 831"/>
                    <a:gd name="T21" fmla="*/ 184 h 812"/>
                    <a:gd name="T22" fmla="*/ 427 w 831"/>
                    <a:gd name="T23" fmla="*/ 243 h 812"/>
                    <a:gd name="T24" fmla="*/ 420 w 831"/>
                    <a:gd name="T25" fmla="*/ 332 h 812"/>
                    <a:gd name="T26" fmla="*/ 392 w 831"/>
                    <a:gd name="T27" fmla="*/ 319 h 812"/>
                    <a:gd name="T28" fmla="*/ 370 w 831"/>
                    <a:gd name="T29" fmla="*/ 315 h 812"/>
                    <a:gd name="T30" fmla="*/ 338 w 831"/>
                    <a:gd name="T31" fmla="*/ 339 h 812"/>
                    <a:gd name="T32" fmla="*/ 313 w 831"/>
                    <a:gd name="T33" fmla="*/ 351 h 812"/>
                    <a:gd name="T34" fmla="*/ 290 w 831"/>
                    <a:gd name="T35" fmla="*/ 370 h 812"/>
                    <a:gd name="T36" fmla="*/ 280 w 831"/>
                    <a:gd name="T37" fmla="*/ 424 h 812"/>
                    <a:gd name="T38" fmla="*/ 235 w 831"/>
                    <a:gd name="T39" fmla="*/ 442 h 812"/>
                    <a:gd name="T40" fmla="*/ 127 w 831"/>
                    <a:gd name="T41" fmla="*/ 462 h 812"/>
                    <a:gd name="T42" fmla="*/ 26 w 831"/>
                    <a:gd name="T43" fmla="*/ 449 h 812"/>
                    <a:gd name="T44" fmla="*/ 51 w 831"/>
                    <a:gd name="T45" fmla="*/ 505 h 812"/>
                    <a:gd name="T46" fmla="*/ 96 w 831"/>
                    <a:gd name="T47" fmla="*/ 540 h 812"/>
                    <a:gd name="T48" fmla="*/ 123 w 831"/>
                    <a:gd name="T49" fmla="*/ 577 h 812"/>
                    <a:gd name="T50" fmla="*/ 142 w 831"/>
                    <a:gd name="T51" fmla="*/ 596 h 812"/>
                    <a:gd name="T52" fmla="*/ 99 w 831"/>
                    <a:gd name="T53" fmla="*/ 647 h 812"/>
                    <a:gd name="T54" fmla="*/ 87 w 831"/>
                    <a:gd name="T55" fmla="*/ 671 h 812"/>
                    <a:gd name="T56" fmla="*/ 109 w 831"/>
                    <a:gd name="T57" fmla="*/ 720 h 812"/>
                    <a:gd name="T58" fmla="*/ 222 w 831"/>
                    <a:gd name="T59" fmla="*/ 710 h 812"/>
                    <a:gd name="T60" fmla="*/ 302 w 831"/>
                    <a:gd name="T61" fmla="*/ 705 h 812"/>
                    <a:gd name="T62" fmla="*/ 330 w 831"/>
                    <a:gd name="T63" fmla="*/ 721 h 812"/>
                    <a:gd name="T64" fmla="*/ 359 w 831"/>
                    <a:gd name="T65" fmla="*/ 756 h 812"/>
                    <a:gd name="T66" fmla="*/ 408 w 831"/>
                    <a:gd name="T67" fmla="*/ 785 h 812"/>
                    <a:gd name="T68" fmla="*/ 449 w 831"/>
                    <a:gd name="T69" fmla="*/ 803 h 812"/>
                    <a:gd name="T70" fmla="*/ 460 w 831"/>
                    <a:gd name="T71" fmla="*/ 791 h 812"/>
                    <a:gd name="T72" fmla="*/ 487 w 831"/>
                    <a:gd name="T73" fmla="*/ 774 h 812"/>
                    <a:gd name="T74" fmla="*/ 554 w 831"/>
                    <a:gd name="T75" fmla="*/ 764 h 812"/>
                    <a:gd name="T76" fmla="*/ 597 w 831"/>
                    <a:gd name="T77" fmla="*/ 750 h 812"/>
                    <a:gd name="T78" fmla="*/ 618 w 831"/>
                    <a:gd name="T79" fmla="*/ 727 h 812"/>
                    <a:gd name="T80" fmla="*/ 584 w 831"/>
                    <a:gd name="T81" fmla="*/ 700 h 812"/>
                    <a:gd name="T82" fmla="*/ 542 w 831"/>
                    <a:gd name="T83" fmla="*/ 641 h 812"/>
                    <a:gd name="T84" fmla="*/ 526 w 831"/>
                    <a:gd name="T85" fmla="*/ 624 h 812"/>
                    <a:gd name="T86" fmla="*/ 526 w 831"/>
                    <a:gd name="T87" fmla="*/ 578 h 812"/>
                    <a:gd name="T88" fmla="*/ 582 w 831"/>
                    <a:gd name="T89" fmla="*/ 563 h 812"/>
                    <a:gd name="T90" fmla="*/ 622 w 831"/>
                    <a:gd name="T91" fmla="*/ 531 h 812"/>
                    <a:gd name="T92" fmla="*/ 688 w 831"/>
                    <a:gd name="T93" fmla="*/ 417 h 812"/>
                    <a:gd name="T94" fmla="*/ 730 w 831"/>
                    <a:gd name="T95" fmla="*/ 368 h 812"/>
                    <a:gd name="T96" fmla="*/ 725 w 831"/>
                    <a:gd name="T97" fmla="*/ 330 h 812"/>
                    <a:gd name="T98" fmla="*/ 729 w 831"/>
                    <a:gd name="T99" fmla="*/ 305 h 812"/>
                    <a:gd name="T100" fmla="*/ 751 w 831"/>
                    <a:gd name="T101" fmla="*/ 289 h 812"/>
                    <a:gd name="T102" fmla="*/ 670 w 831"/>
                    <a:gd name="T103" fmla="*/ 207 h 812"/>
                    <a:gd name="T104" fmla="*/ 758 w 831"/>
                    <a:gd name="T105" fmla="*/ 140 h 812"/>
                    <a:gd name="T106" fmla="*/ 805 w 831"/>
                    <a:gd name="T107" fmla="*/ 123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202" name="Freeform 262">
                  <a:extLst>
                    <a:ext uri="{FF2B5EF4-FFF2-40B4-BE49-F238E27FC236}">
                      <a16:creationId xmlns="" xmlns:a16="http://schemas.microsoft.com/office/drawing/2014/main" id="{AEE9E761-71B4-47DB-9D3E-D8AAAD13928C}"/>
                    </a:ext>
                  </a:extLst>
                </p:cNvPr>
                <p:cNvSpPr>
                  <a:spLocks/>
                </p:cNvSpPr>
                <p:nvPr>
                  <p:custDataLst>
                    <p:tags r:id="rId190"/>
                  </p:custDataLst>
                </p:nvPr>
              </p:nvSpPr>
              <p:spPr bwMode="auto">
                <a:xfrm>
                  <a:off x="7578321" y="2339641"/>
                  <a:ext cx="156510" cy="415482"/>
                </a:xfrm>
                <a:custGeom>
                  <a:avLst/>
                  <a:gdLst>
                    <a:gd name="T0" fmla="*/ 438 w 505"/>
                    <a:gd name="T1" fmla="*/ 1067 h 1121"/>
                    <a:gd name="T2" fmla="*/ 443 w 505"/>
                    <a:gd name="T3" fmla="*/ 1028 h 1121"/>
                    <a:gd name="T4" fmla="*/ 399 w 505"/>
                    <a:gd name="T5" fmla="*/ 1022 h 1121"/>
                    <a:gd name="T6" fmla="*/ 405 w 505"/>
                    <a:gd name="T7" fmla="*/ 957 h 1121"/>
                    <a:gd name="T8" fmla="*/ 419 w 505"/>
                    <a:gd name="T9" fmla="*/ 931 h 1121"/>
                    <a:gd name="T10" fmla="*/ 413 w 505"/>
                    <a:gd name="T11" fmla="*/ 899 h 1121"/>
                    <a:gd name="T12" fmla="*/ 398 w 505"/>
                    <a:gd name="T13" fmla="*/ 893 h 1121"/>
                    <a:gd name="T14" fmla="*/ 382 w 505"/>
                    <a:gd name="T15" fmla="*/ 838 h 1121"/>
                    <a:gd name="T16" fmla="*/ 324 w 505"/>
                    <a:gd name="T17" fmla="*/ 719 h 1121"/>
                    <a:gd name="T18" fmla="*/ 296 w 505"/>
                    <a:gd name="T19" fmla="*/ 703 h 1121"/>
                    <a:gd name="T20" fmla="*/ 282 w 505"/>
                    <a:gd name="T21" fmla="*/ 718 h 1121"/>
                    <a:gd name="T22" fmla="*/ 226 w 505"/>
                    <a:gd name="T23" fmla="*/ 742 h 1121"/>
                    <a:gd name="T24" fmla="*/ 169 w 505"/>
                    <a:gd name="T25" fmla="*/ 736 h 1121"/>
                    <a:gd name="T26" fmla="*/ 133 w 505"/>
                    <a:gd name="T27" fmla="*/ 567 h 1121"/>
                    <a:gd name="T28" fmla="*/ 101 w 505"/>
                    <a:gd name="T29" fmla="*/ 520 h 1121"/>
                    <a:gd name="T30" fmla="*/ 51 w 505"/>
                    <a:gd name="T31" fmla="*/ 502 h 1121"/>
                    <a:gd name="T32" fmla="*/ 8 w 505"/>
                    <a:gd name="T33" fmla="*/ 471 h 1121"/>
                    <a:gd name="T34" fmla="*/ 23 w 505"/>
                    <a:gd name="T35" fmla="*/ 445 h 1121"/>
                    <a:gd name="T36" fmla="*/ 58 w 505"/>
                    <a:gd name="T37" fmla="*/ 361 h 1121"/>
                    <a:gd name="T38" fmla="*/ 67 w 505"/>
                    <a:gd name="T39" fmla="*/ 277 h 1121"/>
                    <a:gd name="T40" fmla="*/ 80 w 505"/>
                    <a:gd name="T41" fmla="*/ 265 h 1121"/>
                    <a:gd name="T42" fmla="*/ 113 w 505"/>
                    <a:gd name="T43" fmla="*/ 258 h 1121"/>
                    <a:gd name="T44" fmla="*/ 134 w 505"/>
                    <a:gd name="T45" fmla="*/ 222 h 1121"/>
                    <a:gd name="T46" fmla="*/ 140 w 505"/>
                    <a:gd name="T47" fmla="*/ 117 h 1121"/>
                    <a:gd name="T48" fmla="*/ 159 w 505"/>
                    <a:gd name="T49" fmla="*/ 98 h 1121"/>
                    <a:gd name="T50" fmla="*/ 213 w 505"/>
                    <a:gd name="T51" fmla="*/ 74 h 1121"/>
                    <a:gd name="T52" fmla="*/ 234 w 505"/>
                    <a:gd name="T53" fmla="*/ 21 h 1121"/>
                    <a:gd name="T54" fmla="*/ 277 w 505"/>
                    <a:gd name="T55" fmla="*/ 31 h 1121"/>
                    <a:gd name="T56" fmla="*/ 312 w 505"/>
                    <a:gd name="T57" fmla="*/ 49 h 1121"/>
                    <a:gd name="T58" fmla="*/ 337 w 505"/>
                    <a:gd name="T59" fmla="*/ 122 h 1121"/>
                    <a:gd name="T60" fmla="*/ 335 w 505"/>
                    <a:gd name="T61" fmla="*/ 167 h 1121"/>
                    <a:gd name="T62" fmla="*/ 300 w 505"/>
                    <a:gd name="T63" fmla="*/ 216 h 1121"/>
                    <a:gd name="T64" fmla="*/ 293 w 505"/>
                    <a:gd name="T65" fmla="*/ 245 h 1121"/>
                    <a:gd name="T66" fmla="*/ 309 w 505"/>
                    <a:gd name="T67" fmla="*/ 261 h 1121"/>
                    <a:gd name="T68" fmla="*/ 346 w 505"/>
                    <a:gd name="T69" fmla="*/ 270 h 1121"/>
                    <a:gd name="T70" fmla="*/ 371 w 505"/>
                    <a:gd name="T71" fmla="*/ 291 h 1121"/>
                    <a:gd name="T72" fmla="*/ 398 w 505"/>
                    <a:gd name="T73" fmla="*/ 345 h 1121"/>
                    <a:gd name="T74" fmla="*/ 430 w 505"/>
                    <a:gd name="T75" fmla="*/ 400 h 1121"/>
                    <a:gd name="T76" fmla="*/ 464 w 505"/>
                    <a:gd name="T77" fmla="*/ 418 h 1121"/>
                    <a:gd name="T78" fmla="*/ 505 w 505"/>
                    <a:gd name="T79" fmla="*/ 418 h 1121"/>
                    <a:gd name="T80" fmla="*/ 476 w 505"/>
                    <a:gd name="T81" fmla="*/ 494 h 1121"/>
                    <a:gd name="T82" fmla="*/ 427 w 505"/>
                    <a:gd name="T83" fmla="*/ 510 h 1121"/>
                    <a:gd name="T84" fmla="*/ 383 w 505"/>
                    <a:gd name="T85" fmla="*/ 528 h 1121"/>
                    <a:gd name="T86" fmla="*/ 360 w 505"/>
                    <a:gd name="T87" fmla="*/ 572 h 1121"/>
                    <a:gd name="T88" fmla="*/ 370 w 505"/>
                    <a:gd name="T89" fmla="*/ 637 h 1121"/>
                    <a:gd name="T90" fmla="*/ 402 w 505"/>
                    <a:gd name="T91" fmla="*/ 683 h 1121"/>
                    <a:gd name="T92" fmla="*/ 430 w 505"/>
                    <a:gd name="T93" fmla="*/ 735 h 1121"/>
                    <a:gd name="T94" fmla="*/ 428 w 505"/>
                    <a:gd name="T95" fmla="*/ 776 h 1121"/>
                    <a:gd name="T96" fmla="*/ 419 w 505"/>
                    <a:gd name="T97" fmla="*/ 801 h 1121"/>
                    <a:gd name="T98" fmla="*/ 435 w 505"/>
                    <a:gd name="T99" fmla="*/ 851 h 1121"/>
                    <a:gd name="T100" fmla="*/ 483 w 505"/>
                    <a:gd name="T101" fmla="*/ 965 h 1121"/>
                    <a:gd name="T102" fmla="*/ 458 w 505"/>
                    <a:gd name="T103" fmla="*/ 1082 h 1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CDCDCD"/>
                </a:solidFill>
                <a:ln w="3175" cap="flat" cmpd="sng">
                  <a:solidFill>
                    <a:srgbClr val="FFFFFF"/>
                  </a:solidFill>
                  <a:prstDash val="solid"/>
                  <a:round/>
                  <a:headEnd type="none" w="med" len="med"/>
                  <a:tailEnd type="none" w="med" len="med"/>
                </a:ln>
                <a:effectLst/>
              </p:spPr>
              <p:txBody>
                <a:bodyPr/>
                <a:lstStyle/>
                <a:p>
                  <a:pPr defTabSz="913137">
                    <a:defRPr/>
                  </a:pPr>
                  <a:endParaRPr lang="en-US" kern="0">
                    <a:solidFill>
                      <a:sysClr val="windowText" lastClr="000000"/>
                    </a:solidFill>
                    <a:cs typeface="Calibri" panose="020F0502020204030204" pitchFamily="34" charset="0"/>
                  </a:endParaRPr>
                </a:p>
              </p:txBody>
            </p:sp>
            <p:sp>
              <p:nvSpPr>
                <p:cNvPr id="203" name="Freeform 263">
                  <a:extLst>
                    <a:ext uri="{FF2B5EF4-FFF2-40B4-BE49-F238E27FC236}">
                      <a16:creationId xmlns="" xmlns:a16="http://schemas.microsoft.com/office/drawing/2014/main" id="{19D77B95-B50D-4AAF-AB4E-E6D94C3FAE0F}"/>
                    </a:ext>
                  </a:extLst>
                </p:cNvPr>
                <p:cNvSpPr>
                  <a:spLocks/>
                </p:cNvSpPr>
                <p:nvPr>
                  <p:custDataLst>
                    <p:tags r:id="rId191"/>
                  </p:custDataLst>
                </p:nvPr>
              </p:nvSpPr>
              <p:spPr bwMode="auto">
                <a:xfrm>
                  <a:off x="5679941" y="2701076"/>
                  <a:ext cx="57424" cy="41661"/>
                </a:xfrm>
                <a:custGeom>
                  <a:avLst/>
                  <a:gdLst>
                    <a:gd name="T0" fmla="*/ 180 w 180"/>
                    <a:gd name="T1" fmla="*/ 7 h 112"/>
                    <a:gd name="T2" fmla="*/ 171 w 180"/>
                    <a:gd name="T3" fmla="*/ 24 h 112"/>
                    <a:gd name="T4" fmla="*/ 163 w 180"/>
                    <a:gd name="T5" fmla="*/ 39 h 112"/>
                    <a:gd name="T6" fmla="*/ 152 w 180"/>
                    <a:gd name="T7" fmla="*/ 53 h 112"/>
                    <a:gd name="T8" fmla="*/ 141 w 180"/>
                    <a:gd name="T9" fmla="*/ 66 h 112"/>
                    <a:gd name="T10" fmla="*/ 129 w 180"/>
                    <a:gd name="T11" fmla="*/ 80 h 112"/>
                    <a:gd name="T12" fmla="*/ 115 w 180"/>
                    <a:gd name="T13" fmla="*/ 92 h 112"/>
                    <a:gd name="T14" fmla="*/ 101 w 180"/>
                    <a:gd name="T15" fmla="*/ 102 h 112"/>
                    <a:gd name="T16" fmla="*/ 87 w 180"/>
                    <a:gd name="T17" fmla="*/ 112 h 112"/>
                    <a:gd name="T18" fmla="*/ 82 w 180"/>
                    <a:gd name="T19" fmla="*/ 107 h 112"/>
                    <a:gd name="T20" fmla="*/ 79 w 180"/>
                    <a:gd name="T21" fmla="*/ 101 h 112"/>
                    <a:gd name="T22" fmla="*/ 76 w 180"/>
                    <a:gd name="T23" fmla="*/ 95 h 112"/>
                    <a:gd name="T24" fmla="*/ 74 w 180"/>
                    <a:gd name="T25" fmla="*/ 88 h 112"/>
                    <a:gd name="T26" fmla="*/ 70 w 180"/>
                    <a:gd name="T27" fmla="*/ 81 h 112"/>
                    <a:gd name="T28" fmla="*/ 68 w 180"/>
                    <a:gd name="T29" fmla="*/ 74 h 112"/>
                    <a:gd name="T30" fmla="*/ 65 w 180"/>
                    <a:gd name="T31" fmla="*/ 69 h 112"/>
                    <a:gd name="T32" fmla="*/ 60 w 180"/>
                    <a:gd name="T33" fmla="*/ 63 h 112"/>
                    <a:gd name="T34" fmla="*/ 45 w 180"/>
                    <a:gd name="T35" fmla="*/ 48 h 112"/>
                    <a:gd name="T36" fmla="*/ 36 w 180"/>
                    <a:gd name="T37" fmla="*/ 38 h 112"/>
                    <a:gd name="T38" fmla="*/ 30 w 180"/>
                    <a:gd name="T39" fmla="*/ 33 h 112"/>
                    <a:gd name="T40" fmla="*/ 25 w 180"/>
                    <a:gd name="T41" fmla="*/ 31 h 112"/>
                    <a:gd name="T42" fmla="*/ 18 w 180"/>
                    <a:gd name="T43" fmla="*/ 30 h 112"/>
                    <a:gd name="T44" fmla="*/ 0 w 180"/>
                    <a:gd name="T45" fmla="*/ 26 h 112"/>
                    <a:gd name="T46" fmla="*/ 26 w 180"/>
                    <a:gd name="T47" fmla="*/ 14 h 112"/>
                    <a:gd name="T48" fmla="*/ 41 w 180"/>
                    <a:gd name="T49" fmla="*/ 9 h 112"/>
                    <a:gd name="T50" fmla="*/ 56 w 180"/>
                    <a:gd name="T51" fmla="*/ 5 h 112"/>
                    <a:gd name="T52" fmla="*/ 74 w 180"/>
                    <a:gd name="T53" fmla="*/ 3 h 112"/>
                    <a:gd name="T54" fmla="*/ 93 w 180"/>
                    <a:gd name="T55" fmla="*/ 1 h 112"/>
                    <a:gd name="T56" fmla="*/ 114 w 180"/>
                    <a:gd name="T57" fmla="*/ 0 h 112"/>
                    <a:gd name="T58" fmla="*/ 135 w 180"/>
                    <a:gd name="T59" fmla="*/ 1 h 112"/>
                    <a:gd name="T60" fmla="*/ 157 w 180"/>
                    <a:gd name="T61" fmla="*/ 3 h 112"/>
                    <a:gd name="T62" fmla="*/ 180 w 180"/>
                    <a:gd name="T63" fmla="*/ 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204" name="Freeform 264">
                  <a:extLst>
                    <a:ext uri="{FF2B5EF4-FFF2-40B4-BE49-F238E27FC236}">
                      <a16:creationId xmlns="" xmlns:a16="http://schemas.microsoft.com/office/drawing/2014/main" id="{3AB95ED3-524A-4E2A-8206-28787385C705}"/>
                    </a:ext>
                  </a:extLst>
                </p:cNvPr>
                <p:cNvSpPr>
                  <a:spLocks/>
                </p:cNvSpPr>
                <p:nvPr>
                  <p:custDataLst>
                    <p:tags r:id="rId192"/>
                  </p:custDataLst>
                </p:nvPr>
              </p:nvSpPr>
              <p:spPr bwMode="auto">
                <a:xfrm>
                  <a:off x="5739617" y="2759627"/>
                  <a:ext cx="52920" cy="70936"/>
                </a:xfrm>
                <a:custGeom>
                  <a:avLst/>
                  <a:gdLst>
                    <a:gd name="T0" fmla="*/ 0 w 173"/>
                    <a:gd name="T1" fmla="*/ 68 h 192"/>
                    <a:gd name="T2" fmla="*/ 27 w 173"/>
                    <a:gd name="T3" fmla="*/ 42 h 192"/>
                    <a:gd name="T4" fmla="*/ 51 w 173"/>
                    <a:gd name="T5" fmla="*/ 21 h 192"/>
                    <a:gd name="T6" fmla="*/ 56 w 173"/>
                    <a:gd name="T7" fmla="*/ 16 h 192"/>
                    <a:gd name="T8" fmla="*/ 63 w 173"/>
                    <a:gd name="T9" fmla="*/ 12 h 192"/>
                    <a:gd name="T10" fmla="*/ 70 w 173"/>
                    <a:gd name="T11" fmla="*/ 8 h 192"/>
                    <a:gd name="T12" fmla="*/ 76 w 173"/>
                    <a:gd name="T13" fmla="*/ 6 h 192"/>
                    <a:gd name="T14" fmla="*/ 83 w 173"/>
                    <a:gd name="T15" fmla="*/ 3 h 192"/>
                    <a:gd name="T16" fmla="*/ 90 w 173"/>
                    <a:gd name="T17" fmla="*/ 2 h 192"/>
                    <a:gd name="T18" fmla="*/ 98 w 173"/>
                    <a:gd name="T19" fmla="*/ 1 h 192"/>
                    <a:gd name="T20" fmla="*/ 107 w 173"/>
                    <a:gd name="T21" fmla="*/ 0 h 192"/>
                    <a:gd name="T22" fmla="*/ 116 w 173"/>
                    <a:gd name="T23" fmla="*/ 1 h 192"/>
                    <a:gd name="T24" fmla="*/ 124 w 173"/>
                    <a:gd name="T25" fmla="*/ 2 h 192"/>
                    <a:gd name="T26" fmla="*/ 132 w 173"/>
                    <a:gd name="T27" fmla="*/ 5 h 192"/>
                    <a:gd name="T28" fmla="*/ 139 w 173"/>
                    <a:gd name="T29" fmla="*/ 8 h 192"/>
                    <a:gd name="T30" fmla="*/ 145 w 173"/>
                    <a:gd name="T31" fmla="*/ 13 h 192"/>
                    <a:gd name="T32" fmla="*/ 151 w 173"/>
                    <a:gd name="T33" fmla="*/ 19 h 192"/>
                    <a:gd name="T34" fmla="*/ 155 w 173"/>
                    <a:gd name="T35" fmla="*/ 24 h 192"/>
                    <a:gd name="T36" fmla="*/ 160 w 173"/>
                    <a:gd name="T37" fmla="*/ 30 h 192"/>
                    <a:gd name="T38" fmla="*/ 163 w 173"/>
                    <a:gd name="T39" fmla="*/ 37 h 192"/>
                    <a:gd name="T40" fmla="*/ 166 w 173"/>
                    <a:gd name="T41" fmla="*/ 43 h 192"/>
                    <a:gd name="T42" fmla="*/ 168 w 173"/>
                    <a:gd name="T43" fmla="*/ 50 h 192"/>
                    <a:gd name="T44" fmla="*/ 169 w 173"/>
                    <a:gd name="T45" fmla="*/ 57 h 192"/>
                    <a:gd name="T46" fmla="*/ 172 w 173"/>
                    <a:gd name="T47" fmla="*/ 72 h 192"/>
                    <a:gd name="T48" fmla="*/ 173 w 173"/>
                    <a:gd name="T49" fmla="*/ 87 h 192"/>
                    <a:gd name="T50" fmla="*/ 157 w 173"/>
                    <a:gd name="T51" fmla="*/ 114 h 192"/>
                    <a:gd name="T52" fmla="*/ 146 w 173"/>
                    <a:gd name="T53" fmla="*/ 137 h 192"/>
                    <a:gd name="T54" fmla="*/ 139 w 173"/>
                    <a:gd name="T55" fmla="*/ 148 h 192"/>
                    <a:gd name="T56" fmla="*/ 130 w 173"/>
                    <a:gd name="T57" fmla="*/ 160 h 192"/>
                    <a:gd name="T58" fmla="*/ 117 w 173"/>
                    <a:gd name="T59" fmla="*/ 174 h 192"/>
                    <a:gd name="T60" fmla="*/ 99 w 173"/>
                    <a:gd name="T61" fmla="*/ 192 h 192"/>
                    <a:gd name="T62" fmla="*/ 86 w 173"/>
                    <a:gd name="T63" fmla="*/ 183 h 192"/>
                    <a:gd name="T64" fmla="*/ 74 w 173"/>
                    <a:gd name="T65" fmla="*/ 176 h 192"/>
                    <a:gd name="T66" fmla="*/ 63 w 173"/>
                    <a:gd name="T67" fmla="*/ 169 h 192"/>
                    <a:gd name="T68" fmla="*/ 54 w 173"/>
                    <a:gd name="T69" fmla="*/ 163 h 192"/>
                    <a:gd name="T70" fmla="*/ 46 w 173"/>
                    <a:gd name="T71" fmla="*/ 156 h 192"/>
                    <a:gd name="T72" fmla="*/ 40 w 173"/>
                    <a:gd name="T73" fmla="*/ 150 h 192"/>
                    <a:gd name="T74" fmla="*/ 34 w 173"/>
                    <a:gd name="T75" fmla="*/ 144 h 192"/>
                    <a:gd name="T76" fmla="*/ 30 w 173"/>
                    <a:gd name="T77" fmla="*/ 137 h 192"/>
                    <a:gd name="T78" fmla="*/ 22 w 173"/>
                    <a:gd name="T79" fmla="*/ 123 h 192"/>
                    <a:gd name="T80" fmla="*/ 16 w 173"/>
                    <a:gd name="T81" fmla="*/ 107 h 192"/>
                    <a:gd name="T82" fmla="*/ 9 w 173"/>
                    <a:gd name="T83" fmla="*/ 90 h 192"/>
                    <a:gd name="T84" fmla="*/ 0 w 173"/>
                    <a:gd name="T85" fmla="*/ 68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205" name="Freeform 265">
                  <a:extLst>
                    <a:ext uri="{FF2B5EF4-FFF2-40B4-BE49-F238E27FC236}">
                      <a16:creationId xmlns="" xmlns:a16="http://schemas.microsoft.com/office/drawing/2014/main" id="{6B0FC72D-36D3-4898-B800-D126D9DE1E86}"/>
                    </a:ext>
                  </a:extLst>
                </p:cNvPr>
                <p:cNvSpPr>
                  <a:spLocks/>
                </p:cNvSpPr>
                <p:nvPr>
                  <p:custDataLst>
                    <p:tags r:id="rId193"/>
                  </p:custDataLst>
                </p:nvPr>
              </p:nvSpPr>
              <p:spPr bwMode="auto">
                <a:xfrm>
                  <a:off x="5770018" y="2795657"/>
                  <a:ext cx="74314" cy="93456"/>
                </a:xfrm>
                <a:custGeom>
                  <a:avLst/>
                  <a:gdLst>
                    <a:gd name="T0" fmla="*/ 74 w 233"/>
                    <a:gd name="T1" fmla="*/ 0 h 252"/>
                    <a:gd name="T2" fmla="*/ 83 w 233"/>
                    <a:gd name="T3" fmla="*/ 2 h 252"/>
                    <a:gd name="T4" fmla="*/ 89 w 233"/>
                    <a:gd name="T5" fmla="*/ 3 h 252"/>
                    <a:gd name="T6" fmla="*/ 95 w 233"/>
                    <a:gd name="T7" fmla="*/ 3 h 252"/>
                    <a:gd name="T8" fmla="*/ 99 w 233"/>
                    <a:gd name="T9" fmla="*/ 2 h 252"/>
                    <a:gd name="T10" fmla="*/ 106 w 233"/>
                    <a:gd name="T11" fmla="*/ 1 h 252"/>
                    <a:gd name="T12" fmla="*/ 113 w 233"/>
                    <a:gd name="T13" fmla="*/ 0 h 252"/>
                    <a:gd name="T14" fmla="*/ 125 w 233"/>
                    <a:gd name="T15" fmla="*/ 17 h 252"/>
                    <a:gd name="T16" fmla="*/ 140 w 233"/>
                    <a:gd name="T17" fmla="*/ 37 h 252"/>
                    <a:gd name="T18" fmla="*/ 144 w 233"/>
                    <a:gd name="T19" fmla="*/ 42 h 252"/>
                    <a:gd name="T20" fmla="*/ 148 w 233"/>
                    <a:gd name="T21" fmla="*/ 46 h 252"/>
                    <a:gd name="T22" fmla="*/ 153 w 233"/>
                    <a:gd name="T23" fmla="*/ 49 h 252"/>
                    <a:gd name="T24" fmla="*/ 157 w 233"/>
                    <a:gd name="T25" fmla="*/ 52 h 252"/>
                    <a:gd name="T26" fmla="*/ 163 w 233"/>
                    <a:gd name="T27" fmla="*/ 54 h 252"/>
                    <a:gd name="T28" fmla="*/ 168 w 233"/>
                    <a:gd name="T29" fmla="*/ 56 h 252"/>
                    <a:gd name="T30" fmla="*/ 174 w 233"/>
                    <a:gd name="T31" fmla="*/ 56 h 252"/>
                    <a:gd name="T32" fmla="*/ 180 w 233"/>
                    <a:gd name="T33" fmla="*/ 56 h 252"/>
                    <a:gd name="T34" fmla="*/ 180 w 233"/>
                    <a:gd name="T35" fmla="*/ 80 h 252"/>
                    <a:gd name="T36" fmla="*/ 193 w 233"/>
                    <a:gd name="T37" fmla="*/ 103 h 252"/>
                    <a:gd name="T38" fmla="*/ 212 w 233"/>
                    <a:gd name="T39" fmla="*/ 128 h 252"/>
                    <a:gd name="T40" fmla="*/ 215 w 233"/>
                    <a:gd name="T41" fmla="*/ 135 h 252"/>
                    <a:gd name="T42" fmla="*/ 220 w 233"/>
                    <a:gd name="T43" fmla="*/ 142 h 252"/>
                    <a:gd name="T44" fmla="*/ 223 w 233"/>
                    <a:gd name="T45" fmla="*/ 151 h 252"/>
                    <a:gd name="T46" fmla="*/ 226 w 233"/>
                    <a:gd name="T47" fmla="*/ 160 h 252"/>
                    <a:gd name="T48" fmla="*/ 230 w 233"/>
                    <a:gd name="T49" fmla="*/ 170 h 252"/>
                    <a:gd name="T50" fmla="*/ 232 w 233"/>
                    <a:gd name="T51" fmla="*/ 180 h 252"/>
                    <a:gd name="T52" fmla="*/ 233 w 233"/>
                    <a:gd name="T53" fmla="*/ 191 h 252"/>
                    <a:gd name="T54" fmla="*/ 233 w 233"/>
                    <a:gd name="T55" fmla="*/ 204 h 252"/>
                    <a:gd name="T56" fmla="*/ 232 w 233"/>
                    <a:gd name="T57" fmla="*/ 216 h 252"/>
                    <a:gd name="T58" fmla="*/ 230 w 233"/>
                    <a:gd name="T59" fmla="*/ 228 h 252"/>
                    <a:gd name="T60" fmla="*/ 227 w 233"/>
                    <a:gd name="T61" fmla="*/ 240 h 252"/>
                    <a:gd name="T62" fmla="*/ 226 w 233"/>
                    <a:gd name="T63" fmla="*/ 252 h 252"/>
                    <a:gd name="T64" fmla="*/ 222 w 233"/>
                    <a:gd name="T65" fmla="*/ 252 h 252"/>
                    <a:gd name="T66" fmla="*/ 215 w 233"/>
                    <a:gd name="T67" fmla="*/ 250 h 252"/>
                    <a:gd name="T68" fmla="*/ 208 w 233"/>
                    <a:gd name="T69" fmla="*/ 246 h 252"/>
                    <a:gd name="T70" fmla="*/ 198 w 233"/>
                    <a:gd name="T71" fmla="*/ 241 h 252"/>
                    <a:gd name="T72" fmla="*/ 176 w 233"/>
                    <a:gd name="T73" fmla="*/ 226 h 252"/>
                    <a:gd name="T74" fmla="*/ 151 w 233"/>
                    <a:gd name="T75" fmla="*/ 208 h 252"/>
                    <a:gd name="T76" fmla="*/ 125 w 233"/>
                    <a:gd name="T77" fmla="*/ 186 h 252"/>
                    <a:gd name="T78" fmla="*/ 100 w 233"/>
                    <a:gd name="T79" fmla="*/ 165 h 252"/>
                    <a:gd name="T80" fmla="*/ 78 w 233"/>
                    <a:gd name="T81" fmla="*/ 145 h 252"/>
                    <a:gd name="T82" fmla="*/ 61 w 233"/>
                    <a:gd name="T83" fmla="*/ 129 h 252"/>
                    <a:gd name="T84" fmla="*/ 55 w 233"/>
                    <a:gd name="T85" fmla="*/ 125 h 252"/>
                    <a:gd name="T86" fmla="*/ 48 w 233"/>
                    <a:gd name="T87" fmla="*/ 120 h 252"/>
                    <a:gd name="T88" fmla="*/ 41 w 233"/>
                    <a:gd name="T89" fmla="*/ 116 h 252"/>
                    <a:gd name="T90" fmla="*/ 33 w 233"/>
                    <a:gd name="T91" fmla="*/ 112 h 252"/>
                    <a:gd name="T92" fmla="*/ 17 w 233"/>
                    <a:gd name="T93" fmla="*/ 104 h 252"/>
                    <a:gd name="T94" fmla="*/ 0 w 233"/>
                    <a:gd name="T95" fmla="*/ 99 h 252"/>
                    <a:gd name="T96" fmla="*/ 40 w 233"/>
                    <a:gd name="T97" fmla="*/ 63 h 252"/>
                    <a:gd name="T98" fmla="*/ 59 w 233"/>
                    <a:gd name="T99" fmla="*/ 43 h 252"/>
                    <a:gd name="T100" fmla="*/ 65 w 233"/>
                    <a:gd name="T101" fmla="*/ 33 h 252"/>
                    <a:gd name="T102" fmla="*/ 69 w 233"/>
                    <a:gd name="T103" fmla="*/ 25 h 252"/>
                    <a:gd name="T104" fmla="*/ 72 w 233"/>
                    <a:gd name="T105" fmla="*/ 14 h 252"/>
                    <a:gd name="T106" fmla="*/ 74 w 233"/>
                    <a:gd name="T107" fmla="*/ 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206" name="Freeform 266">
                  <a:extLst>
                    <a:ext uri="{FF2B5EF4-FFF2-40B4-BE49-F238E27FC236}">
                      <a16:creationId xmlns="" xmlns:a16="http://schemas.microsoft.com/office/drawing/2014/main" id="{024CD252-E117-47AC-91D9-8FF449F75281}"/>
                    </a:ext>
                  </a:extLst>
                </p:cNvPr>
                <p:cNvSpPr>
                  <a:spLocks/>
                </p:cNvSpPr>
                <p:nvPr>
                  <p:custDataLst>
                    <p:tags r:id="rId194"/>
                  </p:custDataLst>
                </p:nvPr>
              </p:nvSpPr>
              <p:spPr bwMode="auto">
                <a:xfrm>
                  <a:off x="5922023" y="2738233"/>
                  <a:ext cx="74314" cy="142998"/>
                </a:xfrm>
                <a:custGeom>
                  <a:avLst/>
                  <a:gdLst>
                    <a:gd name="T0" fmla="*/ 13 w 246"/>
                    <a:gd name="T1" fmla="*/ 376 h 380"/>
                    <a:gd name="T2" fmla="*/ 14 w 246"/>
                    <a:gd name="T3" fmla="*/ 367 h 380"/>
                    <a:gd name="T4" fmla="*/ 15 w 246"/>
                    <a:gd name="T5" fmla="*/ 359 h 380"/>
                    <a:gd name="T6" fmla="*/ 18 w 246"/>
                    <a:gd name="T7" fmla="*/ 351 h 380"/>
                    <a:gd name="T8" fmla="*/ 20 w 246"/>
                    <a:gd name="T9" fmla="*/ 344 h 380"/>
                    <a:gd name="T10" fmla="*/ 25 w 246"/>
                    <a:gd name="T11" fmla="*/ 333 h 380"/>
                    <a:gd name="T12" fmla="*/ 26 w 246"/>
                    <a:gd name="T13" fmla="*/ 327 h 380"/>
                    <a:gd name="T14" fmla="*/ 25 w 246"/>
                    <a:gd name="T15" fmla="*/ 321 h 380"/>
                    <a:gd name="T16" fmla="*/ 23 w 246"/>
                    <a:gd name="T17" fmla="*/ 314 h 380"/>
                    <a:gd name="T18" fmla="*/ 19 w 246"/>
                    <a:gd name="T19" fmla="*/ 305 h 380"/>
                    <a:gd name="T20" fmla="*/ 13 w 246"/>
                    <a:gd name="T21" fmla="*/ 295 h 380"/>
                    <a:gd name="T22" fmla="*/ 9 w 246"/>
                    <a:gd name="T23" fmla="*/ 285 h 380"/>
                    <a:gd name="T24" fmla="*/ 4 w 246"/>
                    <a:gd name="T25" fmla="*/ 275 h 380"/>
                    <a:gd name="T26" fmla="*/ 1 w 246"/>
                    <a:gd name="T27" fmla="*/ 267 h 380"/>
                    <a:gd name="T28" fmla="*/ 0 w 246"/>
                    <a:gd name="T29" fmla="*/ 259 h 380"/>
                    <a:gd name="T30" fmla="*/ 1 w 246"/>
                    <a:gd name="T31" fmla="*/ 251 h 380"/>
                    <a:gd name="T32" fmla="*/ 2 w 246"/>
                    <a:gd name="T33" fmla="*/ 243 h 380"/>
                    <a:gd name="T34" fmla="*/ 3 w 246"/>
                    <a:gd name="T35" fmla="*/ 236 h 380"/>
                    <a:gd name="T36" fmla="*/ 6 w 246"/>
                    <a:gd name="T37" fmla="*/ 230 h 380"/>
                    <a:gd name="T38" fmla="*/ 11 w 246"/>
                    <a:gd name="T39" fmla="*/ 218 h 380"/>
                    <a:gd name="T40" fmla="*/ 19 w 246"/>
                    <a:gd name="T41" fmla="*/ 207 h 380"/>
                    <a:gd name="T42" fmla="*/ 26 w 246"/>
                    <a:gd name="T43" fmla="*/ 197 h 380"/>
                    <a:gd name="T44" fmla="*/ 34 w 246"/>
                    <a:gd name="T45" fmla="*/ 185 h 380"/>
                    <a:gd name="T46" fmla="*/ 41 w 246"/>
                    <a:gd name="T47" fmla="*/ 173 h 380"/>
                    <a:gd name="T48" fmla="*/ 47 w 246"/>
                    <a:gd name="T49" fmla="*/ 160 h 380"/>
                    <a:gd name="T50" fmla="*/ 26 w 246"/>
                    <a:gd name="T51" fmla="*/ 73 h 380"/>
                    <a:gd name="T52" fmla="*/ 26 w 246"/>
                    <a:gd name="T53" fmla="*/ 50 h 380"/>
                    <a:gd name="T54" fmla="*/ 24 w 246"/>
                    <a:gd name="T55" fmla="*/ 33 h 380"/>
                    <a:gd name="T56" fmla="*/ 24 w 246"/>
                    <a:gd name="T57" fmla="*/ 25 h 380"/>
                    <a:gd name="T58" fmla="*/ 24 w 246"/>
                    <a:gd name="T59" fmla="*/ 16 h 380"/>
                    <a:gd name="T60" fmla="*/ 25 w 246"/>
                    <a:gd name="T61" fmla="*/ 8 h 380"/>
                    <a:gd name="T62" fmla="*/ 26 w 246"/>
                    <a:gd name="T63" fmla="*/ 0 h 380"/>
                    <a:gd name="T64" fmla="*/ 180 w 246"/>
                    <a:gd name="T65" fmla="*/ 0 h 380"/>
                    <a:gd name="T66" fmla="*/ 220 w 246"/>
                    <a:gd name="T67" fmla="*/ 129 h 380"/>
                    <a:gd name="T68" fmla="*/ 220 w 246"/>
                    <a:gd name="T69" fmla="*/ 210 h 380"/>
                    <a:gd name="T70" fmla="*/ 220 w 246"/>
                    <a:gd name="T71" fmla="*/ 220 h 380"/>
                    <a:gd name="T72" fmla="*/ 221 w 246"/>
                    <a:gd name="T73" fmla="*/ 230 h 380"/>
                    <a:gd name="T74" fmla="*/ 223 w 246"/>
                    <a:gd name="T75" fmla="*/ 240 h 380"/>
                    <a:gd name="T76" fmla="*/ 225 w 246"/>
                    <a:gd name="T77" fmla="*/ 250 h 380"/>
                    <a:gd name="T78" fmla="*/ 228 w 246"/>
                    <a:gd name="T79" fmla="*/ 259 h 380"/>
                    <a:gd name="T80" fmla="*/ 234 w 246"/>
                    <a:gd name="T81" fmla="*/ 268 h 380"/>
                    <a:gd name="T82" fmla="*/ 239 w 246"/>
                    <a:gd name="T83" fmla="*/ 278 h 380"/>
                    <a:gd name="T84" fmla="*/ 246 w 246"/>
                    <a:gd name="T85" fmla="*/ 289 h 380"/>
                    <a:gd name="T86" fmla="*/ 224 w 246"/>
                    <a:gd name="T87" fmla="*/ 295 h 380"/>
                    <a:gd name="T88" fmla="*/ 202 w 246"/>
                    <a:gd name="T89" fmla="*/ 302 h 380"/>
                    <a:gd name="T90" fmla="*/ 181 w 246"/>
                    <a:gd name="T91" fmla="*/ 310 h 380"/>
                    <a:gd name="T92" fmla="*/ 160 w 246"/>
                    <a:gd name="T93" fmla="*/ 319 h 380"/>
                    <a:gd name="T94" fmla="*/ 141 w 246"/>
                    <a:gd name="T95" fmla="*/ 328 h 380"/>
                    <a:gd name="T96" fmla="*/ 120 w 246"/>
                    <a:gd name="T97" fmla="*/ 338 h 380"/>
                    <a:gd name="T98" fmla="*/ 100 w 246"/>
                    <a:gd name="T99" fmla="*/ 347 h 380"/>
                    <a:gd name="T100" fmla="*/ 80 w 246"/>
                    <a:gd name="T101" fmla="*/ 358 h 380"/>
                    <a:gd name="T102" fmla="*/ 75 w 246"/>
                    <a:gd name="T103" fmla="*/ 363 h 380"/>
                    <a:gd name="T104" fmla="*/ 69 w 246"/>
                    <a:gd name="T105" fmla="*/ 367 h 380"/>
                    <a:gd name="T106" fmla="*/ 62 w 246"/>
                    <a:gd name="T107" fmla="*/ 372 h 380"/>
                    <a:gd name="T108" fmla="*/ 54 w 246"/>
                    <a:gd name="T109" fmla="*/ 376 h 380"/>
                    <a:gd name="T110" fmla="*/ 46 w 246"/>
                    <a:gd name="T111" fmla="*/ 379 h 380"/>
                    <a:gd name="T112" fmla="*/ 36 w 246"/>
                    <a:gd name="T113" fmla="*/ 380 h 380"/>
                    <a:gd name="T114" fmla="*/ 31 w 246"/>
                    <a:gd name="T115" fmla="*/ 380 h 380"/>
                    <a:gd name="T116" fmla="*/ 25 w 246"/>
                    <a:gd name="T117" fmla="*/ 379 h 380"/>
                    <a:gd name="T118" fmla="*/ 20 w 246"/>
                    <a:gd name="T119" fmla="*/ 378 h 380"/>
                    <a:gd name="T120" fmla="*/ 13 w 246"/>
                    <a:gd name="T121" fmla="*/ 376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207" name="Freeform 267">
                  <a:extLst>
                    <a:ext uri="{FF2B5EF4-FFF2-40B4-BE49-F238E27FC236}">
                      <a16:creationId xmlns="" xmlns:a16="http://schemas.microsoft.com/office/drawing/2014/main" id="{CC7CE8C9-A95E-494B-9414-03D6F9ECFF2B}"/>
                    </a:ext>
                  </a:extLst>
                </p:cNvPr>
                <p:cNvSpPr>
                  <a:spLocks/>
                </p:cNvSpPr>
                <p:nvPr>
                  <p:custDataLst>
                    <p:tags r:id="rId195"/>
                  </p:custDataLst>
                </p:nvPr>
              </p:nvSpPr>
              <p:spPr bwMode="auto">
                <a:xfrm>
                  <a:off x="5675436" y="2678557"/>
                  <a:ext cx="61929" cy="41661"/>
                </a:xfrm>
                <a:custGeom>
                  <a:avLst/>
                  <a:gdLst>
                    <a:gd name="T0" fmla="*/ 7 w 193"/>
                    <a:gd name="T1" fmla="*/ 20 h 38"/>
                    <a:gd name="T2" fmla="*/ 38 w 193"/>
                    <a:gd name="T3" fmla="*/ 11 h 38"/>
                    <a:gd name="T4" fmla="*/ 67 w 193"/>
                    <a:gd name="T5" fmla="*/ 5 h 38"/>
                    <a:gd name="T6" fmla="*/ 80 w 193"/>
                    <a:gd name="T7" fmla="*/ 3 h 38"/>
                    <a:gd name="T8" fmla="*/ 94 w 193"/>
                    <a:gd name="T9" fmla="*/ 2 h 38"/>
                    <a:gd name="T10" fmla="*/ 110 w 193"/>
                    <a:gd name="T11" fmla="*/ 1 h 38"/>
                    <a:gd name="T12" fmla="*/ 126 w 193"/>
                    <a:gd name="T13" fmla="*/ 0 h 38"/>
                    <a:gd name="T14" fmla="*/ 138 w 193"/>
                    <a:gd name="T15" fmla="*/ 1 h 38"/>
                    <a:gd name="T16" fmla="*/ 149 w 193"/>
                    <a:gd name="T17" fmla="*/ 1 h 38"/>
                    <a:gd name="T18" fmla="*/ 160 w 193"/>
                    <a:gd name="T19" fmla="*/ 2 h 38"/>
                    <a:gd name="T20" fmla="*/ 169 w 193"/>
                    <a:gd name="T21" fmla="*/ 4 h 38"/>
                    <a:gd name="T22" fmla="*/ 178 w 193"/>
                    <a:gd name="T23" fmla="*/ 6 h 38"/>
                    <a:gd name="T24" fmla="*/ 184 w 193"/>
                    <a:gd name="T25" fmla="*/ 11 h 38"/>
                    <a:gd name="T26" fmla="*/ 187 w 193"/>
                    <a:gd name="T27" fmla="*/ 13 h 38"/>
                    <a:gd name="T28" fmla="*/ 189 w 193"/>
                    <a:gd name="T29" fmla="*/ 18 h 38"/>
                    <a:gd name="T30" fmla="*/ 191 w 193"/>
                    <a:gd name="T31" fmla="*/ 21 h 38"/>
                    <a:gd name="T32" fmla="*/ 193 w 193"/>
                    <a:gd name="T33" fmla="*/ 26 h 38"/>
                    <a:gd name="T34" fmla="*/ 183 w 193"/>
                    <a:gd name="T35" fmla="*/ 27 h 38"/>
                    <a:gd name="T36" fmla="*/ 173 w 193"/>
                    <a:gd name="T37" fmla="*/ 28 h 38"/>
                    <a:gd name="T38" fmla="*/ 165 w 193"/>
                    <a:gd name="T39" fmla="*/ 28 h 38"/>
                    <a:gd name="T40" fmla="*/ 156 w 193"/>
                    <a:gd name="T41" fmla="*/ 28 h 38"/>
                    <a:gd name="T42" fmla="*/ 138 w 193"/>
                    <a:gd name="T43" fmla="*/ 27 h 38"/>
                    <a:gd name="T44" fmla="*/ 120 w 193"/>
                    <a:gd name="T45" fmla="*/ 26 h 38"/>
                    <a:gd name="T46" fmla="*/ 103 w 193"/>
                    <a:gd name="T47" fmla="*/ 26 h 38"/>
                    <a:gd name="T48" fmla="*/ 89 w 193"/>
                    <a:gd name="T49" fmla="*/ 28 h 38"/>
                    <a:gd name="T50" fmla="*/ 76 w 193"/>
                    <a:gd name="T51" fmla="*/ 30 h 38"/>
                    <a:gd name="T52" fmla="*/ 63 w 193"/>
                    <a:gd name="T53" fmla="*/ 32 h 38"/>
                    <a:gd name="T54" fmla="*/ 49 w 193"/>
                    <a:gd name="T55" fmla="*/ 34 h 38"/>
                    <a:gd name="T56" fmla="*/ 35 w 193"/>
                    <a:gd name="T57" fmla="*/ 36 h 38"/>
                    <a:gd name="T58" fmla="*/ 19 w 193"/>
                    <a:gd name="T59" fmla="*/ 37 h 38"/>
                    <a:gd name="T60" fmla="*/ 0 w 193"/>
                    <a:gd name="T61" fmla="*/ 38 h 38"/>
                    <a:gd name="T62" fmla="*/ 0 w 193"/>
                    <a:gd name="T63" fmla="*/ 33 h 38"/>
                    <a:gd name="T64" fmla="*/ 1 w 193"/>
                    <a:gd name="T65" fmla="*/ 29 h 38"/>
                    <a:gd name="T66" fmla="*/ 3 w 193"/>
                    <a:gd name="T67" fmla="*/ 24 h 38"/>
                    <a:gd name="T68" fmla="*/ 7 w 193"/>
                    <a:gd name="T69" fmla="*/ 2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208" name="Freeform 268">
                  <a:extLst>
                    <a:ext uri="{FF2B5EF4-FFF2-40B4-BE49-F238E27FC236}">
                      <a16:creationId xmlns="" xmlns:a16="http://schemas.microsoft.com/office/drawing/2014/main" id="{1699CB90-8F24-43C2-9519-D4CEC591799B}"/>
                    </a:ext>
                  </a:extLst>
                </p:cNvPr>
                <p:cNvSpPr>
                  <a:spLocks/>
                </p:cNvSpPr>
                <p:nvPr>
                  <p:custDataLst>
                    <p:tags r:id="rId196"/>
                  </p:custDataLst>
                </p:nvPr>
              </p:nvSpPr>
              <p:spPr bwMode="auto">
                <a:xfrm>
                  <a:off x="5977196" y="2733730"/>
                  <a:ext cx="30401" cy="110344"/>
                </a:xfrm>
                <a:custGeom>
                  <a:avLst/>
                  <a:gdLst>
                    <a:gd name="T0" fmla="*/ 53 w 99"/>
                    <a:gd name="T1" fmla="*/ 12 h 301"/>
                    <a:gd name="T2" fmla="*/ 59 w 99"/>
                    <a:gd name="T3" fmla="*/ 12 h 301"/>
                    <a:gd name="T4" fmla="*/ 59 w 99"/>
                    <a:gd name="T5" fmla="*/ 19 h 301"/>
                    <a:gd name="T6" fmla="*/ 62 w 99"/>
                    <a:gd name="T7" fmla="*/ 26 h 301"/>
                    <a:gd name="T8" fmla="*/ 63 w 99"/>
                    <a:gd name="T9" fmla="*/ 33 h 301"/>
                    <a:gd name="T10" fmla="*/ 66 w 99"/>
                    <a:gd name="T11" fmla="*/ 42 h 301"/>
                    <a:gd name="T12" fmla="*/ 72 w 99"/>
                    <a:gd name="T13" fmla="*/ 58 h 301"/>
                    <a:gd name="T14" fmla="*/ 79 w 99"/>
                    <a:gd name="T15" fmla="*/ 75 h 301"/>
                    <a:gd name="T16" fmla="*/ 87 w 99"/>
                    <a:gd name="T17" fmla="*/ 93 h 301"/>
                    <a:gd name="T18" fmla="*/ 93 w 99"/>
                    <a:gd name="T19" fmla="*/ 111 h 301"/>
                    <a:gd name="T20" fmla="*/ 96 w 99"/>
                    <a:gd name="T21" fmla="*/ 120 h 301"/>
                    <a:gd name="T22" fmla="*/ 98 w 99"/>
                    <a:gd name="T23" fmla="*/ 129 h 301"/>
                    <a:gd name="T24" fmla="*/ 99 w 99"/>
                    <a:gd name="T25" fmla="*/ 138 h 301"/>
                    <a:gd name="T26" fmla="*/ 99 w 99"/>
                    <a:gd name="T27" fmla="*/ 148 h 301"/>
                    <a:gd name="T28" fmla="*/ 99 w 99"/>
                    <a:gd name="T29" fmla="*/ 289 h 301"/>
                    <a:gd name="T30" fmla="*/ 89 w 99"/>
                    <a:gd name="T31" fmla="*/ 290 h 301"/>
                    <a:gd name="T32" fmla="*/ 80 w 99"/>
                    <a:gd name="T33" fmla="*/ 293 h 301"/>
                    <a:gd name="T34" fmla="*/ 73 w 99"/>
                    <a:gd name="T35" fmla="*/ 297 h 301"/>
                    <a:gd name="T36" fmla="*/ 66 w 99"/>
                    <a:gd name="T37" fmla="*/ 301 h 301"/>
                    <a:gd name="T38" fmla="*/ 59 w 99"/>
                    <a:gd name="T39" fmla="*/ 290 h 301"/>
                    <a:gd name="T40" fmla="*/ 54 w 99"/>
                    <a:gd name="T41" fmla="*/ 280 h 301"/>
                    <a:gd name="T42" fmla="*/ 48 w 99"/>
                    <a:gd name="T43" fmla="*/ 271 h 301"/>
                    <a:gd name="T44" fmla="*/ 45 w 99"/>
                    <a:gd name="T45" fmla="*/ 262 h 301"/>
                    <a:gd name="T46" fmla="*/ 43 w 99"/>
                    <a:gd name="T47" fmla="*/ 252 h 301"/>
                    <a:gd name="T48" fmla="*/ 41 w 99"/>
                    <a:gd name="T49" fmla="*/ 242 h 301"/>
                    <a:gd name="T50" fmla="*/ 40 w 99"/>
                    <a:gd name="T51" fmla="*/ 232 h 301"/>
                    <a:gd name="T52" fmla="*/ 40 w 99"/>
                    <a:gd name="T53" fmla="*/ 222 h 301"/>
                    <a:gd name="T54" fmla="*/ 40 w 99"/>
                    <a:gd name="T55" fmla="*/ 141 h 301"/>
                    <a:gd name="T56" fmla="*/ 0 w 99"/>
                    <a:gd name="T57" fmla="*/ 6 h 301"/>
                    <a:gd name="T58" fmla="*/ 5 w 99"/>
                    <a:gd name="T59" fmla="*/ 2 h 301"/>
                    <a:gd name="T60" fmla="*/ 10 w 99"/>
                    <a:gd name="T61" fmla="*/ 0 h 301"/>
                    <a:gd name="T62" fmla="*/ 14 w 99"/>
                    <a:gd name="T63" fmla="*/ 0 h 301"/>
                    <a:gd name="T64" fmla="*/ 20 w 99"/>
                    <a:gd name="T65" fmla="*/ 0 h 301"/>
                    <a:gd name="T66" fmla="*/ 26 w 99"/>
                    <a:gd name="T67" fmla="*/ 0 h 301"/>
                    <a:gd name="T68" fmla="*/ 32 w 99"/>
                    <a:gd name="T69" fmla="*/ 2 h 301"/>
                    <a:gd name="T70" fmla="*/ 37 w 99"/>
                    <a:gd name="T71" fmla="*/ 4 h 301"/>
                    <a:gd name="T72" fmla="*/ 41 w 99"/>
                    <a:gd name="T73" fmla="*/ 6 h 301"/>
                    <a:gd name="T74" fmla="*/ 47 w 99"/>
                    <a:gd name="T75" fmla="*/ 10 h 301"/>
                    <a:gd name="T76" fmla="*/ 53 w 99"/>
                    <a:gd name="T77" fmla="*/ 12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209" name="Freeform 269">
                  <a:extLst>
                    <a:ext uri="{FF2B5EF4-FFF2-40B4-BE49-F238E27FC236}">
                      <a16:creationId xmlns="" xmlns:a16="http://schemas.microsoft.com/office/drawing/2014/main" id="{BC2F8E69-9589-4EB0-84A7-08306996FFE1}"/>
                    </a:ext>
                  </a:extLst>
                </p:cNvPr>
                <p:cNvSpPr>
                  <a:spLocks/>
                </p:cNvSpPr>
                <p:nvPr>
                  <p:custDataLst>
                    <p:tags r:id="rId197"/>
                  </p:custDataLst>
                </p:nvPr>
              </p:nvSpPr>
              <p:spPr bwMode="auto">
                <a:xfrm>
                  <a:off x="5995211" y="2706707"/>
                  <a:ext cx="54046" cy="133990"/>
                </a:xfrm>
                <a:custGeom>
                  <a:avLst/>
                  <a:gdLst>
                    <a:gd name="T0" fmla="*/ 0 w 173"/>
                    <a:gd name="T1" fmla="*/ 80 h 357"/>
                    <a:gd name="T2" fmla="*/ 9 w 173"/>
                    <a:gd name="T3" fmla="*/ 72 h 357"/>
                    <a:gd name="T4" fmla="*/ 17 w 173"/>
                    <a:gd name="T5" fmla="*/ 65 h 357"/>
                    <a:gd name="T6" fmla="*/ 25 w 173"/>
                    <a:gd name="T7" fmla="*/ 60 h 357"/>
                    <a:gd name="T8" fmla="*/ 33 w 173"/>
                    <a:gd name="T9" fmla="*/ 56 h 357"/>
                    <a:gd name="T10" fmla="*/ 40 w 173"/>
                    <a:gd name="T11" fmla="*/ 50 h 357"/>
                    <a:gd name="T12" fmla="*/ 67 w 173"/>
                    <a:gd name="T13" fmla="*/ 50 h 357"/>
                    <a:gd name="T14" fmla="*/ 94 w 173"/>
                    <a:gd name="T15" fmla="*/ 0 h 357"/>
                    <a:gd name="T16" fmla="*/ 101 w 173"/>
                    <a:gd name="T17" fmla="*/ 3 h 357"/>
                    <a:gd name="T18" fmla="*/ 108 w 173"/>
                    <a:gd name="T19" fmla="*/ 7 h 357"/>
                    <a:gd name="T20" fmla="*/ 116 w 173"/>
                    <a:gd name="T21" fmla="*/ 12 h 357"/>
                    <a:gd name="T22" fmla="*/ 123 w 173"/>
                    <a:gd name="T23" fmla="*/ 18 h 357"/>
                    <a:gd name="T24" fmla="*/ 131 w 173"/>
                    <a:gd name="T25" fmla="*/ 22 h 357"/>
                    <a:gd name="T26" fmla="*/ 139 w 173"/>
                    <a:gd name="T27" fmla="*/ 27 h 357"/>
                    <a:gd name="T28" fmla="*/ 145 w 173"/>
                    <a:gd name="T29" fmla="*/ 29 h 357"/>
                    <a:gd name="T30" fmla="*/ 153 w 173"/>
                    <a:gd name="T31" fmla="*/ 30 h 357"/>
                    <a:gd name="T32" fmla="*/ 163 w 173"/>
                    <a:gd name="T33" fmla="*/ 39 h 357"/>
                    <a:gd name="T34" fmla="*/ 173 w 173"/>
                    <a:gd name="T35" fmla="*/ 50 h 357"/>
                    <a:gd name="T36" fmla="*/ 173 w 173"/>
                    <a:gd name="T37" fmla="*/ 61 h 357"/>
                    <a:gd name="T38" fmla="*/ 173 w 173"/>
                    <a:gd name="T39" fmla="*/ 69 h 357"/>
                    <a:gd name="T40" fmla="*/ 173 w 173"/>
                    <a:gd name="T41" fmla="*/ 80 h 357"/>
                    <a:gd name="T42" fmla="*/ 173 w 173"/>
                    <a:gd name="T43" fmla="*/ 98 h 357"/>
                    <a:gd name="T44" fmla="*/ 173 w 173"/>
                    <a:gd name="T45" fmla="*/ 109 h 357"/>
                    <a:gd name="T46" fmla="*/ 171 w 173"/>
                    <a:gd name="T47" fmla="*/ 118 h 357"/>
                    <a:gd name="T48" fmla="*/ 167 w 173"/>
                    <a:gd name="T49" fmla="*/ 127 h 357"/>
                    <a:gd name="T50" fmla="*/ 163 w 173"/>
                    <a:gd name="T51" fmla="*/ 135 h 357"/>
                    <a:gd name="T52" fmla="*/ 152 w 173"/>
                    <a:gd name="T53" fmla="*/ 151 h 357"/>
                    <a:gd name="T54" fmla="*/ 140 w 173"/>
                    <a:gd name="T55" fmla="*/ 167 h 357"/>
                    <a:gd name="T56" fmla="*/ 128 w 173"/>
                    <a:gd name="T57" fmla="*/ 183 h 357"/>
                    <a:gd name="T58" fmla="*/ 117 w 173"/>
                    <a:gd name="T59" fmla="*/ 200 h 357"/>
                    <a:gd name="T60" fmla="*/ 112 w 173"/>
                    <a:gd name="T61" fmla="*/ 209 h 357"/>
                    <a:gd name="T62" fmla="*/ 109 w 173"/>
                    <a:gd name="T63" fmla="*/ 219 h 357"/>
                    <a:gd name="T64" fmla="*/ 108 w 173"/>
                    <a:gd name="T65" fmla="*/ 229 h 357"/>
                    <a:gd name="T66" fmla="*/ 107 w 173"/>
                    <a:gd name="T67" fmla="*/ 240 h 357"/>
                    <a:gd name="T68" fmla="*/ 108 w 173"/>
                    <a:gd name="T69" fmla="*/ 273 h 357"/>
                    <a:gd name="T70" fmla="*/ 109 w 173"/>
                    <a:gd name="T71" fmla="*/ 293 h 357"/>
                    <a:gd name="T72" fmla="*/ 110 w 173"/>
                    <a:gd name="T73" fmla="*/ 302 h 357"/>
                    <a:gd name="T74" fmla="*/ 109 w 173"/>
                    <a:gd name="T75" fmla="*/ 313 h 357"/>
                    <a:gd name="T76" fmla="*/ 109 w 173"/>
                    <a:gd name="T77" fmla="*/ 327 h 357"/>
                    <a:gd name="T78" fmla="*/ 107 w 173"/>
                    <a:gd name="T79" fmla="*/ 345 h 357"/>
                    <a:gd name="T80" fmla="*/ 97 w 173"/>
                    <a:gd name="T81" fmla="*/ 346 h 357"/>
                    <a:gd name="T82" fmla="*/ 88 w 173"/>
                    <a:gd name="T83" fmla="*/ 347 h 357"/>
                    <a:gd name="T84" fmla="*/ 79 w 173"/>
                    <a:gd name="T85" fmla="*/ 349 h 357"/>
                    <a:gd name="T86" fmla="*/ 71 w 173"/>
                    <a:gd name="T87" fmla="*/ 351 h 357"/>
                    <a:gd name="T88" fmla="*/ 63 w 173"/>
                    <a:gd name="T89" fmla="*/ 353 h 357"/>
                    <a:gd name="T90" fmla="*/ 55 w 173"/>
                    <a:gd name="T91" fmla="*/ 355 h 357"/>
                    <a:gd name="T92" fmla="*/ 48 w 173"/>
                    <a:gd name="T93" fmla="*/ 357 h 357"/>
                    <a:gd name="T94" fmla="*/ 40 w 173"/>
                    <a:gd name="T95" fmla="*/ 357 h 357"/>
                    <a:gd name="T96" fmla="*/ 40 w 173"/>
                    <a:gd name="T97" fmla="*/ 216 h 357"/>
                    <a:gd name="T98" fmla="*/ 40 w 173"/>
                    <a:gd name="T99" fmla="*/ 206 h 357"/>
                    <a:gd name="T100" fmla="*/ 39 w 173"/>
                    <a:gd name="T101" fmla="*/ 197 h 357"/>
                    <a:gd name="T102" fmla="*/ 37 w 173"/>
                    <a:gd name="T103" fmla="*/ 188 h 357"/>
                    <a:gd name="T104" fmla="*/ 34 w 173"/>
                    <a:gd name="T105" fmla="*/ 179 h 357"/>
                    <a:gd name="T106" fmla="*/ 28 w 173"/>
                    <a:gd name="T107" fmla="*/ 161 h 357"/>
                    <a:gd name="T108" fmla="*/ 20 w 173"/>
                    <a:gd name="T109" fmla="*/ 143 h 357"/>
                    <a:gd name="T110" fmla="*/ 13 w 173"/>
                    <a:gd name="T111" fmla="*/ 126 h 357"/>
                    <a:gd name="T112" fmla="*/ 7 w 173"/>
                    <a:gd name="T113" fmla="*/ 110 h 357"/>
                    <a:gd name="T114" fmla="*/ 4 w 173"/>
                    <a:gd name="T115" fmla="*/ 101 h 357"/>
                    <a:gd name="T116" fmla="*/ 3 w 173"/>
                    <a:gd name="T117" fmla="*/ 94 h 357"/>
                    <a:gd name="T118" fmla="*/ 0 w 173"/>
                    <a:gd name="T119" fmla="*/ 87 h 357"/>
                    <a:gd name="T120" fmla="*/ 0 w 173"/>
                    <a:gd name="T121" fmla="*/ 8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210" name="Freeform 270">
                  <a:extLst>
                    <a:ext uri="{FF2B5EF4-FFF2-40B4-BE49-F238E27FC236}">
                      <a16:creationId xmlns="" xmlns:a16="http://schemas.microsoft.com/office/drawing/2014/main" id="{10E81603-8761-4106-AE1C-91E10799988A}"/>
                    </a:ext>
                  </a:extLst>
                </p:cNvPr>
                <p:cNvSpPr>
                  <a:spLocks/>
                </p:cNvSpPr>
                <p:nvPr>
                  <p:custDataLst>
                    <p:tags r:id="rId198"/>
                  </p:custDataLst>
                </p:nvPr>
              </p:nvSpPr>
              <p:spPr bwMode="auto">
                <a:xfrm>
                  <a:off x="6512030" y="3561315"/>
                  <a:ext cx="18015" cy="42787"/>
                </a:xfrm>
                <a:custGeom>
                  <a:avLst/>
                  <a:gdLst>
                    <a:gd name="T0" fmla="*/ 10 w 50"/>
                    <a:gd name="T1" fmla="*/ 0 h 74"/>
                    <a:gd name="T2" fmla="*/ 6 w 50"/>
                    <a:gd name="T3" fmla="*/ 14 h 74"/>
                    <a:gd name="T4" fmla="*/ 2 w 50"/>
                    <a:gd name="T5" fmla="*/ 26 h 74"/>
                    <a:gd name="T6" fmla="*/ 0 w 50"/>
                    <a:gd name="T7" fmla="*/ 36 h 74"/>
                    <a:gd name="T8" fmla="*/ 0 w 50"/>
                    <a:gd name="T9" fmla="*/ 43 h 74"/>
                    <a:gd name="T10" fmla="*/ 0 w 50"/>
                    <a:gd name="T11" fmla="*/ 50 h 74"/>
                    <a:gd name="T12" fmla="*/ 2 w 50"/>
                    <a:gd name="T13" fmla="*/ 56 h 74"/>
                    <a:gd name="T14" fmla="*/ 6 w 50"/>
                    <a:gd name="T15" fmla="*/ 61 h 74"/>
                    <a:gd name="T16" fmla="*/ 10 w 50"/>
                    <a:gd name="T17" fmla="*/ 68 h 74"/>
                    <a:gd name="T18" fmla="*/ 50 w 50"/>
                    <a:gd name="T19" fmla="*/ 74 h 74"/>
                    <a:gd name="T20" fmla="*/ 50 w 50"/>
                    <a:gd name="T21" fmla="*/ 51 h 74"/>
                    <a:gd name="T22" fmla="*/ 50 w 50"/>
                    <a:gd name="T23" fmla="*/ 34 h 74"/>
                    <a:gd name="T24" fmla="*/ 50 w 50"/>
                    <a:gd name="T25" fmla="*/ 19 h 74"/>
                    <a:gd name="T26" fmla="*/ 50 w 50"/>
                    <a:gd name="T27" fmla="*/ 0 h 74"/>
                    <a:gd name="T28" fmla="*/ 38 w 50"/>
                    <a:gd name="T29" fmla="*/ 0 h 74"/>
                    <a:gd name="T30" fmla="*/ 25 w 50"/>
                    <a:gd name="T31" fmla="*/ 0 h 74"/>
                    <a:gd name="T32" fmla="*/ 14 w 50"/>
                    <a:gd name="T33" fmla="*/ 0 h 74"/>
                    <a:gd name="T34" fmla="*/ 10 w 50"/>
                    <a:gd name="T3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211" name="Freeform 271">
                  <a:extLst>
                    <a:ext uri="{FF2B5EF4-FFF2-40B4-BE49-F238E27FC236}">
                      <a16:creationId xmlns="" xmlns:a16="http://schemas.microsoft.com/office/drawing/2014/main" id="{1ABD8AFA-1F98-4925-A743-AFE1B88DF97A}"/>
                    </a:ext>
                  </a:extLst>
                </p:cNvPr>
                <p:cNvSpPr>
                  <a:spLocks/>
                </p:cNvSpPr>
                <p:nvPr>
                  <p:custDataLst>
                    <p:tags r:id="rId199"/>
                  </p:custDataLst>
                </p:nvPr>
              </p:nvSpPr>
              <p:spPr bwMode="auto">
                <a:xfrm>
                  <a:off x="6437717" y="3629999"/>
                  <a:ext cx="43912" cy="40535"/>
                </a:xfrm>
                <a:custGeom>
                  <a:avLst/>
                  <a:gdLst>
                    <a:gd name="T0" fmla="*/ 3 w 135"/>
                    <a:gd name="T1" fmla="*/ 55 h 98"/>
                    <a:gd name="T2" fmla="*/ 11 w 135"/>
                    <a:gd name="T3" fmla="*/ 54 h 98"/>
                    <a:gd name="T4" fmla="*/ 18 w 135"/>
                    <a:gd name="T5" fmla="*/ 53 h 98"/>
                    <a:gd name="T6" fmla="*/ 24 w 135"/>
                    <a:gd name="T7" fmla="*/ 50 h 98"/>
                    <a:gd name="T8" fmla="*/ 31 w 135"/>
                    <a:gd name="T9" fmla="*/ 47 h 98"/>
                    <a:gd name="T10" fmla="*/ 42 w 135"/>
                    <a:gd name="T11" fmla="*/ 38 h 98"/>
                    <a:gd name="T12" fmla="*/ 52 w 135"/>
                    <a:gd name="T13" fmla="*/ 28 h 98"/>
                    <a:gd name="T14" fmla="*/ 61 w 135"/>
                    <a:gd name="T15" fmla="*/ 18 h 98"/>
                    <a:gd name="T16" fmla="*/ 71 w 135"/>
                    <a:gd name="T17" fmla="*/ 8 h 98"/>
                    <a:gd name="T18" fmla="*/ 76 w 135"/>
                    <a:gd name="T19" fmla="*/ 5 h 98"/>
                    <a:gd name="T20" fmla="*/ 82 w 135"/>
                    <a:gd name="T21" fmla="*/ 2 h 98"/>
                    <a:gd name="T22" fmla="*/ 88 w 135"/>
                    <a:gd name="T23" fmla="*/ 0 h 98"/>
                    <a:gd name="T24" fmla="*/ 96 w 135"/>
                    <a:gd name="T25" fmla="*/ 0 h 98"/>
                    <a:gd name="T26" fmla="*/ 102 w 135"/>
                    <a:gd name="T27" fmla="*/ 0 h 98"/>
                    <a:gd name="T28" fmla="*/ 110 w 135"/>
                    <a:gd name="T29" fmla="*/ 3 h 98"/>
                    <a:gd name="T30" fmla="*/ 117 w 135"/>
                    <a:gd name="T31" fmla="*/ 6 h 98"/>
                    <a:gd name="T32" fmla="*/ 123 w 135"/>
                    <a:gd name="T33" fmla="*/ 11 h 98"/>
                    <a:gd name="T34" fmla="*/ 128 w 135"/>
                    <a:gd name="T35" fmla="*/ 16 h 98"/>
                    <a:gd name="T36" fmla="*/ 132 w 135"/>
                    <a:gd name="T37" fmla="*/ 24 h 98"/>
                    <a:gd name="T38" fmla="*/ 134 w 135"/>
                    <a:gd name="T39" fmla="*/ 30 h 98"/>
                    <a:gd name="T40" fmla="*/ 135 w 135"/>
                    <a:gd name="T41" fmla="*/ 37 h 98"/>
                    <a:gd name="T42" fmla="*/ 134 w 135"/>
                    <a:gd name="T43" fmla="*/ 40 h 98"/>
                    <a:gd name="T44" fmla="*/ 132 w 135"/>
                    <a:gd name="T45" fmla="*/ 43 h 98"/>
                    <a:gd name="T46" fmla="*/ 129 w 135"/>
                    <a:gd name="T47" fmla="*/ 47 h 98"/>
                    <a:gd name="T48" fmla="*/ 124 w 135"/>
                    <a:gd name="T49" fmla="*/ 51 h 98"/>
                    <a:gd name="T50" fmla="*/ 113 w 135"/>
                    <a:gd name="T51" fmla="*/ 61 h 98"/>
                    <a:gd name="T52" fmla="*/ 100 w 135"/>
                    <a:gd name="T53" fmla="*/ 72 h 98"/>
                    <a:gd name="T54" fmla="*/ 87 w 135"/>
                    <a:gd name="T55" fmla="*/ 82 h 98"/>
                    <a:gd name="T56" fmla="*/ 74 w 135"/>
                    <a:gd name="T57" fmla="*/ 91 h 98"/>
                    <a:gd name="T58" fmla="*/ 63 w 135"/>
                    <a:gd name="T59" fmla="*/ 96 h 98"/>
                    <a:gd name="T60" fmla="*/ 55 w 135"/>
                    <a:gd name="T61" fmla="*/ 98 h 98"/>
                    <a:gd name="T62" fmla="*/ 51 w 135"/>
                    <a:gd name="T63" fmla="*/ 97 h 98"/>
                    <a:gd name="T64" fmla="*/ 43 w 135"/>
                    <a:gd name="T65" fmla="*/ 92 h 98"/>
                    <a:gd name="T66" fmla="*/ 32 w 135"/>
                    <a:gd name="T67" fmla="*/ 85 h 98"/>
                    <a:gd name="T68" fmla="*/ 21 w 135"/>
                    <a:gd name="T69" fmla="*/ 77 h 98"/>
                    <a:gd name="T70" fmla="*/ 11 w 135"/>
                    <a:gd name="T71" fmla="*/ 68 h 98"/>
                    <a:gd name="T72" fmla="*/ 5 w 135"/>
                    <a:gd name="T73" fmla="*/ 62 h 98"/>
                    <a:gd name="T74" fmla="*/ 1 w 135"/>
                    <a:gd name="T75" fmla="*/ 59 h 98"/>
                    <a:gd name="T76" fmla="*/ 0 w 135"/>
                    <a:gd name="T77" fmla="*/ 57 h 98"/>
                    <a:gd name="T78" fmla="*/ 0 w 135"/>
                    <a:gd name="T79" fmla="*/ 56 h 98"/>
                    <a:gd name="T80" fmla="*/ 3 w 135"/>
                    <a:gd name="T81"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212" name="Freeform 272">
                  <a:extLst>
                    <a:ext uri="{FF2B5EF4-FFF2-40B4-BE49-F238E27FC236}">
                      <a16:creationId xmlns="" xmlns:a16="http://schemas.microsoft.com/office/drawing/2014/main" id="{86AA427F-757F-4FA6-A659-C003F0B39D3D}"/>
                    </a:ext>
                  </a:extLst>
                </p:cNvPr>
                <p:cNvSpPr>
                  <a:spLocks/>
                </p:cNvSpPr>
                <p:nvPr>
                  <p:custDataLst>
                    <p:tags r:id="rId200"/>
                  </p:custDataLst>
                </p:nvPr>
              </p:nvSpPr>
              <p:spPr bwMode="auto">
                <a:xfrm>
                  <a:off x="8010693" y="2008607"/>
                  <a:ext cx="85574" cy="121604"/>
                </a:xfrm>
                <a:custGeom>
                  <a:avLst/>
                  <a:gdLst>
                    <a:gd name="T0" fmla="*/ 240 w 266"/>
                    <a:gd name="T1" fmla="*/ 9 h 326"/>
                    <a:gd name="T2" fmla="*/ 240 w 266"/>
                    <a:gd name="T3" fmla="*/ 28 h 326"/>
                    <a:gd name="T4" fmla="*/ 249 w 266"/>
                    <a:gd name="T5" fmla="*/ 42 h 326"/>
                    <a:gd name="T6" fmla="*/ 245 w 266"/>
                    <a:gd name="T7" fmla="*/ 55 h 326"/>
                    <a:gd name="T8" fmla="*/ 225 w 266"/>
                    <a:gd name="T9" fmla="*/ 50 h 326"/>
                    <a:gd name="T10" fmla="*/ 210 w 266"/>
                    <a:gd name="T11" fmla="*/ 51 h 326"/>
                    <a:gd name="T12" fmla="*/ 195 w 266"/>
                    <a:gd name="T13" fmla="*/ 65 h 326"/>
                    <a:gd name="T14" fmla="*/ 193 w 266"/>
                    <a:gd name="T15" fmla="*/ 78 h 326"/>
                    <a:gd name="T16" fmla="*/ 198 w 266"/>
                    <a:gd name="T17" fmla="*/ 89 h 326"/>
                    <a:gd name="T18" fmla="*/ 215 w 266"/>
                    <a:gd name="T19" fmla="*/ 110 h 326"/>
                    <a:gd name="T20" fmla="*/ 224 w 266"/>
                    <a:gd name="T21" fmla="*/ 122 h 326"/>
                    <a:gd name="T22" fmla="*/ 225 w 266"/>
                    <a:gd name="T23" fmla="*/ 133 h 326"/>
                    <a:gd name="T24" fmla="*/ 222 w 266"/>
                    <a:gd name="T25" fmla="*/ 143 h 326"/>
                    <a:gd name="T26" fmla="*/ 207 w 266"/>
                    <a:gd name="T27" fmla="*/ 154 h 326"/>
                    <a:gd name="T28" fmla="*/ 200 w 266"/>
                    <a:gd name="T29" fmla="*/ 160 h 326"/>
                    <a:gd name="T30" fmla="*/ 181 w 266"/>
                    <a:gd name="T31" fmla="*/ 166 h 326"/>
                    <a:gd name="T32" fmla="*/ 164 w 266"/>
                    <a:gd name="T33" fmla="*/ 178 h 326"/>
                    <a:gd name="T34" fmla="*/ 160 w 266"/>
                    <a:gd name="T35" fmla="*/ 191 h 326"/>
                    <a:gd name="T36" fmla="*/ 173 w 266"/>
                    <a:gd name="T37" fmla="*/ 207 h 326"/>
                    <a:gd name="T38" fmla="*/ 189 w 266"/>
                    <a:gd name="T39" fmla="*/ 215 h 326"/>
                    <a:gd name="T40" fmla="*/ 214 w 266"/>
                    <a:gd name="T41" fmla="*/ 227 h 326"/>
                    <a:gd name="T42" fmla="*/ 245 w 266"/>
                    <a:gd name="T43" fmla="*/ 259 h 326"/>
                    <a:gd name="T44" fmla="*/ 251 w 266"/>
                    <a:gd name="T45" fmla="*/ 285 h 326"/>
                    <a:gd name="T46" fmla="*/ 220 w 266"/>
                    <a:gd name="T47" fmla="*/ 291 h 326"/>
                    <a:gd name="T48" fmla="*/ 207 w 266"/>
                    <a:gd name="T49" fmla="*/ 298 h 326"/>
                    <a:gd name="T50" fmla="*/ 198 w 266"/>
                    <a:gd name="T51" fmla="*/ 312 h 326"/>
                    <a:gd name="T52" fmla="*/ 189 w 266"/>
                    <a:gd name="T53" fmla="*/ 326 h 326"/>
                    <a:gd name="T54" fmla="*/ 170 w 266"/>
                    <a:gd name="T55" fmla="*/ 321 h 326"/>
                    <a:gd name="T56" fmla="*/ 167 w 266"/>
                    <a:gd name="T57" fmla="*/ 316 h 326"/>
                    <a:gd name="T58" fmla="*/ 154 w 266"/>
                    <a:gd name="T59" fmla="*/ 310 h 326"/>
                    <a:gd name="T60" fmla="*/ 139 w 266"/>
                    <a:gd name="T61" fmla="*/ 301 h 326"/>
                    <a:gd name="T62" fmla="*/ 126 w 266"/>
                    <a:gd name="T63" fmla="*/ 295 h 326"/>
                    <a:gd name="T64" fmla="*/ 98 w 266"/>
                    <a:gd name="T65" fmla="*/ 290 h 326"/>
                    <a:gd name="T66" fmla="*/ 63 w 266"/>
                    <a:gd name="T67" fmla="*/ 277 h 326"/>
                    <a:gd name="T68" fmla="*/ 54 w 266"/>
                    <a:gd name="T69" fmla="*/ 268 h 326"/>
                    <a:gd name="T70" fmla="*/ 55 w 266"/>
                    <a:gd name="T71" fmla="*/ 256 h 326"/>
                    <a:gd name="T72" fmla="*/ 70 w 266"/>
                    <a:gd name="T73" fmla="*/ 244 h 326"/>
                    <a:gd name="T74" fmla="*/ 59 w 266"/>
                    <a:gd name="T75" fmla="*/ 221 h 326"/>
                    <a:gd name="T76" fmla="*/ 34 w 266"/>
                    <a:gd name="T77" fmla="*/ 194 h 326"/>
                    <a:gd name="T78" fmla="*/ 13 w 266"/>
                    <a:gd name="T79" fmla="*/ 182 h 326"/>
                    <a:gd name="T80" fmla="*/ 4 w 266"/>
                    <a:gd name="T81" fmla="*/ 171 h 326"/>
                    <a:gd name="T82" fmla="*/ 19 w 266"/>
                    <a:gd name="T83" fmla="*/ 152 h 326"/>
                    <a:gd name="T84" fmla="*/ 54 w 266"/>
                    <a:gd name="T85" fmla="*/ 124 h 326"/>
                    <a:gd name="T86" fmla="*/ 73 w 266"/>
                    <a:gd name="T87" fmla="*/ 105 h 326"/>
                    <a:gd name="T88" fmla="*/ 88 w 266"/>
                    <a:gd name="T89" fmla="*/ 92 h 326"/>
                    <a:gd name="T90" fmla="*/ 110 w 266"/>
                    <a:gd name="T91" fmla="*/ 88 h 326"/>
                    <a:gd name="T92" fmla="*/ 144 w 266"/>
                    <a:gd name="T93" fmla="*/ 70 h 326"/>
                    <a:gd name="T94" fmla="*/ 168 w 266"/>
                    <a:gd name="T95" fmla="*/ 46 h 326"/>
                    <a:gd name="T96" fmla="*/ 191 w 266"/>
                    <a:gd name="T97" fmla="*/ 21 h 326"/>
                    <a:gd name="T98" fmla="*/ 220 w 266"/>
                    <a:gd name="T99" fmla="*/ 4 h 326"/>
                    <a:gd name="T100" fmla="*/ 238 w 266"/>
                    <a:gd name="T101" fmla="*/ 0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213" name="Freeform 273">
                  <a:extLst>
                    <a:ext uri="{FF2B5EF4-FFF2-40B4-BE49-F238E27FC236}">
                      <a16:creationId xmlns="" xmlns:a16="http://schemas.microsoft.com/office/drawing/2014/main" id="{AB7BBEC3-1C90-4954-B516-A2332C03E689}"/>
                    </a:ext>
                  </a:extLst>
                </p:cNvPr>
                <p:cNvSpPr>
                  <a:spLocks/>
                </p:cNvSpPr>
                <p:nvPr>
                  <p:custDataLst>
                    <p:tags r:id="rId201"/>
                  </p:custDataLst>
                </p:nvPr>
              </p:nvSpPr>
              <p:spPr bwMode="auto">
                <a:xfrm>
                  <a:off x="7352002" y="2302484"/>
                  <a:ext cx="146376" cy="87826"/>
                </a:xfrm>
                <a:custGeom>
                  <a:avLst/>
                  <a:gdLst>
                    <a:gd name="T0" fmla="*/ 86 w 471"/>
                    <a:gd name="T1" fmla="*/ 0 h 237"/>
                    <a:gd name="T2" fmla="*/ 92 w 471"/>
                    <a:gd name="T3" fmla="*/ 7 h 237"/>
                    <a:gd name="T4" fmla="*/ 102 w 471"/>
                    <a:gd name="T5" fmla="*/ 13 h 237"/>
                    <a:gd name="T6" fmla="*/ 125 w 471"/>
                    <a:gd name="T7" fmla="*/ 23 h 237"/>
                    <a:gd name="T8" fmla="*/ 159 w 471"/>
                    <a:gd name="T9" fmla="*/ 37 h 237"/>
                    <a:gd name="T10" fmla="*/ 223 w 471"/>
                    <a:gd name="T11" fmla="*/ 77 h 237"/>
                    <a:gd name="T12" fmla="*/ 253 w 471"/>
                    <a:gd name="T13" fmla="*/ 97 h 237"/>
                    <a:gd name="T14" fmla="*/ 283 w 471"/>
                    <a:gd name="T15" fmla="*/ 113 h 237"/>
                    <a:gd name="T16" fmla="*/ 316 w 471"/>
                    <a:gd name="T17" fmla="*/ 127 h 237"/>
                    <a:gd name="T18" fmla="*/ 355 w 471"/>
                    <a:gd name="T19" fmla="*/ 139 h 237"/>
                    <a:gd name="T20" fmla="*/ 399 w 471"/>
                    <a:gd name="T21" fmla="*/ 146 h 237"/>
                    <a:gd name="T22" fmla="*/ 451 w 471"/>
                    <a:gd name="T23" fmla="*/ 148 h 237"/>
                    <a:gd name="T24" fmla="*/ 452 w 471"/>
                    <a:gd name="T25" fmla="*/ 187 h 237"/>
                    <a:gd name="T26" fmla="*/ 459 w 471"/>
                    <a:gd name="T27" fmla="*/ 211 h 237"/>
                    <a:gd name="T28" fmla="*/ 467 w 471"/>
                    <a:gd name="T29" fmla="*/ 227 h 237"/>
                    <a:gd name="T30" fmla="*/ 467 w 471"/>
                    <a:gd name="T31" fmla="*/ 236 h 237"/>
                    <a:gd name="T32" fmla="*/ 451 w 471"/>
                    <a:gd name="T33" fmla="*/ 236 h 237"/>
                    <a:gd name="T34" fmla="*/ 416 w 471"/>
                    <a:gd name="T35" fmla="*/ 231 h 237"/>
                    <a:gd name="T36" fmla="*/ 362 w 471"/>
                    <a:gd name="T37" fmla="*/ 219 h 237"/>
                    <a:gd name="T38" fmla="*/ 315 w 471"/>
                    <a:gd name="T39" fmla="*/ 207 h 237"/>
                    <a:gd name="T40" fmla="*/ 294 w 471"/>
                    <a:gd name="T41" fmla="*/ 203 h 237"/>
                    <a:gd name="T42" fmla="*/ 287 w 471"/>
                    <a:gd name="T43" fmla="*/ 199 h 237"/>
                    <a:gd name="T44" fmla="*/ 277 w 471"/>
                    <a:gd name="T45" fmla="*/ 190 h 237"/>
                    <a:gd name="T46" fmla="*/ 267 w 471"/>
                    <a:gd name="T47" fmla="*/ 178 h 237"/>
                    <a:gd name="T48" fmla="*/ 255 w 471"/>
                    <a:gd name="T49" fmla="*/ 166 h 237"/>
                    <a:gd name="T50" fmla="*/ 240 w 471"/>
                    <a:gd name="T51" fmla="*/ 159 h 237"/>
                    <a:gd name="T52" fmla="*/ 227 w 471"/>
                    <a:gd name="T53" fmla="*/ 159 h 237"/>
                    <a:gd name="T54" fmla="*/ 205 w 471"/>
                    <a:gd name="T55" fmla="*/ 163 h 237"/>
                    <a:gd name="T56" fmla="*/ 183 w 471"/>
                    <a:gd name="T57" fmla="*/ 167 h 237"/>
                    <a:gd name="T58" fmla="*/ 169 w 471"/>
                    <a:gd name="T59" fmla="*/ 168 h 237"/>
                    <a:gd name="T60" fmla="*/ 158 w 471"/>
                    <a:gd name="T61" fmla="*/ 164 h 237"/>
                    <a:gd name="T62" fmla="*/ 148 w 471"/>
                    <a:gd name="T63" fmla="*/ 155 h 237"/>
                    <a:gd name="T64" fmla="*/ 139 w 471"/>
                    <a:gd name="T65" fmla="*/ 148 h 237"/>
                    <a:gd name="T66" fmla="*/ 122 w 471"/>
                    <a:gd name="T67" fmla="*/ 145 h 237"/>
                    <a:gd name="T68" fmla="*/ 92 w 471"/>
                    <a:gd name="T69" fmla="*/ 135 h 237"/>
                    <a:gd name="T70" fmla="*/ 48 w 471"/>
                    <a:gd name="T71" fmla="*/ 117 h 237"/>
                    <a:gd name="T72" fmla="*/ 12 w 471"/>
                    <a:gd name="T73" fmla="*/ 96 h 237"/>
                    <a:gd name="T74" fmla="*/ 7 w 471"/>
                    <a:gd name="T75"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214" name="Freeform 274">
                  <a:extLst>
                    <a:ext uri="{FF2B5EF4-FFF2-40B4-BE49-F238E27FC236}">
                      <a16:creationId xmlns="" xmlns:a16="http://schemas.microsoft.com/office/drawing/2014/main" id="{3BBE07E8-B99E-47C7-B4D1-3107C79A5407}"/>
                    </a:ext>
                  </a:extLst>
                </p:cNvPr>
                <p:cNvSpPr>
                  <a:spLocks/>
                </p:cNvSpPr>
                <p:nvPr>
                  <p:custDataLst>
                    <p:tags r:id="rId202"/>
                  </p:custDataLst>
                </p:nvPr>
              </p:nvSpPr>
              <p:spPr bwMode="auto">
                <a:xfrm>
                  <a:off x="7505133" y="2341893"/>
                  <a:ext cx="51795" cy="46164"/>
                </a:xfrm>
                <a:custGeom>
                  <a:avLst/>
                  <a:gdLst>
                    <a:gd name="T0" fmla="*/ 167 w 167"/>
                    <a:gd name="T1" fmla="*/ 43 h 123"/>
                    <a:gd name="T2" fmla="*/ 164 w 167"/>
                    <a:gd name="T3" fmla="*/ 54 h 123"/>
                    <a:gd name="T4" fmla="*/ 161 w 167"/>
                    <a:gd name="T5" fmla="*/ 66 h 123"/>
                    <a:gd name="T6" fmla="*/ 155 w 167"/>
                    <a:gd name="T7" fmla="*/ 79 h 123"/>
                    <a:gd name="T8" fmla="*/ 150 w 167"/>
                    <a:gd name="T9" fmla="*/ 93 h 123"/>
                    <a:gd name="T10" fmla="*/ 146 w 167"/>
                    <a:gd name="T11" fmla="*/ 99 h 123"/>
                    <a:gd name="T12" fmla="*/ 142 w 167"/>
                    <a:gd name="T13" fmla="*/ 105 h 123"/>
                    <a:gd name="T14" fmla="*/ 138 w 167"/>
                    <a:gd name="T15" fmla="*/ 110 h 123"/>
                    <a:gd name="T16" fmla="*/ 132 w 167"/>
                    <a:gd name="T17" fmla="*/ 114 h 123"/>
                    <a:gd name="T18" fmla="*/ 127 w 167"/>
                    <a:gd name="T19" fmla="*/ 118 h 123"/>
                    <a:gd name="T20" fmla="*/ 121 w 167"/>
                    <a:gd name="T21" fmla="*/ 121 h 123"/>
                    <a:gd name="T22" fmla="*/ 115 w 167"/>
                    <a:gd name="T23" fmla="*/ 122 h 123"/>
                    <a:gd name="T24" fmla="*/ 107 w 167"/>
                    <a:gd name="T25" fmla="*/ 123 h 123"/>
                    <a:gd name="T26" fmla="*/ 100 w 167"/>
                    <a:gd name="T27" fmla="*/ 122 h 123"/>
                    <a:gd name="T28" fmla="*/ 92 w 167"/>
                    <a:gd name="T29" fmla="*/ 119 h 123"/>
                    <a:gd name="T30" fmla="*/ 87 w 167"/>
                    <a:gd name="T31" fmla="*/ 116 h 123"/>
                    <a:gd name="T32" fmla="*/ 84 w 167"/>
                    <a:gd name="T33" fmla="*/ 113 h 123"/>
                    <a:gd name="T34" fmla="*/ 82 w 167"/>
                    <a:gd name="T35" fmla="*/ 109 h 123"/>
                    <a:gd name="T36" fmla="*/ 81 w 167"/>
                    <a:gd name="T37" fmla="*/ 105 h 123"/>
                    <a:gd name="T38" fmla="*/ 71 w 167"/>
                    <a:gd name="T39" fmla="*/ 104 h 123"/>
                    <a:gd name="T40" fmla="*/ 61 w 167"/>
                    <a:gd name="T41" fmla="*/ 103 h 123"/>
                    <a:gd name="T42" fmla="*/ 51 w 167"/>
                    <a:gd name="T43" fmla="*/ 101 h 123"/>
                    <a:gd name="T44" fmla="*/ 41 w 167"/>
                    <a:gd name="T45" fmla="*/ 98 h 123"/>
                    <a:gd name="T46" fmla="*/ 21 w 167"/>
                    <a:gd name="T47" fmla="*/ 92 h 123"/>
                    <a:gd name="T48" fmla="*/ 0 w 167"/>
                    <a:gd name="T49" fmla="*/ 86 h 123"/>
                    <a:gd name="T50" fmla="*/ 2 w 167"/>
                    <a:gd name="T51" fmla="*/ 77 h 123"/>
                    <a:gd name="T52" fmla="*/ 5 w 167"/>
                    <a:gd name="T53" fmla="*/ 67 h 123"/>
                    <a:gd name="T54" fmla="*/ 9 w 167"/>
                    <a:gd name="T55" fmla="*/ 56 h 123"/>
                    <a:gd name="T56" fmla="*/ 15 w 167"/>
                    <a:gd name="T57" fmla="*/ 43 h 123"/>
                    <a:gd name="T58" fmla="*/ 20 w 167"/>
                    <a:gd name="T59" fmla="*/ 43 h 123"/>
                    <a:gd name="T60" fmla="*/ 26 w 167"/>
                    <a:gd name="T61" fmla="*/ 42 h 123"/>
                    <a:gd name="T62" fmla="*/ 30 w 167"/>
                    <a:gd name="T63" fmla="*/ 41 h 123"/>
                    <a:gd name="T64" fmla="*/ 33 w 167"/>
                    <a:gd name="T65" fmla="*/ 38 h 123"/>
                    <a:gd name="T66" fmla="*/ 40 w 167"/>
                    <a:gd name="T67" fmla="*/ 33 h 123"/>
                    <a:gd name="T68" fmla="*/ 45 w 167"/>
                    <a:gd name="T69" fmla="*/ 26 h 123"/>
                    <a:gd name="T70" fmla="*/ 52 w 167"/>
                    <a:gd name="T71" fmla="*/ 12 h 123"/>
                    <a:gd name="T72" fmla="*/ 61 w 167"/>
                    <a:gd name="T73" fmla="*/ 0 h 123"/>
                    <a:gd name="T74" fmla="*/ 64 w 167"/>
                    <a:gd name="T75" fmla="*/ 4 h 123"/>
                    <a:gd name="T76" fmla="*/ 67 w 167"/>
                    <a:gd name="T77" fmla="*/ 7 h 123"/>
                    <a:gd name="T78" fmla="*/ 73 w 167"/>
                    <a:gd name="T79" fmla="*/ 11 h 123"/>
                    <a:gd name="T80" fmla="*/ 78 w 167"/>
                    <a:gd name="T81" fmla="*/ 14 h 123"/>
                    <a:gd name="T82" fmla="*/ 92 w 167"/>
                    <a:gd name="T83" fmla="*/ 21 h 123"/>
                    <a:gd name="T84" fmla="*/ 107 w 167"/>
                    <a:gd name="T85" fmla="*/ 28 h 123"/>
                    <a:gd name="T86" fmla="*/ 122 w 167"/>
                    <a:gd name="T87" fmla="*/ 35 h 123"/>
                    <a:gd name="T88" fmla="*/ 139 w 167"/>
                    <a:gd name="T89" fmla="*/ 39 h 123"/>
                    <a:gd name="T90" fmla="*/ 153 w 167"/>
                    <a:gd name="T91" fmla="*/ 42 h 123"/>
                    <a:gd name="T92" fmla="*/ 167 w 167"/>
                    <a:gd name="T93" fmla="*/ 4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215" name="Freeform 275">
                  <a:extLst>
                    <a:ext uri="{FF2B5EF4-FFF2-40B4-BE49-F238E27FC236}">
                      <a16:creationId xmlns="" xmlns:a16="http://schemas.microsoft.com/office/drawing/2014/main" id="{4B1E742F-ED49-42F2-9D58-74D8A70E35EA}"/>
                    </a:ext>
                  </a:extLst>
                </p:cNvPr>
                <p:cNvSpPr>
                  <a:spLocks/>
                </p:cNvSpPr>
                <p:nvPr>
                  <p:custDataLst>
                    <p:tags r:id="rId203"/>
                  </p:custDataLst>
                </p:nvPr>
              </p:nvSpPr>
              <p:spPr bwMode="auto">
                <a:xfrm>
                  <a:off x="7498378" y="2392561"/>
                  <a:ext cx="94581" cy="118227"/>
                </a:xfrm>
                <a:custGeom>
                  <a:avLst/>
                  <a:gdLst>
                    <a:gd name="T0" fmla="*/ 259 w 306"/>
                    <a:gd name="T1" fmla="*/ 160 h 321"/>
                    <a:gd name="T2" fmla="*/ 252 w 306"/>
                    <a:gd name="T3" fmla="*/ 173 h 321"/>
                    <a:gd name="T4" fmla="*/ 243 w 306"/>
                    <a:gd name="T5" fmla="*/ 182 h 321"/>
                    <a:gd name="T6" fmla="*/ 233 w 306"/>
                    <a:gd name="T7" fmla="*/ 186 h 321"/>
                    <a:gd name="T8" fmla="*/ 223 w 306"/>
                    <a:gd name="T9" fmla="*/ 184 h 321"/>
                    <a:gd name="T10" fmla="*/ 214 w 306"/>
                    <a:gd name="T11" fmla="*/ 178 h 321"/>
                    <a:gd name="T12" fmla="*/ 209 w 306"/>
                    <a:gd name="T13" fmla="*/ 169 h 321"/>
                    <a:gd name="T14" fmla="*/ 206 w 306"/>
                    <a:gd name="T15" fmla="*/ 160 h 321"/>
                    <a:gd name="T16" fmla="*/ 209 w 306"/>
                    <a:gd name="T17" fmla="*/ 148 h 321"/>
                    <a:gd name="T18" fmla="*/ 213 w 306"/>
                    <a:gd name="T19" fmla="*/ 136 h 321"/>
                    <a:gd name="T20" fmla="*/ 230 w 306"/>
                    <a:gd name="T21" fmla="*/ 114 h 321"/>
                    <a:gd name="T22" fmla="*/ 246 w 306"/>
                    <a:gd name="T23" fmla="*/ 93 h 321"/>
                    <a:gd name="T24" fmla="*/ 250 w 306"/>
                    <a:gd name="T25" fmla="*/ 82 h 321"/>
                    <a:gd name="T26" fmla="*/ 253 w 306"/>
                    <a:gd name="T27" fmla="*/ 69 h 321"/>
                    <a:gd name="T28" fmla="*/ 129 w 306"/>
                    <a:gd name="T29" fmla="*/ 68 h 321"/>
                    <a:gd name="T30" fmla="*/ 119 w 306"/>
                    <a:gd name="T31" fmla="*/ 59 h 321"/>
                    <a:gd name="T32" fmla="*/ 112 w 306"/>
                    <a:gd name="T33" fmla="*/ 45 h 321"/>
                    <a:gd name="T34" fmla="*/ 108 w 306"/>
                    <a:gd name="T35" fmla="*/ 28 h 321"/>
                    <a:gd name="T36" fmla="*/ 101 w 306"/>
                    <a:gd name="T37" fmla="*/ 19 h 321"/>
                    <a:gd name="T38" fmla="*/ 90 w 306"/>
                    <a:gd name="T39" fmla="*/ 17 h 321"/>
                    <a:gd name="T40" fmla="*/ 80 w 306"/>
                    <a:gd name="T41" fmla="*/ 12 h 321"/>
                    <a:gd name="T42" fmla="*/ 75 w 306"/>
                    <a:gd name="T43" fmla="*/ 4 h 321"/>
                    <a:gd name="T44" fmla="*/ 65 w 306"/>
                    <a:gd name="T45" fmla="*/ 0 h 321"/>
                    <a:gd name="T46" fmla="*/ 49 w 306"/>
                    <a:gd name="T47" fmla="*/ 0 h 321"/>
                    <a:gd name="T48" fmla="*/ 34 w 306"/>
                    <a:gd name="T49" fmla="*/ 1 h 321"/>
                    <a:gd name="T50" fmla="*/ 22 w 306"/>
                    <a:gd name="T51" fmla="*/ 5 h 321"/>
                    <a:gd name="T52" fmla="*/ 10 w 306"/>
                    <a:gd name="T53" fmla="*/ 14 h 321"/>
                    <a:gd name="T54" fmla="*/ 1 w 306"/>
                    <a:gd name="T55" fmla="*/ 25 h 321"/>
                    <a:gd name="T56" fmla="*/ 2 w 306"/>
                    <a:gd name="T57" fmla="*/ 35 h 321"/>
                    <a:gd name="T58" fmla="*/ 15 w 306"/>
                    <a:gd name="T59" fmla="*/ 46 h 321"/>
                    <a:gd name="T60" fmla="*/ 35 w 306"/>
                    <a:gd name="T61" fmla="*/ 58 h 321"/>
                    <a:gd name="T62" fmla="*/ 54 w 306"/>
                    <a:gd name="T63" fmla="*/ 67 h 321"/>
                    <a:gd name="T64" fmla="*/ 47 w 306"/>
                    <a:gd name="T65" fmla="*/ 79 h 321"/>
                    <a:gd name="T66" fmla="*/ 25 w 306"/>
                    <a:gd name="T67" fmla="*/ 97 h 321"/>
                    <a:gd name="T68" fmla="*/ 17 w 306"/>
                    <a:gd name="T69" fmla="*/ 107 h 321"/>
                    <a:gd name="T70" fmla="*/ 14 w 306"/>
                    <a:gd name="T71" fmla="*/ 114 h 321"/>
                    <a:gd name="T72" fmla="*/ 14 w 306"/>
                    <a:gd name="T73" fmla="*/ 122 h 321"/>
                    <a:gd name="T74" fmla="*/ 18 w 306"/>
                    <a:gd name="T75" fmla="*/ 129 h 321"/>
                    <a:gd name="T76" fmla="*/ 28 w 306"/>
                    <a:gd name="T77" fmla="*/ 141 h 321"/>
                    <a:gd name="T78" fmla="*/ 47 w 306"/>
                    <a:gd name="T79" fmla="*/ 156 h 321"/>
                    <a:gd name="T80" fmla="*/ 64 w 306"/>
                    <a:gd name="T81" fmla="*/ 164 h 321"/>
                    <a:gd name="T82" fmla="*/ 75 w 306"/>
                    <a:gd name="T83" fmla="*/ 166 h 321"/>
                    <a:gd name="T84" fmla="*/ 107 w 306"/>
                    <a:gd name="T85" fmla="*/ 271 h 321"/>
                    <a:gd name="T86" fmla="*/ 108 w 306"/>
                    <a:gd name="T87" fmla="*/ 263 h 321"/>
                    <a:gd name="T88" fmla="*/ 112 w 306"/>
                    <a:gd name="T89" fmla="*/ 256 h 321"/>
                    <a:gd name="T90" fmla="*/ 127 w 306"/>
                    <a:gd name="T91" fmla="*/ 246 h 321"/>
                    <a:gd name="T92" fmla="*/ 148 w 306"/>
                    <a:gd name="T93" fmla="*/ 240 h 321"/>
                    <a:gd name="T94" fmla="*/ 174 w 306"/>
                    <a:gd name="T95" fmla="*/ 235 h 321"/>
                    <a:gd name="T96" fmla="*/ 174 w 306"/>
                    <a:gd name="T97" fmla="*/ 210 h 321"/>
                    <a:gd name="T98" fmla="*/ 183 w 306"/>
                    <a:gd name="T99" fmla="*/ 212 h 321"/>
                    <a:gd name="T100" fmla="*/ 193 w 306"/>
                    <a:gd name="T101" fmla="*/ 212 h 321"/>
                    <a:gd name="T102" fmla="*/ 213 w 306"/>
                    <a:gd name="T103" fmla="*/ 210 h 321"/>
                    <a:gd name="T104" fmla="*/ 232 w 306"/>
                    <a:gd name="T105" fmla="*/ 261 h 321"/>
                    <a:gd name="T106" fmla="*/ 259 w 306"/>
                    <a:gd name="T107" fmla="*/ 321 h 321"/>
                    <a:gd name="T108" fmla="*/ 272 w 306"/>
                    <a:gd name="T109" fmla="*/ 311 h 321"/>
                    <a:gd name="T110" fmla="*/ 282 w 306"/>
                    <a:gd name="T111" fmla="*/ 302 h 321"/>
                    <a:gd name="T112" fmla="*/ 295 w 306"/>
                    <a:gd name="T113" fmla="*/ 280 h 321"/>
                    <a:gd name="T114" fmla="*/ 306 w 306"/>
                    <a:gd name="T115" fmla="*/ 235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216" name="Freeform 276">
                  <a:extLst>
                    <a:ext uri="{FF2B5EF4-FFF2-40B4-BE49-F238E27FC236}">
                      <a16:creationId xmlns="" xmlns:a16="http://schemas.microsoft.com/office/drawing/2014/main" id="{BFF33317-FED7-4F69-A1D0-55C6F76AC931}"/>
                    </a:ext>
                  </a:extLst>
                </p:cNvPr>
                <p:cNvSpPr>
                  <a:spLocks/>
                </p:cNvSpPr>
                <p:nvPr>
                  <p:custDataLst>
                    <p:tags r:id="rId204"/>
                  </p:custDataLst>
                </p:nvPr>
              </p:nvSpPr>
              <p:spPr bwMode="auto">
                <a:xfrm>
                  <a:off x="7723571" y="2474757"/>
                  <a:ext cx="142998" cy="191415"/>
                </a:xfrm>
                <a:custGeom>
                  <a:avLst/>
                  <a:gdLst>
                    <a:gd name="T0" fmla="*/ 94 w 471"/>
                    <a:gd name="T1" fmla="*/ 12 h 518"/>
                    <a:gd name="T2" fmla="*/ 67 w 471"/>
                    <a:gd name="T3" fmla="*/ 32 h 518"/>
                    <a:gd name="T4" fmla="*/ 40 w 471"/>
                    <a:gd name="T5" fmla="*/ 49 h 518"/>
                    <a:gd name="T6" fmla="*/ 27 w 471"/>
                    <a:gd name="T7" fmla="*/ 82 h 518"/>
                    <a:gd name="T8" fmla="*/ 8 w 471"/>
                    <a:gd name="T9" fmla="*/ 118 h 518"/>
                    <a:gd name="T10" fmla="*/ 7 w 471"/>
                    <a:gd name="T11" fmla="*/ 136 h 518"/>
                    <a:gd name="T12" fmla="*/ 30 w 471"/>
                    <a:gd name="T13" fmla="*/ 153 h 518"/>
                    <a:gd name="T14" fmla="*/ 50 w 471"/>
                    <a:gd name="T15" fmla="*/ 168 h 518"/>
                    <a:gd name="T16" fmla="*/ 62 w 471"/>
                    <a:gd name="T17" fmla="*/ 172 h 518"/>
                    <a:gd name="T18" fmla="*/ 75 w 471"/>
                    <a:gd name="T19" fmla="*/ 211 h 518"/>
                    <a:gd name="T20" fmla="*/ 84 w 471"/>
                    <a:gd name="T21" fmla="*/ 272 h 518"/>
                    <a:gd name="T22" fmla="*/ 94 w 471"/>
                    <a:gd name="T23" fmla="*/ 299 h 518"/>
                    <a:gd name="T24" fmla="*/ 104 w 471"/>
                    <a:gd name="T25" fmla="*/ 302 h 518"/>
                    <a:gd name="T26" fmla="*/ 112 w 471"/>
                    <a:gd name="T27" fmla="*/ 297 h 518"/>
                    <a:gd name="T28" fmla="*/ 128 w 471"/>
                    <a:gd name="T29" fmla="*/ 268 h 518"/>
                    <a:gd name="T30" fmla="*/ 145 w 471"/>
                    <a:gd name="T31" fmla="*/ 262 h 518"/>
                    <a:gd name="T32" fmla="*/ 160 w 471"/>
                    <a:gd name="T33" fmla="*/ 272 h 518"/>
                    <a:gd name="T34" fmla="*/ 173 w 471"/>
                    <a:gd name="T35" fmla="*/ 277 h 518"/>
                    <a:gd name="T36" fmla="*/ 183 w 471"/>
                    <a:gd name="T37" fmla="*/ 274 h 518"/>
                    <a:gd name="T38" fmla="*/ 192 w 471"/>
                    <a:gd name="T39" fmla="*/ 259 h 518"/>
                    <a:gd name="T40" fmla="*/ 203 w 471"/>
                    <a:gd name="T41" fmla="*/ 244 h 518"/>
                    <a:gd name="T42" fmla="*/ 212 w 471"/>
                    <a:gd name="T43" fmla="*/ 241 h 518"/>
                    <a:gd name="T44" fmla="*/ 241 w 471"/>
                    <a:gd name="T45" fmla="*/ 247 h 518"/>
                    <a:gd name="T46" fmla="*/ 259 w 471"/>
                    <a:gd name="T47" fmla="*/ 271 h 518"/>
                    <a:gd name="T48" fmla="*/ 308 w 471"/>
                    <a:gd name="T49" fmla="*/ 336 h 518"/>
                    <a:gd name="T50" fmla="*/ 341 w 471"/>
                    <a:gd name="T51" fmla="*/ 382 h 518"/>
                    <a:gd name="T52" fmla="*/ 358 w 471"/>
                    <a:gd name="T53" fmla="*/ 419 h 518"/>
                    <a:gd name="T54" fmla="*/ 366 w 471"/>
                    <a:gd name="T55" fmla="*/ 457 h 518"/>
                    <a:gd name="T56" fmla="*/ 359 w 471"/>
                    <a:gd name="T57" fmla="*/ 470 h 518"/>
                    <a:gd name="T58" fmla="*/ 339 w 471"/>
                    <a:gd name="T59" fmla="*/ 487 h 518"/>
                    <a:gd name="T60" fmla="*/ 363 w 471"/>
                    <a:gd name="T61" fmla="*/ 496 h 518"/>
                    <a:gd name="T62" fmla="*/ 392 w 471"/>
                    <a:gd name="T63" fmla="*/ 518 h 518"/>
                    <a:gd name="T64" fmla="*/ 401 w 471"/>
                    <a:gd name="T65" fmla="*/ 499 h 518"/>
                    <a:gd name="T66" fmla="*/ 413 w 471"/>
                    <a:gd name="T67" fmla="*/ 489 h 518"/>
                    <a:gd name="T68" fmla="*/ 444 w 471"/>
                    <a:gd name="T69" fmla="*/ 483 h 518"/>
                    <a:gd name="T70" fmla="*/ 468 w 471"/>
                    <a:gd name="T71" fmla="*/ 438 h 518"/>
                    <a:gd name="T72" fmla="*/ 449 w 471"/>
                    <a:gd name="T73" fmla="*/ 387 h 518"/>
                    <a:gd name="T74" fmla="*/ 421 w 471"/>
                    <a:gd name="T75" fmla="*/ 347 h 518"/>
                    <a:gd name="T76" fmla="*/ 345 w 471"/>
                    <a:gd name="T77" fmla="*/ 277 h 518"/>
                    <a:gd name="T78" fmla="*/ 279 w 471"/>
                    <a:gd name="T79" fmla="*/ 218 h 518"/>
                    <a:gd name="T80" fmla="*/ 224 w 471"/>
                    <a:gd name="T81" fmla="*/ 162 h 518"/>
                    <a:gd name="T82" fmla="*/ 179 w 471"/>
                    <a:gd name="T83" fmla="*/ 105 h 518"/>
                    <a:gd name="T84" fmla="*/ 127 w 471"/>
                    <a:gd name="T85" fmla="*/ 40 h 518"/>
                    <a:gd name="T86" fmla="*/ 115 w 471"/>
                    <a:gd name="T87" fmla="*/ 14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217" name="Freeform 277">
                  <a:extLst>
                    <a:ext uri="{FF2B5EF4-FFF2-40B4-BE49-F238E27FC236}">
                      <a16:creationId xmlns="" xmlns:a16="http://schemas.microsoft.com/office/drawing/2014/main" id="{B8F1A809-DF04-4E04-B7FB-6F31BF38211E}"/>
                    </a:ext>
                  </a:extLst>
                </p:cNvPr>
                <p:cNvSpPr>
                  <a:spLocks/>
                </p:cNvSpPr>
                <p:nvPr>
                  <p:custDataLst>
                    <p:tags r:id="rId205"/>
                  </p:custDataLst>
                </p:nvPr>
              </p:nvSpPr>
              <p:spPr bwMode="auto">
                <a:xfrm>
                  <a:off x="7782121" y="2652660"/>
                  <a:ext cx="94581" cy="92329"/>
                </a:xfrm>
                <a:custGeom>
                  <a:avLst/>
                  <a:gdLst>
                    <a:gd name="T0" fmla="*/ 152 w 293"/>
                    <a:gd name="T1" fmla="*/ 19 h 246"/>
                    <a:gd name="T2" fmla="*/ 179 w 293"/>
                    <a:gd name="T3" fmla="*/ 30 h 246"/>
                    <a:gd name="T4" fmla="*/ 196 w 293"/>
                    <a:gd name="T5" fmla="*/ 30 h 246"/>
                    <a:gd name="T6" fmla="*/ 202 w 293"/>
                    <a:gd name="T7" fmla="*/ 18 h 246"/>
                    <a:gd name="T8" fmla="*/ 210 w 293"/>
                    <a:gd name="T9" fmla="*/ 10 h 246"/>
                    <a:gd name="T10" fmla="*/ 219 w 293"/>
                    <a:gd name="T11" fmla="*/ 6 h 246"/>
                    <a:gd name="T12" fmla="*/ 245 w 293"/>
                    <a:gd name="T13" fmla="*/ 2 h 246"/>
                    <a:gd name="T14" fmla="*/ 293 w 293"/>
                    <a:gd name="T15" fmla="*/ 80 h 246"/>
                    <a:gd name="T16" fmla="*/ 266 w 293"/>
                    <a:gd name="T17" fmla="*/ 107 h 246"/>
                    <a:gd name="T18" fmla="*/ 237 w 293"/>
                    <a:gd name="T19" fmla="*/ 141 h 246"/>
                    <a:gd name="T20" fmla="*/ 225 w 293"/>
                    <a:gd name="T21" fmla="*/ 159 h 246"/>
                    <a:gd name="T22" fmla="*/ 215 w 293"/>
                    <a:gd name="T23" fmla="*/ 178 h 246"/>
                    <a:gd name="T24" fmla="*/ 209 w 293"/>
                    <a:gd name="T25" fmla="*/ 197 h 246"/>
                    <a:gd name="T26" fmla="*/ 206 w 293"/>
                    <a:gd name="T27" fmla="*/ 216 h 246"/>
                    <a:gd name="T28" fmla="*/ 196 w 293"/>
                    <a:gd name="T29" fmla="*/ 217 h 246"/>
                    <a:gd name="T30" fmla="*/ 186 w 293"/>
                    <a:gd name="T31" fmla="*/ 220 h 246"/>
                    <a:gd name="T32" fmla="*/ 170 w 293"/>
                    <a:gd name="T33" fmla="*/ 229 h 246"/>
                    <a:gd name="T34" fmla="*/ 154 w 293"/>
                    <a:gd name="T35" fmla="*/ 239 h 246"/>
                    <a:gd name="T36" fmla="*/ 133 w 293"/>
                    <a:gd name="T37" fmla="*/ 246 h 246"/>
                    <a:gd name="T38" fmla="*/ 102 w 293"/>
                    <a:gd name="T39" fmla="*/ 240 h 246"/>
                    <a:gd name="T40" fmla="*/ 71 w 293"/>
                    <a:gd name="T41" fmla="*/ 232 h 246"/>
                    <a:gd name="T42" fmla="*/ 59 w 293"/>
                    <a:gd name="T43" fmla="*/ 226 h 246"/>
                    <a:gd name="T44" fmla="*/ 49 w 293"/>
                    <a:gd name="T45" fmla="*/ 220 h 246"/>
                    <a:gd name="T46" fmla="*/ 43 w 293"/>
                    <a:gd name="T47" fmla="*/ 212 h 246"/>
                    <a:gd name="T48" fmla="*/ 41 w 293"/>
                    <a:gd name="T49" fmla="*/ 204 h 246"/>
                    <a:gd name="T50" fmla="*/ 47 w 293"/>
                    <a:gd name="T51" fmla="*/ 178 h 246"/>
                    <a:gd name="T52" fmla="*/ 45 w 293"/>
                    <a:gd name="T53" fmla="*/ 162 h 246"/>
                    <a:gd name="T54" fmla="*/ 40 w 293"/>
                    <a:gd name="T55" fmla="*/ 147 h 246"/>
                    <a:gd name="T56" fmla="*/ 24 w 293"/>
                    <a:gd name="T57" fmla="*/ 119 h 246"/>
                    <a:gd name="T58" fmla="*/ 8 w 293"/>
                    <a:gd name="T59" fmla="*/ 91 h 246"/>
                    <a:gd name="T60" fmla="*/ 2 w 293"/>
                    <a:gd name="T61" fmla="*/ 74 h 246"/>
                    <a:gd name="T62" fmla="*/ 0 w 293"/>
                    <a:gd name="T63" fmla="*/ 55 h 246"/>
                    <a:gd name="T64" fmla="*/ 2 w 293"/>
                    <a:gd name="T65" fmla="*/ 45 h 246"/>
                    <a:gd name="T66" fmla="*/ 8 w 293"/>
                    <a:gd name="T67" fmla="*/ 36 h 246"/>
                    <a:gd name="T68" fmla="*/ 17 w 293"/>
                    <a:gd name="T69" fmla="*/ 29 h 246"/>
                    <a:gd name="T70" fmla="*/ 26 w 293"/>
                    <a:gd name="T71" fmla="*/ 22 h 246"/>
                    <a:gd name="T72" fmla="*/ 48 w 293"/>
                    <a:gd name="T73" fmla="*/ 14 h 246"/>
                    <a:gd name="T74" fmla="*/ 67 w 293"/>
                    <a:gd name="T75" fmla="*/ 12 h 246"/>
                    <a:gd name="T76" fmla="*/ 96 w 293"/>
                    <a:gd name="T77" fmla="*/ 12 h 246"/>
                    <a:gd name="T78" fmla="*/ 133 w 293"/>
                    <a:gd name="T79" fmla="*/ 1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218" name="Freeform 278">
                  <a:extLst>
                    <a:ext uri="{FF2B5EF4-FFF2-40B4-BE49-F238E27FC236}">
                      <a16:creationId xmlns="" xmlns:a16="http://schemas.microsoft.com/office/drawing/2014/main" id="{2839F20F-CA5F-40DE-9722-950B5F20A5B5}"/>
                    </a:ext>
                  </a:extLst>
                </p:cNvPr>
                <p:cNvSpPr>
                  <a:spLocks/>
                </p:cNvSpPr>
                <p:nvPr>
                  <p:custDataLst>
                    <p:tags r:id="rId206"/>
                  </p:custDataLst>
                </p:nvPr>
              </p:nvSpPr>
              <p:spPr bwMode="auto">
                <a:xfrm>
                  <a:off x="8066991" y="2111069"/>
                  <a:ext cx="60802" cy="92329"/>
                </a:xfrm>
                <a:custGeom>
                  <a:avLst/>
                  <a:gdLst>
                    <a:gd name="T0" fmla="*/ 18 w 200"/>
                    <a:gd name="T1" fmla="*/ 41 h 246"/>
                    <a:gd name="T2" fmla="*/ 28 w 200"/>
                    <a:gd name="T3" fmla="*/ 26 h 246"/>
                    <a:gd name="T4" fmla="*/ 38 w 200"/>
                    <a:gd name="T5" fmla="*/ 16 h 246"/>
                    <a:gd name="T6" fmla="*/ 50 w 200"/>
                    <a:gd name="T7" fmla="*/ 9 h 246"/>
                    <a:gd name="T8" fmla="*/ 73 w 200"/>
                    <a:gd name="T9" fmla="*/ 1 h 246"/>
                    <a:gd name="T10" fmla="*/ 88 w 200"/>
                    <a:gd name="T11" fmla="*/ 12 h 246"/>
                    <a:gd name="T12" fmla="*/ 108 w 200"/>
                    <a:gd name="T13" fmla="*/ 34 h 246"/>
                    <a:gd name="T14" fmla="*/ 125 w 200"/>
                    <a:gd name="T15" fmla="*/ 50 h 246"/>
                    <a:gd name="T16" fmla="*/ 139 w 200"/>
                    <a:gd name="T17" fmla="*/ 58 h 246"/>
                    <a:gd name="T18" fmla="*/ 152 w 200"/>
                    <a:gd name="T19" fmla="*/ 64 h 246"/>
                    <a:gd name="T20" fmla="*/ 166 w 200"/>
                    <a:gd name="T21" fmla="*/ 67 h 246"/>
                    <a:gd name="T22" fmla="*/ 184 w 200"/>
                    <a:gd name="T23" fmla="*/ 96 h 246"/>
                    <a:gd name="T24" fmla="*/ 195 w 200"/>
                    <a:gd name="T25" fmla="*/ 137 h 246"/>
                    <a:gd name="T26" fmla="*/ 199 w 200"/>
                    <a:gd name="T27" fmla="*/ 165 h 246"/>
                    <a:gd name="T28" fmla="*/ 200 w 200"/>
                    <a:gd name="T29" fmla="*/ 185 h 246"/>
                    <a:gd name="T30" fmla="*/ 198 w 200"/>
                    <a:gd name="T31" fmla="*/ 197 h 246"/>
                    <a:gd name="T32" fmla="*/ 195 w 200"/>
                    <a:gd name="T33" fmla="*/ 207 h 246"/>
                    <a:gd name="T34" fmla="*/ 189 w 200"/>
                    <a:gd name="T35" fmla="*/ 214 h 246"/>
                    <a:gd name="T36" fmla="*/ 179 w 200"/>
                    <a:gd name="T37" fmla="*/ 220 h 246"/>
                    <a:gd name="T38" fmla="*/ 164 w 200"/>
                    <a:gd name="T39" fmla="*/ 224 h 246"/>
                    <a:gd name="T40" fmla="*/ 140 w 200"/>
                    <a:gd name="T41" fmla="*/ 224 h 246"/>
                    <a:gd name="T42" fmla="*/ 118 w 200"/>
                    <a:gd name="T43" fmla="*/ 229 h 246"/>
                    <a:gd name="T44" fmla="*/ 111 w 200"/>
                    <a:gd name="T45" fmla="*/ 235 h 246"/>
                    <a:gd name="T46" fmla="*/ 108 w 200"/>
                    <a:gd name="T47" fmla="*/ 242 h 246"/>
                    <a:gd name="T48" fmla="*/ 98 w 200"/>
                    <a:gd name="T49" fmla="*/ 245 h 246"/>
                    <a:gd name="T50" fmla="*/ 85 w 200"/>
                    <a:gd name="T51" fmla="*/ 240 h 246"/>
                    <a:gd name="T52" fmla="*/ 77 w 200"/>
                    <a:gd name="T53" fmla="*/ 230 h 246"/>
                    <a:gd name="T54" fmla="*/ 73 w 200"/>
                    <a:gd name="T55" fmla="*/ 216 h 246"/>
                    <a:gd name="T56" fmla="*/ 72 w 200"/>
                    <a:gd name="T57" fmla="*/ 192 h 246"/>
                    <a:gd name="T58" fmla="*/ 71 w 200"/>
                    <a:gd name="T59" fmla="*/ 168 h 246"/>
                    <a:gd name="T60" fmla="*/ 69 w 200"/>
                    <a:gd name="T61" fmla="*/ 154 h 246"/>
                    <a:gd name="T62" fmla="*/ 64 w 200"/>
                    <a:gd name="T63" fmla="*/ 142 h 246"/>
                    <a:gd name="T64" fmla="*/ 56 w 200"/>
                    <a:gd name="T65" fmla="*/ 134 h 246"/>
                    <a:gd name="T66" fmla="*/ 40 w 200"/>
                    <a:gd name="T67" fmla="*/ 125 h 246"/>
                    <a:gd name="T68" fmla="*/ 18 w 200"/>
                    <a:gd name="T69" fmla="*/ 115 h 246"/>
                    <a:gd name="T70" fmla="*/ 6 w 200"/>
                    <a:gd name="T71" fmla="*/ 106 h 246"/>
                    <a:gd name="T72" fmla="*/ 1 w 200"/>
                    <a:gd name="T73" fmla="*/ 98 h 246"/>
                    <a:gd name="T74" fmla="*/ 1 w 200"/>
                    <a:gd name="T75" fmla="*/ 87 h 246"/>
                    <a:gd name="T76" fmla="*/ 5 w 200"/>
                    <a:gd name="T77" fmla="*/ 78 h 246"/>
                    <a:gd name="T78" fmla="*/ 10 w 200"/>
                    <a:gd name="T79" fmla="*/ 68 h 246"/>
                    <a:gd name="T80" fmla="*/ 13 w 200"/>
                    <a:gd name="T81" fmla="*/ 5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219" name="Freeform 279">
                  <a:extLst>
                    <a:ext uri="{FF2B5EF4-FFF2-40B4-BE49-F238E27FC236}">
                      <a16:creationId xmlns="" xmlns:a16="http://schemas.microsoft.com/office/drawing/2014/main" id="{AE83ECF7-1231-49CA-8F9C-5F7B8F1117AE}"/>
                    </a:ext>
                  </a:extLst>
                </p:cNvPr>
                <p:cNvSpPr>
                  <a:spLocks/>
                </p:cNvSpPr>
                <p:nvPr>
                  <p:custDataLst>
                    <p:tags r:id="rId207"/>
                  </p:custDataLst>
                </p:nvPr>
              </p:nvSpPr>
              <p:spPr bwMode="auto">
                <a:xfrm>
                  <a:off x="8470087" y="3030985"/>
                  <a:ext cx="164392" cy="180155"/>
                </a:xfrm>
                <a:custGeom>
                  <a:avLst/>
                  <a:gdLst>
                    <a:gd name="T0" fmla="*/ 91 w 538"/>
                    <a:gd name="T1" fmla="*/ 21 h 487"/>
                    <a:gd name="T2" fmla="*/ 160 w 538"/>
                    <a:gd name="T3" fmla="*/ 47 h 487"/>
                    <a:gd name="T4" fmla="*/ 202 w 538"/>
                    <a:gd name="T5" fmla="*/ 70 h 487"/>
                    <a:gd name="T6" fmla="*/ 253 w 538"/>
                    <a:gd name="T7" fmla="*/ 110 h 487"/>
                    <a:gd name="T8" fmla="*/ 300 w 538"/>
                    <a:gd name="T9" fmla="*/ 136 h 487"/>
                    <a:gd name="T10" fmla="*/ 299 w 538"/>
                    <a:gd name="T11" fmla="*/ 161 h 487"/>
                    <a:gd name="T12" fmla="*/ 347 w 538"/>
                    <a:gd name="T13" fmla="*/ 205 h 487"/>
                    <a:gd name="T14" fmla="*/ 393 w 538"/>
                    <a:gd name="T15" fmla="*/ 248 h 487"/>
                    <a:gd name="T16" fmla="*/ 379 w 538"/>
                    <a:gd name="T17" fmla="*/ 250 h 487"/>
                    <a:gd name="T18" fmla="*/ 372 w 538"/>
                    <a:gd name="T19" fmla="*/ 256 h 487"/>
                    <a:gd name="T20" fmla="*/ 372 w 538"/>
                    <a:gd name="T21" fmla="*/ 278 h 487"/>
                    <a:gd name="T22" fmla="*/ 377 w 538"/>
                    <a:gd name="T23" fmla="*/ 301 h 487"/>
                    <a:gd name="T24" fmla="*/ 389 w 538"/>
                    <a:gd name="T25" fmla="*/ 325 h 487"/>
                    <a:gd name="T26" fmla="*/ 407 w 538"/>
                    <a:gd name="T27" fmla="*/ 348 h 487"/>
                    <a:gd name="T28" fmla="*/ 428 w 538"/>
                    <a:gd name="T29" fmla="*/ 366 h 487"/>
                    <a:gd name="T30" fmla="*/ 451 w 538"/>
                    <a:gd name="T31" fmla="*/ 376 h 487"/>
                    <a:gd name="T32" fmla="*/ 461 w 538"/>
                    <a:gd name="T33" fmla="*/ 390 h 487"/>
                    <a:gd name="T34" fmla="*/ 472 w 538"/>
                    <a:gd name="T35" fmla="*/ 406 h 487"/>
                    <a:gd name="T36" fmla="*/ 489 w 538"/>
                    <a:gd name="T37" fmla="*/ 417 h 487"/>
                    <a:gd name="T38" fmla="*/ 513 w 538"/>
                    <a:gd name="T39" fmla="*/ 432 h 487"/>
                    <a:gd name="T40" fmla="*/ 518 w 538"/>
                    <a:gd name="T41" fmla="*/ 444 h 487"/>
                    <a:gd name="T42" fmla="*/ 525 w 538"/>
                    <a:gd name="T43" fmla="*/ 450 h 487"/>
                    <a:gd name="T44" fmla="*/ 538 w 538"/>
                    <a:gd name="T45" fmla="*/ 456 h 487"/>
                    <a:gd name="T46" fmla="*/ 534 w 538"/>
                    <a:gd name="T47" fmla="*/ 472 h 487"/>
                    <a:gd name="T48" fmla="*/ 519 w 538"/>
                    <a:gd name="T49" fmla="*/ 484 h 487"/>
                    <a:gd name="T50" fmla="*/ 490 w 538"/>
                    <a:gd name="T51" fmla="*/ 487 h 487"/>
                    <a:gd name="T52" fmla="*/ 448 w 538"/>
                    <a:gd name="T53" fmla="*/ 480 h 487"/>
                    <a:gd name="T54" fmla="*/ 414 w 538"/>
                    <a:gd name="T55" fmla="*/ 466 h 487"/>
                    <a:gd name="T56" fmla="*/ 386 w 538"/>
                    <a:gd name="T57" fmla="*/ 446 h 487"/>
                    <a:gd name="T58" fmla="*/ 355 w 538"/>
                    <a:gd name="T59" fmla="*/ 415 h 487"/>
                    <a:gd name="T60" fmla="*/ 312 w 538"/>
                    <a:gd name="T61" fmla="*/ 365 h 487"/>
                    <a:gd name="T62" fmla="*/ 274 w 538"/>
                    <a:gd name="T63" fmla="*/ 330 h 487"/>
                    <a:gd name="T64" fmla="*/ 246 w 538"/>
                    <a:gd name="T65" fmla="*/ 316 h 487"/>
                    <a:gd name="T66" fmla="*/ 212 w 538"/>
                    <a:gd name="T67" fmla="*/ 309 h 487"/>
                    <a:gd name="T68" fmla="*/ 180 w 538"/>
                    <a:gd name="T69" fmla="*/ 310 h 487"/>
                    <a:gd name="T70" fmla="*/ 153 w 538"/>
                    <a:gd name="T71" fmla="*/ 317 h 487"/>
                    <a:gd name="T72" fmla="*/ 113 w 538"/>
                    <a:gd name="T73" fmla="*/ 345 h 487"/>
                    <a:gd name="T74" fmla="*/ 136 w 538"/>
                    <a:gd name="T75" fmla="*/ 361 h 487"/>
                    <a:gd name="T76" fmla="*/ 140 w 538"/>
                    <a:gd name="T77" fmla="*/ 370 h 487"/>
                    <a:gd name="T78" fmla="*/ 124 w 538"/>
                    <a:gd name="T79" fmla="*/ 401 h 487"/>
                    <a:gd name="T80" fmla="*/ 113 w 538"/>
                    <a:gd name="T81" fmla="*/ 414 h 487"/>
                    <a:gd name="T82" fmla="*/ 47 w 538"/>
                    <a:gd name="T83" fmla="*/ 403 h 487"/>
                    <a:gd name="T84" fmla="*/ 20 w 538"/>
                    <a:gd name="T85" fmla="*/ 259 h 487"/>
                    <a:gd name="T86" fmla="*/ 20 w 538"/>
                    <a:gd name="T87" fmla="*/ 0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220" name="Freeform 280">
                  <a:extLst>
                    <a:ext uri="{FF2B5EF4-FFF2-40B4-BE49-F238E27FC236}">
                      <a16:creationId xmlns="" xmlns:a16="http://schemas.microsoft.com/office/drawing/2014/main" id="{68D635A4-6FEC-44FC-B5DB-F55CB02AC48E}"/>
                    </a:ext>
                  </a:extLst>
                </p:cNvPr>
                <p:cNvSpPr>
                  <a:spLocks/>
                </p:cNvSpPr>
                <p:nvPr>
                  <p:custDataLst>
                    <p:tags r:id="rId208"/>
                  </p:custDataLst>
                </p:nvPr>
              </p:nvSpPr>
              <p:spPr bwMode="auto">
                <a:xfrm>
                  <a:off x="8606329" y="3019726"/>
                  <a:ext cx="75440" cy="91203"/>
                </a:xfrm>
                <a:custGeom>
                  <a:avLst/>
                  <a:gdLst>
                    <a:gd name="T0" fmla="*/ 136 w 253"/>
                    <a:gd name="T1" fmla="*/ 1 h 246"/>
                    <a:gd name="T2" fmla="*/ 157 w 253"/>
                    <a:gd name="T3" fmla="*/ 8 h 246"/>
                    <a:gd name="T4" fmla="*/ 179 w 253"/>
                    <a:gd name="T5" fmla="*/ 21 h 246"/>
                    <a:gd name="T6" fmla="*/ 199 w 253"/>
                    <a:gd name="T7" fmla="*/ 37 h 246"/>
                    <a:gd name="T8" fmla="*/ 218 w 253"/>
                    <a:gd name="T9" fmla="*/ 57 h 246"/>
                    <a:gd name="T10" fmla="*/ 234 w 253"/>
                    <a:gd name="T11" fmla="*/ 76 h 246"/>
                    <a:gd name="T12" fmla="*/ 245 w 253"/>
                    <a:gd name="T13" fmla="*/ 94 h 246"/>
                    <a:gd name="T14" fmla="*/ 252 w 253"/>
                    <a:gd name="T15" fmla="*/ 111 h 246"/>
                    <a:gd name="T16" fmla="*/ 252 w 253"/>
                    <a:gd name="T17" fmla="*/ 128 h 246"/>
                    <a:gd name="T18" fmla="*/ 243 w 253"/>
                    <a:gd name="T19" fmla="*/ 151 h 246"/>
                    <a:gd name="T20" fmla="*/ 229 w 253"/>
                    <a:gd name="T21" fmla="*/ 174 h 246"/>
                    <a:gd name="T22" fmla="*/ 209 w 253"/>
                    <a:gd name="T23" fmla="*/ 195 h 246"/>
                    <a:gd name="T24" fmla="*/ 184 w 253"/>
                    <a:gd name="T25" fmla="*/ 214 h 246"/>
                    <a:gd name="T26" fmla="*/ 157 w 253"/>
                    <a:gd name="T27" fmla="*/ 229 h 246"/>
                    <a:gd name="T28" fmla="*/ 129 w 253"/>
                    <a:gd name="T29" fmla="*/ 240 h 246"/>
                    <a:gd name="T30" fmla="*/ 100 w 253"/>
                    <a:gd name="T31" fmla="*/ 245 h 246"/>
                    <a:gd name="T32" fmla="*/ 74 w 253"/>
                    <a:gd name="T33" fmla="*/ 245 h 246"/>
                    <a:gd name="T34" fmla="*/ 53 w 253"/>
                    <a:gd name="T35" fmla="*/ 240 h 246"/>
                    <a:gd name="T36" fmla="*/ 33 w 253"/>
                    <a:gd name="T37" fmla="*/ 234 h 246"/>
                    <a:gd name="T38" fmla="*/ 11 w 253"/>
                    <a:gd name="T39" fmla="*/ 229 h 246"/>
                    <a:gd name="T40" fmla="*/ 3 w 253"/>
                    <a:gd name="T41" fmla="*/ 219 h 246"/>
                    <a:gd name="T42" fmla="*/ 10 w 253"/>
                    <a:gd name="T43" fmla="*/ 205 h 246"/>
                    <a:gd name="T44" fmla="*/ 22 w 253"/>
                    <a:gd name="T45" fmla="*/ 196 h 246"/>
                    <a:gd name="T46" fmla="*/ 37 w 253"/>
                    <a:gd name="T47" fmla="*/ 191 h 246"/>
                    <a:gd name="T48" fmla="*/ 50 w 253"/>
                    <a:gd name="T49" fmla="*/ 197 h 246"/>
                    <a:gd name="T50" fmla="*/ 60 w 253"/>
                    <a:gd name="T51" fmla="*/ 207 h 246"/>
                    <a:gd name="T52" fmla="*/ 68 w 253"/>
                    <a:gd name="T53" fmla="*/ 201 h 246"/>
                    <a:gd name="T54" fmla="*/ 75 w 253"/>
                    <a:gd name="T55" fmla="*/ 190 h 246"/>
                    <a:gd name="T56" fmla="*/ 84 w 253"/>
                    <a:gd name="T57" fmla="*/ 180 h 246"/>
                    <a:gd name="T58" fmla="*/ 91 w 253"/>
                    <a:gd name="T59" fmla="*/ 181 h 246"/>
                    <a:gd name="T60" fmla="*/ 98 w 253"/>
                    <a:gd name="T61" fmla="*/ 179 h 246"/>
                    <a:gd name="T62" fmla="*/ 106 w 253"/>
                    <a:gd name="T63" fmla="*/ 178 h 246"/>
                    <a:gd name="T64" fmla="*/ 120 w 253"/>
                    <a:gd name="T65" fmla="*/ 174 h 246"/>
                    <a:gd name="T66" fmla="*/ 149 w 253"/>
                    <a:gd name="T67" fmla="*/ 164 h 246"/>
                    <a:gd name="T68" fmla="*/ 179 w 253"/>
                    <a:gd name="T69" fmla="*/ 147 h 246"/>
                    <a:gd name="T70" fmla="*/ 197 w 253"/>
                    <a:gd name="T71" fmla="*/ 135 h 246"/>
                    <a:gd name="T72" fmla="*/ 210 w 253"/>
                    <a:gd name="T73" fmla="*/ 123 h 246"/>
                    <a:gd name="T74" fmla="*/ 218 w 253"/>
                    <a:gd name="T75" fmla="*/ 111 h 246"/>
                    <a:gd name="T76" fmla="*/ 219 w 253"/>
                    <a:gd name="T77" fmla="*/ 98 h 246"/>
                    <a:gd name="T78" fmla="*/ 214 w 253"/>
                    <a:gd name="T79" fmla="*/ 88 h 246"/>
                    <a:gd name="T80" fmla="*/ 210 w 253"/>
                    <a:gd name="T81" fmla="*/ 80 h 246"/>
                    <a:gd name="T82" fmla="*/ 207 w 253"/>
                    <a:gd name="T83" fmla="*/ 72 h 246"/>
                    <a:gd name="T84" fmla="*/ 201 w 253"/>
                    <a:gd name="T85" fmla="*/ 67 h 246"/>
                    <a:gd name="T86" fmla="*/ 191 w 253"/>
                    <a:gd name="T87" fmla="*/ 65 h 246"/>
                    <a:gd name="T88" fmla="*/ 184 w 253"/>
                    <a:gd name="T89" fmla="*/ 61 h 246"/>
                    <a:gd name="T90" fmla="*/ 180 w 253"/>
                    <a:gd name="T91" fmla="*/ 54 h 246"/>
                    <a:gd name="T92" fmla="*/ 140 w 253"/>
                    <a:gd name="T93" fmla="*/ 49 h 246"/>
                    <a:gd name="T94" fmla="*/ 136 w 253"/>
                    <a:gd name="T95" fmla="*/ 44 h 246"/>
                    <a:gd name="T96" fmla="*/ 136 w 253"/>
                    <a:gd name="T97" fmla="*/ 36 h 246"/>
                    <a:gd name="T98" fmla="*/ 140 w 253"/>
                    <a:gd name="T99" fmla="*/ 18 h 246"/>
                    <a:gd name="T100" fmla="*/ 110 w 253"/>
                    <a:gd name="T101" fmla="*/ 11 h 246"/>
                    <a:gd name="T102" fmla="*/ 97 w 253"/>
                    <a:gd name="T103" fmla="*/ 12 h 246"/>
                    <a:gd name="T104" fmla="*/ 86 w 253"/>
                    <a:gd name="T105" fmla="*/ 18 h 246"/>
                    <a:gd name="T106" fmla="*/ 104 w 253"/>
                    <a:gd name="T107" fmla="*/ 5 h 246"/>
                    <a:gd name="T108" fmla="*/ 113 w 253"/>
                    <a:gd name="T109" fmla="*/ 1 h 246"/>
                    <a:gd name="T110" fmla="*/ 127 w 253"/>
                    <a:gd name="T111"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221" name="Freeform 281">
                  <a:extLst>
                    <a:ext uri="{FF2B5EF4-FFF2-40B4-BE49-F238E27FC236}">
                      <a16:creationId xmlns="" xmlns:a16="http://schemas.microsoft.com/office/drawing/2014/main" id="{50AD481E-4029-4792-BFB1-DA40B82AB663}"/>
                    </a:ext>
                  </a:extLst>
                </p:cNvPr>
                <p:cNvSpPr>
                  <a:spLocks/>
                </p:cNvSpPr>
                <p:nvPr>
                  <p:custDataLst>
                    <p:tags r:id="rId209"/>
                  </p:custDataLst>
                </p:nvPr>
              </p:nvSpPr>
              <p:spPr bwMode="auto">
                <a:xfrm>
                  <a:off x="7383529" y="2759627"/>
                  <a:ext cx="45038" cy="84448"/>
                </a:xfrm>
                <a:custGeom>
                  <a:avLst/>
                  <a:gdLst>
                    <a:gd name="T0" fmla="*/ 41 w 141"/>
                    <a:gd name="T1" fmla="*/ 228 h 228"/>
                    <a:gd name="T2" fmla="*/ 36 w 141"/>
                    <a:gd name="T3" fmla="*/ 220 h 228"/>
                    <a:gd name="T4" fmla="*/ 29 w 141"/>
                    <a:gd name="T5" fmla="*/ 208 h 228"/>
                    <a:gd name="T6" fmla="*/ 22 w 141"/>
                    <a:gd name="T7" fmla="*/ 194 h 228"/>
                    <a:gd name="T8" fmla="*/ 16 w 141"/>
                    <a:gd name="T9" fmla="*/ 178 h 228"/>
                    <a:gd name="T10" fmla="*/ 10 w 141"/>
                    <a:gd name="T11" fmla="*/ 163 h 228"/>
                    <a:gd name="T12" fmla="*/ 5 w 141"/>
                    <a:gd name="T13" fmla="*/ 148 h 228"/>
                    <a:gd name="T14" fmla="*/ 2 w 141"/>
                    <a:gd name="T15" fmla="*/ 135 h 228"/>
                    <a:gd name="T16" fmla="*/ 0 w 141"/>
                    <a:gd name="T17" fmla="*/ 123 h 228"/>
                    <a:gd name="T18" fmla="*/ 2 w 141"/>
                    <a:gd name="T19" fmla="*/ 104 h 228"/>
                    <a:gd name="T20" fmla="*/ 4 w 141"/>
                    <a:gd name="T21" fmla="*/ 87 h 228"/>
                    <a:gd name="T22" fmla="*/ 6 w 141"/>
                    <a:gd name="T23" fmla="*/ 70 h 228"/>
                    <a:gd name="T24" fmla="*/ 9 w 141"/>
                    <a:gd name="T25" fmla="*/ 55 h 228"/>
                    <a:gd name="T26" fmla="*/ 18 w 141"/>
                    <a:gd name="T27" fmla="*/ 28 h 228"/>
                    <a:gd name="T28" fmla="*/ 28 w 141"/>
                    <a:gd name="T29" fmla="*/ 0 h 228"/>
                    <a:gd name="T30" fmla="*/ 45 w 141"/>
                    <a:gd name="T31" fmla="*/ 16 h 228"/>
                    <a:gd name="T32" fmla="*/ 62 w 141"/>
                    <a:gd name="T33" fmla="*/ 28 h 228"/>
                    <a:gd name="T34" fmla="*/ 76 w 141"/>
                    <a:gd name="T35" fmla="*/ 37 h 228"/>
                    <a:gd name="T36" fmla="*/ 89 w 141"/>
                    <a:gd name="T37" fmla="*/ 48 h 228"/>
                    <a:gd name="T38" fmla="*/ 95 w 141"/>
                    <a:gd name="T39" fmla="*/ 55 h 228"/>
                    <a:gd name="T40" fmla="*/ 101 w 141"/>
                    <a:gd name="T41" fmla="*/ 63 h 228"/>
                    <a:gd name="T42" fmla="*/ 107 w 141"/>
                    <a:gd name="T43" fmla="*/ 74 h 228"/>
                    <a:gd name="T44" fmla="*/ 114 w 141"/>
                    <a:gd name="T45" fmla="*/ 86 h 228"/>
                    <a:gd name="T46" fmla="*/ 120 w 141"/>
                    <a:gd name="T47" fmla="*/ 100 h 228"/>
                    <a:gd name="T48" fmla="*/ 127 w 141"/>
                    <a:gd name="T49" fmla="*/ 117 h 228"/>
                    <a:gd name="T50" fmla="*/ 133 w 141"/>
                    <a:gd name="T51" fmla="*/ 138 h 228"/>
                    <a:gd name="T52" fmla="*/ 141 w 141"/>
                    <a:gd name="T53" fmla="*/ 161 h 228"/>
                    <a:gd name="T54" fmla="*/ 140 w 141"/>
                    <a:gd name="T55" fmla="*/ 169 h 228"/>
                    <a:gd name="T56" fmla="*/ 138 w 141"/>
                    <a:gd name="T57" fmla="*/ 177 h 228"/>
                    <a:gd name="T58" fmla="*/ 135 w 141"/>
                    <a:gd name="T59" fmla="*/ 186 h 228"/>
                    <a:gd name="T60" fmla="*/ 131 w 141"/>
                    <a:gd name="T61" fmla="*/ 192 h 228"/>
                    <a:gd name="T62" fmla="*/ 127 w 141"/>
                    <a:gd name="T63" fmla="*/ 199 h 228"/>
                    <a:gd name="T64" fmla="*/ 121 w 141"/>
                    <a:gd name="T65" fmla="*/ 204 h 228"/>
                    <a:gd name="T66" fmla="*/ 115 w 141"/>
                    <a:gd name="T67" fmla="*/ 209 h 228"/>
                    <a:gd name="T68" fmla="*/ 108 w 141"/>
                    <a:gd name="T69" fmla="*/ 213 h 228"/>
                    <a:gd name="T70" fmla="*/ 100 w 141"/>
                    <a:gd name="T71" fmla="*/ 217 h 228"/>
                    <a:gd name="T72" fmla="*/ 93 w 141"/>
                    <a:gd name="T73" fmla="*/ 220 h 228"/>
                    <a:gd name="T74" fmla="*/ 85 w 141"/>
                    <a:gd name="T75" fmla="*/ 223 h 228"/>
                    <a:gd name="T76" fmla="*/ 76 w 141"/>
                    <a:gd name="T77" fmla="*/ 225 h 228"/>
                    <a:gd name="T78" fmla="*/ 59 w 141"/>
                    <a:gd name="T79" fmla="*/ 227 h 228"/>
                    <a:gd name="T80" fmla="*/ 41 w 141"/>
                    <a:gd name="T81"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chemeClr val="accent1"/>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grpSp>
              <p:nvGrpSpPr>
                <p:cNvPr id="222" name="Group 282">
                  <a:extLst>
                    <a:ext uri="{FF2B5EF4-FFF2-40B4-BE49-F238E27FC236}">
                      <a16:creationId xmlns="" xmlns:a16="http://schemas.microsoft.com/office/drawing/2014/main" id="{AE986BC1-CE09-4DC0-9D97-4B35B8051586}"/>
                    </a:ext>
                  </a:extLst>
                </p:cNvPr>
                <p:cNvGrpSpPr>
                  <a:grpSpLocks/>
                </p:cNvGrpSpPr>
                <p:nvPr>
                  <p:custDataLst>
                    <p:tags r:id="rId210"/>
                  </p:custDataLst>
                </p:nvPr>
              </p:nvGrpSpPr>
              <p:grpSpPr bwMode="auto">
                <a:xfrm>
                  <a:off x="8050102" y="2554700"/>
                  <a:ext cx="165517" cy="311893"/>
                  <a:chOff x="5062" y="2295"/>
                  <a:chExt cx="177" cy="279"/>
                </a:xfrm>
                <a:solidFill>
                  <a:srgbClr val="E75537"/>
                </a:solidFill>
              </p:grpSpPr>
              <p:sp>
                <p:nvSpPr>
                  <p:cNvPr id="494" name="Freeform 283">
                    <a:extLst>
                      <a:ext uri="{FF2B5EF4-FFF2-40B4-BE49-F238E27FC236}">
                        <a16:creationId xmlns="" xmlns:a16="http://schemas.microsoft.com/office/drawing/2014/main" id="{F52BA885-687B-4ABF-A326-427C6CB40426}"/>
                      </a:ext>
                    </a:extLst>
                  </p:cNvPr>
                  <p:cNvSpPr>
                    <a:spLocks/>
                  </p:cNvSpPr>
                  <p:nvPr/>
                </p:nvSpPr>
                <p:spPr bwMode="auto">
                  <a:xfrm>
                    <a:off x="5154" y="2449"/>
                    <a:ext cx="19" cy="37"/>
                  </a:xfrm>
                  <a:custGeom>
                    <a:avLst/>
                    <a:gdLst>
                      <a:gd name="T0" fmla="*/ 39 w 60"/>
                      <a:gd name="T1" fmla="*/ 110 h 110"/>
                      <a:gd name="T2" fmla="*/ 42 w 60"/>
                      <a:gd name="T3" fmla="*/ 109 h 110"/>
                      <a:gd name="T4" fmla="*/ 46 w 60"/>
                      <a:gd name="T5" fmla="*/ 106 h 110"/>
                      <a:gd name="T6" fmla="*/ 49 w 60"/>
                      <a:gd name="T7" fmla="*/ 101 h 110"/>
                      <a:gd name="T8" fmla="*/ 52 w 60"/>
                      <a:gd name="T9" fmla="*/ 96 h 110"/>
                      <a:gd name="T10" fmla="*/ 54 w 60"/>
                      <a:gd name="T11" fmla="*/ 90 h 110"/>
                      <a:gd name="T12" fmla="*/ 57 w 60"/>
                      <a:gd name="T13" fmla="*/ 84 h 110"/>
                      <a:gd name="T14" fmla="*/ 59 w 60"/>
                      <a:gd name="T15" fmla="*/ 78 h 110"/>
                      <a:gd name="T16" fmla="*/ 60 w 60"/>
                      <a:gd name="T17" fmla="*/ 73 h 110"/>
                      <a:gd name="T18" fmla="*/ 59 w 60"/>
                      <a:gd name="T19" fmla="*/ 60 h 110"/>
                      <a:gd name="T20" fmla="*/ 58 w 60"/>
                      <a:gd name="T21" fmla="*/ 48 h 110"/>
                      <a:gd name="T22" fmla="*/ 57 w 60"/>
                      <a:gd name="T23" fmla="*/ 38 h 110"/>
                      <a:gd name="T24" fmla="*/ 54 w 60"/>
                      <a:gd name="T25" fmla="*/ 29 h 110"/>
                      <a:gd name="T26" fmla="*/ 51 w 60"/>
                      <a:gd name="T27" fmla="*/ 21 h 110"/>
                      <a:gd name="T28" fmla="*/ 48 w 60"/>
                      <a:gd name="T29" fmla="*/ 13 h 110"/>
                      <a:gd name="T30" fmla="*/ 45 w 60"/>
                      <a:gd name="T31" fmla="*/ 6 h 110"/>
                      <a:gd name="T32" fmla="*/ 39 w 60"/>
                      <a:gd name="T33" fmla="*/ 0 h 110"/>
                      <a:gd name="T34" fmla="*/ 35 w 60"/>
                      <a:gd name="T35" fmla="*/ 3 h 110"/>
                      <a:gd name="T36" fmla="*/ 30 w 60"/>
                      <a:gd name="T37" fmla="*/ 8 h 110"/>
                      <a:gd name="T38" fmla="*/ 27 w 60"/>
                      <a:gd name="T39" fmla="*/ 13 h 110"/>
                      <a:gd name="T40" fmla="*/ 24 w 60"/>
                      <a:gd name="T41" fmla="*/ 18 h 110"/>
                      <a:gd name="T42" fmla="*/ 18 w 60"/>
                      <a:gd name="T43" fmla="*/ 29 h 110"/>
                      <a:gd name="T44" fmla="*/ 15 w 60"/>
                      <a:gd name="T45" fmla="*/ 40 h 110"/>
                      <a:gd name="T46" fmla="*/ 10 w 60"/>
                      <a:gd name="T47" fmla="*/ 51 h 110"/>
                      <a:gd name="T48" fmla="*/ 7 w 60"/>
                      <a:gd name="T49" fmla="*/ 62 h 110"/>
                      <a:gd name="T50" fmla="*/ 6 w 60"/>
                      <a:gd name="T51" fmla="*/ 66 h 110"/>
                      <a:gd name="T52" fmla="*/ 4 w 60"/>
                      <a:gd name="T53" fmla="*/ 69 h 110"/>
                      <a:gd name="T54" fmla="*/ 2 w 60"/>
                      <a:gd name="T55" fmla="*/ 72 h 110"/>
                      <a:gd name="T56" fmla="*/ 0 w 60"/>
                      <a:gd name="T57" fmla="*/ 73 h 110"/>
                      <a:gd name="T58" fmla="*/ 1 w 60"/>
                      <a:gd name="T59" fmla="*/ 78 h 110"/>
                      <a:gd name="T60" fmla="*/ 3 w 60"/>
                      <a:gd name="T61" fmla="*/ 84 h 110"/>
                      <a:gd name="T62" fmla="*/ 7 w 60"/>
                      <a:gd name="T63" fmla="*/ 90 h 110"/>
                      <a:gd name="T64" fmla="*/ 12 w 60"/>
                      <a:gd name="T65" fmla="*/ 96 h 110"/>
                      <a:gd name="T66" fmla="*/ 18 w 60"/>
                      <a:gd name="T67" fmla="*/ 101 h 110"/>
                      <a:gd name="T68" fmla="*/ 25 w 60"/>
                      <a:gd name="T69" fmla="*/ 106 h 110"/>
                      <a:gd name="T70" fmla="*/ 32 w 60"/>
                      <a:gd name="T71" fmla="*/ 109 h 110"/>
                      <a:gd name="T72" fmla="*/ 39 w 60"/>
                      <a:gd name="T7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495" name="Freeform 284">
                    <a:extLst>
                      <a:ext uri="{FF2B5EF4-FFF2-40B4-BE49-F238E27FC236}">
                        <a16:creationId xmlns="" xmlns:a16="http://schemas.microsoft.com/office/drawing/2014/main" id="{106DD7FE-20B0-4B71-AA8C-E108CD24444D}"/>
                      </a:ext>
                    </a:extLst>
                  </p:cNvPr>
                  <p:cNvSpPr>
                    <a:spLocks/>
                  </p:cNvSpPr>
                  <p:nvPr/>
                </p:nvSpPr>
                <p:spPr bwMode="auto">
                  <a:xfrm>
                    <a:off x="5189" y="2422"/>
                    <a:ext cx="24" cy="25"/>
                  </a:xfrm>
                  <a:custGeom>
                    <a:avLst/>
                    <a:gdLst>
                      <a:gd name="T0" fmla="*/ 0 w 72"/>
                      <a:gd name="T1" fmla="*/ 13 h 75"/>
                      <a:gd name="T2" fmla="*/ 8 w 72"/>
                      <a:gd name="T3" fmla="*/ 18 h 75"/>
                      <a:gd name="T4" fmla="*/ 15 w 72"/>
                      <a:gd name="T5" fmla="*/ 25 h 75"/>
                      <a:gd name="T6" fmla="*/ 23 w 72"/>
                      <a:gd name="T7" fmla="*/ 32 h 75"/>
                      <a:gd name="T8" fmla="*/ 31 w 72"/>
                      <a:gd name="T9" fmla="*/ 40 h 75"/>
                      <a:gd name="T10" fmla="*/ 37 w 72"/>
                      <a:gd name="T11" fmla="*/ 48 h 75"/>
                      <a:gd name="T12" fmla="*/ 42 w 72"/>
                      <a:gd name="T13" fmla="*/ 57 h 75"/>
                      <a:gd name="T14" fmla="*/ 45 w 72"/>
                      <a:gd name="T15" fmla="*/ 65 h 75"/>
                      <a:gd name="T16" fmla="*/ 46 w 72"/>
                      <a:gd name="T17" fmla="*/ 75 h 75"/>
                      <a:gd name="T18" fmla="*/ 72 w 72"/>
                      <a:gd name="T19" fmla="*/ 75 h 75"/>
                      <a:gd name="T20" fmla="*/ 65 w 72"/>
                      <a:gd name="T21" fmla="*/ 50 h 75"/>
                      <a:gd name="T22" fmla="*/ 60 w 72"/>
                      <a:gd name="T23" fmla="*/ 34 h 75"/>
                      <a:gd name="T24" fmla="*/ 60 w 72"/>
                      <a:gd name="T25" fmla="*/ 27 h 75"/>
                      <a:gd name="T26" fmla="*/ 63 w 72"/>
                      <a:gd name="T27" fmla="*/ 19 h 75"/>
                      <a:gd name="T28" fmla="*/ 67 w 72"/>
                      <a:gd name="T29" fmla="*/ 11 h 75"/>
                      <a:gd name="T30" fmla="*/ 72 w 72"/>
                      <a:gd name="T31" fmla="*/ 1 h 75"/>
                      <a:gd name="T32" fmla="*/ 52 w 72"/>
                      <a:gd name="T33" fmla="*/ 0 h 75"/>
                      <a:gd name="T34" fmla="*/ 32 w 72"/>
                      <a:gd name="T35" fmla="*/ 0 h 75"/>
                      <a:gd name="T36" fmla="*/ 22 w 72"/>
                      <a:gd name="T37" fmla="*/ 1 h 75"/>
                      <a:gd name="T38" fmla="*/ 13 w 72"/>
                      <a:gd name="T39" fmla="*/ 3 h 75"/>
                      <a:gd name="T40" fmla="*/ 9 w 72"/>
                      <a:gd name="T41" fmla="*/ 5 h 75"/>
                      <a:gd name="T42" fmla="*/ 6 w 72"/>
                      <a:gd name="T43" fmla="*/ 7 h 75"/>
                      <a:gd name="T44" fmla="*/ 2 w 72"/>
                      <a:gd name="T45" fmla="*/ 10 h 75"/>
                      <a:gd name="T46" fmla="*/ 0 w 72"/>
                      <a:gd name="T47"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496" name="Freeform 285">
                    <a:extLst>
                      <a:ext uri="{FF2B5EF4-FFF2-40B4-BE49-F238E27FC236}">
                        <a16:creationId xmlns="" xmlns:a16="http://schemas.microsoft.com/office/drawing/2014/main" id="{56F37C67-34BF-4EAC-BE40-2B5BC038185B}"/>
                      </a:ext>
                    </a:extLst>
                  </p:cNvPr>
                  <p:cNvSpPr>
                    <a:spLocks/>
                  </p:cNvSpPr>
                  <p:nvPr/>
                </p:nvSpPr>
                <p:spPr bwMode="auto">
                  <a:xfrm>
                    <a:off x="5160" y="2389"/>
                    <a:ext cx="5" cy="16"/>
                  </a:xfrm>
                  <a:custGeom>
                    <a:avLst/>
                    <a:gdLst>
                      <a:gd name="T0" fmla="*/ 15 w 15"/>
                      <a:gd name="T1" fmla="*/ 49 h 49"/>
                      <a:gd name="T2" fmla="*/ 15 w 15"/>
                      <a:gd name="T3" fmla="*/ 33 h 49"/>
                      <a:gd name="T4" fmla="*/ 15 w 15"/>
                      <a:gd name="T5" fmla="*/ 19 h 49"/>
                      <a:gd name="T6" fmla="*/ 14 w 15"/>
                      <a:gd name="T7" fmla="*/ 13 h 49"/>
                      <a:gd name="T8" fmla="*/ 13 w 15"/>
                      <a:gd name="T9" fmla="*/ 7 h 49"/>
                      <a:gd name="T10" fmla="*/ 11 w 15"/>
                      <a:gd name="T11" fmla="*/ 3 h 49"/>
                      <a:gd name="T12" fmla="*/ 9 w 15"/>
                      <a:gd name="T13" fmla="*/ 0 h 49"/>
                      <a:gd name="T14" fmla="*/ 4 w 15"/>
                      <a:gd name="T15" fmla="*/ 7 h 49"/>
                      <a:gd name="T16" fmla="*/ 2 w 15"/>
                      <a:gd name="T17" fmla="*/ 15 h 49"/>
                      <a:gd name="T18" fmla="*/ 0 w 15"/>
                      <a:gd name="T19" fmla="*/ 23 h 49"/>
                      <a:gd name="T20" fmla="*/ 0 w 15"/>
                      <a:gd name="T21" fmla="*/ 30 h 49"/>
                      <a:gd name="T22" fmla="*/ 1 w 15"/>
                      <a:gd name="T23" fmla="*/ 36 h 49"/>
                      <a:gd name="T24" fmla="*/ 4 w 15"/>
                      <a:gd name="T25" fmla="*/ 42 h 49"/>
                      <a:gd name="T26" fmla="*/ 7 w 15"/>
                      <a:gd name="T27" fmla="*/ 44 h 49"/>
                      <a:gd name="T28" fmla="*/ 9 w 15"/>
                      <a:gd name="T29" fmla="*/ 46 h 49"/>
                      <a:gd name="T30" fmla="*/ 12 w 15"/>
                      <a:gd name="T31" fmla="*/ 48 h 49"/>
                      <a:gd name="T32" fmla="*/ 15 w 15"/>
                      <a:gd name="T3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497" name="Freeform 286">
                    <a:extLst>
                      <a:ext uri="{FF2B5EF4-FFF2-40B4-BE49-F238E27FC236}">
                        <a16:creationId xmlns="" xmlns:a16="http://schemas.microsoft.com/office/drawing/2014/main" id="{0821E46C-6427-466A-A0C8-83790647E4DD}"/>
                      </a:ext>
                    </a:extLst>
                  </p:cNvPr>
                  <p:cNvSpPr>
                    <a:spLocks/>
                  </p:cNvSpPr>
                  <p:nvPr/>
                </p:nvSpPr>
                <p:spPr bwMode="auto">
                  <a:xfrm>
                    <a:off x="5139" y="2387"/>
                    <a:ext cx="15" cy="13"/>
                  </a:xfrm>
                  <a:custGeom>
                    <a:avLst/>
                    <a:gdLst>
                      <a:gd name="T0" fmla="*/ 20 w 47"/>
                      <a:gd name="T1" fmla="*/ 6 h 40"/>
                      <a:gd name="T2" fmla="*/ 0 w 47"/>
                      <a:gd name="T3" fmla="*/ 37 h 40"/>
                      <a:gd name="T4" fmla="*/ 6 w 47"/>
                      <a:gd name="T5" fmla="*/ 39 h 40"/>
                      <a:gd name="T6" fmla="*/ 12 w 47"/>
                      <a:gd name="T7" fmla="*/ 40 h 40"/>
                      <a:gd name="T8" fmla="*/ 19 w 47"/>
                      <a:gd name="T9" fmla="*/ 39 h 40"/>
                      <a:gd name="T10" fmla="*/ 26 w 47"/>
                      <a:gd name="T11" fmla="*/ 38 h 40"/>
                      <a:gd name="T12" fmla="*/ 32 w 47"/>
                      <a:gd name="T13" fmla="*/ 36 h 40"/>
                      <a:gd name="T14" fmla="*/ 39 w 47"/>
                      <a:gd name="T15" fmla="*/ 33 h 40"/>
                      <a:gd name="T16" fmla="*/ 43 w 47"/>
                      <a:gd name="T17" fmla="*/ 30 h 40"/>
                      <a:gd name="T18" fmla="*/ 47 w 47"/>
                      <a:gd name="T19" fmla="*/ 25 h 40"/>
                      <a:gd name="T20" fmla="*/ 47 w 47"/>
                      <a:gd name="T21" fmla="*/ 0 h 40"/>
                      <a:gd name="T22" fmla="*/ 41 w 47"/>
                      <a:gd name="T23" fmla="*/ 0 h 40"/>
                      <a:gd name="T24" fmla="*/ 33 w 47"/>
                      <a:gd name="T25" fmla="*/ 1 h 40"/>
                      <a:gd name="T26" fmla="*/ 26 w 47"/>
                      <a:gd name="T27" fmla="*/ 3 h 40"/>
                      <a:gd name="T28" fmla="*/ 20 w 47"/>
                      <a:gd name="T29"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498" name="Freeform 287">
                    <a:extLst>
                      <a:ext uri="{FF2B5EF4-FFF2-40B4-BE49-F238E27FC236}">
                        <a16:creationId xmlns="" xmlns:a16="http://schemas.microsoft.com/office/drawing/2014/main" id="{F78BAF0B-1526-4B2A-A6FB-D76E6F89BB05}"/>
                      </a:ext>
                    </a:extLst>
                  </p:cNvPr>
                  <p:cNvSpPr>
                    <a:spLocks/>
                  </p:cNvSpPr>
                  <p:nvPr/>
                </p:nvSpPr>
                <p:spPr bwMode="auto">
                  <a:xfrm>
                    <a:off x="5184" y="2465"/>
                    <a:ext cx="13" cy="10"/>
                  </a:xfrm>
                  <a:custGeom>
                    <a:avLst/>
                    <a:gdLst>
                      <a:gd name="T0" fmla="*/ 0 w 39"/>
                      <a:gd name="T1" fmla="*/ 0 h 31"/>
                      <a:gd name="T2" fmla="*/ 3 w 39"/>
                      <a:gd name="T3" fmla="*/ 8 h 31"/>
                      <a:gd name="T4" fmla="*/ 6 w 39"/>
                      <a:gd name="T5" fmla="*/ 13 h 31"/>
                      <a:gd name="T6" fmla="*/ 12 w 39"/>
                      <a:gd name="T7" fmla="*/ 19 h 31"/>
                      <a:gd name="T8" fmla="*/ 17 w 39"/>
                      <a:gd name="T9" fmla="*/ 23 h 31"/>
                      <a:gd name="T10" fmla="*/ 23 w 39"/>
                      <a:gd name="T11" fmla="*/ 26 h 31"/>
                      <a:gd name="T12" fmla="*/ 28 w 39"/>
                      <a:gd name="T13" fmla="*/ 29 h 31"/>
                      <a:gd name="T14" fmla="*/ 34 w 39"/>
                      <a:gd name="T15" fmla="*/ 31 h 31"/>
                      <a:gd name="T16" fmla="*/ 39 w 39"/>
                      <a:gd name="T17" fmla="*/ 31 h 31"/>
                      <a:gd name="T18" fmla="*/ 33 w 39"/>
                      <a:gd name="T19" fmla="*/ 22 h 31"/>
                      <a:gd name="T20" fmla="*/ 25 w 39"/>
                      <a:gd name="T21" fmla="*/ 14 h 31"/>
                      <a:gd name="T22" fmla="*/ 16 w 39"/>
                      <a:gd name="T23" fmla="*/ 7 h 31"/>
                      <a:gd name="T24" fmla="*/ 6 w 39"/>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499" name="Freeform 288">
                    <a:extLst>
                      <a:ext uri="{FF2B5EF4-FFF2-40B4-BE49-F238E27FC236}">
                        <a16:creationId xmlns="" xmlns:a16="http://schemas.microsoft.com/office/drawing/2014/main" id="{B64B79FC-1E6A-468F-BD79-BB7AF3BA6571}"/>
                      </a:ext>
                    </a:extLst>
                  </p:cNvPr>
                  <p:cNvSpPr>
                    <a:spLocks/>
                  </p:cNvSpPr>
                  <p:nvPr/>
                </p:nvSpPr>
                <p:spPr bwMode="auto">
                  <a:xfrm>
                    <a:off x="5172" y="2410"/>
                    <a:ext cx="10" cy="6"/>
                  </a:xfrm>
                  <a:custGeom>
                    <a:avLst/>
                    <a:gdLst>
                      <a:gd name="T0" fmla="*/ 0 w 34"/>
                      <a:gd name="T1" fmla="*/ 0 h 19"/>
                      <a:gd name="T2" fmla="*/ 34 w 34"/>
                      <a:gd name="T3" fmla="*/ 19 h 19"/>
                      <a:gd name="T4" fmla="*/ 34 w 34"/>
                      <a:gd name="T5" fmla="*/ 0 h 19"/>
                      <a:gd name="T6" fmla="*/ 24 w 34"/>
                      <a:gd name="T7" fmla="*/ 0 h 19"/>
                      <a:gd name="T8" fmla="*/ 14 w 34"/>
                      <a:gd name="T9" fmla="*/ 0 h 19"/>
                      <a:gd name="T10" fmla="*/ 7 w 34"/>
                      <a:gd name="T11" fmla="*/ 0 h 19"/>
                      <a:gd name="T12" fmla="*/ 0 w 34"/>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4" h="19">
                        <a:moveTo>
                          <a:pt x="0" y="0"/>
                        </a:moveTo>
                        <a:lnTo>
                          <a:pt x="34" y="19"/>
                        </a:lnTo>
                        <a:lnTo>
                          <a:pt x="34" y="0"/>
                        </a:lnTo>
                        <a:lnTo>
                          <a:pt x="24" y="0"/>
                        </a:lnTo>
                        <a:lnTo>
                          <a:pt x="14" y="0"/>
                        </a:lnTo>
                        <a:lnTo>
                          <a:pt x="7" y="0"/>
                        </a:lnTo>
                        <a:lnTo>
                          <a:pt x="0" y="0"/>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00" name="Freeform 289">
                    <a:extLst>
                      <a:ext uri="{FF2B5EF4-FFF2-40B4-BE49-F238E27FC236}">
                        <a16:creationId xmlns="" xmlns:a16="http://schemas.microsoft.com/office/drawing/2014/main" id="{5BB3E71C-29E3-4B24-AB04-98ABA60ACDAD}"/>
                      </a:ext>
                    </a:extLst>
                  </p:cNvPr>
                  <p:cNvSpPr>
                    <a:spLocks/>
                  </p:cNvSpPr>
                  <p:nvPr/>
                </p:nvSpPr>
                <p:spPr bwMode="auto">
                  <a:xfrm>
                    <a:off x="5180" y="2471"/>
                    <a:ext cx="6" cy="4"/>
                  </a:xfrm>
                  <a:custGeom>
                    <a:avLst/>
                    <a:gdLst>
                      <a:gd name="T0" fmla="*/ 0 w 19"/>
                      <a:gd name="T1" fmla="*/ 0 h 12"/>
                      <a:gd name="T2" fmla="*/ 19 w 19"/>
                      <a:gd name="T3" fmla="*/ 12 h 12"/>
                      <a:gd name="T4" fmla="*/ 13 w 19"/>
                      <a:gd name="T5" fmla="*/ 6 h 12"/>
                      <a:gd name="T6" fmla="*/ 6 w 19"/>
                      <a:gd name="T7" fmla="*/ 6 h 12"/>
                    </a:gdLst>
                    <a:ahLst/>
                    <a:cxnLst>
                      <a:cxn ang="0">
                        <a:pos x="T0" y="T1"/>
                      </a:cxn>
                      <a:cxn ang="0">
                        <a:pos x="T2" y="T3"/>
                      </a:cxn>
                      <a:cxn ang="0">
                        <a:pos x="T4" y="T5"/>
                      </a:cxn>
                      <a:cxn ang="0">
                        <a:pos x="T6" y="T7"/>
                      </a:cxn>
                    </a:cxnLst>
                    <a:rect l="0" t="0" r="r" b="b"/>
                    <a:pathLst>
                      <a:path w="19" h="12">
                        <a:moveTo>
                          <a:pt x="0" y="0"/>
                        </a:moveTo>
                        <a:lnTo>
                          <a:pt x="19" y="12"/>
                        </a:lnTo>
                        <a:lnTo>
                          <a:pt x="13" y="6"/>
                        </a:lnTo>
                        <a:lnTo>
                          <a:pt x="6" y="6"/>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01" name="Freeform 290">
                    <a:extLst>
                      <a:ext uri="{FF2B5EF4-FFF2-40B4-BE49-F238E27FC236}">
                        <a16:creationId xmlns="" xmlns:a16="http://schemas.microsoft.com/office/drawing/2014/main" id="{5177BF1A-555D-4E8D-8619-7BC44BDB24F3}"/>
                      </a:ext>
                    </a:extLst>
                  </p:cNvPr>
                  <p:cNvSpPr>
                    <a:spLocks/>
                  </p:cNvSpPr>
                  <p:nvPr/>
                </p:nvSpPr>
                <p:spPr bwMode="auto">
                  <a:xfrm>
                    <a:off x="5062" y="2447"/>
                    <a:ext cx="42" cy="55"/>
                  </a:xfrm>
                  <a:custGeom>
                    <a:avLst/>
                    <a:gdLst>
                      <a:gd name="T0" fmla="*/ 113 w 126"/>
                      <a:gd name="T1" fmla="*/ 0 h 166"/>
                      <a:gd name="T2" fmla="*/ 117 w 126"/>
                      <a:gd name="T3" fmla="*/ 5 h 166"/>
                      <a:gd name="T4" fmla="*/ 121 w 126"/>
                      <a:gd name="T5" fmla="*/ 10 h 166"/>
                      <a:gd name="T6" fmla="*/ 124 w 126"/>
                      <a:gd name="T7" fmla="*/ 13 h 166"/>
                      <a:gd name="T8" fmla="*/ 125 w 126"/>
                      <a:gd name="T9" fmla="*/ 17 h 166"/>
                      <a:gd name="T10" fmla="*/ 126 w 126"/>
                      <a:gd name="T11" fmla="*/ 20 h 166"/>
                      <a:gd name="T12" fmla="*/ 126 w 126"/>
                      <a:gd name="T13" fmla="*/ 25 h 166"/>
                      <a:gd name="T14" fmla="*/ 123 w 126"/>
                      <a:gd name="T15" fmla="*/ 32 h 166"/>
                      <a:gd name="T16" fmla="*/ 118 w 126"/>
                      <a:gd name="T17" fmla="*/ 41 h 166"/>
                      <a:gd name="T18" fmla="*/ 113 w 126"/>
                      <a:gd name="T19" fmla="*/ 50 h 166"/>
                      <a:gd name="T20" fmla="*/ 106 w 126"/>
                      <a:gd name="T21" fmla="*/ 61 h 166"/>
                      <a:gd name="T22" fmla="*/ 91 w 126"/>
                      <a:gd name="T23" fmla="*/ 83 h 166"/>
                      <a:gd name="T24" fmla="*/ 72 w 126"/>
                      <a:gd name="T25" fmla="*/ 104 h 166"/>
                      <a:gd name="T26" fmla="*/ 53 w 126"/>
                      <a:gd name="T27" fmla="*/ 126 h 166"/>
                      <a:gd name="T28" fmla="*/ 34 w 126"/>
                      <a:gd name="T29" fmla="*/ 144 h 166"/>
                      <a:gd name="T30" fmla="*/ 25 w 126"/>
                      <a:gd name="T31" fmla="*/ 152 h 166"/>
                      <a:gd name="T32" fmla="*/ 16 w 126"/>
                      <a:gd name="T33" fmla="*/ 158 h 166"/>
                      <a:gd name="T34" fmla="*/ 7 w 126"/>
                      <a:gd name="T35" fmla="*/ 163 h 166"/>
                      <a:gd name="T36" fmla="*/ 0 w 126"/>
                      <a:gd name="T37" fmla="*/ 166 h 166"/>
                      <a:gd name="T38" fmla="*/ 0 w 126"/>
                      <a:gd name="T39" fmla="*/ 160 h 166"/>
                      <a:gd name="T40" fmla="*/ 0 w 126"/>
                      <a:gd name="T41" fmla="*/ 153 h 166"/>
                      <a:gd name="T42" fmla="*/ 0 w 126"/>
                      <a:gd name="T43" fmla="*/ 145 h 166"/>
                      <a:gd name="T44" fmla="*/ 0 w 126"/>
                      <a:gd name="T45" fmla="*/ 136 h 166"/>
                      <a:gd name="T46" fmla="*/ 3 w 126"/>
                      <a:gd name="T47" fmla="*/ 131 h 166"/>
                      <a:gd name="T48" fmla="*/ 6 w 126"/>
                      <a:gd name="T49" fmla="*/ 128 h 166"/>
                      <a:gd name="T50" fmla="*/ 12 w 126"/>
                      <a:gd name="T51" fmla="*/ 124 h 166"/>
                      <a:gd name="T52" fmla="*/ 16 w 126"/>
                      <a:gd name="T53" fmla="*/ 121 h 166"/>
                      <a:gd name="T54" fmla="*/ 26 w 126"/>
                      <a:gd name="T55" fmla="*/ 116 h 166"/>
                      <a:gd name="T56" fmla="*/ 33 w 126"/>
                      <a:gd name="T57" fmla="*/ 110 h 166"/>
                      <a:gd name="T58" fmla="*/ 40 w 126"/>
                      <a:gd name="T59" fmla="*/ 104 h 166"/>
                      <a:gd name="T60" fmla="*/ 48 w 126"/>
                      <a:gd name="T61" fmla="*/ 96 h 166"/>
                      <a:gd name="T62" fmla="*/ 53 w 126"/>
                      <a:gd name="T63" fmla="*/ 89 h 166"/>
                      <a:gd name="T64" fmla="*/ 58 w 126"/>
                      <a:gd name="T65" fmla="*/ 82 h 166"/>
                      <a:gd name="T66" fmla="*/ 67 w 126"/>
                      <a:gd name="T67" fmla="*/ 66 h 166"/>
                      <a:gd name="T68" fmla="*/ 72 w 126"/>
                      <a:gd name="T69" fmla="*/ 50 h 166"/>
                      <a:gd name="T70" fmla="*/ 79 w 126"/>
                      <a:gd name="T71" fmla="*/ 36 h 166"/>
                      <a:gd name="T72" fmla="*/ 87 w 126"/>
                      <a:gd name="T73" fmla="*/ 23 h 166"/>
                      <a:gd name="T74" fmla="*/ 92 w 126"/>
                      <a:gd name="T75" fmla="*/ 16 h 166"/>
                      <a:gd name="T76" fmla="*/ 97 w 126"/>
                      <a:gd name="T77" fmla="*/ 11 h 166"/>
                      <a:gd name="T78" fmla="*/ 104 w 126"/>
                      <a:gd name="T79" fmla="*/ 5 h 166"/>
                      <a:gd name="T80" fmla="*/ 113 w 126"/>
                      <a:gd name="T81"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02" name="Freeform 291">
                    <a:extLst>
                      <a:ext uri="{FF2B5EF4-FFF2-40B4-BE49-F238E27FC236}">
                        <a16:creationId xmlns="" xmlns:a16="http://schemas.microsoft.com/office/drawing/2014/main" id="{50E102AF-1EF9-4075-BF18-EE45C334D07E}"/>
                      </a:ext>
                    </a:extLst>
                  </p:cNvPr>
                  <p:cNvSpPr>
                    <a:spLocks/>
                  </p:cNvSpPr>
                  <p:nvPr/>
                </p:nvSpPr>
                <p:spPr bwMode="auto">
                  <a:xfrm>
                    <a:off x="5154" y="2465"/>
                    <a:ext cx="85" cy="86"/>
                  </a:xfrm>
                  <a:custGeom>
                    <a:avLst/>
                    <a:gdLst>
                      <a:gd name="T0" fmla="*/ 8 w 259"/>
                      <a:gd name="T1" fmla="*/ 182 h 259"/>
                      <a:gd name="T2" fmla="*/ 1 w 259"/>
                      <a:gd name="T3" fmla="*/ 163 h 259"/>
                      <a:gd name="T4" fmla="*/ 0 w 259"/>
                      <a:gd name="T5" fmla="*/ 142 h 259"/>
                      <a:gd name="T6" fmla="*/ 6 w 259"/>
                      <a:gd name="T7" fmla="*/ 130 h 259"/>
                      <a:gd name="T8" fmla="*/ 19 w 259"/>
                      <a:gd name="T9" fmla="*/ 126 h 259"/>
                      <a:gd name="T10" fmla="*/ 34 w 259"/>
                      <a:gd name="T11" fmla="*/ 117 h 259"/>
                      <a:gd name="T12" fmla="*/ 48 w 259"/>
                      <a:gd name="T13" fmla="*/ 100 h 259"/>
                      <a:gd name="T14" fmla="*/ 60 w 259"/>
                      <a:gd name="T15" fmla="*/ 91 h 259"/>
                      <a:gd name="T16" fmla="*/ 68 w 259"/>
                      <a:gd name="T17" fmla="*/ 87 h 259"/>
                      <a:gd name="T18" fmla="*/ 83 w 259"/>
                      <a:gd name="T19" fmla="*/ 87 h 259"/>
                      <a:gd name="T20" fmla="*/ 94 w 259"/>
                      <a:gd name="T21" fmla="*/ 93 h 259"/>
                      <a:gd name="T22" fmla="*/ 101 w 259"/>
                      <a:gd name="T23" fmla="*/ 105 h 259"/>
                      <a:gd name="T24" fmla="*/ 108 w 259"/>
                      <a:gd name="T25" fmla="*/ 110 h 259"/>
                      <a:gd name="T26" fmla="*/ 120 w 259"/>
                      <a:gd name="T27" fmla="*/ 110 h 259"/>
                      <a:gd name="T28" fmla="*/ 135 w 259"/>
                      <a:gd name="T29" fmla="*/ 104 h 259"/>
                      <a:gd name="T30" fmla="*/ 148 w 259"/>
                      <a:gd name="T31" fmla="*/ 93 h 259"/>
                      <a:gd name="T32" fmla="*/ 160 w 259"/>
                      <a:gd name="T33" fmla="*/ 78 h 259"/>
                      <a:gd name="T34" fmla="*/ 174 w 259"/>
                      <a:gd name="T35" fmla="*/ 51 h 259"/>
                      <a:gd name="T36" fmla="*/ 188 w 259"/>
                      <a:gd name="T37" fmla="*/ 16 h 259"/>
                      <a:gd name="T38" fmla="*/ 195 w 259"/>
                      <a:gd name="T39" fmla="*/ 4 h 259"/>
                      <a:gd name="T40" fmla="*/ 202 w 259"/>
                      <a:gd name="T41" fmla="*/ 12 h 259"/>
                      <a:gd name="T42" fmla="*/ 213 w 259"/>
                      <a:gd name="T43" fmla="*/ 18 h 259"/>
                      <a:gd name="T44" fmla="*/ 219 w 259"/>
                      <a:gd name="T45" fmla="*/ 32 h 259"/>
                      <a:gd name="T46" fmla="*/ 219 w 259"/>
                      <a:gd name="T47" fmla="*/ 52 h 259"/>
                      <a:gd name="T48" fmla="*/ 227 w 259"/>
                      <a:gd name="T49" fmla="*/ 61 h 259"/>
                      <a:gd name="T50" fmla="*/ 234 w 259"/>
                      <a:gd name="T51" fmla="*/ 70 h 259"/>
                      <a:gd name="T52" fmla="*/ 234 w 259"/>
                      <a:gd name="T53" fmla="*/ 88 h 259"/>
                      <a:gd name="T54" fmla="*/ 234 w 259"/>
                      <a:gd name="T55" fmla="*/ 104 h 259"/>
                      <a:gd name="T56" fmla="*/ 237 w 259"/>
                      <a:gd name="T57" fmla="*/ 110 h 259"/>
                      <a:gd name="T58" fmla="*/ 243 w 259"/>
                      <a:gd name="T59" fmla="*/ 121 h 259"/>
                      <a:gd name="T60" fmla="*/ 249 w 259"/>
                      <a:gd name="T61" fmla="*/ 137 h 259"/>
                      <a:gd name="T62" fmla="*/ 254 w 259"/>
                      <a:gd name="T63" fmla="*/ 161 h 259"/>
                      <a:gd name="T64" fmla="*/ 245 w 259"/>
                      <a:gd name="T65" fmla="*/ 235 h 259"/>
                      <a:gd name="T66" fmla="*/ 239 w 259"/>
                      <a:gd name="T67" fmla="*/ 222 h 259"/>
                      <a:gd name="T68" fmla="*/ 237 w 259"/>
                      <a:gd name="T69" fmla="*/ 208 h 259"/>
                      <a:gd name="T70" fmla="*/ 239 w 259"/>
                      <a:gd name="T71" fmla="*/ 192 h 259"/>
                      <a:gd name="T72" fmla="*/ 222 w 259"/>
                      <a:gd name="T73" fmla="*/ 188 h 259"/>
                      <a:gd name="T74" fmla="*/ 206 w 259"/>
                      <a:gd name="T75" fmla="*/ 179 h 259"/>
                      <a:gd name="T76" fmla="*/ 194 w 259"/>
                      <a:gd name="T77" fmla="*/ 199 h 259"/>
                      <a:gd name="T78" fmla="*/ 188 w 259"/>
                      <a:gd name="T79" fmla="*/ 219 h 259"/>
                      <a:gd name="T80" fmla="*/ 185 w 259"/>
                      <a:gd name="T81" fmla="*/ 259 h 259"/>
                      <a:gd name="T82" fmla="*/ 124 w 259"/>
                      <a:gd name="T83" fmla="*/ 242 h 259"/>
                      <a:gd name="T84" fmla="*/ 110 w 259"/>
                      <a:gd name="T85" fmla="*/ 220 h 259"/>
                      <a:gd name="T86" fmla="*/ 99 w 259"/>
                      <a:gd name="T87" fmla="*/ 209 h 259"/>
                      <a:gd name="T88" fmla="*/ 97 w 259"/>
                      <a:gd name="T89" fmla="*/ 196 h 259"/>
                      <a:gd name="T90" fmla="*/ 105 w 259"/>
                      <a:gd name="T91" fmla="*/ 186 h 259"/>
                      <a:gd name="T92" fmla="*/ 112 w 259"/>
                      <a:gd name="T93" fmla="*/ 180 h 259"/>
                      <a:gd name="T94" fmla="*/ 117 w 259"/>
                      <a:gd name="T95" fmla="*/ 173 h 259"/>
                      <a:gd name="T96" fmla="*/ 93 w 259"/>
                      <a:gd name="T97" fmla="*/ 154 h 259"/>
                      <a:gd name="T98" fmla="*/ 28 w 259"/>
                      <a:gd name="T99" fmla="*/ 155 h 259"/>
                      <a:gd name="T100" fmla="*/ 20 w 259"/>
                      <a:gd name="T101" fmla="*/ 163 h 259"/>
                      <a:gd name="T102" fmla="*/ 16 w 259"/>
                      <a:gd name="T103" fmla="*/ 175 h 259"/>
                      <a:gd name="T104" fmla="*/ 13 w 259"/>
                      <a:gd name="T105" fmla="*/ 18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03" name="Freeform 292">
                    <a:extLst>
                      <a:ext uri="{FF2B5EF4-FFF2-40B4-BE49-F238E27FC236}">
                        <a16:creationId xmlns="" xmlns:a16="http://schemas.microsoft.com/office/drawing/2014/main" id="{BB9A9219-ECDE-40BC-A3A9-4345E06CEB00}"/>
                      </a:ext>
                    </a:extLst>
                  </p:cNvPr>
                  <p:cNvSpPr>
                    <a:spLocks/>
                  </p:cNvSpPr>
                  <p:nvPr/>
                </p:nvSpPr>
                <p:spPr bwMode="auto">
                  <a:xfrm>
                    <a:off x="5104" y="2395"/>
                    <a:ext cx="23" cy="31"/>
                  </a:xfrm>
                  <a:custGeom>
                    <a:avLst/>
                    <a:gdLst>
                      <a:gd name="T0" fmla="*/ 72 w 72"/>
                      <a:gd name="T1" fmla="*/ 43 h 92"/>
                      <a:gd name="T2" fmla="*/ 72 w 72"/>
                      <a:gd name="T3" fmla="*/ 92 h 92"/>
                      <a:gd name="T4" fmla="*/ 65 w 72"/>
                      <a:gd name="T5" fmla="*/ 86 h 92"/>
                      <a:gd name="T6" fmla="*/ 58 w 72"/>
                      <a:gd name="T7" fmla="*/ 81 h 92"/>
                      <a:gd name="T8" fmla="*/ 51 w 72"/>
                      <a:gd name="T9" fmla="*/ 75 h 92"/>
                      <a:gd name="T10" fmla="*/ 46 w 72"/>
                      <a:gd name="T11" fmla="*/ 69 h 92"/>
                      <a:gd name="T12" fmla="*/ 38 w 72"/>
                      <a:gd name="T13" fmla="*/ 58 h 92"/>
                      <a:gd name="T14" fmla="*/ 32 w 72"/>
                      <a:gd name="T15" fmla="*/ 46 h 92"/>
                      <a:gd name="T16" fmla="*/ 25 w 72"/>
                      <a:gd name="T17" fmla="*/ 34 h 92"/>
                      <a:gd name="T18" fmla="*/ 19 w 72"/>
                      <a:gd name="T19" fmla="*/ 23 h 92"/>
                      <a:gd name="T20" fmla="*/ 11 w 72"/>
                      <a:gd name="T21" fmla="*/ 12 h 92"/>
                      <a:gd name="T22" fmla="*/ 0 w 72"/>
                      <a:gd name="T23" fmla="*/ 0 h 92"/>
                      <a:gd name="T24" fmla="*/ 25 w 72"/>
                      <a:gd name="T25" fmla="*/ 12 h 92"/>
                      <a:gd name="T26" fmla="*/ 44 w 72"/>
                      <a:gd name="T27" fmla="*/ 21 h 92"/>
                      <a:gd name="T28" fmla="*/ 51 w 72"/>
                      <a:gd name="T29" fmla="*/ 26 h 92"/>
                      <a:gd name="T30" fmla="*/ 58 w 72"/>
                      <a:gd name="T31" fmla="*/ 31 h 92"/>
                      <a:gd name="T32" fmla="*/ 66 w 72"/>
                      <a:gd name="T33" fmla="*/ 36 h 92"/>
                      <a:gd name="T34" fmla="*/ 72 w 72"/>
                      <a:gd name="T35" fmla="*/ 4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04" name="Freeform 293">
                    <a:extLst>
                      <a:ext uri="{FF2B5EF4-FFF2-40B4-BE49-F238E27FC236}">
                        <a16:creationId xmlns="" xmlns:a16="http://schemas.microsoft.com/office/drawing/2014/main" id="{485D011C-ED27-4DBF-A0E0-97F40687F973}"/>
                      </a:ext>
                    </a:extLst>
                  </p:cNvPr>
                  <p:cNvSpPr>
                    <a:spLocks/>
                  </p:cNvSpPr>
                  <p:nvPr/>
                </p:nvSpPr>
                <p:spPr bwMode="auto">
                  <a:xfrm>
                    <a:off x="5143" y="2436"/>
                    <a:ext cx="16" cy="21"/>
                  </a:xfrm>
                  <a:custGeom>
                    <a:avLst/>
                    <a:gdLst>
                      <a:gd name="T0" fmla="*/ 6 w 46"/>
                      <a:gd name="T1" fmla="*/ 6 h 62"/>
                      <a:gd name="T2" fmla="*/ 19 w 46"/>
                      <a:gd name="T3" fmla="*/ 5 h 62"/>
                      <a:gd name="T4" fmla="*/ 31 w 46"/>
                      <a:gd name="T5" fmla="*/ 3 h 62"/>
                      <a:gd name="T6" fmla="*/ 39 w 46"/>
                      <a:gd name="T7" fmla="*/ 1 h 62"/>
                      <a:gd name="T8" fmla="*/ 46 w 46"/>
                      <a:gd name="T9" fmla="*/ 0 h 62"/>
                      <a:gd name="T10" fmla="*/ 46 w 46"/>
                      <a:gd name="T11" fmla="*/ 9 h 62"/>
                      <a:gd name="T12" fmla="*/ 46 w 46"/>
                      <a:gd name="T13" fmla="*/ 18 h 62"/>
                      <a:gd name="T14" fmla="*/ 46 w 46"/>
                      <a:gd name="T15" fmla="*/ 27 h 62"/>
                      <a:gd name="T16" fmla="*/ 46 w 46"/>
                      <a:gd name="T17" fmla="*/ 38 h 62"/>
                      <a:gd name="T18" fmla="*/ 45 w 46"/>
                      <a:gd name="T19" fmla="*/ 46 h 62"/>
                      <a:gd name="T20" fmla="*/ 41 w 46"/>
                      <a:gd name="T21" fmla="*/ 54 h 62"/>
                      <a:gd name="T22" fmla="*/ 39 w 46"/>
                      <a:gd name="T23" fmla="*/ 57 h 62"/>
                      <a:gd name="T24" fmla="*/ 37 w 46"/>
                      <a:gd name="T25" fmla="*/ 60 h 62"/>
                      <a:gd name="T26" fmla="*/ 35 w 46"/>
                      <a:gd name="T27" fmla="*/ 61 h 62"/>
                      <a:gd name="T28" fmla="*/ 33 w 46"/>
                      <a:gd name="T29" fmla="*/ 62 h 62"/>
                      <a:gd name="T30" fmla="*/ 27 w 46"/>
                      <a:gd name="T31" fmla="*/ 61 h 62"/>
                      <a:gd name="T32" fmla="*/ 22 w 46"/>
                      <a:gd name="T33" fmla="*/ 60 h 62"/>
                      <a:gd name="T34" fmla="*/ 17 w 46"/>
                      <a:gd name="T35" fmla="*/ 59 h 62"/>
                      <a:gd name="T36" fmla="*/ 14 w 46"/>
                      <a:gd name="T37" fmla="*/ 57 h 62"/>
                      <a:gd name="T38" fmla="*/ 11 w 46"/>
                      <a:gd name="T39" fmla="*/ 54 h 62"/>
                      <a:gd name="T40" fmla="*/ 7 w 46"/>
                      <a:gd name="T41" fmla="*/ 51 h 62"/>
                      <a:gd name="T42" fmla="*/ 5 w 46"/>
                      <a:gd name="T43" fmla="*/ 47 h 62"/>
                      <a:gd name="T44" fmla="*/ 4 w 46"/>
                      <a:gd name="T45" fmla="*/ 44 h 62"/>
                      <a:gd name="T46" fmla="*/ 1 w 46"/>
                      <a:gd name="T47" fmla="*/ 34 h 62"/>
                      <a:gd name="T48" fmla="*/ 0 w 46"/>
                      <a:gd name="T49" fmla="*/ 25 h 62"/>
                      <a:gd name="T50" fmla="*/ 0 w 46"/>
                      <a:gd name="T51" fmla="*/ 16 h 62"/>
                      <a:gd name="T52" fmla="*/ 0 w 46"/>
                      <a:gd name="T53" fmla="*/ 6 h 62"/>
                      <a:gd name="T54" fmla="*/ 6 w 46"/>
                      <a:gd name="T55" fmla="*/ 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05" name="Freeform 294">
                    <a:extLst>
                      <a:ext uri="{FF2B5EF4-FFF2-40B4-BE49-F238E27FC236}">
                        <a16:creationId xmlns="" xmlns:a16="http://schemas.microsoft.com/office/drawing/2014/main" id="{3DB23C62-2463-4C6E-A838-67B0B6723D85}"/>
                      </a:ext>
                    </a:extLst>
                  </p:cNvPr>
                  <p:cNvSpPr>
                    <a:spLocks/>
                  </p:cNvSpPr>
                  <p:nvPr/>
                </p:nvSpPr>
                <p:spPr bwMode="auto">
                  <a:xfrm>
                    <a:off x="5089" y="2295"/>
                    <a:ext cx="50" cy="98"/>
                  </a:xfrm>
                  <a:custGeom>
                    <a:avLst/>
                    <a:gdLst>
                      <a:gd name="T0" fmla="*/ 59 w 152"/>
                      <a:gd name="T1" fmla="*/ 0 h 296"/>
                      <a:gd name="T2" fmla="*/ 66 w 152"/>
                      <a:gd name="T3" fmla="*/ 9 h 296"/>
                      <a:gd name="T4" fmla="*/ 77 w 152"/>
                      <a:gd name="T5" fmla="*/ 17 h 296"/>
                      <a:gd name="T6" fmla="*/ 88 w 152"/>
                      <a:gd name="T7" fmla="*/ 23 h 296"/>
                      <a:gd name="T8" fmla="*/ 99 w 152"/>
                      <a:gd name="T9" fmla="*/ 25 h 296"/>
                      <a:gd name="T10" fmla="*/ 108 w 152"/>
                      <a:gd name="T11" fmla="*/ 21 h 296"/>
                      <a:gd name="T12" fmla="*/ 118 w 152"/>
                      <a:gd name="T13" fmla="*/ 12 h 296"/>
                      <a:gd name="T14" fmla="*/ 122 w 152"/>
                      <a:gd name="T15" fmla="*/ 35 h 296"/>
                      <a:gd name="T16" fmla="*/ 130 w 152"/>
                      <a:gd name="T17" fmla="*/ 62 h 296"/>
                      <a:gd name="T18" fmla="*/ 141 w 152"/>
                      <a:gd name="T19" fmla="*/ 86 h 296"/>
                      <a:gd name="T20" fmla="*/ 147 w 152"/>
                      <a:gd name="T21" fmla="*/ 94 h 296"/>
                      <a:gd name="T22" fmla="*/ 152 w 152"/>
                      <a:gd name="T23" fmla="*/ 99 h 296"/>
                      <a:gd name="T24" fmla="*/ 143 w 152"/>
                      <a:gd name="T25" fmla="*/ 120 h 296"/>
                      <a:gd name="T26" fmla="*/ 129 w 152"/>
                      <a:gd name="T27" fmla="*/ 140 h 296"/>
                      <a:gd name="T28" fmla="*/ 117 w 152"/>
                      <a:gd name="T29" fmla="*/ 157 h 296"/>
                      <a:gd name="T30" fmla="*/ 112 w 152"/>
                      <a:gd name="T31" fmla="*/ 172 h 296"/>
                      <a:gd name="T32" fmla="*/ 115 w 152"/>
                      <a:gd name="T33" fmla="*/ 197 h 296"/>
                      <a:gd name="T34" fmla="*/ 115 w 152"/>
                      <a:gd name="T35" fmla="*/ 205 h 296"/>
                      <a:gd name="T36" fmla="*/ 112 w 152"/>
                      <a:gd name="T37" fmla="*/ 216 h 296"/>
                      <a:gd name="T38" fmla="*/ 126 w 152"/>
                      <a:gd name="T39" fmla="*/ 216 h 296"/>
                      <a:gd name="T40" fmla="*/ 146 w 152"/>
                      <a:gd name="T41" fmla="*/ 216 h 296"/>
                      <a:gd name="T42" fmla="*/ 136 w 152"/>
                      <a:gd name="T43" fmla="*/ 252 h 296"/>
                      <a:gd name="T44" fmla="*/ 136 w 152"/>
                      <a:gd name="T45" fmla="*/ 267 h 296"/>
                      <a:gd name="T46" fmla="*/ 146 w 152"/>
                      <a:gd name="T47" fmla="*/ 283 h 296"/>
                      <a:gd name="T48" fmla="*/ 125 w 152"/>
                      <a:gd name="T49" fmla="*/ 291 h 296"/>
                      <a:gd name="T50" fmla="*/ 105 w 152"/>
                      <a:gd name="T51" fmla="*/ 296 h 296"/>
                      <a:gd name="T52" fmla="*/ 85 w 152"/>
                      <a:gd name="T53" fmla="*/ 294 h 296"/>
                      <a:gd name="T54" fmla="*/ 73 w 152"/>
                      <a:gd name="T55" fmla="*/ 288 h 296"/>
                      <a:gd name="T56" fmla="*/ 67 w 152"/>
                      <a:gd name="T57" fmla="*/ 280 h 296"/>
                      <a:gd name="T58" fmla="*/ 66 w 152"/>
                      <a:gd name="T59" fmla="*/ 271 h 296"/>
                      <a:gd name="T60" fmla="*/ 85 w 152"/>
                      <a:gd name="T61" fmla="*/ 253 h 296"/>
                      <a:gd name="T62" fmla="*/ 69 w 152"/>
                      <a:gd name="T63" fmla="*/ 249 h 296"/>
                      <a:gd name="T64" fmla="*/ 52 w 152"/>
                      <a:gd name="T65" fmla="*/ 242 h 296"/>
                      <a:gd name="T66" fmla="*/ 38 w 152"/>
                      <a:gd name="T67" fmla="*/ 231 h 296"/>
                      <a:gd name="T68" fmla="*/ 25 w 152"/>
                      <a:gd name="T69" fmla="*/ 219 h 296"/>
                      <a:gd name="T70" fmla="*/ 14 w 152"/>
                      <a:gd name="T71" fmla="*/ 205 h 296"/>
                      <a:gd name="T72" fmla="*/ 6 w 152"/>
                      <a:gd name="T73" fmla="*/ 190 h 296"/>
                      <a:gd name="T74" fmla="*/ 1 w 152"/>
                      <a:gd name="T75" fmla="*/ 172 h 296"/>
                      <a:gd name="T76" fmla="*/ 0 w 152"/>
                      <a:gd name="T77" fmla="*/ 154 h 296"/>
                      <a:gd name="T78" fmla="*/ 0 w 152"/>
                      <a:gd name="T79" fmla="*/ 130 h 296"/>
                      <a:gd name="T80" fmla="*/ 27 w 152"/>
                      <a:gd name="T81" fmla="*/ 106 h 296"/>
                      <a:gd name="T82" fmla="*/ 32 w 152"/>
                      <a:gd name="T83" fmla="*/ 46 h 296"/>
                      <a:gd name="T84" fmla="*/ 31 w 152"/>
                      <a:gd name="T85" fmla="*/ 18 h 296"/>
                      <a:gd name="T86" fmla="*/ 28 w 152"/>
                      <a:gd name="T87" fmla="*/ 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06" name="Freeform 295">
                    <a:extLst>
                      <a:ext uri="{FF2B5EF4-FFF2-40B4-BE49-F238E27FC236}">
                        <a16:creationId xmlns="" xmlns:a16="http://schemas.microsoft.com/office/drawing/2014/main" id="{DD941ED4-27AE-4078-8E85-6E572F7942EC}"/>
                      </a:ext>
                    </a:extLst>
                  </p:cNvPr>
                  <p:cNvSpPr>
                    <a:spLocks/>
                  </p:cNvSpPr>
                  <p:nvPr/>
                </p:nvSpPr>
                <p:spPr bwMode="auto">
                  <a:xfrm>
                    <a:off x="5189" y="2442"/>
                    <a:ext cx="8" cy="13"/>
                  </a:xfrm>
                  <a:custGeom>
                    <a:avLst/>
                    <a:gdLst>
                      <a:gd name="T0" fmla="*/ 26 w 26"/>
                      <a:gd name="T1" fmla="*/ 38 h 38"/>
                      <a:gd name="T2" fmla="*/ 26 w 26"/>
                      <a:gd name="T3" fmla="*/ 0 h 38"/>
                      <a:gd name="T4" fmla="*/ 21 w 26"/>
                      <a:gd name="T5" fmla="*/ 1 h 38"/>
                      <a:gd name="T6" fmla="*/ 13 w 26"/>
                      <a:gd name="T7" fmla="*/ 4 h 38"/>
                      <a:gd name="T8" fmla="*/ 6 w 26"/>
                      <a:gd name="T9" fmla="*/ 8 h 38"/>
                      <a:gd name="T10" fmla="*/ 0 w 26"/>
                      <a:gd name="T11" fmla="*/ 13 h 38"/>
                      <a:gd name="T12" fmla="*/ 18 w 26"/>
                      <a:gd name="T13" fmla="*/ 30 h 38"/>
                      <a:gd name="T14" fmla="*/ 26 w 26"/>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07" name="Freeform 296">
                    <a:extLst>
                      <a:ext uri="{FF2B5EF4-FFF2-40B4-BE49-F238E27FC236}">
                        <a16:creationId xmlns="" xmlns:a16="http://schemas.microsoft.com/office/drawing/2014/main" id="{D28DBDF7-C316-4178-8D93-EE04E6B7E309}"/>
                      </a:ext>
                    </a:extLst>
                  </p:cNvPr>
                  <p:cNvSpPr>
                    <a:spLocks/>
                  </p:cNvSpPr>
                  <p:nvPr/>
                </p:nvSpPr>
                <p:spPr bwMode="auto">
                  <a:xfrm>
                    <a:off x="5165" y="2420"/>
                    <a:ext cx="10" cy="10"/>
                  </a:xfrm>
                  <a:custGeom>
                    <a:avLst/>
                    <a:gdLst>
                      <a:gd name="T0" fmla="*/ 0 w 34"/>
                      <a:gd name="T1" fmla="*/ 18 h 31"/>
                      <a:gd name="T2" fmla="*/ 8 w 34"/>
                      <a:gd name="T3" fmla="*/ 22 h 31"/>
                      <a:gd name="T4" fmla="*/ 17 w 34"/>
                      <a:gd name="T5" fmla="*/ 26 h 31"/>
                      <a:gd name="T6" fmla="*/ 27 w 34"/>
                      <a:gd name="T7" fmla="*/ 30 h 31"/>
                      <a:gd name="T8" fmla="*/ 34 w 34"/>
                      <a:gd name="T9" fmla="*/ 31 h 31"/>
                      <a:gd name="T10" fmla="*/ 33 w 34"/>
                      <a:gd name="T11" fmla="*/ 24 h 31"/>
                      <a:gd name="T12" fmla="*/ 30 w 34"/>
                      <a:gd name="T13" fmla="*/ 15 h 31"/>
                      <a:gd name="T14" fmla="*/ 26 w 34"/>
                      <a:gd name="T15" fmla="*/ 6 h 31"/>
                      <a:gd name="T16" fmla="*/ 20 w 34"/>
                      <a:gd name="T17" fmla="*/ 0 h 31"/>
                      <a:gd name="T18" fmla="*/ 16 w 34"/>
                      <a:gd name="T19" fmla="*/ 5 h 31"/>
                      <a:gd name="T20" fmla="*/ 10 w 34"/>
                      <a:gd name="T21" fmla="*/ 11 h 31"/>
                      <a:gd name="T22" fmla="*/ 8 w 34"/>
                      <a:gd name="T23" fmla="*/ 14 h 31"/>
                      <a:gd name="T24" fmla="*/ 6 w 34"/>
                      <a:gd name="T25" fmla="*/ 16 h 31"/>
                      <a:gd name="T26" fmla="*/ 4 w 34"/>
                      <a:gd name="T27" fmla="*/ 18 h 31"/>
                      <a:gd name="T28" fmla="*/ 0 w 34"/>
                      <a:gd name="T29"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08" name="Freeform 297">
                    <a:extLst>
                      <a:ext uri="{FF2B5EF4-FFF2-40B4-BE49-F238E27FC236}">
                        <a16:creationId xmlns="" xmlns:a16="http://schemas.microsoft.com/office/drawing/2014/main" id="{4715ABC3-E3C8-496E-B43B-C4F3BFFC919F}"/>
                      </a:ext>
                    </a:extLst>
                  </p:cNvPr>
                  <p:cNvSpPr>
                    <a:spLocks/>
                  </p:cNvSpPr>
                  <p:nvPr/>
                </p:nvSpPr>
                <p:spPr bwMode="auto">
                  <a:xfrm>
                    <a:off x="5139" y="2418"/>
                    <a:ext cx="6" cy="12"/>
                  </a:xfrm>
                  <a:custGeom>
                    <a:avLst/>
                    <a:gdLst>
                      <a:gd name="T0" fmla="*/ 0 w 20"/>
                      <a:gd name="T1" fmla="*/ 6 h 37"/>
                      <a:gd name="T2" fmla="*/ 0 w 20"/>
                      <a:gd name="T3" fmla="*/ 37 h 37"/>
                      <a:gd name="T4" fmla="*/ 7 w 20"/>
                      <a:gd name="T5" fmla="*/ 33 h 37"/>
                      <a:gd name="T6" fmla="*/ 20 w 20"/>
                      <a:gd name="T7" fmla="*/ 30 h 37"/>
                      <a:gd name="T8" fmla="*/ 20 w 20"/>
                      <a:gd name="T9" fmla="*/ 0 h 37"/>
                      <a:gd name="T10" fmla="*/ 0 w 20"/>
                      <a:gd name="T11" fmla="*/ 6 h 37"/>
                    </a:gdLst>
                    <a:ahLst/>
                    <a:cxnLst>
                      <a:cxn ang="0">
                        <a:pos x="T0" y="T1"/>
                      </a:cxn>
                      <a:cxn ang="0">
                        <a:pos x="T2" y="T3"/>
                      </a:cxn>
                      <a:cxn ang="0">
                        <a:pos x="T4" y="T5"/>
                      </a:cxn>
                      <a:cxn ang="0">
                        <a:pos x="T6" y="T7"/>
                      </a:cxn>
                      <a:cxn ang="0">
                        <a:pos x="T8" y="T9"/>
                      </a:cxn>
                      <a:cxn ang="0">
                        <a:pos x="T10" y="T11"/>
                      </a:cxn>
                    </a:cxnLst>
                    <a:rect l="0" t="0" r="r" b="b"/>
                    <a:pathLst>
                      <a:path w="20" h="37">
                        <a:moveTo>
                          <a:pt x="0" y="6"/>
                        </a:moveTo>
                        <a:lnTo>
                          <a:pt x="0" y="37"/>
                        </a:lnTo>
                        <a:lnTo>
                          <a:pt x="7" y="33"/>
                        </a:lnTo>
                        <a:lnTo>
                          <a:pt x="20" y="30"/>
                        </a:lnTo>
                        <a:lnTo>
                          <a:pt x="20" y="0"/>
                        </a:lnTo>
                        <a:lnTo>
                          <a:pt x="0" y="6"/>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09" name="Line 298">
                    <a:extLst>
                      <a:ext uri="{FF2B5EF4-FFF2-40B4-BE49-F238E27FC236}">
                        <a16:creationId xmlns="" xmlns:a16="http://schemas.microsoft.com/office/drawing/2014/main" id="{20181A24-2C06-434F-91B1-54A48E17BE3C}"/>
                      </a:ext>
                    </a:extLst>
                  </p:cNvPr>
                  <p:cNvSpPr>
                    <a:spLocks noChangeShapeType="1"/>
                  </p:cNvSpPr>
                  <p:nvPr/>
                </p:nvSpPr>
                <p:spPr bwMode="auto">
                  <a:xfrm>
                    <a:off x="5180" y="2449"/>
                    <a:ext cx="1" cy="10"/>
                  </a:xfrm>
                  <a:prstGeom prst="line">
                    <a:avLst/>
                  </a:prstGeom>
                  <a:grpFill/>
                  <a:ln w="3175">
                    <a:solidFill>
                      <a:srgbClr val="FFFFFF"/>
                    </a:solidFill>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10" name="Freeform 299">
                    <a:extLst>
                      <a:ext uri="{FF2B5EF4-FFF2-40B4-BE49-F238E27FC236}">
                        <a16:creationId xmlns="" xmlns:a16="http://schemas.microsoft.com/office/drawing/2014/main" id="{75FFF24E-1F1B-4A54-A906-EE23D317FC66}"/>
                      </a:ext>
                    </a:extLst>
                  </p:cNvPr>
                  <p:cNvSpPr>
                    <a:spLocks/>
                  </p:cNvSpPr>
                  <p:nvPr/>
                </p:nvSpPr>
                <p:spPr bwMode="auto">
                  <a:xfrm>
                    <a:off x="5180" y="2453"/>
                    <a:ext cx="4" cy="6"/>
                  </a:xfrm>
                  <a:custGeom>
                    <a:avLst/>
                    <a:gdLst>
                      <a:gd name="T0" fmla="*/ 0 w 13"/>
                      <a:gd name="T1" fmla="*/ 18 h 18"/>
                      <a:gd name="T2" fmla="*/ 1 w 13"/>
                      <a:gd name="T3" fmla="*/ 13 h 18"/>
                      <a:gd name="T4" fmla="*/ 3 w 13"/>
                      <a:gd name="T5" fmla="*/ 9 h 18"/>
                      <a:gd name="T6" fmla="*/ 7 w 13"/>
                      <a:gd name="T7" fmla="*/ 4 h 18"/>
                      <a:gd name="T8" fmla="*/ 13 w 13"/>
                      <a:gd name="T9" fmla="*/ 0 h 18"/>
                    </a:gdLst>
                    <a:ahLst/>
                    <a:cxnLst>
                      <a:cxn ang="0">
                        <a:pos x="T0" y="T1"/>
                      </a:cxn>
                      <a:cxn ang="0">
                        <a:pos x="T2" y="T3"/>
                      </a:cxn>
                      <a:cxn ang="0">
                        <a:pos x="T4" y="T5"/>
                      </a:cxn>
                      <a:cxn ang="0">
                        <a:pos x="T6" y="T7"/>
                      </a:cxn>
                      <a:cxn ang="0">
                        <a:pos x="T8" y="T9"/>
                      </a:cxn>
                    </a:cxnLst>
                    <a:rect l="0" t="0" r="r" b="b"/>
                    <a:pathLst>
                      <a:path w="13" h="18">
                        <a:moveTo>
                          <a:pt x="0" y="18"/>
                        </a:moveTo>
                        <a:lnTo>
                          <a:pt x="1" y="13"/>
                        </a:lnTo>
                        <a:lnTo>
                          <a:pt x="3" y="9"/>
                        </a:lnTo>
                        <a:lnTo>
                          <a:pt x="7" y="4"/>
                        </a:lnTo>
                        <a:lnTo>
                          <a:pt x="13" y="0"/>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11" name="Line 300">
                    <a:extLst>
                      <a:ext uri="{FF2B5EF4-FFF2-40B4-BE49-F238E27FC236}">
                        <a16:creationId xmlns="" xmlns:a16="http://schemas.microsoft.com/office/drawing/2014/main" id="{C04F3A37-51FF-4B68-BDA2-5B539927F26D}"/>
                      </a:ext>
                    </a:extLst>
                  </p:cNvPr>
                  <p:cNvSpPr>
                    <a:spLocks noChangeShapeType="1"/>
                  </p:cNvSpPr>
                  <p:nvPr/>
                </p:nvSpPr>
                <p:spPr bwMode="auto">
                  <a:xfrm flipH="1" flipV="1">
                    <a:off x="5178" y="2447"/>
                    <a:ext cx="6" cy="6"/>
                  </a:xfrm>
                  <a:prstGeom prst="line">
                    <a:avLst/>
                  </a:prstGeom>
                  <a:grpFill/>
                  <a:ln w="3175">
                    <a:solidFill>
                      <a:srgbClr val="FFFFFF"/>
                    </a:solidFill>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12" name="Freeform 301">
                    <a:extLst>
                      <a:ext uri="{FF2B5EF4-FFF2-40B4-BE49-F238E27FC236}">
                        <a16:creationId xmlns="" xmlns:a16="http://schemas.microsoft.com/office/drawing/2014/main" id="{B79FE92C-5C71-41AB-BB3A-BF18E8234D2F}"/>
                      </a:ext>
                    </a:extLst>
                  </p:cNvPr>
                  <p:cNvSpPr>
                    <a:spLocks/>
                  </p:cNvSpPr>
                  <p:nvPr/>
                </p:nvSpPr>
                <p:spPr bwMode="auto">
                  <a:xfrm>
                    <a:off x="5116" y="2564"/>
                    <a:ext cx="9" cy="10"/>
                  </a:xfrm>
                  <a:custGeom>
                    <a:avLst/>
                    <a:gdLst>
                      <a:gd name="T0" fmla="*/ 0 w 27"/>
                      <a:gd name="T1" fmla="*/ 0 h 31"/>
                      <a:gd name="T2" fmla="*/ 20 w 27"/>
                      <a:gd name="T3" fmla="*/ 31 h 31"/>
                      <a:gd name="T4" fmla="*/ 27 w 27"/>
                      <a:gd name="T5" fmla="*/ 13 h 31"/>
                    </a:gdLst>
                    <a:ahLst/>
                    <a:cxnLst>
                      <a:cxn ang="0">
                        <a:pos x="T0" y="T1"/>
                      </a:cxn>
                      <a:cxn ang="0">
                        <a:pos x="T2" y="T3"/>
                      </a:cxn>
                      <a:cxn ang="0">
                        <a:pos x="T4" y="T5"/>
                      </a:cxn>
                    </a:cxnLst>
                    <a:rect l="0" t="0" r="r" b="b"/>
                    <a:pathLst>
                      <a:path w="27" h="31">
                        <a:moveTo>
                          <a:pt x="0" y="0"/>
                        </a:moveTo>
                        <a:lnTo>
                          <a:pt x="20" y="31"/>
                        </a:lnTo>
                        <a:lnTo>
                          <a:pt x="27" y="13"/>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13" name="Freeform 302">
                    <a:extLst>
                      <a:ext uri="{FF2B5EF4-FFF2-40B4-BE49-F238E27FC236}">
                        <a16:creationId xmlns="" xmlns:a16="http://schemas.microsoft.com/office/drawing/2014/main" id="{C324CFB9-F535-4CFD-AEF6-1E12669C8597}"/>
                      </a:ext>
                    </a:extLst>
                  </p:cNvPr>
                  <p:cNvSpPr>
                    <a:spLocks/>
                  </p:cNvSpPr>
                  <p:nvPr/>
                </p:nvSpPr>
                <p:spPr bwMode="auto">
                  <a:xfrm>
                    <a:off x="5119" y="2568"/>
                    <a:ext cx="6" cy="1"/>
                  </a:xfrm>
                  <a:custGeom>
                    <a:avLst/>
                    <a:gdLst>
                      <a:gd name="T0" fmla="*/ 20 w 20"/>
                      <a:gd name="T1" fmla="*/ 10 w 20"/>
                      <a:gd name="T2" fmla="*/ 0 w 20"/>
                    </a:gdLst>
                    <a:ahLst/>
                    <a:cxnLst>
                      <a:cxn ang="0">
                        <a:pos x="T0" y="0"/>
                      </a:cxn>
                      <a:cxn ang="0">
                        <a:pos x="T1" y="0"/>
                      </a:cxn>
                      <a:cxn ang="0">
                        <a:pos x="T2" y="0"/>
                      </a:cxn>
                    </a:cxnLst>
                    <a:rect l="0" t="0" r="r" b="b"/>
                    <a:pathLst>
                      <a:path w="20">
                        <a:moveTo>
                          <a:pt x="20" y="0"/>
                        </a:moveTo>
                        <a:lnTo>
                          <a:pt x="10" y="0"/>
                        </a:lnTo>
                        <a:lnTo>
                          <a:pt x="0" y="0"/>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14" name="Freeform 303">
                    <a:extLst>
                      <a:ext uri="{FF2B5EF4-FFF2-40B4-BE49-F238E27FC236}">
                        <a16:creationId xmlns="" xmlns:a16="http://schemas.microsoft.com/office/drawing/2014/main" id="{A997D17E-EACA-4C40-A237-18D17545FAE0}"/>
                      </a:ext>
                    </a:extLst>
                  </p:cNvPr>
                  <p:cNvSpPr>
                    <a:spLocks/>
                  </p:cNvSpPr>
                  <p:nvPr/>
                </p:nvSpPr>
                <p:spPr bwMode="auto">
                  <a:xfrm>
                    <a:off x="5127" y="2557"/>
                    <a:ext cx="12" cy="5"/>
                  </a:xfrm>
                  <a:custGeom>
                    <a:avLst/>
                    <a:gdLst>
                      <a:gd name="T0" fmla="*/ 0 w 34"/>
                      <a:gd name="T1" fmla="*/ 13 h 13"/>
                      <a:gd name="T2" fmla="*/ 6 w 34"/>
                      <a:gd name="T3" fmla="*/ 13 h 13"/>
                      <a:gd name="T4" fmla="*/ 10 w 34"/>
                      <a:gd name="T5" fmla="*/ 11 h 13"/>
                      <a:gd name="T6" fmla="*/ 16 w 34"/>
                      <a:gd name="T7" fmla="*/ 10 h 13"/>
                      <a:gd name="T8" fmla="*/ 20 w 34"/>
                      <a:gd name="T9" fmla="*/ 7 h 13"/>
                      <a:gd name="T10" fmla="*/ 28 w 34"/>
                      <a:gd name="T11" fmla="*/ 2 h 13"/>
                      <a:gd name="T12" fmla="*/ 34 w 34"/>
                      <a:gd name="T13" fmla="*/ 0 h 13"/>
                      <a:gd name="T14" fmla="*/ 25 w 34"/>
                      <a:gd name="T15" fmla="*/ 0 h 13"/>
                      <a:gd name="T16" fmla="*/ 15 w 3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15" name="Freeform 304">
                    <a:extLst>
                      <a:ext uri="{FF2B5EF4-FFF2-40B4-BE49-F238E27FC236}">
                        <a16:creationId xmlns="" xmlns:a16="http://schemas.microsoft.com/office/drawing/2014/main" id="{6A2D375C-5502-422C-A9B2-0982FC9230D3}"/>
                      </a:ext>
                    </a:extLst>
                  </p:cNvPr>
                  <p:cNvSpPr>
                    <a:spLocks/>
                  </p:cNvSpPr>
                  <p:nvPr/>
                </p:nvSpPr>
                <p:spPr bwMode="auto">
                  <a:xfrm>
                    <a:off x="5127" y="2547"/>
                    <a:ext cx="12" cy="6"/>
                  </a:xfrm>
                  <a:custGeom>
                    <a:avLst/>
                    <a:gdLst>
                      <a:gd name="T0" fmla="*/ 34 w 34"/>
                      <a:gd name="T1" fmla="*/ 18 h 18"/>
                      <a:gd name="T2" fmla="*/ 34 w 34"/>
                      <a:gd name="T3" fmla="*/ 0 h 18"/>
                      <a:gd name="T4" fmla="*/ 28 w 34"/>
                      <a:gd name="T5" fmla="*/ 0 h 18"/>
                      <a:gd name="T6" fmla="*/ 20 w 34"/>
                      <a:gd name="T7" fmla="*/ 0 h 18"/>
                      <a:gd name="T8" fmla="*/ 10 w 34"/>
                      <a:gd name="T9" fmla="*/ 0 h 18"/>
                      <a:gd name="T10" fmla="*/ 0 w 34"/>
                      <a:gd name="T11" fmla="*/ 0 h 18"/>
                      <a:gd name="T12" fmla="*/ 34 w 34"/>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34" h="18">
                        <a:moveTo>
                          <a:pt x="34" y="18"/>
                        </a:moveTo>
                        <a:lnTo>
                          <a:pt x="34" y="0"/>
                        </a:lnTo>
                        <a:lnTo>
                          <a:pt x="28" y="0"/>
                        </a:lnTo>
                        <a:lnTo>
                          <a:pt x="20" y="0"/>
                        </a:lnTo>
                        <a:lnTo>
                          <a:pt x="10" y="0"/>
                        </a:lnTo>
                        <a:lnTo>
                          <a:pt x="0" y="0"/>
                        </a:lnTo>
                        <a:lnTo>
                          <a:pt x="34" y="18"/>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16" name="Freeform 305">
                    <a:extLst>
                      <a:ext uri="{FF2B5EF4-FFF2-40B4-BE49-F238E27FC236}">
                        <a16:creationId xmlns="" xmlns:a16="http://schemas.microsoft.com/office/drawing/2014/main" id="{4A73A103-958B-4861-8628-6C2A7490BE0A}"/>
                      </a:ext>
                    </a:extLst>
                  </p:cNvPr>
                  <p:cNvSpPr>
                    <a:spLocks/>
                  </p:cNvSpPr>
                  <p:nvPr/>
                </p:nvSpPr>
                <p:spPr bwMode="auto">
                  <a:xfrm>
                    <a:off x="5141" y="2535"/>
                    <a:ext cx="20" cy="8"/>
                  </a:xfrm>
                  <a:custGeom>
                    <a:avLst/>
                    <a:gdLst>
                      <a:gd name="T0" fmla="*/ 53 w 59"/>
                      <a:gd name="T1" fmla="*/ 25 h 25"/>
                      <a:gd name="T2" fmla="*/ 56 w 59"/>
                      <a:gd name="T3" fmla="*/ 12 h 25"/>
                      <a:gd name="T4" fmla="*/ 59 w 59"/>
                      <a:gd name="T5" fmla="*/ 0 h 25"/>
                      <a:gd name="T6" fmla="*/ 44 w 59"/>
                      <a:gd name="T7" fmla="*/ 0 h 25"/>
                      <a:gd name="T8" fmla="*/ 27 w 59"/>
                      <a:gd name="T9" fmla="*/ 0 h 25"/>
                      <a:gd name="T10" fmla="*/ 19 w 59"/>
                      <a:gd name="T11" fmla="*/ 1 h 25"/>
                      <a:gd name="T12" fmla="*/ 12 w 59"/>
                      <a:gd name="T13" fmla="*/ 2 h 25"/>
                      <a:gd name="T14" fmla="*/ 5 w 59"/>
                      <a:gd name="T15" fmla="*/ 4 h 25"/>
                      <a:gd name="T16" fmla="*/ 0 w 59"/>
                      <a:gd name="T17" fmla="*/ 6 h 25"/>
                      <a:gd name="T18" fmla="*/ 13 w 59"/>
                      <a:gd name="T19" fmla="*/ 14 h 25"/>
                      <a:gd name="T20" fmla="*/ 26 w 59"/>
                      <a:gd name="T21" fmla="*/ 20 h 25"/>
                      <a:gd name="T22" fmla="*/ 33 w 59"/>
                      <a:gd name="T23" fmla="*/ 22 h 25"/>
                      <a:gd name="T24" fmla="*/ 38 w 59"/>
                      <a:gd name="T25" fmla="*/ 24 h 25"/>
                      <a:gd name="T26" fmla="*/ 46 w 59"/>
                      <a:gd name="T27" fmla="*/ 25 h 25"/>
                      <a:gd name="T28" fmla="*/ 53 w 59"/>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517" name="Line 306">
                    <a:extLst>
                      <a:ext uri="{FF2B5EF4-FFF2-40B4-BE49-F238E27FC236}">
                        <a16:creationId xmlns="" xmlns:a16="http://schemas.microsoft.com/office/drawing/2014/main" id="{859F5E21-539F-49A2-89BE-C3CF0F25550C}"/>
                      </a:ext>
                    </a:extLst>
                  </p:cNvPr>
                  <p:cNvSpPr>
                    <a:spLocks noChangeShapeType="1"/>
                  </p:cNvSpPr>
                  <p:nvPr/>
                </p:nvSpPr>
                <p:spPr bwMode="auto">
                  <a:xfrm flipV="1">
                    <a:off x="5191" y="2516"/>
                    <a:ext cx="6" cy="2"/>
                  </a:xfrm>
                  <a:prstGeom prst="line">
                    <a:avLst/>
                  </a:prstGeom>
                  <a:grpFill/>
                  <a:ln w="3175">
                    <a:solidFill>
                      <a:srgbClr val="FFFFFF"/>
                    </a:solidFill>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grpSp>
            <p:sp>
              <p:nvSpPr>
                <p:cNvPr id="223" name="Freeform 307">
                  <a:extLst>
                    <a:ext uri="{FF2B5EF4-FFF2-40B4-BE49-F238E27FC236}">
                      <a16:creationId xmlns="" xmlns:a16="http://schemas.microsoft.com/office/drawing/2014/main" id="{B887B4E6-42AC-44A6-90AE-05D8E6BF6462}"/>
                    </a:ext>
                  </a:extLst>
                </p:cNvPr>
                <p:cNvSpPr>
                  <a:spLocks/>
                </p:cNvSpPr>
                <p:nvPr>
                  <p:custDataLst>
                    <p:tags r:id="rId211"/>
                  </p:custDataLst>
                </p:nvPr>
              </p:nvSpPr>
              <p:spPr bwMode="auto">
                <a:xfrm>
                  <a:off x="8294436" y="3135699"/>
                  <a:ext cx="10134" cy="39409"/>
                </a:xfrm>
                <a:custGeom>
                  <a:avLst/>
                  <a:gdLst>
                    <a:gd name="T0" fmla="*/ 0 w 33"/>
                    <a:gd name="T1" fmla="*/ 43 h 43"/>
                    <a:gd name="T2" fmla="*/ 1 w 33"/>
                    <a:gd name="T3" fmla="*/ 34 h 43"/>
                    <a:gd name="T4" fmla="*/ 2 w 33"/>
                    <a:gd name="T5" fmla="*/ 27 h 43"/>
                    <a:gd name="T6" fmla="*/ 5 w 33"/>
                    <a:gd name="T7" fmla="*/ 21 h 43"/>
                    <a:gd name="T8" fmla="*/ 9 w 33"/>
                    <a:gd name="T9" fmla="*/ 15 h 43"/>
                    <a:gd name="T10" fmla="*/ 14 w 33"/>
                    <a:gd name="T11" fmla="*/ 9 h 43"/>
                    <a:gd name="T12" fmla="*/ 20 w 33"/>
                    <a:gd name="T13" fmla="*/ 5 h 43"/>
                    <a:gd name="T14" fmla="*/ 26 w 33"/>
                    <a:gd name="T15" fmla="*/ 2 h 43"/>
                    <a:gd name="T16" fmla="*/ 33 w 33"/>
                    <a:gd name="T17" fmla="*/ 0 h 43"/>
                    <a:gd name="T18" fmla="*/ 33 w 33"/>
                    <a:gd name="T19" fmla="*/ 25 h 43"/>
                    <a:gd name="T20" fmla="*/ 23 w 33"/>
                    <a:gd name="T21" fmla="*/ 27 h 43"/>
                    <a:gd name="T22" fmla="*/ 18 w 33"/>
                    <a:gd name="T23" fmla="*/ 29 h 43"/>
                    <a:gd name="T24" fmla="*/ 16 w 33"/>
                    <a:gd name="T25" fmla="*/ 32 h 43"/>
                    <a:gd name="T26" fmla="*/ 16 w 33"/>
                    <a:gd name="T27" fmla="*/ 34 h 43"/>
                    <a:gd name="T28" fmla="*/ 16 w 33"/>
                    <a:gd name="T29" fmla="*/ 36 h 43"/>
                    <a:gd name="T30" fmla="*/ 14 w 33"/>
                    <a:gd name="T31" fmla="*/ 38 h 43"/>
                    <a:gd name="T32" fmla="*/ 10 w 33"/>
                    <a:gd name="T33" fmla="*/ 41 h 43"/>
                    <a:gd name="T34" fmla="*/ 0 w 33"/>
                    <a:gd name="T3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224" name="Freeform 308">
                  <a:extLst>
                    <a:ext uri="{FF2B5EF4-FFF2-40B4-BE49-F238E27FC236}">
                      <a16:creationId xmlns="" xmlns:a16="http://schemas.microsoft.com/office/drawing/2014/main" id="{D605BA10-4323-43AE-A18A-419446BB8F0B}"/>
                    </a:ext>
                  </a:extLst>
                </p:cNvPr>
                <p:cNvSpPr>
                  <a:spLocks/>
                </p:cNvSpPr>
                <p:nvPr>
                  <p:custDataLst>
                    <p:tags r:id="rId212"/>
                  </p:custDataLst>
                </p:nvPr>
              </p:nvSpPr>
              <p:spPr bwMode="auto">
                <a:xfrm>
                  <a:off x="8348482" y="3092913"/>
                  <a:ext cx="15763" cy="41661"/>
                </a:xfrm>
                <a:custGeom>
                  <a:avLst/>
                  <a:gdLst>
                    <a:gd name="T0" fmla="*/ 0 w 54"/>
                    <a:gd name="T1" fmla="*/ 55 h 92"/>
                    <a:gd name="T2" fmla="*/ 1 w 54"/>
                    <a:gd name="T3" fmla="*/ 51 h 92"/>
                    <a:gd name="T4" fmla="*/ 2 w 54"/>
                    <a:gd name="T5" fmla="*/ 46 h 92"/>
                    <a:gd name="T6" fmla="*/ 3 w 54"/>
                    <a:gd name="T7" fmla="*/ 42 h 92"/>
                    <a:gd name="T8" fmla="*/ 6 w 54"/>
                    <a:gd name="T9" fmla="*/ 37 h 92"/>
                    <a:gd name="T10" fmla="*/ 11 w 54"/>
                    <a:gd name="T11" fmla="*/ 29 h 92"/>
                    <a:gd name="T12" fmla="*/ 18 w 54"/>
                    <a:gd name="T13" fmla="*/ 21 h 92"/>
                    <a:gd name="T14" fmla="*/ 31 w 54"/>
                    <a:gd name="T15" fmla="*/ 7 h 92"/>
                    <a:gd name="T16" fmla="*/ 41 w 54"/>
                    <a:gd name="T17" fmla="*/ 0 h 92"/>
                    <a:gd name="T18" fmla="*/ 54 w 54"/>
                    <a:gd name="T19" fmla="*/ 12 h 92"/>
                    <a:gd name="T20" fmla="*/ 51 w 54"/>
                    <a:gd name="T21" fmla="*/ 21 h 92"/>
                    <a:gd name="T22" fmla="*/ 47 w 54"/>
                    <a:gd name="T23" fmla="*/ 29 h 92"/>
                    <a:gd name="T24" fmla="*/ 44 w 54"/>
                    <a:gd name="T25" fmla="*/ 35 h 92"/>
                    <a:gd name="T26" fmla="*/ 41 w 54"/>
                    <a:gd name="T27" fmla="*/ 41 h 92"/>
                    <a:gd name="T28" fmla="*/ 33 w 54"/>
                    <a:gd name="T29" fmla="*/ 49 h 92"/>
                    <a:gd name="T30" fmla="*/ 28 w 54"/>
                    <a:gd name="T31" fmla="*/ 55 h 92"/>
                    <a:gd name="T32" fmla="*/ 26 w 54"/>
                    <a:gd name="T33" fmla="*/ 64 h 92"/>
                    <a:gd name="T34" fmla="*/ 26 w 54"/>
                    <a:gd name="T35" fmla="*/ 74 h 92"/>
                    <a:gd name="T36" fmla="*/ 24 w 54"/>
                    <a:gd name="T37" fmla="*/ 83 h 92"/>
                    <a:gd name="T38" fmla="*/ 20 w 54"/>
                    <a:gd name="T39" fmla="*/ 92 h 92"/>
                    <a:gd name="T40" fmla="*/ 14 w 54"/>
                    <a:gd name="T41" fmla="*/ 83 h 92"/>
                    <a:gd name="T42" fmla="*/ 8 w 54"/>
                    <a:gd name="T43" fmla="*/ 74 h 92"/>
                    <a:gd name="T44" fmla="*/ 5 w 54"/>
                    <a:gd name="T45" fmla="*/ 70 h 92"/>
                    <a:gd name="T46" fmla="*/ 2 w 54"/>
                    <a:gd name="T47" fmla="*/ 64 h 92"/>
                    <a:gd name="T48" fmla="*/ 1 w 54"/>
                    <a:gd name="T49" fmla="*/ 60 h 92"/>
                    <a:gd name="T50" fmla="*/ 0 w 54"/>
                    <a:gd name="T51" fmla="*/ 55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225" name="Freeform 309">
                  <a:extLst>
                    <a:ext uri="{FF2B5EF4-FFF2-40B4-BE49-F238E27FC236}">
                      <a16:creationId xmlns="" xmlns:a16="http://schemas.microsoft.com/office/drawing/2014/main" id="{30D90A71-7E50-4D93-A424-367257B40F11}"/>
                    </a:ext>
                  </a:extLst>
                </p:cNvPr>
                <p:cNvSpPr>
                  <a:spLocks/>
                </p:cNvSpPr>
                <p:nvPr>
                  <p:custDataLst>
                    <p:tags r:id="rId213"/>
                  </p:custDataLst>
                </p:nvPr>
              </p:nvSpPr>
              <p:spPr bwMode="auto">
                <a:xfrm>
                  <a:off x="8382262" y="3007340"/>
                  <a:ext cx="16890" cy="40535"/>
                </a:xfrm>
                <a:custGeom>
                  <a:avLst/>
                  <a:gdLst>
                    <a:gd name="T0" fmla="*/ 0 w 60"/>
                    <a:gd name="T1" fmla="*/ 0 h 18"/>
                    <a:gd name="T2" fmla="*/ 19 w 60"/>
                    <a:gd name="T3" fmla="*/ 4 h 18"/>
                    <a:gd name="T4" fmla="*/ 37 w 60"/>
                    <a:gd name="T5" fmla="*/ 9 h 18"/>
                    <a:gd name="T6" fmla="*/ 45 w 60"/>
                    <a:gd name="T7" fmla="*/ 11 h 18"/>
                    <a:gd name="T8" fmla="*/ 51 w 60"/>
                    <a:gd name="T9" fmla="*/ 13 h 18"/>
                    <a:gd name="T10" fmla="*/ 56 w 60"/>
                    <a:gd name="T11" fmla="*/ 16 h 18"/>
                    <a:gd name="T12" fmla="*/ 60 w 60"/>
                    <a:gd name="T13" fmla="*/ 18 h 18"/>
                    <a:gd name="T14" fmla="*/ 38 w 60"/>
                    <a:gd name="T15" fmla="*/ 18 h 18"/>
                    <a:gd name="T16" fmla="*/ 23 w 60"/>
                    <a:gd name="T17" fmla="*/ 18 h 18"/>
                    <a:gd name="T18" fmla="*/ 10 w 60"/>
                    <a:gd name="T19" fmla="*/ 18 h 18"/>
                    <a:gd name="T20" fmla="*/ 0 w 60"/>
                    <a:gd name="T21" fmla="*/ 18 h 18"/>
                    <a:gd name="T22" fmla="*/ 0 w 60"/>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226" name="Freeform 310">
                  <a:extLst>
                    <a:ext uri="{FF2B5EF4-FFF2-40B4-BE49-F238E27FC236}">
                      <a16:creationId xmlns="" xmlns:a16="http://schemas.microsoft.com/office/drawing/2014/main" id="{0B3FEA5C-BAC5-425A-882D-8A94E40753C6}"/>
                    </a:ext>
                  </a:extLst>
                </p:cNvPr>
                <p:cNvSpPr>
                  <a:spLocks/>
                </p:cNvSpPr>
                <p:nvPr>
                  <p:custDataLst>
                    <p:tags r:id="rId214"/>
                  </p:custDataLst>
                </p:nvPr>
              </p:nvSpPr>
              <p:spPr bwMode="auto">
                <a:xfrm>
                  <a:off x="8371002" y="2985946"/>
                  <a:ext cx="18015" cy="40535"/>
                </a:xfrm>
                <a:custGeom>
                  <a:avLst/>
                  <a:gdLst>
                    <a:gd name="T0" fmla="*/ 0 w 66"/>
                    <a:gd name="T1" fmla="*/ 18 h 18"/>
                    <a:gd name="T2" fmla="*/ 66 w 66"/>
                    <a:gd name="T3" fmla="*/ 18 h 18"/>
                    <a:gd name="T4" fmla="*/ 52 w 66"/>
                    <a:gd name="T5" fmla="*/ 13 h 18"/>
                    <a:gd name="T6" fmla="*/ 40 w 66"/>
                    <a:gd name="T7" fmla="*/ 7 h 18"/>
                    <a:gd name="T8" fmla="*/ 35 w 66"/>
                    <a:gd name="T9" fmla="*/ 4 h 18"/>
                    <a:gd name="T10" fmla="*/ 29 w 66"/>
                    <a:gd name="T11" fmla="*/ 2 h 18"/>
                    <a:gd name="T12" fmla="*/ 25 w 66"/>
                    <a:gd name="T13" fmla="*/ 1 h 18"/>
                    <a:gd name="T14" fmla="*/ 19 w 66"/>
                    <a:gd name="T15" fmla="*/ 0 h 18"/>
                    <a:gd name="T16" fmla="*/ 0 w 66"/>
                    <a:gd name="T1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227" name="Freeform 311">
                  <a:extLst>
                    <a:ext uri="{FF2B5EF4-FFF2-40B4-BE49-F238E27FC236}">
                      <a16:creationId xmlns="" xmlns:a16="http://schemas.microsoft.com/office/drawing/2014/main" id="{7A6FB38A-9AA5-4C19-8F1A-13F0A4A4AB5B}"/>
                    </a:ext>
                  </a:extLst>
                </p:cNvPr>
                <p:cNvSpPr>
                  <a:spLocks/>
                </p:cNvSpPr>
                <p:nvPr>
                  <p:custDataLst>
                    <p:tags r:id="rId215"/>
                  </p:custDataLst>
                </p:nvPr>
              </p:nvSpPr>
              <p:spPr bwMode="auto">
                <a:xfrm>
                  <a:off x="8247146" y="2912758"/>
                  <a:ext cx="5630" cy="40535"/>
                </a:xfrm>
                <a:custGeom>
                  <a:avLst/>
                  <a:gdLst>
                    <a:gd name="T0" fmla="*/ 0 w 17"/>
                    <a:gd name="T1" fmla="*/ 36 h 42"/>
                    <a:gd name="T2" fmla="*/ 13 w 17"/>
                    <a:gd name="T3" fmla="*/ 42 h 42"/>
                    <a:gd name="T4" fmla="*/ 14 w 17"/>
                    <a:gd name="T5" fmla="*/ 33 h 42"/>
                    <a:gd name="T6" fmla="*/ 16 w 17"/>
                    <a:gd name="T7" fmla="*/ 23 h 42"/>
                    <a:gd name="T8" fmla="*/ 17 w 17"/>
                    <a:gd name="T9" fmla="*/ 18 h 42"/>
                    <a:gd name="T10" fmla="*/ 16 w 17"/>
                    <a:gd name="T11" fmla="*/ 12 h 42"/>
                    <a:gd name="T12" fmla="*/ 16 w 17"/>
                    <a:gd name="T13" fmla="*/ 6 h 42"/>
                    <a:gd name="T14" fmla="*/ 13 w 17"/>
                    <a:gd name="T15" fmla="*/ 0 h 42"/>
                    <a:gd name="T16" fmla="*/ 0 w 17"/>
                    <a:gd name="T17"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228" name="Freeform 312">
                  <a:extLst>
                    <a:ext uri="{FF2B5EF4-FFF2-40B4-BE49-F238E27FC236}">
                      <a16:creationId xmlns="" xmlns:a16="http://schemas.microsoft.com/office/drawing/2014/main" id="{10AF789D-46D8-4735-A828-B188168DF03B}"/>
                    </a:ext>
                  </a:extLst>
                </p:cNvPr>
                <p:cNvSpPr>
                  <a:spLocks/>
                </p:cNvSpPr>
                <p:nvPr>
                  <p:custDataLst>
                    <p:tags r:id="rId216"/>
                  </p:custDataLst>
                </p:nvPr>
              </p:nvSpPr>
              <p:spPr bwMode="auto">
                <a:xfrm>
                  <a:off x="8195351" y="3008466"/>
                  <a:ext cx="21394" cy="41660"/>
                </a:xfrm>
                <a:custGeom>
                  <a:avLst/>
                  <a:gdLst>
                    <a:gd name="T0" fmla="*/ 6 w 72"/>
                    <a:gd name="T1" fmla="*/ 29 h 29"/>
                    <a:gd name="T2" fmla="*/ 15 w 72"/>
                    <a:gd name="T3" fmla="*/ 26 h 29"/>
                    <a:gd name="T4" fmla="*/ 24 w 72"/>
                    <a:gd name="T5" fmla="*/ 24 h 29"/>
                    <a:gd name="T6" fmla="*/ 32 w 72"/>
                    <a:gd name="T7" fmla="*/ 24 h 29"/>
                    <a:gd name="T8" fmla="*/ 39 w 72"/>
                    <a:gd name="T9" fmla="*/ 24 h 29"/>
                    <a:gd name="T10" fmla="*/ 55 w 72"/>
                    <a:gd name="T11" fmla="*/ 27 h 29"/>
                    <a:gd name="T12" fmla="*/ 72 w 72"/>
                    <a:gd name="T13" fmla="*/ 29 h 29"/>
                    <a:gd name="T14" fmla="*/ 72 w 72"/>
                    <a:gd name="T15" fmla="*/ 4 h 29"/>
                    <a:gd name="T16" fmla="*/ 58 w 72"/>
                    <a:gd name="T17" fmla="*/ 1 h 29"/>
                    <a:gd name="T18" fmla="*/ 47 w 72"/>
                    <a:gd name="T19" fmla="*/ 0 h 29"/>
                    <a:gd name="T20" fmla="*/ 39 w 72"/>
                    <a:gd name="T21" fmla="*/ 0 h 29"/>
                    <a:gd name="T22" fmla="*/ 34 w 72"/>
                    <a:gd name="T23" fmla="*/ 2 h 29"/>
                    <a:gd name="T24" fmla="*/ 27 w 72"/>
                    <a:gd name="T25" fmla="*/ 3 h 29"/>
                    <a:gd name="T26" fmla="*/ 21 w 72"/>
                    <a:gd name="T27" fmla="*/ 5 h 29"/>
                    <a:gd name="T28" fmla="*/ 12 w 72"/>
                    <a:gd name="T29" fmla="*/ 5 h 29"/>
                    <a:gd name="T30" fmla="*/ 0 w 72"/>
                    <a:gd name="T31" fmla="*/ 4 h 29"/>
                    <a:gd name="T32" fmla="*/ 3 w 72"/>
                    <a:gd name="T33" fmla="*/ 16 h 29"/>
                    <a:gd name="T34" fmla="*/ 6 w 72"/>
                    <a:gd name="T3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229" name="Freeform 313">
                  <a:extLst>
                    <a:ext uri="{FF2B5EF4-FFF2-40B4-BE49-F238E27FC236}">
                      <a16:creationId xmlns="" xmlns:a16="http://schemas.microsoft.com/office/drawing/2014/main" id="{C826127A-1B1C-4BA0-9795-970DD2008B96}"/>
                    </a:ext>
                  </a:extLst>
                </p:cNvPr>
                <p:cNvSpPr>
                  <a:spLocks/>
                </p:cNvSpPr>
                <p:nvPr>
                  <p:custDataLst>
                    <p:tags r:id="rId217"/>
                  </p:custDataLst>
                </p:nvPr>
              </p:nvSpPr>
              <p:spPr bwMode="auto">
                <a:xfrm>
                  <a:off x="8200981" y="3140204"/>
                  <a:ext cx="13512" cy="39409"/>
                </a:xfrm>
                <a:custGeom>
                  <a:avLst/>
                  <a:gdLst>
                    <a:gd name="T0" fmla="*/ 0 w 46"/>
                    <a:gd name="T1" fmla="*/ 0 h 37"/>
                    <a:gd name="T2" fmla="*/ 9 w 46"/>
                    <a:gd name="T3" fmla="*/ 9 h 37"/>
                    <a:gd name="T4" fmla="*/ 20 w 46"/>
                    <a:gd name="T5" fmla="*/ 15 h 37"/>
                    <a:gd name="T6" fmla="*/ 31 w 46"/>
                    <a:gd name="T7" fmla="*/ 20 h 37"/>
                    <a:gd name="T8" fmla="*/ 46 w 46"/>
                    <a:gd name="T9" fmla="*/ 25 h 37"/>
                    <a:gd name="T10" fmla="*/ 37 w 46"/>
                    <a:gd name="T11" fmla="*/ 29 h 37"/>
                    <a:gd name="T12" fmla="*/ 29 w 46"/>
                    <a:gd name="T13" fmla="*/ 33 h 37"/>
                    <a:gd name="T14" fmla="*/ 21 w 46"/>
                    <a:gd name="T15" fmla="*/ 36 h 37"/>
                    <a:gd name="T16" fmla="*/ 13 w 46"/>
                    <a:gd name="T17" fmla="*/ 37 h 37"/>
                    <a:gd name="T18" fmla="*/ 9 w 46"/>
                    <a:gd name="T19" fmla="*/ 36 h 37"/>
                    <a:gd name="T20" fmla="*/ 7 w 46"/>
                    <a:gd name="T21" fmla="*/ 33 h 37"/>
                    <a:gd name="T22" fmla="*/ 5 w 46"/>
                    <a:gd name="T23" fmla="*/ 29 h 37"/>
                    <a:gd name="T24" fmla="*/ 3 w 46"/>
                    <a:gd name="T25" fmla="*/ 23 h 37"/>
                    <a:gd name="T26" fmla="*/ 1 w 46"/>
                    <a:gd name="T27" fmla="*/ 12 h 37"/>
                    <a:gd name="T28" fmla="*/ 0 w 46"/>
                    <a:gd name="T2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230" name="Freeform 314">
                  <a:extLst>
                    <a:ext uri="{FF2B5EF4-FFF2-40B4-BE49-F238E27FC236}">
                      <a16:creationId xmlns="" xmlns:a16="http://schemas.microsoft.com/office/drawing/2014/main" id="{B32D1554-746B-4CB6-88F7-D8DD66EE317A}"/>
                    </a:ext>
                  </a:extLst>
                </p:cNvPr>
                <p:cNvSpPr>
                  <a:spLocks/>
                </p:cNvSpPr>
                <p:nvPr>
                  <p:custDataLst>
                    <p:tags r:id="rId218"/>
                  </p:custDataLst>
                </p:nvPr>
              </p:nvSpPr>
              <p:spPr bwMode="auto">
                <a:xfrm>
                  <a:off x="8280924" y="3011843"/>
                  <a:ext cx="7882" cy="40535"/>
                </a:xfrm>
                <a:custGeom>
                  <a:avLst/>
                  <a:gdLst>
                    <a:gd name="T0" fmla="*/ 0 w 26"/>
                    <a:gd name="T1" fmla="*/ 0 h 19"/>
                    <a:gd name="T2" fmla="*/ 26 w 26"/>
                    <a:gd name="T3" fmla="*/ 19 h 19"/>
                    <a:gd name="T4" fmla="*/ 26 w 26"/>
                    <a:gd name="T5" fmla="*/ 9 h 19"/>
                    <a:gd name="T6" fmla="*/ 26 w 26"/>
                    <a:gd name="T7" fmla="*/ 0 h 19"/>
                    <a:gd name="T8" fmla="*/ 15 w 26"/>
                    <a:gd name="T9" fmla="*/ 0 h 19"/>
                    <a:gd name="T10" fmla="*/ 0 w 26"/>
                    <a:gd name="T11" fmla="*/ 0 h 19"/>
                  </a:gdLst>
                  <a:ahLst/>
                  <a:cxnLst>
                    <a:cxn ang="0">
                      <a:pos x="T0" y="T1"/>
                    </a:cxn>
                    <a:cxn ang="0">
                      <a:pos x="T2" y="T3"/>
                    </a:cxn>
                    <a:cxn ang="0">
                      <a:pos x="T4" y="T5"/>
                    </a:cxn>
                    <a:cxn ang="0">
                      <a:pos x="T6" y="T7"/>
                    </a:cxn>
                    <a:cxn ang="0">
                      <a:pos x="T8" y="T9"/>
                    </a:cxn>
                    <a:cxn ang="0">
                      <a:pos x="T10" y="T11"/>
                    </a:cxn>
                  </a:cxnLst>
                  <a:rect l="0" t="0" r="r" b="b"/>
                  <a:pathLst>
                    <a:path w="26" h="19">
                      <a:moveTo>
                        <a:pt x="0" y="0"/>
                      </a:moveTo>
                      <a:lnTo>
                        <a:pt x="26" y="19"/>
                      </a:lnTo>
                      <a:lnTo>
                        <a:pt x="26" y="9"/>
                      </a:lnTo>
                      <a:lnTo>
                        <a:pt x="26" y="0"/>
                      </a:lnTo>
                      <a:lnTo>
                        <a:pt x="15" y="0"/>
                      </a:lnTo>
                      <a:lnTo>
                        <a:pt x="0" y="0"/>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231" name="Freeform 315">
                  <a:extLst>
                    <a:ext uri="{FF2B5EF4-FFF2-40B4-BE49-F238E27FC236}">
                      <a16:creationId xmlns="" xmlns:a16="http://schemas.microsoft.com/office/drawing/2014/main" id="{FDD9A056-941C-4845-A3BA-69243614223C}"/>
                    </a:ext>
                  </a:extLst>
                </p:cNvPr>
                <p:cNvSpPr>
                  <a:spLocks/>
                </p:cNvSpPr>
                <p:nvPr>
                  <p:custDataLst>
                    <p:tags r:id="rId219"/>
                  </p:custDataLst>
                </p:nvPr>
              </p:nvSpPr>
              <p:spPr bwMode="auto">
                <a:xfrm>
                  <a:off x="8181840" y="3008466"/>
                  <a:ext cx="13512" cy="41660"/>
                </a:xfrm>
                <a:custGeom>
                  <a:avLst/>
                  <a:gdLst>
                    <a:gd name="T0" fmla="*/ 2 w 43"/>
                    <a:gd name="T1" fmla="*/ 0 h 31"/>
                    <a:gd name="T2" fmla="*/ 1 w 43"/>
                    <a:gd name="T3" fmla="*/ 12 h 31"/>
                    <a:gd name="T4" fmla="*/ 0 w 43"/>
                    <a:gd name="T5" fmla="*/ 23 h 31"/>
                    <a:gd name="T6" fmla="*/ 0 w 43"/>
                    <a:gd name="T7" fmla="*/ 26 h 31"/>
                    <a:gd name="T8" fmla="*/ 0 w 43"/>
                    <a:gd name="T9" fmla="*/ 29 h 31"/>
                    <a:gd name="T10" fmla="*/ 0 w 43"/>
                    <a:gd name="T11" fmla="*/ 31 h 31"/>
                    <a:gd name="T12" fmla="*/ 2 w 43"/>
                    <a:gd name="T13" fmla="*/ 31 h 31"/>
                    <a:gd name="T14" fmla="*/ 13 w 43"/>
                    <a:gd name="T15" fmla="*/ 22 h 31"/>
                    <a:gd name="T16" fmla="*/ 25 w 43"/>
                    <a:gd name="T17" fmla="*/ 13 h 31"/>
                    <a:gd name="T18" fmla="*/ 35 w 43"/>
                    <a:gd name="T19" fmla="*/ 5 h 31"/>
                    <a:gd name="T20" fmla="*/ 43 w 43"/>
                    <a:gd name="T21" fmla="*/ 0 h 31"/>
                    <a:gd name="T22" fmla="*/ 2 w 43"/>
                    <a:gd name="T23"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232" name="Freeform 316">
                  <a:extLst>
                    <a:ext uri="{FF2B5EF4-FFF2-40B4-BE49-F238E27FC236}">
                      <a16:creationId xmlns="" xmlns:a16="http://schemas.microsoft.com/office/drawing/2014/main" id="{57AC902B-EC26-47D4-AA61-50D3CDD59925}"/>
                    </a:ext>
                  </a:extLst>
                </p:cNvPr>
                <p:cNvSpPr>
                  <a:spLocks/>
                </p:cNvSpPr>
                <p:nvPr>
                  <p:custDataLst>
                    <p:tags r:id="rId220"/>
                  </p:custDataLst>
                </p:nvPr>
              </p:nvSpPr>
              <p:spPr bwMode="auto">
                <a:xfrm>
                  <a:off x="8213366" y="3042244"/>
                  <a:ext cx="21394" cy="40535"/>
                </a:xfrm>
                <a:custGeom>
                  <a:avLst/>
                  <a:gdLst>
                    <a:gd name="T0" fmla="*/ 4 w 71"/>
                    <a:gd name="T1" fmla="*/ 12 h 49"/>
                    <a:gd name="T2" fmla="*/ 4 w 71"/>
                    <a:gd name="T3" fmla="*/ 18 h 49"/>
                    <a:gd name="T4" fmla="*/ 5 w 71"/>
                    <a:gd name="T5" fmla="*/ 25 h 49"/>
                    <a:gd name="T6" fmla="*/ 7 w 71"/>
                    <a:gd name="T7" fmla="*/ 31 h 49"/>
                    <a:gd name="T8" fmla="*/ 9 w 71"/>
                    <a:gd name="T9" fmla="*/ 37 h 49"/>
                    <a:gd name="T10" fmla="*/ 14 w 71"/>
                    <a:gd name="T11" fmla="*/ 41 h 49"/>
                    <a:gd name="T12" fmla="*/ 18 w 71"/>
                    <a:gd name="T13" fmla="*/ 46 h 49"/>
                    <a:gd name="T14" fmla="*/ 23 w 71"/>
                    <a:gd name="T15" fmla="*/ 48 h 49"/>
                    <a:gd name="T16" fmla="*/ 30 w 71"/>
                    <a:gd name="T17" fmla="*/ 49 h 49"/>
                    <a:gd name="T18" fmla="*/ 35 w 71"/>
                    <a:gd name="T19" fmla="*/ 48 h 49"/>
                    <a:gd name="T20" fmla="*/ 40 w 71"/>
                    <a:gd name="T21" fmla="*/ 46 h 49"/>
                    <a:gd name="T22" fmla="*/ 45 w 71"/>
                    <a:gd name="T23" fmla="*/ 42 h 49"/>
                    <a:gd name="T24" fmla="*/ 50 w 71"/>
                    <a:gd name="T25" fmla="*/ 37 h 49"/>
                    <a:gd name="T26" fmla="*/ 60 w 71"/>
                    <a:gd name="T27" fmla="*/ 28 h 49"/>
                    <a:gd name="T28" fmla="*/ 71 w 71"/>
                    <a:gd name="T29" fmla="*/ 18 h 49"/>
                    <a:gd name="T30" fmla="*/ 61 w 71"/>
                    <a:gd name="T31" fmla="*/ 12 h 49"/>
                    <a:gd name="T32" fmla="*/ 52 w 71"/>
                    <a:gd name="T33" fmla="*/ 9 h 49"/>
                    <a:gd name="T34" fmla="*/ 44 w 71"/>
                    <a:gd name="T35" fmla="*/ 7 h 49"/>
                    <a:gd name="T36" fmla="*/ 37 w 71"/>
                    <a:gd name="T37" fmla="*/ 6 h 49"/>
                    <a:gd name="T38" fmla="*/ 29 w 71"/>
                    <a:gd name="T39" fmla="*/ 6 h 49"/>
                    <a:gd name="T40" fmla="*/ 21 w 71"/>
                    <a:gd name="T41" fmla="*/ 5 h 49"/>
                    <a:gd name="T42" fmla="*/ 14 w 71"/>
                    <a:gd name="T43" fmla="*/ 3 h 49"/>
                    <a:gd name="T44" fmla="*/ 4 w 71"/>
                    <a:gd name="T45" fmla="*/ 0 h 49"/>
                    <a:gd name="T46" fmla="*/ 3 w 71"/>
                    <a:gd name="T47" fmla="*/ 1 h 49"/>
                    <a:gd name="T48" fmla="*/ 1 w 71"/>
                    <a:gd name="T49" fmla="*/ 6 h 49"/>
                    <a:gd name="T50" fmla="*/ 0 w 71"/>
                    <a:gd name="T51" fmla="*/ 8 h 49"/>
                    <a:gd name="T52" fmla="*/ 0 w 71"/>
                    <a:gd name="T53" fmla="*/ 10 h 49"/>
                    <a:gd name="T54" fmla="*/ 1 w 71"/>
                    <a:gd name="T55" fmla="*/ 11 h 49"/>
                    <a:gd name="T56" fmla="*/ 4 w 71"/>
                    <a:gd name="T57" fmla="*/ 1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233" name="Freeform 317">
                  <a:extLst>
                    <a:ext uri="{FF2B5EF4-FFF2-40B4-BE49-F238E27FC236}">
                      <a16:creationId xmlns="" xmlns:a16="http://schemas.microsoft.com/office/drawing/2014/main" id="{DA8F7E90-2482-451C-AC2C-BA8ABDFAC0D7}"/>
                    </a:ext>
                  </a:extLst>
                </p:cNvPr>
                <p:cNvSpPr>
                  <a:spLocks/>
                </p:cNvSpPr>
                <p:nvPr>
                  <p:custDataLst>
                    <p:tags r:id="rId221"/>
                  </p:custDataLst>
                </p:nvPr>
              </p:nvSpPr>
              <p:spPr bwMode="auto">
                <a:xfrm>
                  <a:off x="8072621" y="3186368"/>
                  <a:ext cx="32652" cy="41660"/>
                </a:xfrm>
                <a:custGeom>
                  <a:avLst/>
                  <a:gdLst>
                    <a:gd name="T0" fmla="*/ 46 w 112"/>
                    <a:gd name="T1" fmla="*/ 2 h 26"/>
                    <a:gd name="T2" fmla="*/ 56 w 112"/>
                    <a:gd name="T3" fmla="*/ 2 h 26"/>
                    <a:gd name="T4" fmla="*/ 66 w 112"/>
                    <a:gd name="T5" fmla="*/ 3 h 26"/>
                    <a:gd name="T6" fmla="*/ 74 w 112"/>
                    <a:gd name="T7" fmla="*/ 4 h 26"/>
                    <a:gd name="T8" fmla="*/ 84 w 112"/>
                    <a:gd name="T9" fmla="*/ 6 h 26"/>
                    <a:gd name="T10" fmla="*/ 92 w 112"/>
                    <a:gd name="T11" fmla="*/ 9 h 26"/>
                    <a:gd name="T12" fmla="*/ 100 w 112"/>
                    <a:gd name="T13" fmla="*/ 12 h 26"/>
                    <a:gd name="T14" fmla="*/ 106 w 112"/>
                    <a:gd name="T15" fmla="*/ 16 h 26"/>
                    <a:gd name="T16" fmla="*/ 112 w 112"/>
                    <a:gd name="T17" fmla="*/ 20 h 26"/>
                    <a:gd name="T18" fmla="*/ 110 w 112"/>
                    <a:gd name="T19" fmla="*/ 22 h 26"/>
                    <a:gd name="T20" fmla="*/ 105 w 112"/>
                    <a:gd name="T21" fmla="*/ 23 h 26"/>
                    <a:gd name="T22" fmla="*/ 101 w 112"/>
                    <a:gd name="T23" fmla="*/ 25 h 26"/>
                    <a:gd name="T24" fmla="*/ 95 w 112"/>
                    <a:gd name="T25" fmla="*/ 25 h 26"/>
                    <a:gd name="T26" fmla="*/ 87 w 112"/>
                    <a:gd name="T27" fmla="*/ 26 h 26"/>
                    <a:gd name="T28" fmla="*/ 79 w 112"/>
                    <a:gd name="T29" fmla="*/ 26 h 26"/>
                    <a:gd name="T30" fmla="*/ 66 w 112"/>
                    <a:gd name="T31" fmla="*/ 24 h 26"/>
                    <a:gd name="T32" fmla="*/ 41 w 112"/>
                    <a:gd name="T33" fmla="*/ 19 h 26"/>
                    <a:gd name="T34" fmla="*/ 16 w 112"/>
                    <a:gd name="T35" fmla="*/ 13 h 26"/>
                    <a:gd name="T36" fmla="*/ 0 w 112"/>
                    <a:gd name="T37" fmla="*/ 8 h 26"/>
                    <a:gd name="T38" fmla="*/ 5 w 112"/>
                    <a:gd name="T39" fmla="*/ 4 h 26"/>
                    <a:gd name="T40" fmla="*/ 11 w 112"/>
                    <a:gd name="T41" fmla="*/ 2 h 26"/>
                    <a:gd name="T42" fmla="*/ 18 w 112"/>
                    <a:gd name="T43" fmla="*/ 1 h 26"/>
                    <a:gd name="T44" fmla="*/ 25 w 112"/>
                    <a:gd name="T45" fmla="*/ 0 h 26"/>
                    <a:gd name="T46" fmla="*/ 37 w 112"/>
                    <a:gd name="T47" fmla="*/ 1 h 26"/>
                    <a:gd name="T48" fmla="*/ 46 w 112"/>
                    <a:gd name="T49" fmla="*/ 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234" name="Freeform 318">
                  <a:extLst>
                    <a:ext uri="{FF2B5EF4-FFF2-40B4-BE49-F238E27FC236}">
                      <a16:creationId xmlns="" xmlns:a16="http://schemas.microsoft.com/office/drawing/2014/main" id="{A2692716-C38F-400F-97E6-7DA43465FE94}"/>
                    </a:ext>
                  </a:extLst>
                </p:cNvPr>
                <p:cNvSpPr>
                  <a:spLocks/>
                </p:cNvSpPr>
                <p:nvPr>
                  <p:custDataLst>
                    <p:tags r:id="rId222"/>
                  </p:custDataLst>
                </p:nvPr>
              </p:nvSpPr>
              <p:spPr bwMode="auto">
                <a:xfrm>
                  <a:off x="8142431" y="3213391"/>
                  <a:ext cx="10134" cy="41660"/>
                </a:xfrm>
                <a:custGeom>
                  <a:avLst/>
                  <a:gdLst>
                    <a:gd name="T0" fmla="*/ 0 w 41"/>
                    <a:gd name="T1" fmla="*/ 0 h 25"/>
                    <a:gd name="T2" fmla="*/ 41 w 41"/>
                    <a:gd name="T3" fmla="*/ 0 h 25"/>
                    <a:gd name="T4" fmla="*/ 28 w 41"/>
                    <a:gd name="T5" fmla="*/ 8 h 25"/>
                    <a:gd name="T6" fmla="*/ 18 w 41"/>
                    <a:gd name="T7" fmla="*/ 15 h 25"/>
                    <a:gd name="T8" fmla="*/ 9 w 41"/>
                    <a:gd name="T9" fmla="*/ 20 h 25"/>
                    <a:gd name="T10" fmla="*/ 0 w 41"/>
                    <a:gd name="T11" fmla="*/ 25 h 25"/>
                    <a:gd name="T12" fmla="*/ 0 w 41"/>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41" h="25">
                      <a:moveTo>
                        <a:pt x="0" y="0"/>
                      </a:moveTo>
                      <a:lnTo>
                        <a:pt x="41" y="0"/>
                      </a:lnTo>
                      <a:lnTo>
                        <a:pt x="28" y="8"/>
                      </a:lnTo>
                      <a:lnTo>
                        <a:pt x="18" y="15"/>
                      </a:lnTo>
                      <a:lnTo>
                        <a:pt x="9" y="20"/>
                      </a:lnTo>
                      <a:lnTo>
                        <a:pt x="0" y="25"/>
                      </a:lnTo>
                      <a:lnTo>
                        <a:pt x="0" y="0"/>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235" name="Freeform 319">
                  <a:extLst>
                    <a:ext uri="{FF2B5EF4-FFF2-40B4-BE49-F238E27FC236}">
                      <a16:creationId xmlns="" xmlns:a16="http://schemas.microsoft.com/office/drawing/2014/main" id="{F0CD3801-A649-4B3D-AC16-DED12E54730B}"/>
                    </a:ext>
                  </a:extLst>
                </p:cNvPr>
                <p:cNvSpPr>
                  <a:spLocks/>
                </p:cNvSpPr>
                <p:nvPr>
                  <p:custDataLst>
                    <p:tags r:id="rId223"/>
                  </p:custDataLst>
                </p:nvPr>
              </p:nvSpPr>
              <p:spPr bwMode="auto">
                <a:xfrm>
                  <a:off x="8024204" y="3164975"/>
                  <a:ext cx="25898" cy="39409"/>
                </a:xfrm>
                <a:custGeom>
                  <a:avLst/>
                  <a:gdLst>
                    <a:gd name="T0" fmla="*/ 0 w 81"/>
                    <a:gd name="T1" fmla="*/ 31 h 31"/>
                    <a:gd name="T2" fmla="*/ 0 w 81"/>
                    <a:gd name="T3" fmla="*/ 22 h 31"/>
                    <a:gd name="T4" fmla="*/ 0 w 81"/>
                    <a:gd name="T5" fmla="*/ 13 h 31"/>
                    <a:gd name="T6" fmla="*/ 0 w 81"/>
                    <a:gd name="T7" fmla="*/ 10 h 31"/>
                    <a:gd name="T8" fmla="*/ 2 w 81"/>
                    <a:gd name="T9" fmla="*/ 8 h 31"/>
                    <a:gd name="T10" fmla="*/ 3 w 81"/>
                    <a:gd name="T11" fmla="*/ 6 h 31"/>
                    <a:gd name="T12" fmla="*/ 4 w 81"/>
                    <a:gd name="T13" fmla="*/ 4 h 31"/>
                    <a:gd name="T14" fmla="*/ 8 w 81"/>
                    <a:gd name="T15" fmla="*/ 2 h 31"/>
                    <a:gd name="T16" fmla="*/ 14 w 81"/>
                    <a:gd name="T17" fmla="*/ 0 h 31"/>
                    <a:gd name="T18" fmla="*/ 26 w 81"/>
                    <a:gd name="T19" fmla="*/ 1 h 31"/>
                    <a:gd name="T20" fmla="*/ 41 w 81"/>
                    <a:gd name="T21" fmla="*/ 1 h 31"/>
                    <a:gd name="T22" fmla="*/ 56 w 81"/>
                    <a:gd name="T23" fmla="*/ 1 h 31"/>
                    <a:gd name="T24" fmla="*/ 65 w 81"/>
                    <a:gd name="T25" fmla="*/ 1 h 31"/>
                    <a:gd name="T26" fmla="*/ 73 w 81"/>
                    <a:gd name="T27" fmla="*/ 1 h 31"/>
                    <a:gd name="T28" fmla="*/ 81 w 81"/>
                    <a:gd name="T29" fmla="*/ 1 h 31"/>
                    <a:gd name="T30" fmla="*/ 73 w 81"/>
                    <a:gd name="T31" fmla="*/ 6 h 31"/>
                    <a:gd name="T32" fmla="*/ 67 w 81"/>
                    <a:gd name="T33" fmla="*/ 10 h 31"/>
                    <a:gd name="T34" fmla="*/ 64 w 81"/>
                    <a:gd name="T35" fmla="*/ 14 h 31"/>
                    <a:gd name="T36" fmla="*/ 62 w 81"/>
                    <a:gd name="T37" fmla="*/ 18 h 31"/>
                    <a:gd name="T38" fmla="*/ 59 w 81"/>
                    <a:gd name="T39" fmla="*/ 21 h 31"/>
                    <a:gd name="T40" fmla="*/ 54 w 81"/>
                    <a:gd name="T41" fmla="*/ 23 h 31"/>
                    <a:gd name="T42" fmla="*/ 47 w 81"/>
                    <a:gd name="T43" fmla="*/ 25 h 31"/>
                    <a:gd name="T44" fmla="*/ 34 w 81"/>
                    <a:gd name="T45" fmla="*/ 25 h 31"/>
                    <a:gd name="T46" fmla="*/ 0 w 81"/>
                    <a:gd name="T4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236" name="Freeform 320">
                  <a:extLst>
                    <a:ext uri="{FF2B5EF4-FFF2-40B4-BE49-F238E27FC236}">
                      <a16:creationId xmlns="" xmlns:a16="http://schemas.microsoft.com/office/drawing/2014/main" id="{5F0D5E99-AD81-42B2-80B5-FF04139F8571}"/>
                    </a:ext>
                  </a:extLst>
                </p:cNvPr>
                <p:cNvSpPr>
                  <a:spLocks/>
                </p:cNvSpPr>
                <p:nvPr>
                  <p:custDataLst>
                    <p:tags r:id="rId224"/>
                  </p:custDataLst>
                </p:nvPr>
              </p:nvSpPr>
              <p:spPr bwMode="auto">
                <a:xfrm>
                  <a:off x="8055731" y="3154841"/>
                  <a:ext cx="28149" cy="39409"/>
                </a:xfrm>
                <a:custGeom>
                  <a:avLst/>
                  <a:gdLst>
                    <a:gd name="T0" fmla="*/ 2 w 89"/>
                    <a:gd name="T1" fmla="*/ 49 h 49"/>
                    <a:gd name="T2" fmla="*/ 89 w 89"/>
                    <a:gd name="T3" fmla="*/ 49 h 49"/>
                    <a:gd name="T4" fmla="*/ 78 w 89"/>
                    <a:gd name="T5" fmla="*/ 41 h 49"/>
                    <a:gd name="T6" fmla="*/ 68 w 89"/>
                    <a:gd name="T7" fmla="*/ 35 h 49"/>
                    <a:gd name="T8" fmla="*/ 57 w 89"/>
                    <a:gd name="T9" fmla="*/ 30 h 49"/>
                    <a:gd name="T10" fmla="*/ 46 w 89"/>
                    <a:gd name="T11" fmla="*/ 25 h 49"/>
                    <a:gd name="T12" fmla="*/ 36 w 89"/>
                    <a:gd name="T13" fmla="*/ 21 h 49"/>
                    <a:gd name="T14" fmla="*/ 26 w 89"/>
                    <a:gd name="T15" fmla="*/ 14 h 49"/>
                    <a:gd name="T16" fmla="*/ 16 w 89"/>
                    <a:gd name="T17" fmla="*/ 8 h 49"/>
                    <a:gd name="T18" fmla="*/ 9 w 89"/>
                    <a:gd name="T19" fmla="*/ 0 h 49"/>
                    <a:gd name="T20" fmla="*/ 4 w 89"/>
                    <a:gd name="T21" fmla="*/ 10 h 49"/>
                    <a:gd name="T22" fmla="*/ 1 w 89"/>
                    <a:gd name="T23" fmla="*/ 23 h 49"/>
                    <a:gd name="T24" fmla="*/ 0 w 89"/>
                    <a:gd name="T25" fmla="*/ 29 h 49"/>
                    <a:gd name="T26" fmla="*/ 0 w 89"/>
                    <a:gd name="T27" fmla="*/ 36 h 49"/>
                    <a:gd name="T28" fmla="*/ 0 w 89"/>
                    <a:gd name="T29" fmla="*/ 43 h 49"/>
                    <a:gd name="T30" fmla="*/ 2 w 89"/>
                    <a:gd name="T3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237" name="Freeform 321">
                  <a:extLst>
                    <a:ext uri="{FF2B5EF4-FFF2-40B4-BE49-F238E27FC236}">
                      <a16:creationId xmlns="" xmlns:a16="http://schemas.microsoft.com/office/drawing/2014/main" id="{925FE857-A1FE-4162-A575-0986C8F47385}"/>
                    </a:ext>
                  </a:extLst>
                </p:cNvPr>
                <p:cNvSpPr>
                  <a:spLocks/>
                </p:cNvSpPr>
                <p:nvPr>
                  <p:custDataLst>
                    <p:tags r:id="rId225"/>
                  </p:custDataLst>
                </p:nvPr>
              </p:nvSpPr>
              <p:spPr bwMode="auto">
                <a:xfrm>
                  <a:off x="8092888" y="3161597"/>
                  <a:ext cx="25897" cy="41660"/>
                </a:xfrm>
                <a:custGeom>
                  <a:avLst/>
                  <a:gdLst>
                    <a:gd name="T0" fmla="*/ 0 w 86"/>
                    <a:gd name="T1" fmla="*/ 21 h 46"/>
                    <a:gd name="T2" fmla="*/ 14 w 86"/>
                    <a:gd name="T3" fmla="*/ 26 h 46"/>
                    <a:gd name="T4" fmla="*/ 25 w 86"/>
                    <a:gd name="T5" fmla="*/ 29 h 46"/>
                    <a:gd name="T6" fmla="*/ 30 w 86"/>
                    <a:gd name="T7" fmla="*/ 30 h 46"/>
                    <a:gd name="T8" fmla="*/ 36 w 86"/>
                    <a:gd name="T9" fmla="*/ 30 h 46"/>
                    <a:gd name="T10" fmla="*/ 41 w 86"/>
                    <a:gd name="T11" fmla="*/ 29 h 46"/>
                    <a:gd name="T12" fmla="*/ 46 w 86"/>
                    <a:gd name="T13" fmla="*/ 27 h 46"/>
                    <a:gd name="T14" fmla="*/ 46 w 86"/>
                    <a:gd name="T15" fmla="*/ 36 h 46"/>
                    <a:gd name="T16" fmla="*/ 46 w 86"/>
                    <a:gd name="T17" fmla="*/ 46 h 46"/>
                    <a:gd name="T18" fmla="*/ 56 w 86"/>
                    <a:gd name="T19" fmla="*/ 45 h 46"/>
                    <a:gd name="T20" fmla="*/ 67 w 86"/>
                    <a:gd name="T21" fmla="*/ 43 h 46"/>
                    <a:gd name="T22" fmla="*/ 77 w 86"/>
                    <a:gd name="T23" fmla="*/ 40 h 46"/>
                    <a:gd name="T24" fmla="*/ 86 w 86"/>
                    <a:gd name="T25" fmla="*/ 40 h 46"/>
                    <a:gd name="T26" fmla="*/ 83 w 86"/>
                    <a:gd name="T27" fmla="*/ 32 h 46"/>
                    <a:gd name="T28" fmla="*/ 80 w 86"/>
                    <a:gd name="T29" fmla="*/ 25 h 46"/>
                    <a:gd name="T30" fmla="*/ 74 w 86"/>
                    <a:gd name="T31" fmla="*/ 19 h 46"/>
                    <a:gd name="T32" fmla="*/ 70 w 86"/>
                    <a:gd name="T33" fmla="*/ 14 h 46"/>
                    <a:gd name="T34" fmla="*/ 64 w 86"/>
                    <a:gd name="T35" fmla="*/ 9 h 46"/>
                    <a:gd name="T36" fmla="*/ 58 w 86"/>
                    <a:gd name="T37" fmla="*/ 6 h 46"/>
                    <a:gd name="T38" fmla="*/ 51 w 86"/>
                    <a:gd name="T39" fmla="*/ 3 h 46"/>
                    <a:gd name="T40" fmla="*/ 46 w 86"/>
                    <a:gd name="T41" fmla="*/ 1 h 46"/>
                    <a:gd name="T42" fmla="*/ 39 w 86"/>
                    <a:gd name="T43" fmla="*/ 0 h 46"/>
                    <a:gd name="T44" fmla="*/ 33 w 86"/>
                    <a:gd name="T45" fmla="*/ 0 h 46"/>
                    <a:gd name="T46" fmla="*/ 26 w 86"/>
                    <a:gd name="T47" fmla="*/ 1 h 46"/>
                    <a:gd name="T48" fmla="*/ 19 w 86"/>
                    <a:gd name="T49" fmla="*/ 3 h 46"/>
                    <a:gd name="T50" fmla="*/ 14 w 86"/>
                    <a:gd name="T51" fmla="*/ 6 h 46"/>
                    <a:gd name="T52" fmla="*/ 8 w 86"/>
                    <a:gd name="T53" fmla="*/ 10 h 46"/>
                    <a:gd name="T54" fmla="*/ 4 w 86"/>
                    <a:gd name="T55" fmla="*/ 15 h 46"/>
                    <a:gd name="T56" fmla="*/ 0 w 86"/>
                    <a:gd name="T57" fmla="*/ 21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238" name="Freeform 322">
                  <a:extLst>
                    <a:ext uri="{FF2B5EF4-FFF2-40B4-BE49-F238E27FC236}">
                      <a16:creationId xmlns="" xmlns:a16="http://schemas.microsoft.com/office/drawing/2014/main" id="{CC73136E-9C43-4D56-9C50-C7FB55B1BD1C}"/>
                    </a:ext>
                  </a:extLst>
                </p:cNvPr>
                <p:cNvSpPr>
                  <a:spLocks/>
                </p:cNvSpPr>
                <p:nvPr>
                  <p:custDataLst>
                    <p:tags r:id="rId226"/>
                  </p:custDataLst>
                </p:nvPr>
              </p:nvSpPr>
              <p:spPr bwMode="auto">
                <a:xfrm>
                  <a:off x="8130045" y="3164975"/>
                  <a:ext cx="18015" cy="39409"/>
                </a:xfrm>
                <a:custGeom>
                  <a:avLst/>
                  <a:gdLst>
                    <a:gd name="T0" fmla="*/ 0 w 59"/>
                    <a:gd name="T1" fmla="*/ 0 h 18"/>
                    <a:gd name="T2" fmla="*/ 0 w 59"/>
                    <a:gd name="T3" fmla="*/ 18 h 18"/>
                    <a:gd name="T4" fmla="*/ 39 w 59"/>
                    <a:gd name="T5" fmla="*/ 18 h 18"/>
                    <a:gd name="T6" fmla="*/ 59 w 59"/>
                    <a:gd name="T7" fmla="*/ 6 h 18"/>
                    <a:gd name="T8" fmla="*/ 51 w 59"/>
                    <a:gd name="T9" fmla="*/ 5 h 18"/>
                    <a:gd name="T10" fmla="*/ 45 w 59"/>
                    <a:gd name="T11" fmla="*/ 4 h 18"/>
                    <a:gd name="T12" fmla="*/ 37 w 59"/>
                    <a:gd name="T13" fmla="*/ 5 h 18"/>
                    <a:gd name="T14" fmla="*/ 29 w 59"/>
                    <a:gd name="T15" fmla="*/ 6 h 18"/>
                    <a:gd name="T16" fmla="*/ 22 w 59"/>
                    <a:gd name="T17" fmla="*/ 6 h 18"/>
                    <a:gd name="T18" fmla="*/ 14 w 59"/>
                    <a:gd name="T19" fmla="*/ 5 h 18"/>
                    <a:gd name="T20" fmla="*/ 7 w 59"/>
                    <a:gd name="T21" fmla="*/ 4 h 18"/>
                    <a:gd name="T22" fmla="*/ 0 w 59"/>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239" name="Freeform 323">
                  <a:extLst>
                    <a:ext uri="{FF2B5EF4-FFF2-40B4-BE49-F238E27FC236}">
                      <a16:creationId xmlns="" xmlns:a16="http://schemas.microsoft.com/office/drawing/2014/main" id="{90686A0D-BDCA-4925-9D66-55DC4DD4D38B}"/>
                    </a:ext>
                  </a:extLst>
                </p:cNvPr>
                <p:cNvSpPr>
                  <a:spLocks/>
                </p:cNvSpPr>
                <p:nvPr>
                  <p:custDataLst>
                    <p:tags r:id="rId227"/>
                  </p:custDataLst>
                </p:nvPr>
              </p:nvSpPr>
              <p:spPr bwMode="auto">
                <a:xfrm>
                  <a:off x="8181840" y="3159345"/>
                  <a:ext cx="1126" cy="39409"/>
                </a:xfrm>
                <a:custGeom>
                  <a:avLst/>
                  <a:gdLst>
                    <a:gd name="T0" fmla="*/ 4 w 4"/>
                    <a:gd name="T1" fmla="*/ 19 h 19"/>
                    <a:gd name="T2" fmla="*/ 4 w 4"/>
                    <a:gd name="T3" fmla="*/ 0 h 19"/>
                    <a:gd name="T4" fmla="*/ 2 w 4"/>
                    <a:gd name="T5" fmla="*/ 1 h 19"/>
                    <a:gd name="T6" fmla="*/ 1 w 4"/>
                    <a:gd name="T7" fmla="*/ 3 h 19"/>
                    <a:gd name="T8" fmla="*/ 0 w 4"/>
                    <a:gd name="T9" fmla="*/ 6 h 19"/>
                    <a:gd name="T10" fmla="*/ 0 w 4"/>
                    <a:gd name="T11" fmla="*/ 10 h 19"/>
                    <a:gd name="T12" fmla="*/ 0 w 4"/>
                    <a:gd name="T13" fmla="*/ 14 h 19"/>
                    <a:gd name="T14" fmla="*/ 1 w 4"/>
                    <a:gd name="T15" fmla="*/ 16 h 19"/>
                    <a:gd name="T16" fmla="*/ 2 w 4"/>
                    <a:gd name="T17" fmla="*/ 19 h 19"/>
                    <a:gd name="T18" fmla="*/ 4 w 4"/>
                    <a:gd name="T1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240" name="Freeform 324">
                  <a:extLst>
                    <a:ext uri="{FF2B5EF4-FFF2-40B4-BE49-F238E27FC236}">
                      <a16:creationId xmlns="" xmlns:a16="http://schemas.microsoft.com/office/drawing/2014/main" id="{DC87491D-6F59-4595-9C51-2A8FEAA791E9}"/>
                    </a:ext>
                  </a:extLst>
                </p:cNvPr>
                <p:cNvSpPr>
                  <a:spLocks/>
                </p:cNvSpPr>
                <p:nvPr>
                  <p:custDataLst>
                    <p:tags r:id="rId228"/>
                  </p:custDataLst>
                </p:nvPr>
              </p:nvSpPr>
              <p:spPr bwMode="auto">
                <a:xfrm>
                  <a:off x="7880080" y="3027607"/>
                  <a:ext cx="14638" cy="41661"/>
                </a:xfrm>
                <a:custGeom>
                  <a:avLst/>
                  <a:gdLst>
                    <a:gd name="T0" fmla="*/ 0 w 46"/>
                    <a:gd name="T1" fmla="*/ 50 h 50"/>
                    <a:gd name="T2" fmla="*/ 7 w 46"/>
                    <a:gd name="T3" fmla="*/ 0 h 50"/>
                    <a:gd name="T4" fmla="*/ 23 w 46"/>
                    <a:gd name="T5" fmla="*/ 8 h 50"/>
                    <a:gd name="T6" fmla="*/ 34 w 46"/>
                    <a:gd name="T7" fmla="*/ 14 h 50"/>
                    <a:gd name="T8" fmla="*/ 37 w 46"/>
                    <a:gd name="T9" fmla="*/ 18 h 50"/>
                    <a:gd name="T10" fmla="*/ 41 w 46"/>
                    <a:gd name="T11" fmla="*/ 22 h 50"/>
                    <a:gd name="T12" fmla="*/ 44 w 46"/>
                    <a:gd name="T13" fmla="*/ 30 h 50"/>
                    <a:gd name="T14" fmla="*/ 46 w 46"/>
                    <a:gd name="T15" fmla="*/ 38 h 50"/>
                    <a:gd name="T16" fmla="*/ 34 w 46"/>
                    <a:gd name="T17" fmla="*/ 42 h 50"/>
                    <a:gd name="T18" fmla="*/ 21 w 46"/>
                    <a:gd name="T19" fmla="*/ 46 h 50"/>
                    <a:gd name="T20" fmla="*/ 8 w 46"/>
                    <a:gd name="T21" fmla="*/ 49 h 50"/>
                    <a:gd name="T22" fmla="*/ 0 w 46"/>
                    <a:gd name="T2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241" name="Freeform 325">
                  <a:extLst>
                    <a:ext uri="{FF2B5EF4-FFF2-40B4-BE49-F238E27FC236}">
                      <a16:creationId xmlns="" xmlns:a16="http://schemas.microsoft.com/office/drawing/2014/main" id="{EF5EFF63-0CFB-4743-A682-6B6CA87C3BC0}"/>
                    </a:ext>
                  </a:extLst>
                </p:cNvPr>
                <p:cNvSpPr>
                  <a:spLocks/>
                </p:cNvSpPr>
                <p:nvPr>
                  <p:custDataLst>
                    <p:tags r:id="rId229"/>
                  </p:custDataLst>
                </p:nvPr>
              </p:nvSpPr>
              <p:spPr bwMode="auto">
                <a:xfrm>
                  <a:off x="7841798" y="3008466"/>
                  <a:ext cx="21394" cy="41660"/>
                </a:xfrm>
                <a:custGeom>
                  <a:avLst/>
                  <a:gdLst>
                    <a:gd name="T0" fmla="*/ 0 w 66"/>
                    <a:gd name="T1" fmla="*/ 0 h 80"/>
                    <a:gd name="T2" fmla="*/ 10 w 66"/>
                    <a:gd name="T3" fmla="*/ 0 h 80"/>
                    <a:gd name="T4" fmla="*/ 18 w 66"/>
                    <a:gd name="T5" fmla="*/ 0 h 80"/>
                    <a:gd name="T6" fmla="*/ 26 w 66"/>
                    <a:gd name="T7" fmla="*/ 0 h 80"/>
                    <a:gd name="T8" fmla="*/ 33 w 66"/>
                    <a:gd name="T9" fmla="*/ 0 h 80"/>
                    <a:gd name="T10" fmla="*/ 33 w 66"/>
                    <a:gd name="T11" fmla="*/ 7 h 80"/>
                    <a:gd name="T12" fmla="*/ 34 w 66"/>
                    <a:gd name="T13" fmla="*/ 14 h 80"/>
                    <a:gd name="T14" fmla="*/ 36 w 66"/>
                    <a:gd name="T15" fmla="*/ 21 h 80"/>
                    <a:gd name="T16" fmla="*/ 38 w 66"/>
                    <a:gd name="T17" fmla="*/ 27 h 80"/>
                    <a:gd name="T18" fmla="*/ 44 w 66"/>
                    <a:gd name="T19" fmla="*/ 36 h 80"/>
                    <a:gd name="T20" fmla="*/ 49 w 66"/>
                    <a:gd name="T21" fmla="*/ 45 h 80"/>
                    <a:gd name="T22" fmla="*/ 56 w 66"/>
                    <a:gd name="T23" fmla="*/ 52 h 80"/>
                    <a:gd name="T24" fmla="*/ 61 w 66"/>
                    <a:gd name="T25" fmla="*/ 60 h 80"/>
                    <a:gd name="T26" fmla="*/ 62 w 66"/>
                    <a:gd name="T27" fmla="*/ 65 h 80"/>
                    <a:gd name="T28" fmla="*/ 65 w 66"/>
                    <a:gd name="T29" fmla="*/ 69 h 80"/>
                    <a:gd name="T30" fmla="*/ 66 w 66"/>
                    <a:gd name="T31" fmla="*/ 75 h 80"/>
                    <a:gd name="T32" fmla="*/ 66 w 66"/>
                    <a:gd name="T33" fmla="*/ 80 h 80"/>
                    <a:gd name="T34" fmla="*/ 0 w 66"/>
                    <a:gd name="T35" fmla="*/ 18 h 80"/>
                    <a:gd name="T36" fmla="*/ 0 w 66"/>
                    <a:gd name="T3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242" name="Freeform 326">
                  <a:extLst>
                    <a:ext uri="{FF2B5EF4-FFF2-40B4-BE49-F238E27FC236}">
                      <a16:creationId xmlns="" xmlns:a16="http://schemas.microsoft.com/office/drawing/2014/main" id="{062C5915-CFA2-4F03-83A1-1D6B5D1E4466}"/>
                    </a:ext>
                  </a:extLst>
                </p:cNvPr>
                <p:cNvSpPr>
                  <a:spLocks/>
                </p:cNvSpPr>
                <p:nvPr>
                  <p:custDataLst>
                    <p:tags r:id="rId230"/>
                  </p:custDataLst>
                </p:nvPr>
              </p:nvSpPr>
              <p:spPr bwMode="auto">
                <a:xfrm>
                  <a:off x="7724697" y="2997206"/>
                  <a:ext cx="5630" cy="40535"/>
                </a:xfrm>
                <a:custGeom>
                  <a:avLst/>
                  <a:gdLst>
                    <a:gd name="T0" fmla="*/ 20 w 20"/>
                    <a:gd name="T1" fmla="*/ 48 h 48"/>
                    <a:gd name="T2" fmla="*/ 20 w 20"/>
                    <a:gd name="T3" fmla="*/ 39 h 48"/>
                    <a:gd name="T4" fmla="*/ 19 w 20"/>
                    <a:gd name="T5" fmla="*/ 32 h 48"/>
                    <a:gd name="T6" fmla="*/ 16 w 20"/>
                    <a:gd name="T7" fmla="*/ 25 h 48"/>
                    <a:gd name="T8" fmla="*/ 14 w 20"/>
                    <a:gd name="T9" fmla="*/ 19 h 48"/>
                    <a:gd name="T10" fmla="*/ 12 w 20"/>
                    <a:gd name="T11" fmla="*/ 14 h 48"/>
                    <a:gd name="T12" fmla="*/ 9 w 20"/>
                    <a:gd name="T13" fmla="*/ 9 h 48"/>
                    <a:gd name="T14" fmla="*/ 4 w 20"/>
                    <a:gd name="T15" fmla="*/ 4 h 48"/>
                    <a:gd name="T16" fmla="*/ 0 w 20"/>
                    <a:gd name="T17" fmla="*/ 0 h 48"/>
                    <a:gd name="T18" fmla="*/ 0 w 20"/>
                    <a:gd name="T19" fmla="*/ 8 h 48"/>
                    <a:gd name="T20" fmla="*/ 2 w 20"/>
                    <a:gd name="T21" fmla="*/ 17 h 48"/>
                    <a:gd name="T22" fmla="*/ 4 w 20"/>
                    <a:gd name="T23" fmla="*/ 24 h 48"/>
                    <a:gd name="T24" fmla="*/ 8 w 20"/>
                    <a:gd name="T25" fmla="*/ 31 h 48"/>
                    <a:gd name="T26" fmla="*/ 14 w 20"/>
                    <a:gd name="T27" fmla="*/ 41 h 48"/>
                    <a:gd name="T28" fmla="*/ 20 w 20"/>
                    <a:gd name="T2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243" name="Line 327" descr="Dunkel horizontal">
                  <a:extLst>
                    <a:ext uri="{FF2B5EF4-FFF2-40B4-BE49-F238E27FC236}">
                      <a16:creationId xmlns="" xmlns:a16="http://schemas.microsoft.com/office/drawing/2014/main" id="{D235FD79-A334-4098-A1E7-03E0BA82B0EE}"/>
                    </a:ext>
                  </a:extLst>
                </p:cNvPr>
                <p:cNvSpPr>
                  <a:spLocks noChangeShapeType="1"/>
                </p:cNvSpPr>
                <p:nvPr>
                  <p:custDataLst>
                    <p:tags r:id="rId231"/>
                  </p:custDataLst>
                </p:nvPr>
              </p:nvSpPr>
              <p:spPr bwMode="auto">
                <a:xfrm>
                  <a:off x="7742712" y="3023103"/>
                  <a:ext cx="3378" cy="4504"/>
                </a:xfrm>
                <a:prstGeom prst="line">
                  <a:avLst/>
                </a:prstGeom>
                <a:solidFill>
                  <a:srgbClr val="CDCDCD"/>
                </a:solidFill>
                <a:ln w="3175">
                  <a:solidFill>
                    <a:srgbClr val="FFFFFF"/>
                  </a:solidFill>
                  <a:round/>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244" name="Freeform 328">
                  <a:extLst>
                    <a:ext uri="{FF2B5EF4-FFF2-40B4-BE49-F238E27FC236}">
                      <a16:creationId xmlns="" xmlns:a16="http://schemas.microsoft.com/office/drawing/2014/main" id="{153BB349-CD75-4749-B430-00E2C57264BC}"/>
                    </a:ext>
                  </a:extLst>
                </p:cNvPr>
                <p:cNvSpPr>
                  <a:spLocks/>
                </p:cNvSpPr>
                <p:nvPr>
                  <p:custDataLst>
                    <p:tags r:id="rId232"/>
                  </p:custDataLst>
                </p:nvPr>
              </p:nvSpPr>
              <p:spPr bwMode="auto">
                <a:xfrm>
                  <a:off x="7740460" y="3023103"/>
                  <a:ext cx="5630" cy="40535"/>
                </a:xfrm>
                <a:custGeom>
                  <a:avLst/>
                  <a:gdLst>
                    <a:gd name="T0" fmla="*/ 20 w 20"/>
                    <a:gd name="T1" fmla="*/ 12 h 12"/>
                    <a:gd name="T2" fmla="*/ 20 w 20"/>
                    <a:gd name="T3" fmla="*/ 8 h 12"/>
                    <a:gd name="T4" fmla="*/ 18 w 20"/>
                    <a:gd name="T5" fmla="*/ 5 h 12"/>
                    <a:gd name="T6" fmla="*/ 15 w 20"/>
                    <a:gd name="T7" fmla="*/ 3 h 12"/>
                    <a:gd name="T8" fmla="*/ 13 w 20"/>
                    <a:gd name="T9" fmla="*/ 2 h 12"/>
                    <a:gd name="T10" fmla="*/ 7 w 20"/>
                    <a:gd name="T11" fmla="*/ 0 h 12"/>
                    <a:gd name="T12" fmla="*/ 0 w 2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0" h="12">
                      <a:moveTo>
                        <a:pt x="20" y="12"/>
                      </a:moveTo>
                      <a:lnTo>
                        <a:pt x="20" y="8"/>
                      </a:lnTo>
                      <a:lnTo>
                        <a:pt x="18" y="5"/>
                      </a:lnTo>
                      <a:lnTo>
                        <a:pt x="15" y="3"/>
                      </a:lnTo>
                      <a:lnTo>
                        <a:pt x="13" y="2"/>
                      </a:lnTo>
                      <a:lnTo>
                        <a:pt x="7" y="0"/>
                      </a:lnTo>
                      <a:lnTo>
                        <a:pt x="0" y="0"/>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245" name="Freeform 329">
                  <a:extLst>
                    <a:ext uri="{FF2B5EF4-FFF2-40B4-BE49-F238E27FC236}">
                      <a16:creationId xmlns="" xmlns:a16="http://schemas.microsoft.com/office/drawing/2014/main" id="{5C071BB4-3AC7-4852-98F8-964A28A01349}"/>
                    </a:ext>
                  </a:extLst>
                </p:cNvPr>
                <p:cNvSpPr>
                  <a:spLocks/>
                </p:cNvSpPr>
                <p:nvPr>
                  <p:custDataLst>
                    <p:tags r:id="rId233"/>
                  </p:custDataLst>
                </p:nvPr>
              </p:nvSpPr>
              <p:spPr bwMode="auto">
                <a:xfrm>
                  <a:off x="7670651" y="2912758"/>
                  <a:ext cx="15763" cy="40535"/>
                </a:xfrm>
                <a:custGeom>
                  <a:avLst/>
                  <a:gdLst>
                    <a:gd name="T0" fmla="*/ 7 w 53"/>
                    <a:gd name="T1" fmla="*/ 0 h 30"/>
                    <a:gd name="T2" fmla="*/ 11 w 53"/>
                    <a:gd name="T3" fmla="*/ 4 h 30"/>
                    <a:gd name="T4" fmla="*/ 23 w 53"/>
                    <a:gd name="T5" fmla="*/ 13 h 30"/>
                    <a:gd name="T6" fmla="*/ 37 w 53"/>
                    <a:gd name="T7" fmla="*/ 23 h 30"/>
                    <a:gd name="T8" fmla="*/ 46 w 53"/>
                    <a:gd name="T9" fmla="*/ 30 h 30"/>
                    <a:gd name="T10" fmla="*/ 49 w 53"/>
                    <a:gd name="T11" fmla="*/ 18 h 30"/>
                    <a:gd name="T12" fmla="*/ 53 w 53"/>
                    <a:gd name="T13" fmla="*/ 6 h 30"/>
                    <a:gd name="T14" fmla="*/ 37 w 53"/>
                    <a:gd name="T15" fmla="*/ 5 h 30"/>
                    <a:gd name="T16" fmla="*/ 26 w 53"/>
                    <a:gd name="T17" fmla="*/ 3 h 30"/>
                    <a:gd name="T18" fmla="*/ 21 w 53"/>
                    <a:gd name="T19" fmla="*/ 3 h 30"/>
                    <a:gd name="T20" fmla="*/ 15 w 53"/>
                    <a:gd name="T21" fmla="*/ 3 h 30"/>
                    <a:gd name="T22" fmla="*/ 9 w 53"/>
                    <a:gd name="T23" fmla="*/ 4 h 30"/>
                    <a:gd name="T24" fmla="*/ 0 w 53"/>
                    <a:gd name="T25" fmla="*/ 6 h 30"/>
                    <a:gd name="T26" fmla="*/ 7 w 53"/>
                    <a:gd name="T2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246" name="Freeform 330">
                  <a:extLst>
                    <a:ext uri="{FF2B5EF4-FFF2-40B4-BE49-F238E27FC236}">
                      <a16:creationId xmlns="" xmlns:a16="http://schemas.microsoft.com/office/drawing/2014/main" id="{EC382DAA-00FA-474E-909C-7CB8BB892C50}"/>
                    </a:ext>
                  </a:extLst>
                </p:cNvPr>
                <p:cNvSpPr>
                  <a:spLocks/>
                </p:cNvSpPr>
                <p:nvPr>
                  <p:custDataLst>
                    <p:tags r:id="rId234"/>
                  </p:custDataLst>
                </p:nvPr>
              </p:nvSpPr>
              <p:spPr bwMode="auto">
                <a:xfrm>
                  <a:off x="8045598" y="3170605"/>
                  <a:ext cx="7882" cy="40535"/>
                </a:xfrm>
                <a:custGeom>
                  <a:avLst/>
                  <a:gdLst>
                    <a:gd name="T0" fmla="*/ 0 w 33"/>
                    <a:gd name="T1" fmla="*/ 6 h 31"/>
                    <a:gd name="T2" fmla="*/ 4 w 33"/>
                    <a:gd name="T3" fmla="*/ 21 h 31"/>
                    <a:gd name="T4" fmla="*/ 7 w 33"/>
                    <a:gd name="T5" fmla="*/ 31 h 31"/>
                    <a:gd name="T6" fmla="*/ 22 w 33"/>
                    <a:gd name="T7" fmla="*/ 31 h 31"/>
                    <a:gd name="T8" fmla="*/ 33 w 33"/>
                    <a:gd name="T9" fmla="*/ 31 h 31"/>
                    <a:gd name="T10" fmla="*/ 33 w 33"/>
                    <a:gd name="T11" fmla="*/ 0 h 31"/>
                    <a:gd name="T12" fmla="*/ 27 w 33"/>
                    <a:gd name="T13" fmla="*/ 0 h 31"/>
                    <a:gd name="T14" fmla="*/ 19 w 33"/>
                    <a:gd name="T15" fmla="*/ 0 h 31"/>
                    <a:gd name="T16" fmla="*/ 10 w 33"/>
                    <a:gd name="T17" fmla="*/ 0 h 31"/>
                    <a:gd name="T18" fmla="*/ 0 w 33"/>
                    <a:gd name="T19" fmla="*/ 0 h 31"/>
                    <a:gd name="T20" fmla="*/ 0 w 33"/>
                    <a:gd name="T2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247" name="Freeform 331">
                  <a:extLst>
                    <a:ext uri="{FF2B5EF4-FFF2-40B4-BE49-F238E27FC236}">
                      <a16:creationId xmlns="" xmlns:a16="http://schemas.microsoft.com/office/drawing/2014/main" id="{1DC1BFAA-746A-436B-AC2E-A61EA9E6DD58}"/>
                    </a:ext>
                  </a:extLst>
                </p:cNvPr>
                <p:cNvSpPr>
                  <a:spLocks/>
                </p:cNvSpPr>
                <p:nvPr>
                  <p:custDataLst>
                    <p:tags r:id="rId235"/>
                  </p:custDataLst>
                </p:nvPr>
              </p:nvSpPr>
              <p:spPr bwMode="auto">
                <a:xfrm>
                  <a:off x="8411537" y="3140204"/>
                  <a:ext cx="20268" cy="39409"/>
                </a:xfrm>
                <a:custGeom>
                  <a:avLst/>
                  <a:gdLst>
                    <a:gd name="T0" fmla="*/ 19 w 65"/>
                    <a:gd name="T1" fmla="*/ 68 h 68"/>
                    <a:gd name="T2" fmla="*/ 16 w 65"/>
                    <a:gd name="T3" fmla="*/ 68 h 68"/>
                    <a:gd name="T4" fmla="*/ 14 w 65"/>
                    <a:gd name="T5" fmla="*/ 66 h 68"/>
                    <a:gd name="T6" fmla="*/ 11 w 65"/>
                    <a:gd name="T7" fmla="*/ 64 h 68"/>
                    <a:gd name="T8" fmla="*/ 7 w 65"/>
                    <a:gd name="T9" fmla="*/ 61 h 68"/>
                    <a:gd name="T10" fmla="*/ 4 w 65"/>
                    <a:gd name="T11" fmla="*/ 59 h 68"/>
                    <a:gd name="T12" fmla="*/ 2 w 65"/>
                    <a:gd name="T13" fmla="*/ 55 h 68"/>
                    <a:gd name="T14" fmla="*/ 0 w 65"/>
                    <a:gd name="T15" fmla="*/ 52 h 68"/>
                    <a:gd name="T16" fmla="*/ 0 w 65"/>
                    <a:gd name="T17" fmla="*/ 49 h 68"/>
                    <a:gd name="T18" fmla="*/ 0 w 65"/>
                    <a:gd name="T19" fmla="*/ 38 h 68"/>
                    <a:gd name="T20" fmla="*/ 2 w 65"/>
                    <a:gd name="T21" fmla="*/ 29 h 68"/>
                    <a:gd name="T22" fmla="*/ 5 w 65"/>
                    <a:gd name="T23" fmla="*/ 21 h 68"/>
                    <a:gd name="T24" fmla="*/ 9 w 65"/>
                    <a:gd name="T25" fmla="*/ 14 h 68"/>
                    <a:gd name="T26" fmla="*/ 15 w 65"/>
                    <a:gd name="T27" fmla="*/ 8 h 68"/>
                    <a:gd name="T28" fmla="*/ 22 w 65"/>
                    <a:gd name="T29" fmla="*/ 4 h 68"/>
                    <a:gd name="T30" fmla="*/ 30 w 65"/>
                    <a:gd name="T31" fmla="*/ 2 h 68"/>
                    <a:gd name="T32" fmla="*/ 39 w 65"/>
                    <a:gd name="T33" fmla="*/ 0 h 68"/>
                    <a:gd name="T34" fmla="*/ 52 w 65"/>
                    <a:gd name="T35" fmla="*/ 0 h 68"/>
                    <a:gd name="T36" fmla="*/ 65 w 65"/>
                    <a:gd name="T37" fmla="*/ 0 h 68"/>
                    <a:gd name="T38" fmla="*/ 65 w 65"/>
                    <a:gd name="T39" fmla="*/ 43 h 68"/>
                    <a:gd name="T40" fmla="*/ 56 w 65"/>
                    <a:gd name="T41" fmla="*/ 52 h 68"/>
                    <a:gd name="T42" fmla="*/ 45 w 65"/>
                    <a:gd name="T43" fmla="*/ 61 h 68"/>
                    <a:gd name="T44" fmla="*/ 39 w 65"/>
                    <a:gd name="T45" fmla="*/ 64 h 68"/>
                    <a:gd name="T46" fmla="*/ 34 w 65"/>
                    <a:gd name="T47" fmla="*/ 66 h 68"/>
                    <a:gd name="T48" fmla="*/ 27 w 65"/>
                    <a:gd name="T49" fmla="*/ 68 h 68"/>
                    <a:gd name="T50" fmla="*/ 19 w 65"/>
                    <a:gd name="T51"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248" name="Freeform 332">
                  <a:extLst>
                    <a:ext uri="{FF2B5EF4-FFF2-40B4-BE49-F238E27FC236}">
                      <a16:creationId xmlns="" xmlns:a16="http://schemas.microsoft.com/office/drawing/2014/main" id="{C98465E7-0759-4720-98E8-275DD74EA2CC}"/>
                    </a:ext>
                  </a:extLst>
                </p:cNvPr>
                <p:cNvSpPr>
                  <a:spLocks/>
                </p:cNvSpPr>
                <p:nvPr>
                  <p:custDataLst>
                    <p:tags r:id="rId236"/>
                  </p:custDataLst>
                </p:nvPr>
              </p:nvSpPr>
              <p:spPr bwMode="auto">
                <a:xfrm>
                  <a:off x="7658265" y="2844074"/>
                  <a:ext cx="194792" cy="261224"/>
                </a:xfrm>
                <a:custGeom>
                  <a:avLst/>
                  <a:gdLst>
                    <a:gd name="T0" fmla="*/ 502 w 625"/>
                    <a:gd name="T1" fmla="*/ 337 h 694"/>
                    <a:gd name="T2" fmla="*/ 484 w 625"/>
                    <a:gd name="T3" fmla="*/ 341 h 694"/>
                    <a:gd name="T4" fmla="*/ 479 w 625"/>
                    <a:gd name="T5" fmla="*/ 382 h 694"/>
                    <a:gd name="T6" fmla="*/ 515 w 625"/>
                    <a:gd name="T7" fmla="*/ 404 h 694"/>
                    <a:gd name="T8" fmla="*/ 534 w 625"/>
                    <a:gd name="T9" fmla="*/ 405 h 694"/>
                    <a:gd name="T10" fmla="*/ 550 w 625"/>
                    <a:gd name="T11" fmla="*/ 424 h 694"/>
                    <a:gd name="T12" fmla="*/ 560 w 625"/>
                    <a:gd name="T13" fmla="*/ 459 h 694"/>
                    <a:gd name="T14" fmla="*/ 572 w 625"/>
                    <a:gd name="T15" fmla="*/ 474 h 694"/>
                    <a:gd name="T16" fmla="*/ 588 w 625"/>
                    <a:gd name="T17" fmla="*/ 483 h 694"/>
                    <a:gd name="T18" fmla="*/ 614 w 625"/>
                    <a:gd name="T19" fmla="*/ 487 h 694"/>
                    <a:gd name="T20" fmla="*/ 625 w 625"/>
                    <a:gd name="T21" fmla="*/ 505 h 694"/>
                    <a:gd name="T22" fmla="*/ 625 w 625"/>
                    <a:gd name="T23" fmla="*/ 539 h 694"/>
                    <a:gd name="T24" fmla="*/ 618 w 625"/>
                    <a:gd name="T25" fmla="*/ 603 h 694"/>
                    <a:gd name="T26" fmla="*/ 611 w 625"/>
                    <a:gd name="T27" fmla="*/ 672 h 694"/>
                    <a:gd name="T28" fmla="*/ 562 w 625"/>
                    <a:gd name="T29" fmla="*/ 693 h 694"/>
                    <a:gd name="T30" fmla="*/ 539 w 625"/>
                    <a:gd name="T31" fmla="*/ 693 h 694"/>
                    <a:gd name="T32" fmla="*/ 394 w 625"/>
                    <a:gd name="T33" fmla="*/ 564 h 694"/>
                    <a:gd name="T34" fmla="*/ 397 w 625"/>
                    <a:gd name="T35" fmla="*/ 552 h 694"/>
                    <a:gd name="T36" fmla="*/ 394 w 625"/>
                    <a:gd name="T37" fmla="*/ 539 h 694"/>
                    <a:gd name="T38" fmla="*/ 338 w 625"/>
                    <a:gd name="T39" fmla="*/ 488 h 694"/>
                    <a:gd name="T40" fmla="*/ 305 w 625"/>
                    <a:gd name="T41" fmla="*/ 453 h 694"/>
                    <a:gd name="T42" fmla="*/ 293 w 625"/>
                    <a:gd name="T43" fmla="*/ 419 h 694"/>
                    <a:gd name="T44" fmla="*/ 291 w 625"/>
                    <a:gd name="T45" fmla="*/ 381 h 694"/>
                    <a:gd name="T46" fmla="*/ 285 w 625"/>
                    <a:gd name="T47" fmla="*/ 360 h 694"/>
                    <a:gd name="T48" fmla="*/ 268 w 625"/>
                    <a:gd name="T49" fmla="*/ 342 h 694"/>
                    <a:gd name="T50" fmla="*/ 241 w 625"/>
                    <a:gd name="T51" fmla="*/ 310 h 694"/>
                    <a:gd name="T52" fmla="*/ 224 w 625"/>
                    <a:gd name="T53" fmla="*/ 269 h 694"/>
                    <a:gd name="T54" fmla="*/ 213 w 625"/>
                    <a:gd name="T55" fmla="*/ 238 h 694"/>
                    <a:gd name="T56" fmla="*/ 190 w 625"/>
                    <a:gd name="T57" fmla="*/ 212 h 694"/>
                    <a:gd name="T58" fmla="*/ 150 w 625"/>
                    <a:gd name="T59" fmla="*/ 171 h 694"/>
                    <a:gd name="T60" fmla="*/ 136 w 625"/>
                    <a:gd name="T61" fmla="*/ 146 h 694"/>
                    <a:gd name="T62" fmla="*/ 112 w 625"/>
                    <a:gd name="T63" fmla="*/ 132 h 694"/>
                    <a:gd name="T64" fmla="*/ 80 w 625"/>
                    <a:gd name="T65" fmla="*/ 113 h 694"/>
                    <a:gd name="T66" fmla="*/ 49 w 625"/>
                    <a:gd name="T67" fmla="*/ 85 h 694"/>
                    <a:gd name="T68" fmla="*/ 23 w 625"/>
                    <a:gd name="T69" fmla="*/ 51 h 694"/>
                    <a:gd name="T70" fmla="*/ 5 w 625"/>
                    <a:gd name="T71" fmla="*/ 19 h 694"/>
                    <a:gd name="T72" fmla="*/ 10 w 625"/>
                    <a:gd name="T73" fmla="*/ 4 h 694"/>
                    <a:gd name="T74" fmla="*/ 37 w 625"/>
                    <a:gd name="T75" fmla="*/ 13 h 694"/>
                    <a:gd name="T76" fmla="*/ 84 w 625"/>
                    <a:gd name="T77" fmla="*/ 16 h 694"/>
                    <a:gd name="T78" fmla="*/ 116 w 625"/>
                    <a:gd name="T79" fmla="*/ 20 h 694"/>
                    <a:gd name="T80" fmla="*/ 138 w 625"/>
                    <a:gd name="T81" fmla="*/ 27 h 694"/>
                    <a:gd name="T82" fmla="*/ 156 w 625"/>
                    <a:gd name="T83" fmla="*/ 42 h 694"/>
                    <a:gd name="T84" fmla="*/ 204 w 625"/>
                    <a:gd name="T85" fmla="*/ 109 h 694"/>
                    <a:gd name="T86" fmla="*/ 254 w 625"/>
                    <a:gd name="T87" fmla="*/ 163 h 694"/>
                    <a:gd name="T88" fmla="*/ 299 w 625"/>
                    <a:gd name="T89" fmla="*/ 202 h 694"/>
                    <a:gd name="T90" fmla="*/ 329 w 625"/>
                    <a:gd name="T91" fmla="*/ 219 h 694"/>
                    <a:gd name="T92" fmla="*/ 366 w 625"/>
                    <a:gd name="T93" fmla="*/ 227 h 694"/>
                    <a:gd name="T94" fmla="*/ 388 w 625"/>
                    <a:gd name="T95" fmla="*/ 230 h 694"/>
                    <a:gd name="T96" fmla="*/ 401 w 625"/>
                    <a:gd name="T97" fmla="*/ 241 h 694"/>
                    <a:gd name="T98" fmla="*/ 416 w 625"/>
                    <a:gd name="T99" fmla="*/ 260 h 694"/>
                    <a:gd name="T100" fmla="*/ 427 w 625"/>
                    <a:gd name="T101" fmla="*/ 265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249" name="Freeform 333">
                  <a:extLst>
                    <a:ext uri="{FF2B5EF4-FFF2-40B4-BE49-F238E27FC236}">
                      <a16:creationId xmlns="" xmlns:a16="http://schemas.microsoft.com/office/drawing/2014/main" id="{4455BF97-D705-40D2-B51E-86CDEE7D8498}"/>
                    </a:ext>
                  </a:extLst>
                </p:cNvPr>
                <p:cNvSpPr>
                  <a:spLocks/>
                </p:cNvSpPr>
                <p:nvPr>
                  <p:custDataLst>
                    <p:tags r:id="rId237"/>
                  </p:custDataLst>
                </p:nvPr>
              </p:nvSpPr>
              <p:spPr bwMode="auto">
                <a:xfrm>
                  <a:off x="7900348" y="2878979"/>
                  <a:ext cx="180155" cy="182407"/>
                </a:xfrm>
                <a:custGeom>
                  <a:avLst/>
                  <a:gdLst>
                    <a:gd name="T0" fmla="*/ 516 w 585"/>
                    <a:gd name="T1" fmla="*/ 28 h 493"/>
                    <a:gd name="T2" fmla="*/ 495 w 585"/>
                    <a:gd name="T3" fmla="*/ 55 h 493"/>
                    <a:gd name="T4" fmla="*/ 512 w 585"/>
                    <a:gd name="T5" fmla="*/ 93 h 493"/>
                    <a:gd name="T6" fmla="*/ 534 w 585"/>
                    <a:gd name="T7" fmla="*/ 130 h 493"/>
                    <a:gd name="T8" fmla="*/ 573 w 585"/>
                    <a:gd name="T9" fmla="*/ 177 h 493"/>
                    <a:gd name="T10" fmla="*/ 580 w 585"/>
                    <a:gd name="T11" fmla="*/ 205 h 493"/>
                    <a:gd name="T12" fmla="*/ 547 w 585"/>
                    <a:gd name="T13" fmla="*/ 204 h 493"/>
                    <a:gd name="T14" fmla="*/ 516 w 585"/>
                    <a:gd name="T15" fmla="*/ 233 h 493"/>
                    <a:gd name="T16" fmla="*/ 506 w 585"/>
                    <a:gd name="T17" fmla="*/ 246 h 493"/>
                    <a:gd name="T18" fmla="*/ 518 w 585"/>
                    <a:gd name="T19" fmla="*/ 271 h 493"/>
                    <a:gd name="T20" fmla="*/ 525 w 585"/>
                    <a:gd name="T21" fmla="*/ 294 h 493"/>
                    <a:gd name="T22" fmla="*/ 505 w 585"/>
                    <a:gd name="T23" fmla="*/ 308 h 493"/>
                    <a:gd name="T24" fmla="*/ 459 w 585"/>
                    <a:gd name="T25" fmla="*/ 323 h 493"/>
                    <a:gd name="T26" fmla="*/ 443 w 585"/>
                    <a:gd name="T27" fmla="*/ 354 h 493"/>
                    <a:gd name="T28" fmla="*/ 445 w 585"/>
                    <a:gd name="T29" fmla="*/ 415 h 493"/>
                    <a:gd name="T30" fmla="*/ 430 w 585"/>
                    <a:gd name="T31" fmla="*/ 454 h 493"/>
                    <a:gd name="T32" fmla="*/ 400 w 585"/>
                    <a:gd name="T33" fmla="*/ 472 h 493"/>
                    <a:gd name="T34" fmla="*/ 370 w 585"/>
                    <a:gd name="T35" fmla="*/ 488 h 493"/>
                    <a:gd name="T36" fmla="*/ 341 w 585"/>
                    <a:gd name="T37" fmla="*/ 493 h 493"/>
                    <a:gd name="T38" fmla="*/ 329 w 585"/>
                    <a:gd name="T39" fmla="*/ 487 h 493"/>
                    <a:gd name="T40" fmla="*/ 327 w 585"/>
                    <a:gd name="T41" fmla="*/ 471 h 493"/>
                    <a:gd name="T42" fmla="*/ 304 w 585"/>
                    <a:gd name="T43" fmla="*/ 451 h 493"/>
                    <a:gd name="T44" fmla="*/ 251 w 585"/>
                    <a:gd name="T45" fmla="*/ 454 h 493"/>
                    <a:gd name="T46" fmla="*/ 219 w 585"/>
                    <a:gd name="T47" fmla="*/ 462 h 493"/>
                    <a:gd name="T48" fmla="*/ 176 w 585"/>
                    <a:gd name="T49" fmla="*/ 440 h 493"/>
                    <a:gd name="T50" fmla="*/ 122 w 585"/>
                    <a:gd name="T51" fmla="*/ 436 h 493"/>
                    <a:gd name="T52" fmla="*/ 95 w 585"/>
                    <a:gd name="T53" fmla="*/ 429 h 493"/>
                    <a:gd name="T54" fmla="*/ 81 w 585"/>
                    <a:gd name="T55" fmla="*/ 366 h 493"/>
                    <a:gd name="T56" fmla="*/ 58 w 585"/>
                    <a:gd name="T57" fmla="*/ 310 h 493"/>
                    <a:gd name="T58" fmla="*/ 35 w 585"/>
                    <a:gd name="T59" fmla="*/ 292 h 493"/>
                    <a:gd name="T60" fmla="*/ 12 w 585"/>
                    <a:gd name="T61" fmla="*/ 260 h 493"/>
                    <a:gd name="T62" fmla="*/ 5 w 585"/>
                    <a:gd name="T63" fmla="*/ 204 h 493"/>
                    <a:gd name="T64" fmla="*/ 31 w 585"/>
                    <a:gd name="T65" fmla="*/ 153 h 493"/>
                    <a:gd name="T66" fmla="*/ 54 w 585"/>
                    <a:gd name="T67" fmla="*/ 141 h 493"/>
                    <a:gd name="T68" fmla="*/ 75 w 585"/>
                    <a:gd name="T69" fmla="*/ 152 h 493"/>
                    <a:gd name="T70" fmla="*/ 97 w 585"/>
                    <a:gd name="T71" fmla="*/ 187 h 493"/>
                    <a:gd name="T72" fmla="*/ 129 w 585"/>
                    <a:gd name="T73" fmla="*/ 214 h 493"/>
                    <a:gd name="T74" fmla="*/ 170 w 585"/>
                    <a:gd name="T75" fmla="*/ 213 h 493"/>
                    <a:gd name="T76" fmla="*/ 221 w 585"/>
                    <a:gd name="T77" fmla="*/ 189 h 493"/>
                    <a:gd name="T78" fmla="*/ 233 w 585"/>
                    <a:gd name="T79" fmla="*/ 172 h 493"/>
                    <a:gd name="T80" fmla="*/ 288 w 585"/>
                    <a:gd name="T81" fmla="*/ 178 h 493"/>
                    <a:gd name="T82" fmla="*/ 326 w 585"/>
                    <a:gd name="T83" fmla="*/ 181 h 493"/>
                    <a:gd name="T84" fmla="*/ 337 w 585"/>
                    <a:gd name="T85" fmla="*/ 170 h 493"/>
                    <a:gd name="T86" fmla="*/ 362 w 585"/>
                    <a:gd name="T87" fmla="*/ 158 h 493"/>
                    <a:gd name="T88" fmla="*/ 383 w 585"/>
                    <a:gd name="T89" fmla="*/ 136 h 493"/>
                    <a:gd name="T90" fmla="*/ 415 w 585"/>
                    <a:gd name="T91" fmla="*/ 79 h 493"/>
                    <a:gd name="T92" fmla="*/ 427 w 585"/>
                    <a:gd name="T93" fmla="*/ 25 h 493"/>
                    <a:gd name="T94" fmla="*/ 447 w 585"/>
                    <a:gd name="T95" fmla="*/ 6 h 493"/>
                    <a:gd name="T96" fmla="*/ 479 w 585"/>
                    <a:gd name="T97" fmla="*/ 2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250" name="Freeform 334">
                  <a:extLst>
                    <a:ext uri="{FF2B5EF4-FFF2-40B4-BE49-F238E27FC236}">
                      <a16:creationId xmlns="" xmlns:a16="http://schemas.microsoft.com/office/drawing/2014/main" id="{1C155751-84DE-47C0-B658-7A42C2E1E1DD}"/>
                    </a:ext>
                  </a:extLst>
                </p:cNvPr>
                <p:cNvSpPr>
                  <a:spLocks/>
                </p:cNvSpPr>
                <p:nvPr>
                  <p:custDataLst>
                    <p:tags r:id="rId238"/>
                  </p:custDataLst>
                </p:nvPr>
              </p:nvSpPr>
              <p:spPr bwMode="auto">
                <a:xfrm>
                  <a:off x="8152565" y="3167227"/>
                  <a:ext cx="65306" cy="40535"/>
                </a:xfrm>
                <a:custGeom>
                  <a:avLst/>
                  <a:gdLst>
                    <a:gd name="T0" fmla="*/ 0 w 212"/>
                    <a:gd name="T1" fmla="*/ 105 h 105"/>
                    <a:gd name="T2" fmla="*/ 16 w 212"/>
                    <a:gd name="T3" fmla="*/ 85 h 105"/>
                    <a:gd name="T4" fmla="*/ 35 w 212"/>
                    <a:gd name="T5" fmla="*/ 68 h 105"/>
                    <a:gd name="T6" fmla="*/ 44 w 212"/>
                    <a:gd name="T7" fmla="*/ 60 h 105"/>
                    <a:gd name="T8" fmla="*/ 54 w 212"/>
                    <a:gd name="T9" fmla="*/ 53 h 105"/>
                    <a:gd name="T10" fmla="*/ 64 w 212"/>
                    <a:gd name="T11" fmla="*/ 46 h 105"/>
                    <a:gd name="T12" fmla="*/ 73 w 212"/>
                    <a:gd name="T13" fmla="*/ 38 h 105"/>
                    <a:gd name="T14" fmla="*/ 83 w 212"/>
                    <a:gd name="T15" fmla="*/ 32 h 105"/>
                    <a:gd name="T16" fmla="*/ 94 w 212"/>
                    <a:gd name="T17" fmla="*/ 27 h 105"/>
                    <a:gd name="T18" fmla="*/ 106 w 212"/>
                    <a:gd name="T19" fmla="*/ 21 h 105"/>
                    <a:gd name="T20" fmla="*/ 118 w 212"/>
                    <a:gd name="T21" fmla="*/ 16 h 105"/>
                    <a:gd name="T22" fmla="*/ 144 w 212"/>
                    <a:gd name="T23" fmla="*/ 8 h 105"/>
                    <a:gd name="T24" fmla="*/ 172 w 212"/>
                    <a:gd name="T25" fmla="*/ 0 h 105"/>
                    <a:gd name="T26" fmla="*/ 212 w 212"/>
                    <a:gd name="T27" fmla="*/ 0 h 105"/>
                    <a:gd name="T28" fmla="*/ 202 w 212"/>
                    <a:gd name="T29" fmla="*/ 9 h 105"/>
                    <a:gd name="T30" fmla="*/ 190 w 212"/>
                    <a:gd name="T31" fmla="*/ 18 h 105"/>
                    <a:gd name="T32" fmla="*/ 178 w 212"/>
                    <a:gd name="T33" fmla="*/ 27 h 105"/>
                    <a:gd name="T34" fmla="*/ 165 w 212"/>
                    <a:gd name="T35" fmla="*/ 35 h 105"/>
                    <a:gd name="T36" fmla="*/ 137 w 212"/>
                    <a:gd name="T37" fmla="*/ 52 h 105"/>
                    <a:gd name="T38" fmla="*/ 109 w 212"/>
                    <a:gd name="T39" fmla="*/ 66 h 105"/>
                    <a:gd name="T40" fmla="*/ 79 w 212"/>
                    <a:gd name="T41" fmla="*/ 79 h 105"/>
                    <a:gd name="T42" fmla="*/ 50 w 212"/>
                    <a:gd name="T43" fmla="*/ 90 h 105"/>
                    <a:gd name="T44" fmla="*/ 23 w 212"/>
                    <a:gd name="T45" fmla="*/ 99 h 105"/>
                    <a:gd name="T46" fmla="*/ 0 w 212"/>
                    <a:gd name="T4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251" name="Freeform 335">
                  <a:extLst>
                    <a:ext uri="{FF2B5EF4-FFF2-40B4-BE49-F238E27FC236}">
                      <a16:creationId xmlns="" xmlns:a16="http://schemas.microsoft.com/office/drawing/2014/main" id="{274CBDC5-CCB0-4B23-AE3F-1E6F6F7F2FC5}"/>
                    </a:ext>
                  </a:extLst>
                </p:cNvPr>
                <p:cNvSpPr>
                  <a:spLocks/>
                </p:cNvSpPr>
                <p:nvPr>
                  <p:custDataLst>
                    <p:tags r:id="rId239"/>
                  </p:custDataLst>
                </p:nvPr>
              </p:nvSpPr>
              <p:spPr bwMode="auto">
                <a:xfrm>
                  <a:off x="8234760" y="2930774"/>
                  <a:ext cx="30401" cy="63054"/>
                </a:xfrm>
                <a:custGeom>
                  <a:avLst/>
                  <a:gdLst>
                    <a:gd name="T0" fmla="*/ 0 w 92"/>
                    <a:gd name="T1" fmla="*/ 81 h 166"/>
                    <a:gd name="T2" fmla="*/ 0 w 92"/>
                    <a:gd name="T3" fmla="*/ 148 h 166"/>
                    <a:gd name="T4" fmla="*/ 5 w 92"/>
                    <a:gd name="T5" fmla="*/ 144 h 166"/>
                    <a:gd name="T6" fmla="*/ 12 w 92"/>
                    <a:gd name="T7" fmla="*/ 139 h 166"/>
                    <a:gd name="T8" fmla="*/ 14 w 92"/>
                    <a:gd name="T9" fmla="*/ 137 h 166"/>
                    <a:gd name="T10" fmla="*/ 17 w 92"/>
                    <a:gd name="T11" fmla="*/ 135 h 166"/>
                    <a:gd name="T12" fmla="*/ 18 w 92"/>
                    <a:gd name="T13" fmla="*/ 132 h 166"/>
                    <a:gd name="T14" fmla="*/ 19 w 92"/>
                    <a:gd name="T15" fmla="*/ 130 h 166"/>
                    <a:gd name="T16" fmla="*/ 20 w 92"/>
                    <a:gd name="T17" fmla="*/ 138 h 166"/>
                    <a:gd name="T18" fmla="*/ 24 w 92"/>
                    <a:gd name="T19" fmla="*/ 148 h 166"/>
                    <a:gd name="T20" fmla="*/ 27 w 92"/>
                    <a:gd name="T21" fmla="*/ 154 h 166"/>
                    <a:gd name="T22" fmla="*/ 30 w 92"/>
                    <a:gd name="T23" fmla="*/ 159 h 166"/>
                    <a:gd name="T24" fmla="*/ 35 w 92"/>
                    <a:gd name="T25" fmla="*/ 163 h 166"/>
                    <a:gd name="T26" fmla="*/ 39 w 92"/>
                    <a:gd name="T27" fmla="*/ 166 h 166"/>
                    <a:gd name="T28" fmla="*/ 41 w 92"/>
                    <a:gd name="T29" fmla="*/ 158 h 166"/>
                    <a:gd name="T30" fmla="*/ 41 w 92"/>
                    <a:gd name="T31" fmla="*/ 148 h 166"/>
                    <a:gd name="T32" fmla="*/ 41 w 92"/>
                    <a:gd name="T33" fmla="*/ 137 h 166"/>
                    <a:gd name="T34" fmla="*/ 41 w 92"/>
                    <a:gd name="T35" fmla="*/ 126 h 166"/>
                    <a:gd name="T36" fmla="*/ 40 w 92"/>
                    <a:gd name="T37" fmla="*/ 107 h 166"/>
                    <a:gd name="T38" fmla="*/ 39 w 92"/>
                    <a:gd name="T39" fmla="*/ 99 h 166"/>
                    <a:gd name="T40" fmla="*/ 48 w 92"/>
                    <a:gd name="T41" fmla="*/ 100 h 166"/>
                    <a:gd name="T42" fmla="*/ 57 w 92"/>
                    <a:gd name="T43" fmla="*/ 102 h 166"/>
                    <a:gd name="T44" fmla="*/ 64 w 92"/>
                    <a:gd name="T45" fmla="*/ 105 h 166"/>
                    <a:gd name="T46" fmla="*/ 71 w 92"/>
                    <a:gd name="T47" fmla="*/ 108 h 166"/>
                    <a:gd name="T48" fmla="*/ 76 w 92"/>
                    <a:gd name="T49" fmla="*/ 111 h 166"/>
                    <a:gd name="T50" fmla="*/ 82 w 92"/>
                    <a:gd name="T51" fmla="*/ 114 h 166"/>
                    <a:gd name="T52" fmla="*/ 87 w 92"/>
                    <a:gd name="T53" fmla="*/ 116 h 166"/>
                    <a:gd name="T54" fmla="*/ 92 w 92"/>
                    <a:gd name="T55" fmla="*/ 118 h 166"/>
                    <a:gd name="T56" fmla="*/ 85 w 92"/>
                    <a:gd name="T57" fmla="*/ 103 h 166"/>
                    <a:gd name="T58" fmla="*/ 81 w 92"/>
                    <a:gd name="T59" fmla="*/ 89 h 166"/>
                    <a:gd name="T60" fmla="*/ 76 w 92"/>
                    <a:gd name="T61" fmla="*/ 75 h 166"/>
                    <a:gd name="T62" fmla="*/ 73 w 92"/>
                    <a:gd name="T63" fmla="*/ 60 h 166"/>
                    <a:gd name="T64" fmla="*/ 70 w 92"/>
                    <a:gd name="T65" fmla="*/ 47 h 166"/>
                    <a:gd name="T66" fmla="*/ 67 w 92"/>
                    <a:gd name="T67" fmla="*/ 34 h 166"/>
                    <a:gd name="T68" fmla="*/ 63 w 92"/>
                    <a:gd name="T69" fmla="*/ 23 h 166"/>
                    <a:gd name="T70" fmla="*/ 59 w 92"/>
                    <a:gd name="T71" fmla="*/ 13 h 166"/>
                    <a:gd name="T72" fmla="*/ 59 w 92"/>
                    <a:gd name="T73" fmla="*/ 19 h 166"/>
                    <a:gd name="T74" fmla="*/ 59 w 92"/>
                    <a:gd name="T75" fmla="*/ 25 h 166"/>
                    <a:gd name="T76" fmla="*/ 50 w 92"/>
                    <a:gd name="T77" fmla="*/ 23 h 166"/>
                    <a:gd name="T78" fmla="*/ 42 w 92"/>
                    <a:gd name="T79" fmla="*/ 19 h 166"/>
                    <a:gd name="T80" fmla="*/ 35 w 92"/>
                    <a:gd name="T81" fmla="*/ 15 h 166"/>
                    <a:gd name="T82" fmla="*/ 29 w 92"/>
                    <a:gd name="T83" fmla="*/ 11 h 166"/>
                    <a:gd name="T84" fmla="*/ 23 w 92"/>
                    <a:gd name="T85" fmla="*/ 7 h 166"/>
                    <a:gd name="T86" fmla="*/ 16 w 92"/>
                    <a:gd name="T87" fmla="*/ 3 h 166"/>
                    <a:gd name="T88" fmla="*/ 8 w 92"/>
                    <a:gd name="T89" fmla="*/ 1 h 166"/>
                    <a:gd name="T90" fmla="*/ 0 w 92"/>
                    <a:gd name="T91" fmla="*/ 0 h 166"/>
                    <a:gd name="T92" fmla="*/ 0 w 92"/>
                    <a:gd name="T93" fmla="*/ 10 h 166"/>
                    <a:gd name="T94" fmla="*/ 0 w 92"/>
                    <a:gd name="T95" fmla="*/ 19 h 166"/>
                    <a:gd name="T96" fmla="*/ 0 w 92"/>
                    <a:gd name="T97" fmla="*/ 33 h 166"/>
                    <a:gd name="T98" fmla="*/ 0 w 92"/>
                    <a:gd name="T99" fmla="*/ 52 h 166"/>
                    <a:gd name="T100" fmla="*/ 0 w 92"/>
                    <a:gd name="T101" fmla="*/ 70 h 166"/>
                    <a:gd name="T102" fmla="*/ 0 w 92"/>
                    <a:gd name="T103" fmla="*/ 81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252" name="Freeform 336">
                  <a:extLst>
                    <a:ext uri="{FF2B5EF4-FFF2-40B4-BE49-F238E27FC236}">
                      <a16:creationId xmlns="" xmlns:a16="http://schemas.microsoft.com/office/drawing/2014/main" id="{84A2BA37-6FD0-4B5F-B98B-0DA221953848}"/>
                    </a:ext>
                  </a:extLst>
                </p:cNvPr>
                <p:cNvSpPr>
                  <a:spLocks/>
                </p:cNvSpPr>
                <p:nvPr>
                  <p:custDataLst>
                    <p:tags r:id="rId240"/>
                  </p:custDataLst>
                </p:nvPr>
              </p:nvSpPr>
              <p:spPr bwMode="auto">
                <a:xfrm>
                  <a:off x="8243768" y="3033237"/>
                  <a:ext cx="50668" cy="39409"/>
                </a:xfrm>
                <a:custGeom>
                  <a:avLst/>
                  <a:gdLst>
                    <a:gd name="T0" fmla="*/ 7 w 166"/>
                    <a:gd name="T1" fmla="*/ 0 h 62"/>
                    <a:gd name="T2" fmla="*/ 14 w 166"/>
                    <a:gd name="T3" fmla="*/ 3 h 62"/>
                    <a:gd name="T4" fmla="*/ 22 w 166"/>
                    <a:gd name="T5" fmla="*/ 6 h 62"/>
                    <a:gd name="T6" fmla="*/ 30 w 166"/>
                    <a:gd name="T7" fmla="*/ 7 h 62"/>
                    <a:gd name="T8" fmla="*/ 36 w 166"/>
                    <a:gd name="T9" fmla="*/ 8 h 62"/>
                    <a:gd name="T10" fmla="*/ 48 w 166"/>
                    <a:gd name="T11" fmla="*/ 8 h 62"/>
                    <a:gd name="T12" fmla="*/ 58 w 166"/>
                    <a:gd name="T13" fmla="*/ 7 h 62"/>
                    <a:gd name="T14" fmla="*/ 69 w 166"/>
                    <a:gd name="T15" fmla="*/ 5 h 62"/>
                    <a:gd name="T16" fmla="*/ 80 w 166"/>
                    <a:gd name="T17" fmla="*/ 3 h 62"/>
                    <a:gd name="T18" fmla="*/ 92 w 166"/>
                    <a:gd name="T19" fmla="*/ 1 h 62"/>
                    <a:gd name="T20" fmla="*/ 106 w 166"/>
                    <a:gd name="T21" fmla="*/ 0 h 62"/>
                    <a:gd name="T22" fmla="*/ 111 w 166"/>
                    <a:gd name="T23" fmla="*/ 1 h 62"/>
                    <a:gd name="T24" fmla="*/ 115 w 166"/>
                    <a:gd name="T25" fmla="*/ 2 h 62"/>
                    <a:gd name="T26" fmla="*/ 120 w 166"/>
                    <a:gd name="T27" fmla="*/ 5 h 62"/>
                    <a:gd name="T28" fmla="*/ 124 w 166"/>
                    <a:gd name="T29" fmla="*/ 8 h 62"/>
                    <a:gd name="T30" fmla="*/ 132 w 166"/>
                    <a:gd name="T31" fmla="*/ 17 h 62"/>
                    <a:gd name="T32" fmla="*/ 138 w 166"/>
                    <a:gd name="T33" fmla="*/ 26 h 62"/>
                    <a:gd name="T34" fmla="*/ 145 w 166"/>
                    <a:gd name="T35" fmla="*/ 36 h 62"/>
                    <a:gd name="T36" fmla="*/ 151 w 166"/>
                    <a:gd name="T37" fmla="*/ 45 h 62"/>
                    <a:gd name="T38" fmla="*/ 155 w 166"/>
                    <a:gd name="T39" fmla="*/ 49 h 62"/>
                    <a:gd name="T40" fmla="*/ 158 w 166"/>
                    <a:gd name="T41" fmla="*/ 52 h 62"/>
                    <a:gd name="T42" fmla="*/ 162 w 166"/>
                    <a:gd name="T43" fmla="*/ 54 h 62"/>
                    <a:gd name="T44" fmla="*/ 166 w 166"/>
                    <a:gd name="T45" fmla="*/ 56 h 62"/>
                    <a:gd name="T46" fmla="*/ 159 w 166"/>
                    <a:gd name="T47" fmla="*/ 57 h 62"/>
                    <a:gd name="T48" fmla="*/ 151 w 166"/>
                    <a:gd name="T49" fmla="*/ 59 h 62"/>
                    <a:gd name="T50" fmla="*/ 143 w 166"/>
                    <a:gd name="T51" fmla="*/ 61 h 62"/>
                    <a:gd name="T52" fmla="*/ 133 w 166"/>
                    <a:gd name="T53" fmla="*/ 62 h 62"/>
                    <a:gd name="T54" fmla="*/ 125 w 166"/>
                    <a:gd name="T55" fmla="*/ 61 h 62"/>
                    <a:gd name="T56" fmla="*/ 119 w 166"/>
                    <a:gd name="T57" fmla="*/ 58 h 62"/>
                    <a:gd name="T58" fmla="*/ 112 w 166"/>
                    <a:gd name="T59" fmla="*/ 54 h 62"/>
                    <a:gd name="T60" fmla="*/ 106 w 166"/>
                    <a:gd name="T61" fmla="*/ 50 h 62"/>
                    <a:gd name="T62" fmla="*/ 100 w 166"/>
                    <a:gd name="T63" fmla="*/ 45 h 62"/>
                    <a:gd name="T64" fmla="*/ 93 w 166"/>
                    <a:gd name="T65" fmla="*/ 41 h 62"/>
                    <a:gd name="T66" fmla="*/ 87 w 166"/>
                    <a:gd name="T67" fmla="*/ 39 h 62"/>
                    <a:gd name="T68" fmla="*/ 79 w 166"/>
                    <a:gd name="T69" fmla="*/ 38 h 62"/>
                    <a:gd name="T70" fmla="*/ 56 w 166"/>
                    <a:gd name="T71" fmla="*/ 38 h 62"/>
                    <a:gd name="T72" fmla="*/ 35 w 166"/>
                    <a:gd name="T73" fmla="*/ 39 h 62"/>
                    <a:gd name="T74" fmla="*/ 26 w 166"/>
                    <a:gd name="T75" fmla="*/ 41 h 62"/>
                    <a:gd name="T76" fmla="*/ 19 w 166"/>
                    <a:gd name="T77" fmla="*/ 43 h 62"/>
                    <a:gd name="T78" fmla="*/ 12 w 166"/>
                    <a:gd name="T79" fmla="*/ 46 h 62"/>
                    <a:gd name="T80" fmla="*/ 7 w 166"/>
                    <a:gd name="T81" fmla="*/ 50 h 62"/>
                    <a:gd name="T82" fmla="*/ 2 w 166"/>
                    <a:gd name="T83" fmla="*/ 45 h 62"/>
                    <a:gd name="T84" fmla="*/ 1 w 166"/>
                    <a:gd name="T85" fmla="*/ 40 h 62"/>
                    <a:gd name="T86" fmla="*/ 0 w 166"/>
                    <a:gd name="T87" fmla="*/ 34 h 62"/>
                    <a:gd name="T88" fmla="*/ 1 w 166"/>
                    <a:gd name="T89" fmla="*/ 28 h 62"/>
                    <a:gd name="T90" fmla="*/ 4 w 166"/>
                    <a:gd name="T91" fmla="*/ 15 h 62"/>
                    <a:gd name="T92" fmla="*/ 7 w 166"/>
                    <a:gd name="T9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253" name="Freeform 337">
                  <a:extLst>
                    <a:ext uri="{FF2B5EF4-FFF2-40B4-BE49-F238E27FC236}">
                      <a16:creationId xmlns="" xmlns:a16="http://schemas.microsoft.com/office/drawing/2014/main" id="{7990ADAE-776E-406F-B8AC-609392CDAB44}"/>
                    </a:ext>
                  </a:extLst>
                </p:cNvPr>
                <p:cNvSpPr>
                  <a:spLocks/>
                </p:cNvSpPr>
                <p:nvPr>
                  <p:custDataLst>
                    <p:tags r:id="rId241"/>
                  </p:custDataLst>
                </p:nvPr>
              </p:nvSpPr>
              <p:spPr bwMode="auto">
                <a:xfrm>
                  <a:off x="8297815" y="2979191"/>
                  <a:ext cx="60802" cy="45038"/>
                </a:xfrm>
                <a:custGeom>
                  <a:avLst/>
                  <a:gdLst>
                    <a:gd name="T0" fmla="*/ 33 w 193"/>
                    <a:gd name="T1" fmla="*/ 35 h 121"/>
                    <a:gd name="T2" fmla="*/ 48 w 193"/>
                    <a:gd name="T3" fmla="*/ 25 h 121"/>
                    <a:gd name="T4" fmla="*/ 68 w 193"/>
                    <a:gd name="T5" fmla="*/ 12 h 121"/>
                    <a:gd name="T6" fmla="*/ 84 w 193"/>
                    <a:gd name="T7" fmla="*/ 4 h 121"/>
                    <a:gd name="T8" fmla="*/ 94 w 193"/>
                    <a:gd name="T9" fmla="*/ 1 h 121"/>
                    <a:gd name="T10" fmla="*/ 105 w 193"/>
                    <a:gd name="T11" fmla="*/ 1 h 121"/>
                    <a:gd name="T12" fmla="*/ 116 w 193"/>
                    <a:gd name="T13" fmla="*/ 3 h 121"/>
                    <a:gd name="T14" fmla="*/ 131 w 193"/>
                    <a:gd name="T15" fmla="*/ 10 h 121"/>
                    <a:gd name="T16" fmla="*/ 148 w 193"/>
                    <a:gd name="T17" fmla="*/ 21 h 121"/>
                    <a:gd name="T18" fmla="*/ 162 w 193"/>
                    <a:gd name="T19" fmla="*/ 28 h 121"/>
                    <a:gd name="T20" fmla="*/ 173 w 193"/>
                    <a:gd name="T21" fmla="*/ 30 h 121"/>
                    <a:gd name="T22" fmla="*/ 179 w 193"/>
                    <a:gd name="T23" fmla="*/ 48 h 121"/>
                    <a:gd name="T24" fmla="*/ 178 w 193"/>
                    <a:gd name="T25" fmla="*/ 66 h 121"/>
                    <a:gd name="T26" fmla="*/ 182 w 193"/>
                    <a:gd name="T27" fmla="*/ 75 h 121"/>
                    <a:gd name="T28" fmla="*/ 187 w 193"/>
                    <a:gd name="T29" fmla="*/ 89 h 121"/>
                    <a:gd name="T30" fmla="*/ 188 w 193"/>
                    <a:gd name="T31" fmla="*/ 102 h 121"/>
                    <a:gd name="T32" fmla="*/ 191 w 193"/>
                    <a:gd name="T33" fmla="*/ 109 h 121"/>
                    <a:gd name="T34" fmla="*/ 188 w 193"/>
                    <a:gd name="T35" fmla="*/ 114 h 121"/>
                    <a:gd name="T36" fmla="*/ 177 w 193"/>
                    <a:gd name="T37" fmla="*/ 118 h 121"/>
                    <a:gd name="T38" fmla="*/ 159 w 193"/>
                    <a:gd name="T39" fmla="*/ 121 h 121"/>
                    <a:gd name="T40" fmla="*/ 116 w 193"/>
                    <a:gd name="T41" fmla="*/ 119 h 121"/>
                    <a:gd name="T42" fmla="*/ 72 w 193"/>
                    <a:gd name="T43" fmla="*/ 116 h 121"/>
                    <a:gd name="T44" fmla="*/ 63 w 193"/>
                    <a:gd name="T45" fmla="*/ 110 h 121"/>
                    <a:gd name="T46" fmla="*/ 56 w 193"/>
                    <a:gd name="T47" fmla="*/ 100 h 121"/>
                    <a:gd name="T48" fmla="*/ 54 w 193"/>
                    <a:gd name="T49" fmla="*/ 87 h 121"/>
                    <a:gd name="T50" fmla="*/ 47 w 193"/>
                    <a:gd name="T51" fmla="*/ 79 h 121"/>
                    <a:gd name="T52" fmla="*/ 31 w 193"/>
                    <a:gd name="T53" fmla="*/ 75 h 121"/>
                    <a:gd name="T54" fmla="*/ 13 w 193"/>
                    <a:gd name="T55" fmla="*/ 69 h 121"/>
                    <a:gd name="T56" fmla="*/ 3 w 193"/>
                    <a:gd name="T57" fmla="*/ 62 h 121"/>
                    <a:gd name="T58" fmla="*/ 0 w 193"/>
                    <a:gd name="T59" fmla="*/ 58 h 121"/>
                    <a:gd name="T60" fmla="*/ 1 w 193"/>
                    <a:gd name="T61" fmla="*/ 51 h 121"/>
                    <a:gd name="T62" fmla="*/ 7 w 193"/>
                    <a:gd name="T63" fmla="*/ 45 h 121"/>
                    <a:gd name="T64" fmla="*/ 20 w 193"/>
                    <a:gd name="T65" fmla="*/ 3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254" name="Freeform 338">
                  <a:extLst>
                    <a:ext uri="{FF2B5EF4-FFF2-40B4-BE49-F238E27FC236}">
                      <a16:creationId xmlns="" xmlns:a16="http://schemas.microsoft.com/office/drawing/2014/main" id="{FBA42AF5-A0FA-453F-865D-C0DD20898F1D}"/>
                    </a:ext>
                  </a:extLst>
                </p:cNvPr>
                <p:cNvSpPr>
                  <a:spLocks/>
                </p:cNvSpPr>
                <p:nvPr>
                  <p:custDataLst>
                    <p:tags r:id="rId242"/>
                  </p:custDataLst>
                </p:nvPr>
              </p:nvSpPr>
              <p:spPr bwMode="auto">
                <a:xfrm>
                  <a:off x="8077125" y="2935277"/>
                  <a:ext cx="118226" cy="163266"/>
                </a:xfrm>
                <a:custGeom>
                  <a:avLst/>
                  <a:gdLst>
                    <a:gd name="T0" fmla="*/ 37 w 379"/>
                    <a:gd name="T1" fmla="*/ 419 h 437"/>
                    <a:gd name="T2" fmla="*/ 46 w 379"/>
                    <a:gd name="T3" fmla="*/ 407 h 437"/>
                    <a:gd name="T4" fmla="*/ 24 w 379"/>
                    <a:gd name="T5" fmla="*/ 311 h 437"/>
                    <a:gd name="T6" fmla="*/ 2 w 379"/>
                    <a:gd name="T7" fmla="*/ 294 h 437"/>
                    <a:gd name="T8" fmla="*/ 15 w 379"/>
                    <a:gd name="T9" fmla="*/ 270 h 437"/>
                    <a:gd name="T10" fmla="*/ 31 w 379"/>
                    <a:gd name="T11" fmla="*/ 221 h 437"/>
                    <a:gd name="T12" fmla="*/ 39 w 379"/>
                    <a:gd name="T13" fmla="*/ 172 h 437"/>
                    <a:gd name="T14" fmla="*/ 57 w 379"/>
                    <a:gd name="T15" fmla="*/ 159 h 437"/>
                    <a:gd name="T16" fmla="*/ 65 w 379"/>
                    <a:gd name="T17" fmla="*/ 130 h 437"/>
                    <a:gd name="T18" fmla="*/ 76 w 379"/>
                    <a:gd name="T19" fmla="*/ 78 h 437"/>
                    <a:gd name="T20" fmla="*/ 90 w 379"/>
                    <a:gd name="T21" fmla="*/ 51 h 437"/>
                    <a:gd name="T22" fmla="*/ 115 w 379"/>
                    <a:gd name="T23" fmla="*/ 31 h 437"/>
                    <a:gd name="T24" fmla="*/ 153 w 379"/>
                    <a:gd name="T25" fmla="*/ 25 h 437"/>
                    <a:gd name="T26" fmla="*/ 217 w 379"/>
                    <a:gd name="T27" fmla="*/ 38 h 437"/>
                    <a:gd name="T28" fmla="*/ 262 w 379"/>
                    <a:gd name="T29" fmla="*/ 48 h 437"/>
                    <a:gd name="T30" fmla="*/ 303 w 379"/>
                    <a:gd name="T31" fmla="*/ 45 h 437"/>
                    <a:gd name="T32" fmla="*/ 329 w 379"/>
                    <a:gd name="T33" fmla="*/ 31 h 437"/>
                    <a:gd name="T34" fmla="*/ 356 w 379"/>
                    <a:gd name="T35" fmla="*/ 7 h 437"/>
                    <a:gd name="T36" fmla="*/ 374 w 379"/>
                    <a:gd name="T37" fmla="*/ 9 h 437"/>
                    <a:gd name="T38" fmla="*/ 372 w 379"/>
                    <a:gd name="T39" fmla="*/ 35 h 437"/>
                    <a:gd name="T40" fmla="*/ 329 w 379"/>
                    <a:gd name="T41" fmla="*/ 80 h 437"/>
                    <a:gd name="T42" fmla="*/ 292 w 379"/>
                    <a:gd name="T43" fmla="*/ 97 h 437"/>
                    <a:gd name="T44" fmla="*/ 271 w 379"/>
                    <a:gd name="T45" fmla="*/ 94 h 437"/>
                    <a:gd name="T46" fmla="*/ 238 w 379"/>
                    <a:gd name="T47" fmla="*/ 69 h 437"/>
                    <a:gd name="T48" fmla="*/ 212 w 379"/>
                    <a:gd name="T49" fmla="*/ 56 h 437"/>
                    <a:gd name="T50" fmla="*/ 177 w 379"/>
                    <a:gd name="T51" fmla="*/ 56 h 437"/>
                    <a:gd name="T52" fmla="*/ 138 w 379"/>
                    <a:gd name="T53" fmla="*/ 61 h 437"/>
                    <a:gd name="T54" fmla="*/ 114 w 379"/>
                    <a:gd name="T55" fmla="*/ 79 h 437"/>
                    <a:gd name="T56" fmla="*/ 79 w 379"/>
                    <a:gd name="T57" fmla="*/ 161 h 437"/>
                    <a:gd name="T58" fmla="*/ 119 w 379"/>
                    <a:gd name="T59" fmla="*/ 169 h 437"/>
                    <a:gd name="T60" fmla="*/ 133 w 379"/>
                    <a:gd name="T61" fmla="*/ 191 h 437"/>
                    <a:gd name="T62" fmla="*/ 155 w 379"/>
                    <a:gd name="T63" fmla="*/ 168 h 437"/>
                    <a:gd name="T64" fmla="*/ 172 w 379"/>
                    <a:gd name="T65" fmla="*/ 153 h 437"/>
                    <a:gd name="T66" fmla="*/ 221 w 379"/>
                    <a:gd name="T67" fmla="*/ 150 h 437"/>
                    <a:gd name="T68" fmla="*/ 250 w 379"/>
                    <a:gd name="T69" fmla="*/ 147 h 437"/>
                    <a:gd name="T70" fmla="*/ 273 w 379"/>
                    <a:gd name="T71" fmla="*/ 173 h 437"/>
                    <a:gd name="T72" fmla="*/ 279 w 379"/>
                    <a:gd name="T73" fmla="*/ 203 h 437"/>
                    <a:gd name="T74" fmla="*/ 246 w 379"/>
                    <a:gd name="T75" fmla="*/ 192 h 437"/>
                    <a:gd name="T76" fmla="*/ 218 w 379"/>
                    <a:gd name="T77" fmla="*/ 185 h 437"/>
                    <a:gd name="T78" fmla="*/ 192 w 379"/>
                    <a:gd name="T79" fmla="*/ 195 h 437"/>
                    <a:gd name="T80" fmla="*/ 186 w 379"/>
                    <a:gd name="T81" fmla="*/ 209 h 437"/>
                    <a:gd name="T82" fmla="*/ 192 w 379"/>
                    <a:gd name="T83" fmla="*/ 233 h 437"/>
                    <a:gd name="T84" fmla="*/ 220 w 379"/>
                    <a:gd name="T85" fmla="*/ 272 h 437"/>
                    <a:gd name="T86" fmla="*/ 225 w 379"/>
                    <a:gd name="T87" fmla="*/ 296 h 437"/>
                    <a:gd name="T88" fmla="*/ 215 w 379"/>
                    <a:gd name="T89" fmla="*/ 322 h 437"/>
                    <a:gd name="T90" fmla="*/ 205 w 379"/>
                    <a:gd name="T91" fmla="*/ 345 h 437"/>
                    <a:gd name="T92" fmla="*/ 210 w 379"/>
                    <a:gd name="T93" fmla="*/ 356 h 437"/>
                    <a:gd name="T94" fmla="*/ 236 w 379"/>
                    <a:gd name="T95" fmla="*/ 368 h 437"/>
                    <a:gd name="T96" fmla="*/ 252 w 379"/>
                    <a:gd name="T97" fmla="*/ 400 h 437"/>
                    <a:gd name="T98" fmla="*/ 239 w 379"/>
                    <a:gd name="T99" fmla="*/ 429 h 437"/>
                    <a:gd name="T100" fmla="*/ 221 w 379"/>
                    <a:gd name="T101" fmla="*/ 421 h 437"/>
                    <a:gd name="T102" fmla="*/ 202 w 379"/>
                    <a:gd name="T103" fmla="*/ 417 h 437"/>
                    <a:gd name="T104" fmla="*/ 177 w 379"/>
                    <a:gd name="T105" fmla="*/ 400 h 437"/>
                    <a:gd name="T106" fmla="*/ 153 w 379"/>
                    <a:gd name="T107" fmla="*/ 356 h 437"/>
                    <a:gd name="T108" fmla="*/ 137 w 379"/>
                    <a:gd name="T109" fmla="*/ 304 h 437"/>
                    <a:gd name="T110" fmla="*/ 114 w 379"/>
                    <a:gd name="T111" fmla="*/ 263 h 437"/>
                    <a:gd name="T112" fmla="*/ 97 w 379"/>
                    <a:gd name="T113" fmla="*/ 259 h 437"/>
                    <a:gd name="T114" fmla="*/ 105 w 379"/>
                    <a:gd name="T115" fmla="*/ 381 h 437"/>
                    <a:gd name="T116" fmla="*/ 93 w 379"/>
                    <a:gd name="T117" fmla="*/ 404 h 437"/>
                    <a:gd name="T118" fmla="*/ 57 w 379"/>
                    <a:gd name="T119" fmla="*/ 426 h 437"/>
                    <a:gd name="T120" fmla="*/ 59 w 379"/>
                    <a:gd name="T121" fmla="*/ 437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255" name="Freeform 339">
                  <a:extLst>
                    <a:ext uri="{FF2B5EF4-FFF2-40B4-BE49-F238E27FC236}">
                      <a16:creationId xmlns="" xmlns:a16="http://schemas.microsoft.com/office/drawing/2014/main" id="{AB10CD60-001D-404B-8DCE-0E39D358C16F}"/>
                    </a:ext>
                  </a:extLst>
                </p:cNvPr>
                <p:cNvSpPr>
                  <a:spLocks/>
                </p:cNvSpPr>
                <p:nvPr>
                  <p:custDataLst>
                    <p:tags r:id="rId243"/>
                  </p:custDataLst>
                </p:nvPr>
              </p:nvSpPr>
              <p:spPr bwMode="auto">
                <a:xfrm>
                  <a:off x="7839546" y="3106424"/>
                  <a:ext cx="177903" cy="67558"/>
                </a:xfrm>
                <a:custGeom>
                  <a:avLst/>
                  <a:gdLst>
                    <a:gd name="T0" fmla="*/ 11 w 578"/>
                    <a:gd name="T1" fmla="*/ 50 h 184"/>
                    <a:gd name="T2" fmla="*/ 24 w 578"/>
                    <a:gd name="T3" fmla="*/ 32 h 184"/>
                    <a:gd name="T4" fmla="*/ 41 w 578"/>
                    <a:gd name="T5" fmla="*/ 7 h 184"/>
                    <a:gd name="T6" fmla="*/ 54 w 578"/>
                    <a:gd name="T7" fmla="*/ 0 h 184"/>
                    <a:gd name="T8" fmla="*/ 79 w 578"/>
                    <a:gd name="T9" fmla="*/ 2 h 184"/>
                    <a:gd name="T10" fmla="*/ 95 w 578"/>
                    <a:gd name="T11" fmla="*/ 2 h 184"/>
                    <a:gd name="T12" fmla="*/ 101 w 578"/>
                    <a:gd name="T13" fmla="*/ 5 h 184"/>
                    <a:gd name="T14" fmla="*/ 115 w 578"/>
                    <a:gd name="T15" fmla="*/ 15 h 184"/>
                    <a:gd name="T16" fmla="*/ 147 w 578"/>
                    <a:gd name="T17" fmla="*/ 27 h 184"/>
                    <a:gd name="T18" fmla="*/ 168 w 578"/>
                    <a:gd name="T19" fmla="*/ 37 h 184"/>
                    <a:gd name="T20" fmla="*/ 178 w 578"/>
                    <a:gd name="T21" fmla="*/ 53 h 184"/>
                    <a:gd name="T22" fmla="*/ 192 w 578"/>
                    <a:gd name="T23" fmla="*/ 61 h 184"/>
                    <a:gd name="T24" fmla="*/ 231 w 578"/>
                    <a:gd name="T25" fmla="*/ 60 h 184"/>
                    <a:gd name="T26" fmla="*/ 277 w 578"/>
                    <a:gd name="T27" fmla="*/ 51 h 184"/>
                    <a:gd name="T28" fmla="*/ 299 w 578"/>
                    <a:gd name="T29" fmla="*/ 39 h 184"/>
                    <a:gd name="T30" fmla="*/ 314 w 578"/>
                    <a:gd name="T31" fmla="*/ 34 h 184"/>
                    <a:gd name="T32" fmla="*/ 327 w 578"/>
                    <a:gd name="T33" fmla="*/ 35 h 184"/>
                    <a:gd name="T34" fmla="*/ 339 w 578"/>
                    <a:gd name="T35" fmla="*/ 31 h 184"/>
                    <a:gd name="T36" fmla="*/ 366 w 578"/>
                    <a:gd name="T37" fmla="*/ 34 h 184"/>
                    <a:gd name="T38" fmla="*/ 399 w 578"/>
                    <a:gd name="T39" fmla="*/ 59 h 184"/>
                    <a:gd name="T40" fmla="*/ 428 w 578"/>
                    <a:gd name="T41" fmla="*/ 89 h 184"/>
                    <a:gd name="T42" fmla="*/ 456 w 578"/>
                    <a:gd name="T43" fmla="*/ 105 h 184"/>
                    <a:gd name="T44" fmla="*/ 479 w 578"/>
                    <a:gd name="T45" fmla="*/ 107 h 184"/>
                    <a:gd name="T46" fmla="*/ 493 w 578"/>
                    <a:gd name="T47" fmla="*/ 108 h 184"/>
                    <a:gd name="T48" fmla="*/ 505 w 578"/>
                    <a:gd name="T49" fmla="*/ 125 h 184"/>
                    <a:gd name="T50" fmla="*/ 522 w 578"/>
                    <a:gd name="T51" fmla="*/ 140 h 184"/>
                    <a:gd name="T52" fmla="*/ 534 w 578"/>
                    <a:gd name="T53" fmla="*/ 139 h 184"/>
                    <a:gd name="T54" fmla="*/ 546 w 578"/>
                    <a:gd name="T55" fmla="*/ 128 h 184"/>
                    <a:gd name="T56" fmla="*/ 558 w 578"/>
                    <a:gd name="T57" fmla="*/ 134 h 184"/>
                    <a:gd name="T58" fmla="*/ 571 w 578"/>
                    <a:gd name="T59" fmla="*/ 145 h 184"/>
                    <a:gd name="T60" fmla="*/ 578 w 578"/>
                    <a:gd name="T61" fmla="*/ 160 h 184"/>
                    <a:gd name="T62" fmla="*/ 575 w 578"/>
                    <a:gd name="T63" fmla="*/ 173 h 184"/>
                    <a:gd name="T64" fmla="*/ 567 w 578"/>
                    <a:gd name="T65" fmla="*/ 182 h 184"/>
                    <a:gd name="T66" fmla="*/ 551 w 578"/>
                    <a:gd name="T67" fmla="*/ 178 h 184"/>
                    <a:gd name="T68" fmla="*/ 526 w 578"/>
                    <a:gd name="T69" fmla="*/ 170 h 184"/>
                    <a:gd name="T70" fmla="*/ 491 w 578"/>
                    <a:gd name="T71" fmla="*/ 172 h 184"/>
                    <a:gd name="T72" fmla="*/ 462 w 578"/>
                    <a:gd name="T73" fmla="*/ 170 h 184"/>
                    <a:gd name="T74" fmla="*/ 451 w 578"/>
                    <a:gd name="T75" fmla="*/ 160 h 184"/>
                    <a:gd name="T76" fmla="*/ 438 w 578"/>
                    <a:gd name="T77" fmla="*/ 154 h 184"/>
                    <a:gd name="T78" fmla="*/ 426 w 578"/>
                    <a:gd name="T79" fmla="*/ 160 h 184"/>
                    <a:gd name="T80" fmla="*/ 416 w 578"/>
                    <a:gd name="T81" fmla="*/ 170 h 184"/>
                    <a:gd name="T82" fmla="*/ 398 w 578"/>
                    <a:gd name="T83" fmla="*/ 171 h 184"/>
                    <a:gd name="T84" fmla="*/ 328 w 578"/>
                    <a:gd name="T85" fmla="*/ 153 h 184"/>
                    <a:gd name="T86" fmla="*/ 277 w 578"/>
                    <a:gd name="T87" fmla="*/ 132 h 184"/>
                    <a:gd name="T88" fmla="*/ 266 w 578"/>
                    <a:gd name="T89" fmla="*/ 123 h 184"/>
                    <a:gd name="T90" fmla="*/ 230 w 578"/>
                    <a:gd name="T91" fmla="*/ 119 h 184"/>
                    <a:gd name="T92" fmla="*/ 201 w 578"/>
                    <a:gd name="T93" fmla="*/ 113 h 184"/>
                    <a:gd name="T94" fmla="*/ 168 w 578"/>
                    <a:gd name="T95" fmla="*/ 111 h 184"/>
                    <a:gd name="T96" fmla="*/ 146 w 578"/>
                    <a:gd name="T97" fmla="*/ 111 h 184"/>
                    <a:gd name="T98" fmla="*/ 124 w 578"/>
                    <a:gd name="T99" fmla="*/ 105 h 184"/>
                    <a:gd name="T100" fmla="*/ 120 w 578"/>
                    <a:gd name="T101" fmla="*/ 99 h 184"/>
                    <a:gd name="T102" fmla="*/ 69 w 578"/>
                    <a:gd name="T103" fmla="*/ 97 h 184"/>
                    <a:gd name="T104" fmla="*/ 46 w 578"/>
                    <a:gd name="T105" fmla="*/ 88 h 184"/>
                    <a:gd name="T106" fmla="*/ 0 w 578"/>
                    <a:gd name="T107" fmla="*/ 55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256" name="Freeform 340">
                  <a:extLst>
                    <a:ext uri="{FF2B5EF4-FFF2-40B4-BE49-F238E27FC236}">
                      <a16:creationId xmlns="" xmlns:a16="http://schemas.microsoft.com/office/drawing/2014/main" id="{63188931-038F-490C-9682-19271606F7BD}"/>
                    </a:ext>
                  </a:extLst>
                </p:cNvPr>
                <p:cNvSpPr>
                  <a:spLocks/>
                </p:cNvSpPr>
                <p:nvPr>
                  <p:custDataLst>
                    <p:tags r:id="rId244"/>
                  </p:custDataLst>
                </p:nvPr>
              </p:nvSpPr>
              <p:spPr bwMode="auto">
                <a:xfrm>
                  <a:off x="8322586" y="3005087"/>
                  <a:ext cx="152006" cy="179029"/>
                </a:xfrm>
                <a:custGeom>
                  <a:avLst/>
                  <a:gdLst>
                    <a:gd name="T0" fmla="*/ 482 w 491"/>
                    <a:gd name="T1" fmla="*/ 479 h 481"/>
                    <a:gd name="T2" fmla="*/ 457 w 491"/>
                    <a:gd name="T3" fmla="*/ 465 h 481"/>
                    <a:gd name="T4" fmla="*/ 422 w 491"/>
                    <a:gd name="T5" fmla="*/ 434 h 481"/>
                    <a:gd name="T6" fmla="*/ 412 w 491"/>
                    <a:gd name="T7" fmla="*/ 417 h 481"/>
                    <a:gd name="T8" fmla="*/ 376 w 491"/>
                    <a:gd name="T9" fmla="*/ 410 h 481"/>
                    <a:gd name="T10" fmla="*/ 360 w 491"/>
                    <a:gd name="T11" fmla="*/ 406 h 481"/>
                    <a:gd name="T12" fmla="*/ 350 w 491"/>
                    <a:gd name="T13" fmla="*/ 396 h 481"/>
                    <a:gd name="T14" fmla="*/ 346 w 491"/>
                    <a:gd name="T15" fmla="*/ 374 h 481"/>
                    <a:gd name="T16" fmla="*/ 342 w 491"/>
                    <a:gd name="T17" fmla="*/ 332 h 481"/>
                    <a:gd name="T18" fmla="*/ 327 w 491"/>
                    <a:gd name="T19" fmla="*/ 303 h 481"/>
                    <a:gd name="T20" fmla="*/ 319 w 491"/>
                    <a:gd name="T21" fmla="*/ 277 h 481"/>
                    <a:gd name="T22" fmla="*/ 314 w 491"/>
                    <a:gd name="T23" fmla="*/ 244 h 481"/>
                    <a:gd name="T24" fmla="*/ 292 w 491"/>
                    <a:gd name="T25" fmla="*/ 223 h 481"/>
                    <a:gd name="T26" fmla="*/ 260 w 491"/>
                    <a:gd name="T27" fmla="*/ 205 h 481"/>
                    <a:gd name="T28" fmla="*/ 221 w 491"/>
                    <a:gd name="T29" fmla="*/ 190 h 481"/>
                    <a:gd name="T30" fmla="*/ 178 w 491"/>
                    <a:gd name="T31" fmla="*/ 181 h 481"/>
                    <a:gd name="T32" fmla="*/ 133 w 491"/>
                    <a:gd name="T33" fmla="*/ 178 h 481"/>
                    <a:gd name="T34" fmla="*/ 133 w 491"/>
                    <a:gd name="T35" fmla="*/ 156 h 481"/>
                    <a:gd name="T36" fmla="*/ 110 w 491"/>
                    <a:gd name="T37" fmla="*/ 145 h 481"/>
                    <a:gd name="T38" fmla="*/ 85 w 491"/>
                    <a:gd name="T39" fmla="*/ 130 h 481"/>
                    <a:gd name="T40" fmla="*/ 66 w 491"/>
                    <a:gd name="T41" fmla="*/ 111 h 481"/>
                    <a:gd name="T42" fmla="*/ 73 w 491"/>
                    <a:gd name="T43" fmla="*/ 133 h 481"/>
                    <a:gd name="T44" fmla="*/ 54 w 491"/>
                    <a:gd name="T45" fmla="*/ 147 h 481"/>
                    <a:gd name="T46" fmla="*/ 40 w 491"/>
                    <a:gd name="T47" fmla="*/ 178 h 481"/>
                    <a:gd name="T48" fmla="*/ 24 w 491"/>
                    <a:gd name="T49" fmla="*/ 220 h 481"/>
                    <a:gd name="T50" fmla="*/ 13 w 491"/>
                    <a:gd name="T51" fmla="*/ 265 h 481"/>
                    <a:gd name="T52" fmla="*/ 14 w 491"/>
                    <a:gd name="T53" fmla="*/ 237 h 481"/>
                    <a:gd name="T54" fmla="*/ 23 w 491"/>
                    <a:gd name="T55" fmla="*/ 209 h 481"/>
                    <a:gd name="T56" fmla="*/ 32 w 491"/>
                    <a:gd name="T57" fmla="*/ 181 h 481"/>
                    <a:gd name="T58" fmla="*/ 30 w 491"/>
                    <a:gd name="T59" fmla="*/ 143 h 481"/>
                    <a:gd name="T60" fmla="*/ 17 w 491"/>
                    <a:gd name="T61" fmla="*/ 111 h 481"/>
                    <a:gd name="T62" fmla="*/ 0 w 491"/>
                    <a:gd name="T63" fmla="*/ 73 h 481"/>
                    <a:gd name="T64" fmla="*/ 34 w 491"/>
                    <a:gd name="T65" fmla="*/ 59 h 481"/>
                    <a:gd name="T66" fmla="*/ 59 w 491"/>
                    <a:gd name="T67" fmla="*/ 55 h 481"/>
                    <a:gd name="T68" fmla="*/ 84 w 491"/>
                    <a:gd name="T69" fmla="*/ 58 h 481"/>
                    <a:gd name="T70" fmla="*/ 102 w 491"/>
                    <a:gd name="T71" fmla="*/ 66 h 481"/>
                    <a:gd name="T72" fmla="*/ 121 w 491"/>
                    <a:gd name="T73" fmla="*/ 82 h 481"/>
                    <a:gd name="T74" fmla="*/ 140 w 491"/>
                    <a:gd name="T75" fmla="*/ 111 h 481"/>
                    <a:gd name="T76" fmla="*/ 183 w 491"/>
                    <a:gd name="T77" fmla="*/ 103 h 481"/>
                    <a:gd name="T78" fmla="*/ 196 w 491"/>
                    <a:gd name="T79" fmla="*/ 96 h 481"/>
                    <a:gd name="T80" fmla="*/ 200 w 491"/>
                    <a:gd name="T81" fmla="*/ 90 h 481"/>
                    <a:gd name="T82" fmla="*/ 207 w 491"/>
                    <a:gd name="T83" fmla="*/ 73 h 481"/>
                    <a:gd name="T84" fmla="*/ 232 w 491"/>
                    <a:gd name="T85" fmla="*/ 54 h 481"/>
                    <a:gd name="T86" fmla="*/ 254 w 491"/>
                    <a:gd name="T87" fmla="*/ 49 h 481"/>
                    <a:gd name="T88" fmla="*/ 263 w 491"/>
                    <a:gd name="T89" fmla="*/ 30 h 481"/>
                    <a:gd name="T90" fmla="*/ 280 w 491"/>
                    <a:gd name="T91" fmla="*/ 9 h 481"/>
                    <a:gd name="T92" fmla="*/ 300 w 491"/>
                    <a:gd name="T93" fmla="*/ 1 h 481"/>
                    <a:gd name="T94" fmla="*/ 323 w 491"/>
                    <a:gd name="T95" fmla="*/ 0 h 481"/>
                    <a:gd name="T96" fmla="*/ 351 w 491"/>
                    <a:gd name="T97" fmla="*/ 8 h 481"/>
                    <a:gd name="T98" fmla="*/ 399 w 491"/>
                    <a:gd name="T99" fmla="*/ 38 h 481"/>
                    <a:gd name="T100" fmla="*/ 428 w 491"/>
                    <a:gd name="T101" fmla="*/ 53 h 481"/>
                    <a:gd name="T102" fmla="*/ 459 w 491"/>
                    <a:gd name="T103" fmla="*/ 60 h 481"/>
                    <a:gd name="T104" fmla="*/ 491 w 491"/>
                    <a:gd name="T105" fmla="*/ 67 h 481"/>
                    <a:gd name="T106" fmla="*/ 491 w 491"/>
                    <a:gd name="T107" fmla="*/ 326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257" name="Freeform 341">
                  <a:extLst>
                    <a:ext uri="{FF2B5EF4-FFF2-40B4-BE49-F238E27FC236}">
                      <a16:creationId xmlns="" xmlns:a16="http://schemas.microsoft.com/office/drawing/2014/main" id="{F96D05AA-EF67-43B0-8A29-179AF0E1A0BA}"/>
                    </a:ext>
                  </a:extLst>
                </p:cNvPr>
                <p:cNvSpPr>
                  <a:spLocks/>
                </p:cNvSpPr>
                <p:nvPr>
                  <p:custDataLst>
                    <p:tags r:id="rId245"/>
                  </p:custDataLst>
                </p:nvPr>
              </p:nvSpPr>
              <p:spPr bwMode="auto">
                <a:xfrm>
                  <a:off x="7281066" y="2176375"/>
                  <a:ext cx="38283" cy="42787"/>
                </a:xfrm>
                <a:custGeom>
                  <a:avLst/>
                  <a:gdLst>
                    <a:gd name="T0" fmla="*/ 0 w 133"/>
                    <a:gd name="T1" fmla="*/ 19 h 117"/>
                    <a:gd name="T2" fmla="*/ 72 w 133"/>
                    <a:gd name="T3" fmla="*/ 0 h 117"/>
                    <a:gd name="T4" fmla="*/ 81 w 133"/>
                    <a:gd name="T5" fmla="*/ 6 h 117"/>
                    <a:gd name="T6" fmla="*/ 91 w 133"/>
                    <a:gd name="T7" fmla="*/ 14 h 117"/>
                    <a:gd name="T8" fmla="*/ 101 w 133"/>
                    <a:gd name="T9" fmla="*/ 25 h 117"/>
                    <a:gd name="T10" fmla="*/ 109 w 133"/>
                    <a:gd name="T11" fmla="*/ 37 h 117"/>
                    <a:gd name="T12" fmla="*/ 118 w 133"/>
                    <a:gd name="T13" fmla="*/ 49 h 117"/>
                    <a:gd name="T14" fmla="*/ 126 w 133"/>
                    <a:gd name="T15" fmla="*/ 62 h 117"/>
                    <a:gd name="T16" fmla="*/ 128 w 133"/>
                    <a:gd name="T17" fmla="*/ 68 h 117"/>
                    <a:gd name="T18" fmla="*/ 130 w 133"/>
                    <a:gd name="T19" fmla="*/ 74 h 117"/>
                    <a:gd name="T20" fmla="*/ 131 w 133"/>
                    <a:gd name="T21" fmla="*/ 80 h 117"/>
                    <a:gd name="T22" fmla="*/ 133 w 133"/>
                    <a:gd name="T23" fmla="*/ 86 h 117"/>
                    <a:gd name="T24" fmla="*/ 131 w 133"/>
                    <a:gd name="T25" fmla="*/ 92 h 117"/>
                    <a:gd name="T26" fmla="*/ 128 w 133"/>
                    <a:gd name="T27" fmla="*/ 97 h 117"/>
                    <a:gd name="T28" fmla="*/ 124 w 133"/>
                    <a:gd name="T29" fmla="*/ 102 h 117"/>
                    <a:gd name="T30" fmla="*/ 118 w 133"/>
                    <a:gd name="T31" fmla="*/ 107 h 117"/>
                    <a:gd name="T32" fmla="*/ 113 w 133"/>
                    <a:gd name="T33" fmla="*/ 111 h 117"/>
                    <a:gd name="T34" fmla="*/ 107 w 133"/>
                    <a:gd name="T35" fmla="*/ 114 h 117"/>
                    <a:gd name="T36" fmla="*/ 103 w 133"/>
                    <a:gd name="T37" fmla="*/ 117 h 117"/>
                    <a:gd name="T38" fmla="*/ 100 w 133"/>
                    <a:gd name="T39" fmla="*/ 117 h 117"/>
                    <a:gd name="T40" fmla="*/ 72 w 133"/>
                    <a:gd name="T41" fmla="*/ 95 h 117"/>
                    <a:gd name="T42" fmla="*/ 45 w 133"/>
                    <a:gd name="T43" fmla="*/ 70 h 117"/>
                    <a:gd name="T44" fmla="*/ 32 w 133"/>
                    <a:gd name="T45" fmla="*/ 58 h 117"/>
                    <a:gd name="T46" fmla="*/ 18 w 133"/>
                    <a:gd name="T47" fmla="*/ 46 h 117"/>
                    <a:gd name="T48" fmla="*/ 8 w 133"/>
                    <a:gd name="T49" fmla="*/ 33 h 117"/>
                    <a:gd name="T50" fmla="*/ 0 w 133"/>
                    <a:gd name="T51" fmla="*/ 1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258" name="Freeform 342">
                  <a:extLst>
                    <a:ext uri="{FF2B5EF4-FFF2-40B4-BE49-F238E27FC236}">
                      <a16:creationId xmlns="" xmlns:a16="http://schemas.microsoft.com/office/drawing/2014/main" id="{012836D1-B0B4-4169-9F44-BD92D7B6EEBF}"/>
                    </a:ext>
                  </a:extLst>
                </p:cNvPr>
                <p:cNvSpPr>
                  <a:spLocks/>
                </p:cNvSpPr>
                <p:nvPr>
                  <p:custDataLst>
                    <p:tags r:id="rId246"/>
                  </p:custDataLst>
                </p:nvPr>
              </p:nvSpPr>
              <p:spPr bwMode="auto">
                <a:xfrm>
                  <a:off x="6186625" y="1754138"/>
                  <a:ext cx="156510" cy="126109"/>
                </a:xfrm>
                <a:custGeom>
                  <a:avLst/>
                  <a:gdLst>
                    <a:gd name="T0" fmla="*/ 272 w 505"/>
                    <a:gd name="T1" fmla="*/ 36 h 339"/>
                    <a:gd name="T2" fmla="*/ 484 w 505"/>
                    <a:gd name="T3" fmla="*/ 86 h 339"/>
                    <a:gd name="T4" fmla="*/ 478 w 505"/>
                    <a:gd name="T5" fmla="*/ 109 h 339"/>
                    <a:gd name="T6" fmla="*/ 471 w 505"/>
                    <a:gd name="T7" fmla="*/ 129 h 339"/>
                    <a:gd name="T8" fmla="*/ 461 w 505"/>
                    <a:gd name="T9" fmla="*/ 145 h 339"/>
                    <a:gd name="T10" fmla="*/ 451 w 505"/>
                    <a:gd name="T11" fmla="*/ 153 h 339"/>
                    <a:gd name="T12" fmla="*/ 461 w 505"/>
                    <a:gd name="T13" fmla="*/ 184 h 339"/>
                    <a:gd name="T14" fmla="*/ 477 w 505"/>
                    <a:gd name="T15" fmla="*/ 215 h 339"/>
                    <a:gd name="T16" fmla="*/ 505 w 505"/>
                    <a:gd name="T17" fmla="*/ 258 h 339"/>
                    <a:gd name="T18" fmla="*/ 493 w 505"/>
                    <a:gd name="T19" fmla="*/ 271 h 339"/>
                    <a:gd name="T20" fmla="*/ 479 w 505"/>
                    <a:gd name="T21" fmla="*/ 292 h 339"/>
                    <a:gd name="T22" fmla="*/ 468 w 505"/>
                    <a:gd name="T23" fmla="*/ 314 h 339"/>
                    <a:gd name="T24" fmla="*/ 464 w 505"/>
                    <a:gd name="T25" fmla="*/ 339 h 339"/>
                    <a:gd name="T26" fmla="*/ 443 w 505"/>
                    <a:gd name="T27" fmla="*/ 338 h 339"/>
                    <a:gd name="T28" fmla="*/ 414 w 505"/>
                    <a:gd name="T29" fmla="*/ 335 h 339"/>
                    <a:gd name="T30" fmla="*/ 385 w 505"/>
                    <a:gd name="T31" fmla="*/ 331 h 339"/>
                    <a:gd name="T32" fmla="*/ 358 w 505"/>
                    <a:gd name="T33" fmla="*/ 326 h 339"/>
                    <a:gd name="T34" fmla="*/ 304 w 505"/>
                    <a:gd name="T35" fmla="*/ 325 h 339"/>
                    <a:gd name="T36" fmla="*/ 264 w 505"/>
                    <a:gd name="T37" fmla="*/ 321 h 339"/>
                    <a:gd name="T38" fmla="*/ 248 w 505"/>
                    <a:gd name="T39" fmla="*/ 317 h 339"/>
                    <a:gd name="T40" fmla="*/ 232 w 505"/>
                    <a:gd name="T41" fmla="*/ 310 h 339"/>
                    <a:gd name="T42" fmla="*/ 213 w 505"/>
                    <a:gd name="T43" fmla="*/ 300 h 339"/>
                    <a:gd name="T44" fmla="*/ 180 w 505"/>
                    <a:gd name="T45" fmla="*/ 289 h 339"/>
                    <a:gd name="T46" fmla="*/ 146 w 505"/>
                    <a:gd name="T47" fmla="*/ 273 h 339"/>
                    <a:gd name="T48" fmla="*/ 98 w 505"/>
                    <a:gd name="T49" fmla="*/ 249 h 339"/>
                    <a:gd name="T50" fmla="*/ 62 w 505"/>
                    <a:gd name="T51" fmla="*/ 206 h 339"/>
                    <a:gd name="T52" fmla="*/ 52 w 505"/>
                    <a:gd name="T53" fmla="*/ 169 h 339"/>
                    <a:gd name="T54" fmla="*/ 36 w 505"/>
                    <a:gd name="T55" fmla="*/ 124 h 339"/>
                    <a:gd name="T56" fmla="*/ 15 w 505"/>
                    <a:gd name="T57" fmla="*/ 83 h 339"/>
                    <a:gd name="T58" fmla="*/ 2 w 505"/>
                    <a:gd name="T59" fmla="*/ 64 h 339"/>
                    <a:gd name="T60" fmla="*/ 5 w 505"/>
                    <a:gd name="T61" fmla="*/ 61 h 339"/>
                    <a:gd name="T62" fmla="*/ 11 w 505"/>
                    <a:gd name="T63" fmla="*/ 56 h 339"/>
                    <a:gd name="T64" fmla="*/ 11 w 505"/>
                    <a:gd name="T65" fmla="*/ 48 h 339"/>
                    <a:gd name="T66" fmla="*/ 11 w 505"/>
                    <a:gd name="T67" fmla="*/ 43 h 339"/>
                    <a:gd name="T68" fmla="*/ 34 w 505"/>
                    <a:gd name="T69" fmla="*/ 34 h 339"/>
                    <a:gd name="T70" fmla="*/ 73 w 505"/>
                    <a:gd name="T71" fmla="*/ 22 h 339"/>
                    <a:gd name="T72" fmla="*/ 128 w 505"/>
                    <a:gd name="T73" fmla="*/ 8 h 339"/>
                    <a:gd name="T74" fmla="*/ 173 w 505"/>
                    <a:gd name="T75" fmla="*/ 11 h 339"/>
                    <a:gd name="T76" fmla="*/ 188 w 505"/>
                    <a:gd name="T77" fmla="*/ 28 h 339"/>
                    <a:gd name="T78" fmla="*/ 201 w 505"/>
                    <a:gd name="T79" fmla="*/ 35 h 339"/>
                    <a:gd name="T80" fmla="*/ 219 w 505"/>
                    <a:gd name="T81" fmla="*/ 36 h 339"/>
                    <a:gd name="T82" fmla="*/ 239 w 505"/>
                    <a:gd name="T83" fmla="*/ 36 h 339"/>
                    <a:gd name="T84" fmla="*/ 259 w 505"/>
                    <a:gd name="T85" fmla="*/ 24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259" name="Freeform 343">
                  <a:extLst>
                    <a:ext uri="{FF2B5EF4-FFF2-40B4-BE49-F238E27FC236}">
                      <a16:creationId xmlns="" xmlns:a16="http://schemas.microsoft.com/office/drawing/2014/main" id="{76FB96DC-EFA0-48A2-98EC-8285C5C58908}"/>
                    </a:ext>
                  </a:extLst>
                </p:cNvPr>
                <p:cNvSpPr>
                  <a:spLocks/>
                </p:cNvSpPr>
                <p:nvPr>
                  <p:custDataLst>
                    <p:tags r:id="rId247"/>
                  </p:custDataLst>
                </p:nvPr>
              </p:nvSpPr>
              <p:spPr bwMode="auto">
                <a:xfrm>
                  <a:off x="6231664" y="1899388"/>
                  <a:ext cx="103589" cy="50669"/>
                </a:xfrm>
                <a:custGeom>
                  <a:avLst/>
                  <a:gdLst>
                    <a:gd name="T0" fmla="*/ 312 w 338"/>
                    <a:gd name="T1" fmla="*/ 0 h 141"/>
                    <a:gd name="T2" fmla="*/ 186 w 338"/>
                    <a:gd name="T3" fmla="*/ 0 h 141"/>
                    <a:gd name="T4" fmla="*/ 168 w 338"/>
                    <a:gd name="T5" fmla="*/ 8 h 141"/>
                    <a:gd name="T6" fmla="*/ 144 w 338"/>
                    <a:gd name="T7" fmla="*/ 21 h 141"/>
                    <a:gd name="T8" fmla="*/ 132 w 338"/>
                    <a:gd name="T9" fmla="*/ 27 h 141"/>
                    <a:gd name="T10" fmla="*/ 119 w 338"/>
                    <a:gd name="T11" fmla="*/ 32 h 141"/>
                    <a:gd name="T12" fmla="*/ 112 w 338"/>
                    <a:gd name="T13" fmla="*/ 34 h 141"/>
                    <a:gd name="T14" fmla="*/ 105 w 338"/>
                    <a:gd name="T15" fmla="*/ 35 h 141"/>
                    <a:gd name="T16" fmla="*/ 99 w 338"/>
                    <a:gd name="T17" fmla="*/ 36 h 141"/>
                    <a:gd name="T18" fmla="*/ 93 w 338"/>
                    <a:gd name="T19" fmla="*/ 37 h 141"/>
                    <a:gd name="T20" fmla="*/ 88 w 338"/>
                    <a:gd name="T21" fmla="*/ 36 h 141"/>
                    <a:gd name="T22" fmla="*/ 84 w 338"/>
                    <a:gd name="T23" fmla="*/ 35 h 141"/>
                    <a:gd name="T24" fmla="*/ 78 w 338"/>
                    <a:gd name="T25" fmla="*/ 32 h 141"/>
                    <a:gd name="T26" fmla="*/ 74 w 338"/>
                    <a:gd name="T27" fmla="*/ 30 h 141"/>
                    <a:gd name="T28" fmla="*/ 66 w 338"/>
                    <a:gd name="T29" fmla="*/ 24 h 141"/>
                    <a:gd name="T30" fmla="*/ 59 w 338"/>
                    <a:gd name="T31" fmla="*/ 18 h 141"/>
                    <a:gd name="T32" fmla="*/ 49 w 338"/>
                    <a:gd name="T33" fmla="*/ 34 h 141"/>
                    <a:gd name="T34" fmla="*/ 37 w 338"/>
                    <a:gd name="T35" fmla="*/ 51 h 141"/>
                    <a:gd name="T36" fmla="*/ 30 w 338"/>
                    <a:gd name="T37" fmla="*/ 60 h 141"/>
                    <a:gd name="T38" fmla="*/ 21 w 338"/>
                    <a:gd name="T39" fmla="*/ 68 h 141"/>
                    <a:gd name="T40" fmla="*/ 11 w 338"/>
                    <a:gd name="T41" fmla="*/ 75 h 141"/>
                    <a:gd name="T42" fmla="*/ 0 w 338"/>
                    <a:gd name="T43" fmla="*/ 80 h 141"/>
                    <a:gd name="T44" fmla="*/ 12 w 338"/>
                    <a:gd name="T45" fmla="*/ 90 h 141"/>
                    <a:gd name="T46" fmla="*/ 23 w 338"/>
                    <a:gd name="T47" fmla="*/ 100 h 141"/>
                    <a:gd name="T48" fmla="*/ 33 w 338"/>
                    <a:gd name="T49" fmla="*/ 108 h 141"/>
                    <a:gd name="T50" fmla="*/ 44 w 338"/>
                    <a:gd name="T51" fmla="*/ 116 h 141"/>
                    <a:gd name="T52" fmla="*/ 55 w 338"/>
                    <a:gd name="T53" fmla="*/ 122 h 141"/>
                    <a:gd name="T54" fmla="*/ 66 w 338"/>
                    <a:gd name="T55" fmla="*/ 129 h 141"/>
                    <a:gd name="T56" fmla="*/ 79 w 338"/>
                    <a:gd name="T57" fmla="*/ 135 h 141"/>
                    <a:gd name="T58" fmla="*/ 93 w 338"/>
                    <a:gd name="T59" fmla="*/ 141 h 141"/>
                    <a:gd name="T60" fmla="*/ 259 w 338"/>
                    <a:gd name="T61" fmla="*/ 141 h 141"/>
                    <a:gd name="T62" fmla="*/ 269 w 338"/>
                    <a:gd name="T63" fmla="*/ 124 h 141"/>
                    <a:gd name="T64" fmla="*/ 281 w 338"/>
                    <a:gd name="T65" fmla="*/ 107 h 141"/>
                    <a:gd name="T66" fmla="*/ 292 w 338"/>
                    <a:gd name="T67" fmla="*/ 92 h 141"/>
                    <a:gd name="T68" fmla="*/ 304 w 338"/>
                    <a:gd name="T69" fmla="*/ 78 h 141"/>
                    <a:gd name="T70" fmla="*/ 315 w 338"/>
                    <a:gd name="T71" fmla="*/ 64 h 141"/>
                    <a:gd name="T72" fmla="*/ 324 w 338"/>
                    <a:gd name="T73" fmla="*/ 48 h 141"/>
                    <a:gd name="T74" fmla="*/ 333 w 338"/>
                    <a:gd name="T75" fmla="*/ 34 h 141"/>
                    <a:gd name="T76" fmla="*/ 338 w 338"/>
                    <a:gd name="T77" fmla="*/ 18 h 141"/>
                    <a:gd name="T78" fmla="*/ 312 w 338"/>
                    <a:gd name="T79"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260" name="Freeform 344">
                  <a:extLst>
                    <a:ext uri="{FF2B5EF4-FFF2-40B4-BE49-F238E27FC236}">
                      <a16:creationId xmlns="" xmlns:a16="http://schemas.microsoft.com/office/drawing/2014/main" id="{0BBEE281-E543-4DA2-AFE5-553BFDD68B13}"/>
                    </a:ext>
                  </a:extLst>
                </p:cNvPr>
                <p:cNvSpPr>
                  <a:spLocks/>
                </p:cNvSpPr>
                <p:nvPr>
                  <p:custDataLst>
                    <p:tags r:id="rId248"/>
                  </p:custDataLst>
                </p:nvPr>
              </p:nvSpPr>
              <p:spPr bwMode="auto">
                <a:xfrm>
                  <a:off x="6302600" y="1655053"/>
                  <a:ext cx="78818" cy="46164"/>
                </a:xfrm>
                <a:custGeom>
                  <a:avLst/>
                  <a:gdLst>
                    <a:gd name="T0" fmla="*/ 259 w 259"/>
                    <a:gd name="T1" fmla="*/ 129 h 129"/>
                    <a:gd name="T2" fmla="*/ 255 w 259"/>
                    <a:gd name="T3" fmla="*/ 102 h 129"/>
                    <a:gd name="T4" fmla="*/ 252 w 259"/>
                    <a:gd name="T5" fmla="*/ 80 h 129"/>
                    <a:gd name="T6" fmla="*/ 252 w 259"/>
                    <a:gd name="T7" fmla="*/ 63 h 129"/>
                    <a:gd name="T8" fmla="*/ 253 w 259"/>
                    <a:gd name="T9" fmla="*/ 50 h 129"/>
                    <a:gd name="T10" fmla="*/ 257 w 259"/>
                    <a:gd name="T11" fmla="*/ 29 h 129"/>
                    <a:gd name="T12" fmla="*/ 259 w 259"/>
                    <a:gd name="T13" fmla="*/ 12 h 129"/>
                    <a:gd name="T14" fmla="*/ 258 w 259"/>
                    <a:gd name="T15" fmla="*/ 14 h 129"/>
                    <a:gd name="T16" fmla="*/ 256 w 259"/>
                    <a:gd name="T17" fmla="*/ 16 h 129"/>
                    <a:gd name="T18" fmla="*/ 253 w 259"/>
                    <a:gd name="T19" fmla="*/ 17 h 129"/>
                    <a:gd name="T20" fmla="*/ 249 w 259"/>
                    <a:gd name="T21" fmla="*/ 18 h 129"/>
                    <a:gd name="T22" fmla="*/ 239 w 259"/>
                    <a:gd name="T23" fmla="*/ 19 h 129"/>
                    <a:gd name="T24" fmla="*/ 228 w 259"/>
                    <a:gd name="T25" fmla="*/ 19 h 129"/>
                    <a:gd name="T26" fmla="*/ 205 w 259"/>
                    <a:gd name="T27" fmla="*/ 19 h 129"/>
                    <a:gd name="T28" fmla="*/ 192 w 259"/>
                    <a:gd name="T29" fmla="*/ 18 h 129"/>
                    <a:gd name="T30" fmla="*/ 181 w 259"/>
                    <a:gd name="T31" fmla="*/ 17 h 129"/>
                    <a:gd name="T32" fmla="*/ 172 w 259"/>
                    <a:gd name="T33" fmla="*/ 15 h 129"/>
                    <a:gd name="T34" fmla="*/ 163 w 259"/>
                    <a:gd name="T35" fmla="*/ 12 h 129"/>
                    <a:gd name="T36" fmla="*/ 156 w 259"/>
                    <a:gd name="T37" fmla="*/ 9 h 129"/>
                    <a:gd name="T38" fmla="*/ 146 w 259"/>
                    <a:gd name="T39" fmla="*/ 6 h 129"/>
                    <a:gd name="T40" fmla="*/ 134 w 259"/>
                    <a:gd name="T41" fmla="*/ 3 h 129"/>
                    <a:gd name="T42" fmla="*/ 118 w 259"/>
                    <a:gd name="T43" fmla="*/ 1 h 129"/>
                    <a:gd name="T44" fmla="*/ 99 w 259"/>
                    <a:gd name="T45" fmla="*/ 0 h 129"/>
                    <a:gd name="T46" fmla="*/ 83 w 259"/>
                    <a:gd name="T47" fmla="*/ 0 h 129"/>
                    <a:gd name="T48" fmla="*/ 67 w 259"/>
                    <a:gd name="T49" fmla="*/ 0 h 129"/>
                    <a:gd name="T50" fmla="*/ 50 w 259"/>
                    <a:gd name="T51" fmla="*/ 0 h 129"/>
                    <a:gd name="T52" fmla="*/ 34 w 259"/>
                    <a:gd name="T53" fmla="*/ 2 h 129"/>
                    <a:gd name="T54" fmla="*/ 27 w 259"/>
                    <a:gd name="T55" fmla="*/ 4 h 129"/>
                    <a:gd name="T56" fmla="*/ 21 w 259"/>
                    <a:gd name="T57" fmla="*/ 6 h 129"/>
                    <a:gd name="T58" fmla="*/ 14 w 259"/>
                    <a:gd name="T59" fmla="*/ 9 h 129"/>
                    <a:gd name="T60" fmla="*/ 10 w 259"/>
                    <a:gd name="T61" fmla="*/ 13 h 129"/>
                    <a:gd name="T62" fmla="*/ 5 w 259"/>
                    <a:gd name="T63" fmla="*/ 17 h 129"/>
                    <a:gd name="T64" fmla="*/ 2 w 259"/>
                    <a:gd name="T65" fmla="*/ 22 h 129"/>
                    <a:gd name="T66" fmla="*/ 0 w 259"/>
                    <a:gd name="T67" fmla="*/ 29 h 129"/>
                    <a:gd name="T68" fmla="*/ 0 w 259"/>
                    <a:gd name="T69" fmla="*/ 36 h 129"/>
                    <a:gd name="T70" fmla="*/ 0 w 259"/>
                    <a:gd name="T71" fmla="*/ 48 h 129"/>
                    <a:gd name="T72" fmla="*/ 3 w 259"/>
                    <a:gd name="T73" fmla="*/ 58 h 129"/>
                    <a:gd name="T74" fmla="*/ 6 w 259"/>
                    <a:gd name="T75" fmla="*/ 65 h 129"/>
                    <a:gd name="T76" fmla="*/ 12 w 259"/>
                    <a:gd name="T77" fmla="*/ 71 h 129"/>
                    <a:gd name="T78" fmla="*/ 17 w 259"/>
                    <a:gd name="T79" fmla="*/ 76 h 129"/>
                    <a:gd name="T80" fmla="*/ 24 w 259"/>
                    <a:gd name="T81" fmla="*/ 80 h 129"/>
                    <a:gd name="T82" fmla="*/ 31 w 259"/>
                    <a:gd name="T83" fmla="*/ 83 h 129"/>
                    <a:gd name="T84" fmla="*/ 37 w 259"/>
                    <a:gd name="T85" fmla="*/ 85 h 129"/>
                    <a:gd name="T86" fmla="*/ 50 w 259"/>
                    <a:gd name="T87" fmla="*/ 88 h 129"/>
                    <a:gd name="T88" fmla="*/ 61 w 259"/>
                    <a:gd name="T89" fmla="*/ 92 h 129"/>
                    <a:gd name="T90" fmla="*/ 65 w 259"/>
                    <a:gd name="T91" fmla="*/ 95 h 129"/>
                    <a:gd name="T92" fmla="*/ 67 w 259"/>
                    <a:gd name="T93" fmla="*/ 99 h 129"/>
                    <a:gd name="T94" fmla="*/ 67 w 259"/>
                    <a:gd name="T95" fmla="*/ 105 h 129"/>
                    <a:gd name="T96" fmla="*/ 66 w 259"/>
                    <a:gd name="T97" fmla="*/ 111 h 129"/>
                    <a:gd name="T98" fmla="*/ 81 w 259"/>
                    <a:gd name="T99" fmla="*/ 110 h 129"/>
                    <a:gd name="T100" fmla="*/ 91 w 259"/>
                    <a:gd name="T101" fmla="*/ 108 h 129"/>
                    <a:gd name="T102" fmla="*/ 98 w 259"/>
                    <a:gd name="T103" fmla="*/ 106 h 129"/>
                    <a:gd name="T104" fmla="*/ 105 w 259"/>
                    <a:gd name="T105" fmla="*/ 105 h 129"/>
                    <a:gd name="T106" fmla="*/ 120 w 259"/>
                    <a:gd name="T107" fmla="*/ 106 h 129"/>
                    <a:gd name="T108" fmla="*/ 140 w 259"/>
                    <a:gd name="T109" fmla="*/ 108 h 129"/>
                    <a:gd name="T110" fmla="*/ 166 w 259"/>
                    <a:gd name="T111" fmla="*/ 112 h 129"/>
                    <a:gd name="T112" fmla="*/ 192 w 259"/>
                    <a:gd name="T113" fmla="*/ 117 h 129"/>
                    <a:gd name="T114" fmla="*/ 238 w 259"/>
                    <a:gd name="T115" fmla="*/ 125 h 129"/>
                    <a:gd name="T116" fmla="*/ 259 w 259"/>
                    <a:gd name="T117"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261" name="Freeform 345">
                  <a:extLst>
                    <a:ext uri="{FF2B5EF4-FFF2-40B4-BE49-F238E27FC236}">
                      <a16:creationId xmlns="" xmlns:a16="http://schemas.microsoft.com/office/drawing/2014/main" id="{DFB34918-E844-4BD0-A333-50BE345C7963}"/>
                    </a:ext>
                  </a:extLst>
                </p:cNvPr>
                <p:cNvSpPr>
                  <a:spLocks/>
                </p:cNvSpPr>
                <p:nvPr>
                  <p:custDataLst>
                    <p:tags r:id="rId249"/>
                  </p:custDataLst>
                </p:nvPr>
              </p:nvSpPr>
              <p:spPr bwMode="auto">
                <a:xfrm>
                  <a:off x="6311608" y="1901639"/>
                  <a:ext cx="127234" cy="101337"/>
                </a:xfrm>
                <a:custGeom>
                  <a:avLst/>
                  <a:gdLst>
                    <a:gd name="T0" fmla="*/ 418 w 425"/>
                    <a:gd name="T1" fmla="*/ 170 h 272"/>
                    <a:gd name="T2" fmla="*/ 398 w 425"/>
                    <a:gd name="T3" fmla="*/ 188 h 272"/>
                    <a:gd name="T4" fmla="*/ 383 w 425"/>
                    <a:gd name="T5" fmla="*/ 206 h 272"/>
                    <a:gd name="T6" fmla="*/ 384 w 425"/>
                    <a:gd name="T7" fmla="*/ 221 h 272"/>
                    <a:gd name="T8" fmla="*/ 389 w 425"/>
                    <a:gd name="T9" fmla="*/ 237 h 272"/>
                    <a:gd name="T10" fmla="*/ 375 w 425"/>
                    <a:gd name="T11" fmla="*/ 244 h 272"/>
                    <a:gd name="T12" fmla="*/ 347 w 425"/>
                    <a:gd name="T13" fmla="*/ 238 h 272"/>
                    <a:gd name="T14" fmla="*/ 324 w 425"/>
                    <a:gd name="T15" fmla="*/ 235 h 272"/>
                    <a:gd name="T16" fmla="*/ 295 w 425"/>
                    <a:gd name="T17" fmla="*/ 235 h 272"/>
                    <a:gd name="T18" fmla="*/ 263 w 425"/>
                    <a:gd name="T19" fmla="*/ 243 h 272"/>
                    <a:gd name="T20" fmla="*/ 232 w 425"/>
                    <a:gd name="T21" fmla="*/ 254 h 272"/>
                    <a:gd name="T22" fmla="*/ 197 w 425"/>
                    <a:gd name="T23" fmla="*/ 267 h 272"/>
                    <a:gd name="T24" fmla="*/ 100 w 425"/>
                    <a:gd name="T25" fmla="*/ 240 h 272"/>
                    <a:gd name="T26" fmla="*/ 85 w 425"/>
                    <a:gd name="T27" fmla="*/ 226 h 272"/>
                    <a:gd name="T28" fmla="*/ 70 w 425"/>
                    <a:gd name="T29" fmla="*/ 214 h 272"/>
                    <a:gd name="T30" fmla="*/ 37 w 425"/>
                    <a:gd name="T31" fmla="*/ 192 h 272"/>
                    <a:gd name="T32" fmla="*/ 22 w 425"/>
                    <a:gd name="T33" fmla="*/ 180 h 272"/>
                    <a:gd name="T34" fmla="*/ 11 w 425"/>
                    <a:gd name="T35" fmla="*/ 167 h 272"/>
                    <a:gd name="T36" fmla="*/ 2 w 425"/>
                    <a:gd name="T37" fmla="*/ 150 h 272"/>
                    <a:gd name="T38" fmla="*/ 0 w 425"/>
                    <a:gd name="T39" fmla="*/ 129 h 272"/>
                    <a:gd name="T40" fmla="*/ 50 w 425"/>
                    <a:gd name="T41" fmla="*/ 66 h 272"/>
                    <a:gd name="T42" fmla="*/ 71 w 425"/>
                    <a:gd name="T43" fmla="*/ 36 h 272"/>
                    <a:gd name="T44" fmla="*/ 80 w 425"/>
                    <a:gd name="T45" fmla="*/ 22 h 272"/>
                    <a:gd name="T46" fmla="*/ 85 w 425"/>
                    <a:gd name="T47" fmla="*/ 6 h 272"/>
                    <a:gd name="T48" fmla="*/ 123 w 425"/>
                    <a:gd name="T49" fmla="*/ 10 h 272"/>
                    <a:gd name="T50" fmla="*/ 153 w 425"/>
                    <a:gd name="T51" fmla="*/ 18 h 272"/>
                    <a:gd name="T52" fmla="*/ 180 w 425"/>
                    <a:gd name="T53" fmla="*/ 27 h 272"/>
                    <a:gd name="T54" fmla="*/ 205 w 425"/>
                    <a:gd name="T55" fmla="*/ 31 h 272"/>
                    <a:gd name="T56" fmla="*/ 214 w 425"/>
                    <a:gd name="T57" fmla="*/ 29 h 272"/>
                    <a:gd name="T58" fmla="*/ 221 w 425"/>
                    <a:gd name="T59" fmla="*/ 26 h 272"/>
                    <a:gd name="T60" fmla="*/ 232 w 425"/>
                    <a:gd name="T61" fmla="*/ 15 h 272"/>
                    <a:gd name="T62" fmla="*/ 242 w 425"/>
                    <a:gd name="T63" fmla="*/ 5 h 272"/>
                    <a:gd name="T64" fmla="*/ 250 w 425"/>
                    <a:gd name="T65" fmla="*/ 2 h 272"/>
                    <a:gd name="T66" fmla="*/ 259 w 425"/>
                    <a:gd name="T67" fmla="*/ 0 h 272"/>
                    <a:gd name="T68" fmla="*/ 275 w 425"/>
                    <a:gd name="T69" fmla="*/ 2 h 272"/>
                    <a:gd name="T70" fmla="*/ 289 w 425"/>
                    <a:gd name="T71" fmla="*/ 7 h 272"/>
                    <a:gd name="T72" fmla="*/ 302 w 425"/>
                    <a:gd name="T73" fmla="*/ 15 h 272"/>
                    <a:gd name="T74" fmla="*/ 310 w 425"/>
                    <a:gd name="T75" fmla="*/ 26 h 272"/>
                    <a:gd name="T76" fmla="*/ 325 w 425"/>
                    <a:gd name="T77" fmla="*/ 53 h 272"/>
                    <a:gd name="T78" fmla="*/ 337 w 425"/>
                    <a:gd name="T79" fmla="*/ 82 h 272"/>
                    <a:gd name="T80" fmla="*/ 349 w 425"/>
                    <a:gd name="T81" fmla="*/ 113 h 272"/>
                    <a:gd name="T82" fmla="*/ 356 w 425"/>
                    <a:gd name="T83" fmla="*/ 126 h 272"/>
                    <a:gd name="T84" fmla="*/ 365 w 425"/>
                    <a:gd name="T85" fmla="*/ 138 h 272"/>
                    <a:gd name="T86" fmla="*/ 376 w 425"/>
                    <a:gd name="T87" fmla="*/ 147 h 272"/>
                    <a:gd name="T88" fmla="*/ 389 w 425"/>
                    <a:gd name="T89" fmla="*/ 156 h 272"/>
                    <a:gd name="T90" fmla="*/ 405 w 425"/>
                    <a:gd name="T91" fmla="*/ 160 h 272"/>
                    <a:gd name="T92" fmla="*/ 425 w 425"/>
                    <a:gd name="T93" fmla="*/ 161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262" name="Freeform 346">
                  <a:extLst>
                    <a:ext uri="{FF2B5EF4-FFF2-40B4-BE49-F238E27FC236}">
                      <a16:creationId xmlns="" xmlns:a16="http://schemas.microsoft.com/office/drawing/2014/main" id="{10564598-1728-498F-950E-C54D4868097B}"/>
                    </a:ext>
                  </a:extLst>
                </p:cNvPr>
                <p:cNvSpPr>
                  <a:spLocks/>
                </p:cNvSpPr>
                <p:nvPr>
                  <p:custDataLst>
                    <p:tags r:id="rId250"/>
                  </p:custDataLst>
                </p:nvPr>
              </p:nvSpPr>
              <p:spPr bwMode="auto">
                <a:xfrm>
                  <a:off x="4892890" y="2638022"/>
                  <a:ext cx="10134" cy="39409"/>
                </a:xfrm>
                <a:custGeom>
                  <a:avLst/>
                  <a:gdLst>
                    <a:gd name="T0" fmla="*/ 13 w 33"/>
                    <a:gd name="T1" fmla="*/ 6 h 31"/>
                    <a:gd name="T2" fmla="*/ 0 w 33"/>
                    <a:gd name="T3" fmla="*/ 19 h 31"/>
                    <a:gd name="T4" fmla="*/ 5 w 33"/>
                    <a:gd name="T5" fmla="*/ 21 h 31"/>
                    <a:gd name="T6" fmla="*/ 14 w 33"/>
                    <a:gd name="T7" fmla="*/ 25 h 31"/>
                    <a:gd name="T8" fmla="*/ 19 w 33"/>
                    <a:gd name="T9" fmla="*/ 27 h 31"/>
                    <a:gd name="T10" fmla="*/ 23 w 33"/>
                    <a:gd name="T11" fmla="*/ 29 h 31"/>
                    <a:gd name="T12" fmla="*/ 27 w 33"/>
                    <a:gd name="T13" fmla="*/ 30 h 31"/>
                    <a:gd name="T14" fmla="*/ 33 w 33"/>
                    <a:gd name="T15" fmla="*/ 31 h 31"/>
                    <a:gd name="T16" fmla="*/ 33 w 33"/>
                    <a:gd name="T17" fmla="*/ 0 h 31"/>
                    <a:gd name="T18" fmla="*/ 20 w 33"/>
                    <a:gd name="T19" fmla="*/ 0 h 31"/>
                    <a:gd name="T20" fmla="*/ 13 w 33"/>
                    <a:gd name="T2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263" name="Freeform 347">
                  <a:extLst>
                    <a:ext uri="{FF2B5EF4-FFF2-40B4-BE49-F238E27FC236}">
                      <a16:creationId xmlns="" xmlns:a16="http://schemas.microsoft.com/office/drawing/2014/main" id="{A571BB31-D3E6-445C-96A5-1135E1AEF529}"/>
                    </a:ext>
                  </a:extLst>
                </p:cNvPr>
                <p:cNvSpPr>
                  <a:spLocks/>
                </p:cNvSpPr>
                <p:nvPr>
                  <p:custDataLst>
                    <p:tags r:id="rId251"/>
                  </p:custDataLst>
                </p:nvPr>
              </p:nvSpPr>
              <p:spPr bwMode="auto">
                <a:xfrm>
                  <a:off x="6385922" y="1896010"/>
                  <a:ext cx="60802" cy="56298"/>
                </a:xfrm>
                <a:custGeom>
                  <a:avLst/>
                  <a:gdLst>
                    <a:gd name="T0" fmla="*/ 6 w 192"/>
                    <a:gd name="T1" fmla="*/ 19 h 154"/>
                    <a:gd name="T2" fmla="*/ 52 w 192"/>
                    <a:gd name="T3" fmla="*/ 0 h 154"/>
                    <a:gd name="T4" fmla="*/ 92 w 192"/>
                    <a:gd name="T5" fmla="*/ 19 h 154"/>
                    <a:gd name="T6" fmla="*/ 119 w 192"/>
                    <a:gd name="T7" fmla="*/ 31 h 154"/>
                    <a:gd name="T8" fmla="*/ 146 w 192"/>
                    <a:gd name="T9" fmla="*/ 63 h 154"/>
                    <a:gd name="T10" fmla="*/ 166 w 192"/>
                    <a:gd name="T11" fmla="*/ 93 h 154"/>
                    <a:gd name="T12" fmla="*/ 192 w 192"/>
                    <a:gd name="T13" fmla="*/ 118 h 154"/>
                    <a:gd name="T14" fmla="*/ 152 w 192"/>
                    <a:gd name="T15" fmla="*/ 124 h 154"/>
                    <a:gd name="T16" fmla="*/ 126 w 192"/>
                    <a:gd name="T17" fmla="*/ 130 h 154"/>
                    <a:gd name="T18" fmla="*/ 126 w 192"/>
                    <a:gd name="T19" fmla="*/ 154 h 154"/>
                    <a:gd name="T20" fmla="*/ 106 w 192"/>
                    <a:gd name="T21" fmla="*/ 154 h 154"/>
                    <a:gd name="T22" fmla="*/ 99 w 192"/>
                    <a:gd name="T23" fmla="*/ 146 h 154"/>
                    <a:gd name="T24" fmla="*/ 93 w 192"/>
                    <a:gd name="T25" fmla="*/ 137 h 154"/>
                    <a:gd name="T26" fmla="*/ 88 w 192"/>
                    <a:gd name="T27" fmla="*/ 126 h 154"/>
                    <a:gd name="T28" fmla="*/ 82 w 192"/>
                    <a:gd name="T29" fmla="*/ 115 h 154"/>
                    <a:gd name="T30" fmla="*/ 74 w 192"/>
                    <a:gd name="T31" fmla="*/ 93 h 154"/>
                    <a:gd name="T32" fmla="*/ 65 w 192"/>
                    <a:gd name="T33" fmla="*/ 71 h 154"/>
                    <a:gd name="T34" fmla="*/ 60 w 192"/>
                    <a:gd name="T35" fmla="*/ 61 h 154"/>
                    <a:gd name="T36" fmla="*/ 55 w 192"/>
                    <a:gd name="T37" fmla="*/ 50 h 154"/>
                    <a:gd name="T38" fmla="*/ 48 w 192"/>
                    <a:gd name="T39" fmla="*/ 42 h 154"/>
                    <a:gd name="T40" fmla="*/ 41 w 192"/>
                    <a:gd name="T41" fmla="*/ 34 h 154"/>
                    <a:gd name="T42" fmla="*/ 33 w 192"/>
                    <a:gd name="T43" fmla="*/ 28 h 154"/>
                    <a:gd name="T44" fmla="*/ 24 w 192"/>
                    <a:gd name="T45" fmla="*/ 23 h 154"/>
                    <a:gd name="T46" fmla="*/ 18 w 192"/>
                    <a:gd name="T47" fmla="*/ 22 h 154"/>
                    <a:gd name="T48" fmla="*/ 12 w 192"/>
                    <a:gd name="T49" fmla="*/ 20 h 154"/>
                    <a:gd name="T50" fmla="*/ 6 w 192"/>
                    <a:gd name="T51" fmla="*/ 20 h 154"/>
                    <a:gd name="T52" fmla="*/ 0 w 192"/>
                    <a:gd name="T53" fmla="*/ 19 h 154"/>
                    <a:gd name="T54" fmla="*/ 6 w 192"/>
                    <a:gd name="T55" fmla="*/ 1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264" name="Freeform 348">
                  <a:extLst>
                    <a:ext uri="{FF2B5EF4-FFF2-40B4-BE49-F238E27FC236}">
                      <a16:creationId xmlns="" xmlns:a16="http://schemas.microsoft.com/office/drawing/2014/main" id="{E04EB436-96A1-49CD-9BB6-881BEB82E272}"/>
                    </a:ext>
                  </a:extLst>
                </p:cNvPr>
                <p:cNvSpPr>
                  <a:spLocks/>
                </p:cNvSpPr>
                <p:nvPr>
                  <p:custDataLst>
                    <p:tags r:id="rId252"/>
                  </p:custDataLst>
                </p:nvPr>
              </p:nvSpPr>
              <p:spPr bwMode="auto">
                <a:xfrm>
                  <a:off x="6327372" y="1812688"/>
                  <a:ext cx="270232" cy="175651"/>
                </a:xfrm>
                <a:custGeom>
                  <a:avLst/>
                  <a:gdLst>
                    <a:gd name="T0" fmla="*/ 392 w 877"/>
                    <a:gd name="T1" fmla="*/ 340 h 469"/>
                    <a:gd name="T2" fmla="*/ 319 w 877"/>
                    <a:gd name="T3" fmla="*/ 253 h 469"/>
                    <a:gd name="T4" fmla="*/ 206 w 877"/>
                    <a:gd name="T5" fmla="*/ 241 h 469"/>
                    <a:gd name="T6" fmla="*/ 191 w 877"/>
                    <a:gd name="T7" fmla="*/ 243 h 469"/>
                    <a:gd name="T8" fmla="*/ 178 w 877"/>
                    <a:gd name="T9" fmla="*/ 251 h 469"/>
                    <a:gd name="T10" fmla="*/ 162 w 877"/>
                    <a:gd name="T11" fmla="*/ 267 h 469"/>
                    <a:gd name="T12" fmla="*/ 151 w 877"/>
                    <a:gd name="T13" fmla="*/ 271 h 469"/>
                    <a:gd name="T14" fmla="*/ 121 w 877"/>
                    <a:gd name="T15" fmla="*/ 268 h 469"/>
                    <a:gd name="T16" fmla="*/ 79 w 877"/>
                    <a:gd name="T17" fmla="*/ 255 h 469"/>
                    <a:gd name="T18" fmla="*/ 26 w 877"/>
                    <a:gd name="T19" fmla="*/ 247 h 469"/>
                    <a:gd name="T20" fmla="*/ 8 w 877"/>
                    <a:gd name="T21" fmla="*/ 212 h 469"/>
                    <a:gd name="T22" fmla="*/ 13 w 877"/>
                    <a:gd name="T23" fmla="*/ 187 h 469"/>
                    <a:gd name="T24" fmla="*/ 13 w 877"/>
                    <a:gd name="T25" fmla="*/ 180 h 469"/>
                    <a:gd name="T26" fmla="*/ 23 w 877"/>
                    <a:gd name="T27" fmla="*/ 144 h 469"/>
                    <a:gd name="T28" fmla="*/ 44 w 877"/>
                    <a:gd name="T29" fmla="*/ 112 h 469"/>
                    <a:gd name="T30" fmla="*/ 54 w 877"/>
                    <a:gd name="T31" fmla="*/ 92 h 469"/>
                    <a:gd name="T32" fmla="*/ 26 w 877"/>
                    <a:gd name="T33" fmla="*/ 50 h 469"/>
                    <a:gd name="T34" fmla="*/ 173 w 877"/>
                    <a:gd name="T35" fmla="*/ 26 h 469"/>
                    <a:gd name="T36" fmla="*/ 339 w 877"/>
                    <a:gd name="T37" fmla="*/ 50 h 469"/>
                    <a:gd name="T38" fmla="*/ 392 w 877"/>
                    <a:gd name="T39" fmla="*/ 13 h 469"/>
                    <a:gd name="T40" fmla="*/ 485 w 877"/>
                    <a:gd name="T41" fmla="*/ 0 h 469"/>
                    <a:gd name="T42" fmla="*/ 579 w 877"/>
                    <a:gd name="T43" fmla="*/ 38 h 469"/>
                    <a:gd name="T44" fmla="*/ 638 w 877"/>
                    <a:gd name="T45" fmla="*/ 111 h 469"/>
                    <a:gd name="T46" fmla="*/ 725 w 877"/>
                    <a:gd name="T47" fmla="*/ 111 h 469"/>
                    <a:gd name="T48" fmla="*/ 838 w 877"/>
                    <a:gd name="T49" fmla="*/ 155 h 469"/>
                    <a:gd name="T50" fmla="*/ 864 w 877"/>
                    <a:gd name="T51" fmla="*/ 235 h 469"/>
                    <a:gd name="T52" fmla="*/ 804 w 877"/>
                    <a:gd name="T53" fmla="*/ 272 h 469"/>
                    <a:gd name="T54" fmla="*/ 754 w 877"/>
                    <a:gd name="T55" fmla="*/ 313 h 469"/>
                    <a:gd name="T56" fmla="*/ 688 w 877"/>
                    <a:gd name="T57" fmla="*/ 330 h 469"/>
                    <a:gd name="T58" fmla="*/ 663 w 877"/>
                    <a:gd name="T59" fmla="*/ 343 h 469"/>
                    <a:gd name="T60" fmla="*/ 648 w 877"/>
                    <a:gd name="T61" fmla="*/ 358 h 469"/>
                    <a:gd name="T62" fmla="*/ 646 w 877"/>
                    <a:gd name="T63" fmla="*/ 375 h 469"/>
                    <a:gd name="T64" fmla="*/ 653 w 877"/>
                    <a:gd name="T65" fmla="*/ 390 h 469"/>
                    <a:gd name="T66" fmla="*/ 666 w 877"/>
                    <a:gd name="T67" fmla="*/ 401 h 469"/>
                    <a:gd name="T68" fmla="*/ 711 w 877"/>
                    <a:gd name="T69" fmla="*/ 396 h 469"/>
                    <a:gd name="T70" fmla="*/ 741 w 877"/>
                    <a:gd name="T71" fmla="*/ 394 h 469"/>
                    <a:gd name="T72" fmla="*/ 734 w 877"/>
                    <a:gd name="T73" fmla="*/ 403 h 469"/>
                    <a:gd name="T74" fmla="*/ 716 w 877"/>
                    <a:gd name="T75" fmla="*/ 421 h 469"/>
                    <a:gd name="T76" fmla="*/ 698 w 877"/>
                    <a:gd name="T77" fmla="*/ 438 h 469"/>
                    <a:gd name="T78" fmla="*/ 689 w 877"/>
                    <a:gd name="T79" fmla="*/ 419 h 469"/>
                    <a:gd name="T80" fmla="*/ 671 w 877"/>
                    <a:gd name="T81" fmla="*/ 408 h 469"/>
                    <a:gd name="T82" fmla="*/ 666 w 877"/>
                    <a:gd name="T83" fmla="*/ 423 h 469"/>
                    <a:gd name="T84" fmla="*/ 643 w 877"/>
                    <a:gd name="T85" fmla="*/ 442 h 469"/>
                    <a:gd name="T86" fmla="*/ 619 w 877"/>
                    <a:gd name="T87" fmla="*/ 460 h 469"/>
                    <a:gd name="T88" fmla="*/ 611 w 877"/>
                    <a:gd name="T89" fmla="*/ 469 h 469"/>
                    <a:gd name="T90" fmla="*/ 595 w 877"/>
                    <a:gd name="T91" fmla="*/ 464 h 469"/>
                    <a:gd name="T92" fmla="*/ 584 w 877"/>
                    <a:gd name="T93" fmla="*/ 455 h 469"/>
                    <a:gd name="T94" fmla="*/ 575 w 877"/>
                    <a:gd name="T95" fmla="*/ 439 h 469"/>
                    <a:gd name="T96" fmla="*/ 572 w 877"/>
                    <a:gd name="T97" fmla="*/ 408 h 469"/>
                    <a:gd name="T98" fmla="*/ 548 w 877"/>
                    <a:gd name="T99" fmla="*/ 404 h 469"/>
                    <a:gd name="T100" fmla="*/ 518 w 877"/>
                    <a:gd name="T101" fmla="*/ 389 h 469"/>
                    <a:gd name="T102" fmla="*/ 559 w 877"/>
                    <a:gd name="T103" fmla="*/ 379 h 469"/>
                    <a:gd name="T104" fmla="*/ 625 w 877"/>
                    <a:gd name="T105" fmla="*/ 370 h 469"/>
                    <a:gd name="T106" fmla="*/ 493 w 877"/>
                    <a:gd name="T107" fmla="*/ 354 h 469"/>
                    <a:gd name="T108" fmla="*/ 445 w 877"/>
                    <a:gd name="T109" fmla="*/ 333 h 469"/>
                    <a:gd name="T110" fmla="*/ 398 w 877"/>
                    <a:gd name="T111" fmla="*/ 369 h 469"/>
                    <a:gd name="T112" fmla="*/ 380 w 877"/>
                    <a:gd name="T113" fmla="*/ 395 h 469"/>
                    <a:gd name="T114" fmla="*/ 353 w 877"/>
                    <a:gd name="T115" fmla="*/ 400 h 469"/>
                    <a:gd name="T116" fmla="*/ 328 w 877"/>
                    <a:gd name="T117" fmla="*/ 392 h 469"/>
                    <a:gd name="T118" fmla="*/ 306 w 877"/>
                    <a:gd name="T119" fmla="*/ 376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265" name="Freeform 349">
                  <a:extLst>
                    <a:ext uri="{FF2B5EF4-FFF2-40B4-BE49-F238E27FC236}">
                      <a16:creationId xmlns="" xmlns:a16="http://schemas.microsoft.com/office/drawing/2014/main" id="{EBEACA8F-2E5C-4BD5-A3EA-2DF4432F0BE2}"/>
                    </a:ext>
                  </a:extLst>
                </p:cNvPr>
                <p:cNvSpPr>
                  <a:spLocks/>
                </p:cNvSpPr>
                <p:nvPr>
                  <p:custDataLst>
                    <p:tags r:id="rId253"/>
                  </p:custDataLst>
                </p:nvPr>
              </p:nvSpPr>
              <p:spPr bwMode="auto">
                <a:xfrm>
                  <a:off x="6689933" y="2055897"/>
                  <a:ext cx="33779" cy="45038"/>
                </a:xfrm>
                <a:custGeom>
                  <a:avLst/>
                  <a:gdLst>
                    <a:gd name="T0" fmla="*/ 48 w 107"/>
                    <a:gd name="T1" fmla="*/ 0 h 123"/>
                    <a:gd name="T2" fmla="*/ 81 w 107"/>
                    <a:gd name="T3" fmla="*/ 31 h 123"/>
                    <a:gd name="T4" fmla="*/ 94 w 107"/>
                    <a:gd name="T5" fmla="*/ 67 h 123"/>
                    <a:gd name="T6" fmla="*/ 107 w 107"/>
                    <a:gd name="T7" fmla="*/ 86 h 123"/>
                    <a:gd name="T8" fmla="*/ 107 w 107"/>
                    <a:gd name="T9" fmla="*/ 117 h 123"/>
                    <a:gd name="T10" fmla="*/ 107 w 107"/>
                    <a:gd name="T11" fmla="*/ 123 h 123"/>
                    <a:gd name="T12" fmla="*/ 88 w 107"/>
                    <a:gd name="T13" fmla="*/ 114 h 123"/>
                    <a:gd name="T14" fmla="*/ 73 w 107"/>
                    <a:gd name="T15" fmla="*/ 105 h 123"/>
                    <a:gd name="T16" fmla="*/ 61 w 107"/>
                    <a:gd name="T17" fmla="*/ 98 h 123"/>
                    <a:gd name="T18" fmla="*/ 54 w 107"/>
                    <a:gd name="T19" fmla="*/ 92 h 123"/>
                    <a:gd name="T20" fmla="*/ 51 w 107"/>
                    <a:gd name="T21" fmla="*/ 83 h 123"/>
                    <a:gd name="T22" fmla="*/ 48 w 107"/>
                    <a:gd name="T23" fmla="*/ 73 h 123"/>
                    <a:gd name="T24" fmla="*/ 39 w 107"/>
                    <a:gd name="T25" fmla="*/ 74 h 123"/>
                    <a:gd name="T26" fmla="*/ 32 w 107"/>
                    <a:gd name="T27" fmla="*/ 73 h 123"/>
                    <a:gd name="T28" fmla="*/ 26 w 107"/>
                    <a:gd name="T29" fmla="*/ 72 h 123"/>
                    <a:gd name="T30" fmla="*/ 21 w 107"/>
                    <a:gd name="T31" fmla="*/ 70 h 123"/>
                    <a:gd name="T32" fmla="*/ 17 w 107"/>
                    <a:gd name="T33" fmla="*/ 67 h 123"/>
                    <a:gd name="T34" fmla="*/ 14 w 107"/>
                    <a:gd name="T35" fmla="*/ 63 h 123"/>
                    <a:gd name="T36" fmla="*/ 11 w 107"/>
                    <a:gd name="T37" fmla="*/ 59 h 123"/>
                    <a:gd name="T38" fmla="*/ 9 w 107"/>
                    <a:gd name="T39" fmla="*/ 54 h 123"/>
                    <a:gd name="T40" fmla="*/ 4 w 107"/>
                    <a:gd name="T41" fmla="*/ 31 h 123"/>
                    <a:gd name="T42" fmla="*/ 0 w 107"/>
                    <a:gd name="T43" fmla="*/ 6 h 123"/>
                    <a:gd name="T44" fmla="*/ 34 w 107"/>
                    <a:gd name="T45" fmla="*/ 0 h 123"/>
                    <a:gd name="T46" fmla="*/ 48 w 107"/>
                    <a:gd name="T47"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266" name="Freeform 350">
                  <a:extLst>
                    <a:ext uri="{FF2B5EF4-FFF2-40B4-BE49-F238E27FC236}">
                      <a16:creationId xmlns="" xmlns:a16="http://schemas.microsoft.com/office/drawing/2014/main" id="{B27B901E-A36E-40EB-9E8D-BAD2BDA66CB5}"/>
                    </a:ext>
                  </a:extLst>
                </p:cNvPr>
                <p:cNvSpPr>
                  <a:spLocks/>
                </p:cNvSpPr>
                <p:nvPr>
                  <p:custDataLst>
                    <p:tags r:id="rId254"/>
                  </p:custDataLst>
                </p:nvPr>
              </p:nvSpPr>
              <p:spPr bwMode="auto">
                <a:xfrm>
                  <a:off x="7075014" y="2066031"/>
                  <a:ext cx="147501" cy="86700"/>
                </a:xfrm>
                <a:custGeom>
                  <a:avLst/>
                  <a:gdLst>
                    <a:gd name="T0" fmla="*/ 106 w 471"/>
                    <a:gd name="T1" fmla="*/ 67 h 234"/>
                    <a:gd name="T2" fmla="*/ 166 w 471"/>
                    <a:gd name="T3" fmla="*/ 86 h 234"/>
                    <a:gd name="T4" fmla="*/ 272 w 471"/>
                    <a:gd name="T5" fmla="*/ 105 h 234"/>
                    <a:gd name="T6" fmla="*/ 372 w 471"/>
                    <a:gd name="T7" fmla="*/ 86 h 234"/>
                    <a:gd name="T8" fmla="*/ 383 w 471"/>
                    <a:gd name="T9" fmla="*/ 95 h 234"/>
                    <a:gd name="T10" fmla="*/ 391 w 471"/>
                    <a:gd name="T11" fmla="*/ 114 h 234"/>
                    <a:gd name="T12" fmla="*/ 406 w 471"/>
                    <a:gd name="T13" fmla="*/ 124 h 234"/>
                    <a:gd name="T14" fmla="*/ 424 w 471"/>
                    <a:gd name="T15" fmla="*/ 129 h 234"/>
                    <a:gd name="T16" fmla="*/ 433 w 471"/>
                    <a:gd name="T17" fmla="*/ 134 h 234"/>
                    <a:gd name="T18" fmla="*/ 441 w 471"/>
                    <a:gd name="T19" fmla="*/ 141 h 234"/>
                    <a:gd name="T20" fmla="*/ 448 w 471"/>
                    <a:gd name="T21" fmla="*/ 151 h 234"/>
                    <a:gd name="T22" fmla="*/ 455 w 471"/>
                    <a:gd name="T23" fmla="*/ 170 h 234"/>
                    <a:gd name="T24" fmla="*/ 471 w 471"/>
                    <a:gd name="T25" fmla="*/ 190 h 234"/>
                    <a:gd name="T26" fmla="*/ 350 w 471"/>
                    <a:gd name="T27" fmla="*/ 202 h 234"/>
                    <a:gd name="T28" fmla="*/ 330 w 471"/>
                    <a:gd name="T29" fmla="*/ 224 h 234"/>
                    <a:gd name="T30" fmla="*/ 317 w 471"/>
                    <a:gd name="T31" fmla="*/ 233 h 234"/>
                    <a:gd name="T32" fmla="*/ 306 w 471"/>
                    <a:gd name="T33" fmla="*/ 233 h 234"/>
                    <a:gd name="T34" fmla="*/ 298 w 471"/>
                    <a:gd name="T35" fmla="*/ 230 h 234"/>
                    <a:gd name="T36" fmla="*/ 292 w 471"/>
                    <a:gd name="T37" fmla="*/ 224 h 234"/>
                    <a:gd name="T38" fmla="*/ 289 w 471"/>
                    <a:gd name="T39" fmla="*/ 216 h 234"/>
                    <a:gd name="T40" fmla="*/ 284 w 471"/>
                    <a:gd name="T41" fmla="*/ 199 h 234"/>
                    <a:gd name="T42" fmla="*/ 278 w 471"/>
                    <a:gd name="T43" fmla="*/ 174 h 234"/>
                    <a:gd name="T44" fmla="*/ 269 w 471"/>
                    <a:gd name="T45" fmla="*/ 155 h 234"/>
                    <a:gd name="T46" fmla="*/ 258 w 471"/>
                    <a:gd name="T47" fmla="*/ 148 h 234"/>
                    <a:gd name="T48" fmla="*/ 246 w 471"/>
                    <a:gd name="T49" fmla="*/ 141 h 234"/>
                    <a:gd name="T50" fmla="*/ 236 w 471"/>
                    <a:gd name="T51" fmla="*/ 133 h 234"/>
                    <a:gd name="T52" fmla="*/ 224 w 471"/>
                    <a:gd name="T53" fmla="*/ 140 h 234"/>
                    <a:gd name="T54" fmla="*/ 207 w 471"/>
                    <a:gd name="T55" fmla="*/ 162 h 234"/>
                    <a:gd name="T56" fmla="*/ 200 w 471"/>
                    <a:gd name="T57" fmla="*/ 177 h 234"/>
                    <a:gd name="T58" fmla="*/ 188 w 471"/>
                    <a:gd name="T59" fmla="*/ 190 h 234"/>
                    <a:gd name="T60" fmla="*/ 167 w 471"/>
                    <a:gd name="T61" fmla="*/ 201 h 234"/>
                    <a:gd name="T62" fmla="*/ 147 w 471"/>
                    <a:gd name="T63" fmla="*/ 213 h 234"/>
                    <a:gd name="T64" fmla="*/ 130 w 471"/>
                    <a:gd name="T65" fmla="*/ 219 h 234"/>
                    <a:gd name="T66" fmla="*/ 114 w 471"/>
                    <a:gd name="T67" fmla="*/ 222 h 234"/>
                    <a:gd name="T68" fmla="*/ 97 w 471"/>
                    <a:gd name="T69" fmla="*/ 221 h 234"/>
                    <a:gd name="T70" fmla="*/ 82 w 471"/>
                    <a:gd name="T71" fmla="*/ 217 h 234"/>
                    <a:gd name="T72" fmla="*/ 63 w 471"/>
                    <a:gd name="T73" fmla="*/ 205 h 234"/>
                    <a:gd name="T74" fmla="*/ 59 w 471"/>
                    <a:gd name="T75" fmla="*/ 197 h 234"/>
                    <a:gd name="T76" fmla="*/ 59 w 471"/>
                    <a:gd name="T77" fmla="*/ 135 h 234"/>
                    <a:gd name="T78" fmla="*/ 0 w 471"/>
                    <a:gd name="T79" fmla="*/ 98 h 234"/>
                    <a:gd name="T80" fmla="*/ 53 w 471"/>
                    <a:gd name="T81" fmla="*/ 80 h 234"/>
                    <a:gd name="T82" fmla="*/ 86 w 471"/>
                    <a:gd name="T83" fmla="*/ 30 h 234"/>
                    <a:gd name="T84" fmla="*/ 133 w 471"/>
                    <a:gd name="T85" fmla="*/ 0 h 234"/>
                    <a:gd name="T86" fmla="*/ 166 w 471"/>
                    <a:gd name="T87" fmla="*/ 42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267" name="Freeform 351">
                  <a:extLst>
                    <a:ext uri="{FF2B5EF4-FFF2-40B4-BE49-F238E27FC236}">
                      <a16:creationId xmlns="" xmlns:a16="http://schemas.microsoft.com/office/drawing/2014/main" id="{1DBF22BA-6B79-4D61-B4F2-2E40EA7193D0}"/>
                    </a:ext>
                  </a:extLst>
                </p:cNvPr>
                <p:cNvSpPr>
                  <a:spLocks/>
                </p:cNvSpPr>
                <p:nvPr>
                  <p:custDataLst>
                    <p:tags r:id="rId255"/>
                  </p:custDataLst>
                </p:nvPr>
              </p:nvSpPr>
              <p:spPr bwMode="auto">
                <a:xfrm>
                  <a:off x="7109919" y="2015363"/>
                  <a:ext cx="159887" cy="88951"/>
                </a:xfrm>
                <a:custGeom>
                  <a:avLst/>
                  <a:gdLst>
                    <a:gd name="T0" fmla="*/ 106 w 525"/>
                    <a:gd name="T1" fmla="*/ 185 h 241"/>
                    <a:gd name="T2" fmla="*/ 173 w 525"/>
                    <a:gd name="T3" fmla="*/ 148 h 241"/>
                    <a:gd name="T4" fmla="*/ 93 w 525"/>
                    <a:gd name="T5" fmla="*/ 105 h 241"/>
                    <a:gd name="T6" fmla="*/ 47 w 525"/>
                    <a:gd name="T7" fmla="*/ 117 h 241"/>
                    <a:gd name="T8" fmla="*/ 66 w 525"/>
                    <a:gd name="T9" fmla="*/ 61 h 241"/>
                    <a:gd name="T10" fmla="*/ 40 w 525"/>
                    <a:gd name="T11" fmla="*/ 43 h 241"/>
                    <a:gd name="T12" fmla="*/ 112 w 525"/>
                    <a:gd name="T13" fmla="*/ 25 h 241"/>
                    <a:gd name="T14" fmla="*/ 186 w 525"/>
                    <a:gd name="T15" fmla="*/ 0 h 241"/>
                    <a:gd name="T16" fmla="*/ 312 w 525"/>
                    <a:gd name="T17" fmla="*/ 19 h 241"/>
                    <a:gd name="T18" fmla="*/ 439 w 525"/>
                    <a:gd name="T19" fmla="*/ 25 h 241"/>
                    <a:gd name="T20" fmla="*/ 525 w 525"/>
                    <a:gd name="T21" fmla="*/ 55 h 241"/>
                    <a:gd name="T22" fmla="*/ 519 w 525"/>
                    <a:gd name="T23" fmla="*/ 69 h 241"/>
                    <a:gd name="T24" fmla="*/ 510 w 525"/>
                    <a:gd name="T25" fmla="*/ 82 h 241"/>
                    <a:gd name="T26" fmla="*/ 499 w 525"/>
                    <a:gd name="T27" fmla="*/ 92 h 241"/>
                    <a:gd name="T28" fmla="*/ 485 w 525"/>
                    <a:gd name="T29" fmla="*/ 99 h 241"/>
                    <a:gd name="T30" fmla="*/ 442 w 525"/>
                    <a:gd name="T31" fmla="*/ 103 h 241"/>
                    <a:gd name="T32" fmla="*/ 418 w 525"/>
                    <a:gd name="T33" fmla="*/ 107 h 241"/>
                    <a:gd name="T34" fmla="*/ 407 w 525"/>
                    <a:gd name="T35" fmla="*/ 111 h 241"/>
                    <a:gd name="T36" fmla="*/ 399 w 525"/>
                    <a:gd name="T37" fmla="*/ 117 h 241"/>
                    <a:gd name="T38" fmla="*/ 387 w 525"/>
                    <a:gd name="T39" fmla="*/ 136 h 241"/>
                    <a:gd name="T40" fmla="*/ 378 w 525"/>
                    <a:gd name="T41" fmla="*/ 147 h 241"/>
                    <a:gd name="T42" fmla="*/ 365 w 525"/>
                    <a:gd name="T43" fmla="*/ 154 h 241"/>
                    <a:gd name="T44" fmla="*/ 305 w 525"/>
                    <a:gd name="T45" fmla="*/ 166 h 241"/>
                    <a:gd name="T46" fmla="*/ 273 w 525"/>
                    <a:gd name="T47" fmla="*/ 173 h 241"/>
                    <a:gd name="T48" fmla="*/ 260 w 525"/>
                    <a:gd name="T49" fmla="*/ 178 h 241"/>
                    <a:gd name="T50" fmla="*/ 261 w 525"/>
                    <a:gd name="T51" fmla="*/ 192 h 241"/>
                    <a:gd name="T52" fmla="*/ 263 w 525"/>
                    <a:gd name="T53" fmla="*/ 203 h 241"/>
                    <a:gd name="T54" fmla="*/ 273 w 525"/>
                    <a:gd name="T55" fmla="*/ 222 h 241"/>
                    <a:gd name="T56" fmla="*/ 219 w 525"/>
                    <a:gd name="T57" fmla="*/ 228 h 241"/>
                    <a:gd name="T58" fmla="*/ 112 w 525"/>
                    <a:gd name="T59" fmla="*/ 234 h 241"/>
                    <a:gd name="T60" fmla="*/ 20 w 525"/>
                    <a:gd name="T61" fmla="*/ 222 h 241"/>
                    <a:gd name="T62" fmla="*/ 53 w 525"/>
                    <a:gd name="T63" fmla="*/ 166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268" name="Freeform 352">
                  <a:extLst>
                    <a:ext uri="{FF2B5EF4-FFF2-40B4-BE49-F238E27FC236}">
                      <a16:creationId xmlns="" xmlns:a16="http://schemas.microsoft.com/office/drawing/2014/main" id="{8AD31655-D1D5-427B-A9AE-AECBC1E9011C}"/>
                    </a:ext>
                  </a:extLst>
                </p:cNvPr>
                <p:cNvSpPr>
                  <a:spLocks/>
                </p:cNvSpPr>
                <p:nvPr>
                  <p:custDataLst>
                    <p:tags r:id="rId256"/>
                  </p:custDataLst>
                </p:nvPr>
              </p:nvSpPr>
              <p:spPr bwMode="auto">
                <a:xfrm>
                  <a:off x="6830679" y="2026622"/>
                  <a:ext cx="243209" cy="161013"/>
                </a:xfrm>
                <a:custGeom>
                  <a:avLst/>
                  <a:gdLst>
                    <a:gd name="T0" fmla="*/ 768 w 784"/>
                    <a:gd name="T1" fmla="*/ 292 h 430"/>
                    <a:gd name="T2" fmla="*/ 751 w 784"/>
                    <a:gd name="T3" fmla="*/ 293 h 430"/>
                    <a:gd name="T4" fmla="*/ 731 w 784"/>
                    <a:gd name="T5" fmla="*/ 302 h 430"/>
                    <a:gd name="T6" fmla="*/ 723 w 784"/>
                    <a:gd name="T7" fmla="*/ 308 h 430"/>
                    <a:gd name="T8" fmla="*/ 717 w 784"/>
                    <a:gd name="T9" fmla="*/ 332 h 430"/>
                    <a:gd name="T10" fmla="*/ 713 w 784"/>
                    <a:gd name="T11" fmla="*/ 360 h 430"/>
                    <a:gd name="T12" fmla="*/ 704 w 784"/>
                    <a:gd name="T13" fmla="*/ 376 h 430"/>
                    <a:gd name="T14" fmla="*/ 671 w 784"/>
                    <a:gd name="T15" fmla="*/ 402 h 430"/>
                    <a:gd name="T16" fmla="*/ 633 w 784"/>
                    <a:gd name="T17" fmla="*/ 420 h 430"/>
                    <a:gd name="T18" fmla="*/ 612 w 784"/>
                    <a:gd name="T19" fmla="*/ 424 h 430"/>
                    <a:gd name="T20" fmla="*/ 587 w 784"/>
                    <a:gd name="T21" fmla="*/ 429 h 430"/>
                    <a:gd name="T22" fmla="*/ 567 w 784"/>
                    <a:gd name="T23" fmla="*/ 428 h 430"/>
                    <a:gd name="T24" fmla="*/ 545 w 784"/>
                    <a:gd name="T25" fmla="*/ 388 h 430"/>
                    <a:gd name="T26" fmla="*/ 515 w 784"/>
                    <a:gd name="T27" fmla="*/ 344 h 430"/>
                    <a:gd name="T28" fmla="*/ 478 w 784"/>
                    <a:gd name="T29" fmla="*/ 334 h 430"/>
                    <a:gd name="T30" fmla="*/ 448 w 784"/>
                    <a:gd name="T31" fmla="*/ 315 h 430"/>
                    <a:gd name="T32" fmla="*/ 417 w 784"/>
                    <a:gd name="T33" fmla="*/ 294 h 430"/>
                    <a:gd name="T34" fmla="*/ 373 w 784"/>
                    <a:gd name="T35" fmla="*/ 274 h 430"/>
                    <a:gd name="T36" fmla="*/ 306 w 784"/>
                    <a:gd name="T37" fmla="*/ 258 h 430"/>
                    <a:gd name="T38" fmla="*/ 182 w 784"/>
                    <a:gd name="T39" fmla="*/ 283 h 430"/>
                    <a:gd name="T40" fmla="*/ 151 w 784"/>
                    <a:gd name="T41" fmla="*/ 306 h 430"/>
                    <a:gd name="T42" fmla="*/ 127 w 784"/>
                    <a:gd name="T43" fmla="*/ 308 h 430"/>
                    <a:gd name="T44" fmla="*/ 66 w 784"/>
                    <a:gd name="T45" fmla="*/ 252 h 430"/>
                    <a:gd name="T46" fmla="*/ 66 w 784"/>
                    <a:gd name="T47" fmla="*/ 204 h 430"/>
                    <a:gd name="T48" fmla="*/ 40 w 784"/>
                    <a:gd name="T49" fmla="*/ 179 h 430"/>
                    <a:gd name="T50" fmla="*/ 42 w 784"/>
                    <a:gd name="T51" fmla="*/ 199 h 430"/>
                    <a:gd name="T52" fmla="*/ 36 w 784"/>
                    <a:gd name="T53" fmla="*/ 218 h 430"/>
                    <a:gd name="T54" fmla="*/ 30 w 784"/>
                    <a:gd name="T55" fmla="*/ 221 h 430"/>
                    <a:gd name="T56" fmla="*/ 31 w 784"/>
                    <a:gd name="T57" fmla="*/ 203 h 430"/>
                    <a:gd name="T58" fmla="*/ 27 w 784"/>
                    <a:gd name="T59" fmla="*/ 174 h 430"/>
                    <a:gd name="T60" fmla="*/ 33 w 784"/>
                    <a:gd name="T61" fmla="*/ 163 h 430"/>
                    <a:gd name="T62" fmla="*/ 40 w 784"/>
                    <a:gd name="T63" fmla="*/ 152 h 430"/>
                    <a:gd name="T64" fmla="*/ 27 w 784"/>
                    <a:gd name="T65" fmla="*/ 129 h 430"/>
                    <a:gd name="T66" fmla="*/ 7 w 784"/>
                    <a:gd name="T67" fmla="*/ 126 h 430"/>
                    <a:gd name="T68" fmla="*/ 0 w 784"/>
                    <a:gd name="T69" fmla="*/ 117 h 430"/>
                    <a:gd name="T70" fmla="*/ 3 w 784"/>
                    <a:gd name="T71" fmla="*/ 104 h 430"/>
                    <a:gd name="T72" fmla="*/ 11 w 784"/>
                    <a:gd name="T73" fmla="*/ 94 h 430"/>
                    <a:gd name="T74" fmla="*/ 27 w 784"/>
                    <a:gd name="T75" fmla="*/ 92 h 430"/>
                    <a:gd name="T76" fmla="*/ 41 w 784"/>
                    <a:gd name="T77" fmla="*/ 99 h 430"/>
                    <a:gd name="T78" fmla="*/ 57 w 784"/>
                    <a:gd name="T79" fmla="*/ 104 h 430"/>
                    <a:gd name="T80" fmla="*/ 71 w 784"/>
                    <a:gd name="T81" fmla="*/ 92 h 430"/>
                    <a:gd name="T82" fmla="*/ 83 w 784"/>
                    <a:gd name="T83" fmla="*/ 77 h 430"/>
                    <a:gd name="T84" fmla="*/ 87 w 784"/>
                    <a:gd name="T85" fmla="*/ 64 h 430"/>
                    <a:gd name="T86" fmla="*/ 78 w 784"/>
                    <a:gd name="T87" fmla="*/ 55 h 430"/>
                    <a:gd name="T88" fmla="*/ 55 w 784"/>
                    <a:gd name="T89" fmla="*/ 49 h 430"/>
                    <a:gd name="T90" fmla="*/ 47 w 784"/>
                    <a:gd name="T91" fmla="*/ 40 h 430"/>
                    <a:gd name="T92" fmla="*/ 41 w 784"/>
                    <a:gd name="T93" fmla="*/ 28 h 430"/>
                    <a:gd name="T94" fmla="*/ 107 w 784"/>
                    <a:gd name="T95" fmla="*/ 43 h 430"/>
                    <a:gd name="T96" fmla="*/ 219 w 784"/>
                    <a:gd name="T97" fmla="*/ 74 h 430"/>
                    <a:gd name="T98" fmla="*/ 273 w 784"/>
                    <a:gd name="T99" fmla="*/ 0 h 430"/>
                    <a:gd name="T100" fmla="*/ 373 w 784"/>
                    <a:gd name="T101" fmla="*/ 43 h 430"/>
                    <a:gd name="T102" fmla="*/ 465 w 784"/>
                    <a:gd name="T103" fmla="*/ 92 h 430"/>
                    <a:gd name="T104" fmla="*/ 591 w 784"/>
                    <a:gd name="T105" fmla="*/ 210 h 430"/>
                    <a:gd name="T106" fmla="*/ 724 w 784"/>
                    <a:gd name="T107" fmla="*/ 265 h 430"/>
                    <a:gd name="T108" fmla="*/ 778 w 784"/>
                    <a:gd name="T109" fmla="*/ 295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269" name="Freeform 353">
                  <a:extLst>
                    <a:ext uri="{FF2B5EF4-FFF2-40B4-BE49-F238E27FC236}">
                      <a16:creationId xmlns="" xmlns:a16="http://schemas.microsoft.com/office/drawing/2014/main" id="{8DD67AF7-7B80-4C2C-8A8C-114D6A372F32}"/>
                    </a:ext>
                  </a:extLst>
                </p:cNvPr>
                <p:cNvSpPr>
                  <a:spLocks/>
                </p:cNvSpPr>
                <p:nvPr>
                  <p:custDataLst>
                    <p:tags r:id="rId257"/>
                  </p:custDataLst>
                </p:nvPr>
              </p:nvSpPr>
              <p:spPr bwMode="auto">
                <a:xfrm>
                  <a:off x="6269947" y="1946678"/>
                  <a:ext cx="76566" cy="105841"/>
                </a:xfrm>
                <a:custGeom>
                  <a:avLst/>
                  <a:gdLst>
                    <a:gd name="T0" fmla="*/ 30 w 246"/>
                    <a:gd name="T1" fmla="*/ 27 h 284"/>
                    <a:gd name="T2" fmla="*/ 28 w 246"/>
                    <a:gd name="T3" fmla="*/ 24 h 284"/>
                    <a:gd name="T4" fmla="*/ 24 w 246"/>
                    <a:gd name="T5" fmla="*/ 17 h 284"/>
                    <a:gd name="T6" fmla="*/ 35 w 246"/>
                    <a:gd name="T7" fmla="*/ 5 h 284"/>
                    <a:gd name="T8" fmla="*/ 67 w 246"/>
                    <a:gd name="T9" fmla="*/ 1 h 284"/>
                    <a:gd name="T10" fmla="*/ 126 w 246"/>
                    <a:gd name="T11" fmla="*/ 12 h 284"/>
                    <a:gd name="T12" fmla="*/ 131 w 246"/>
                    <a:gd name="T13" fmla="*/ 30 h 284"/>
                    <a:gd name="T14" fmla="*/ 139 w 246"/>
                    <a:gd name="T15" fmla="*/ 46 h 284"/>
                    <a:gd name="T16" fmla="*/ 151 w 246"/>
                    <a:gd name="T17" fmla="*/ 57 h 284"/>
                    <a:gd name="T18" fmla="*/ 165 w 246"/>
                    <a:gd name="T19" fmla="*/ 67 h 284"/>
                    <a:gd name="T20" fmla="*/ 191 w 246"/>
                    <a:gd name="T21" fmla="*/ 87 h 284"/>
                    <a:gd name="T22" fmla="*/ 203 w 246"/>
                    <a:gd name="T23" fmla="*/ 101 h 284"/>
                    <a:gd name="T24" fmla="*/ 212 w 246"/>
                    <a:gd name="T25" fmla="*/ 117 h 284"/>
                    <a:gd name="T26" fmla="*/ 226 w 246"/>
                    <a:gd name="T27" fmla="*/ 117 h 284"/>
                    <a:gd name="T28" fmla="*/ 221 w 246"/>
                    <a:gd name="T29" fmla="*/ 124 h 284"/>
                    <a:gd name="T30" fmla="*/ 221 w 246"/>
                    <a:gd name="T31" fmla="*/ 129 h 284"/>
                    <a:gd name="T32" fmla="*/ 228 w 246"/>
                    <a:gd name="T33" fmla="*/ 140 h 284"/>
                    <a:gd name="T34" fmla="*/ 239 w 246"/>
                    <a:gd name="T35" fmla="*/ 154 h 284"/>
                    <a:gd name="T36" fmla="*/ 244 w 246"/>
                    <a:gd name="T37" fmla="*/ 162 h 284"/>
                    <a:gd name="T38" fmla="*/ 246 w 246"/>
                    <a:gd name="T39" fmla="*/ 173 h 284"/>
                    <a:gd name="T40" fmla="*/ 241 w 246"/>
                    <a:gd name="T41" fmla="*/ 184 h 284"/>
                    <a:gd name="T42" fmla="*/ 233 w 246"/>
                    <a:gd name="T43" fmla="*/ 192 h 284"/>
                    <a:gd name="T44" fmla="*/ 223 w 246"/>
                    <a:gd name="T45" fmla="*/ 198 h 284"/>
                    <a:gd name="T46" fmla="*/ 220 w 246"/>
                    <a:gd name="T47" fmla="*/ 204 h 284"/>
                    <a:gd name="T48" fmla="*/ 189 w 246"/>
                    <a:gd name="T49" fmla="*/ 215 h 284"/>
                    <a:gd name="T50" fmla="*/ 164 w 246"/>
                    <a:gd name="T51" fmla="*/ 230 h 284"/>
                    <a:gd name="T52" fmla="*/ 113 w 246"/>
                    <a:gd name="T53" fmla="*/ 265 h 284"/>
                    <a:gd name="T54" fmla="*/ 88 w 246"/>
                    <a:gd name="T55" fmla="*/ 231 h 284"/>
                    <a:gd name="T56" fmla="*/ 79 w 246"/>
                    <a:gd name="T57" fmla="*/ 220 h 284"/>
                    <a:gd name="T58" fmla="*/ 72 w 246"/>
                    <a:gd name="T59" fmla="*/ 216 h 284"/>
                    <a:gd name="T60" fmla="*/ 60 w 246"/>
                    <a:gd name="T61" fmla="*/ 217 h 284"/>
                    <a:gd name="T62" fmla="*/ 54 w 246"/>
                    <a:gd name="T63" fmla="*/ 221 h 284"/>
                    <a:gd name="T64" fmla="*/ 49 w 246"/>
                    <a:gd name="T65" fmla="*/ 228 h 284"/>
                    <a:gd name="T66" fmla="*/ 48 w 246"/>
                    <a:gd name="T67" fmla="*/ 236 h 284"/>
                    <a:gd name="T68" fmla="*/ 45 w 246"/>
                    <a:gd name="T69" fmla="*/ 257 h 284"/>
                    <a:gd name="T70" fmla="*/ 41 w 246"/>
                    <a:gd name="T71" fmla="*/ 270 h 284"/>
                    <a:gd name="T72" fmla="*/ 33 w 246"/>
                    <a:gd name="T73" fmla="*/ 284 h 284"/>
                    <a:gd name="T74" fmla="*/ 26 w 246"/>
                    <a:gd name="T75" fmla="*/ 243 h 284"/>
                    <a:gd name="T76" fmla="*/ 17 w 246"/>
                    <a:gd name="T77" fmla="*/ 227 h 284"/>
                    <a:gd name="T78" fmla="*/ 11 w 246"/>
                    <a:gd name="T79" fmla="*/ 221 h 284"/>
                    <a:gd name="T80" fmla="*/ 0 w 246"/>
                    <a:gd name="T81" fmla="*/ 216 h 284"/>
                    <a:gd name="T82" fmla="*/ 1 w 246"/>
                    <a:gd name="T83" fmla="*/ 204 h 284"/>
                    <a:gd name="T84" fmla="*/ 4 w 246"/>
                    <a:gd name="T85" fmla="*/ 193 h 284"/>
                    <a:gd name="T86" fmla="*/ 15 w 246"/>
                    <a:gd name="T87" fmla="*/ 176 h 284"/>
                    <a:gd name="T88" fmla="*/ 31 w 246"/>
                    <a:gd name="T89" fmla="*/ 161 h 284"/>
                    <a:gd name="T90" fmla="*/ 46 w 246"/>
                    <a:gd name="T91" fmla="*/ 141 h 284"/>
                    <a:gd name="T92" fmla="*/ 33 w 246"/>
                    <a:gd name="T93" fmla="*/ 4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6" h="284">
                      <a:moveTo>
                        <a:pt x="33" y="44"/>
                      </a:moveTo>
                      <a:lnTo>
                        <a:pt x="30" y="27"/>
                      </a:lnTo>
                      <a:lnTo>
                        <a:pt x="28" y="24"/>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270" name="Freeform 354">
                  <a:extLst>
                    <a:ext uri="{FF2B5EF4-FFF2-40B4-BE49-F238E27FC236}">
                      <a16:creationId xmlns="" xmlns:a16="http://schemas.microsoft.com/office/drawing/2014/main" id="{376880EA-4521-45EC-8656-C5CD18C16508}"/>
                    </a:ext>
                  </a:extLst>
                </p:cNvPr>
                <p:cNvSpPr>
                  <a:spLocks/>
                </p:cNvSpPr>
                <p:nvPr>
                  <p:custDataLst>
                    <p:tags r:id="rId258"/>
                  </p:custDataLst>
                </p:nvPr>
              </p:nvSpPr>
              <p:spPr bwMode="auto">
                <a:xfrm>
                  <a:off x="6303726" y="2023244"/>
                  <a:ext cx="48417" cy="42787"/>
                </a:xfrm>
                <a:custGeom>
                  <a:avLst/>
                  <a:gdLst>
                    <a:gd name="T0" fmla="*/ 114 w 160"/>
                    <a:gd name="T1" fmla="*/ 0 h 117"/>
                    <a:gd name="T2" fmla="*/ 114 w 160"/>
                    <a:gd name="T3" fmla="*/ 9 h 117"/>
                    <a:gd name="T4" fmla="*/ 114 w 160"/>
                    <a:gd name="T5" fmla="*/ 18 h 117"/>
                    <a:gd name="T6" fmla="*/ 115 w 160"/>
                    <a:gd name="T7" fmla="*/ 25 h 117"/>
                    <a:gd name="T8" fmla="*/ 117 w 160"/>
                    <a:gd name="T9" fmla="*/ 32 h 117"/>
                    <a:gd name="T10" fmla="*/ 119 w 160"/>
                    <a:gd name="T11" fmla="*/ 34 h 117"/>
                    <a:gd name="T12" fmla="*/ 121 w 160"/>
                    <a:gd name="T13" fmla="*/ 37 h 117"/>
                    <a:gd name="T14" fmla="*/ 123 w 160"/>
                    <a:gd name="T15" fmla="*/ 38 h 117"/>
                    <a:gd name="T16" fmla="*/ 127 w 160"/>
                    <a:gd name="T17" fmla="*/ 39 h 117"/>
                    <a:gd name="T18" fmla="*/ 131 w 160"/>
                    <a:gd name="T19" fmla="*/ 40 h 117"/>
                    <a:gd name="T20" fmla="*/ 135 w 160"/>
                    <a:gd name="T21" fmla="*/ 39 h 117"/>
                    <a:gd name="T22" fmla="*/ 140 w 160"/>
                    <a:gd name="T23" fmla="*/ 38 h 117"/>
                    <a:gd name="T24" fmla="*/ 146 w 160"/>
                    <a:gd name="T25" fmla="*/ 36 h 117"/>
                    <a:gd name="T26" fmla="*/ 149 w 160"/>
                    <a:gd name="T27" fmla="*/ 43 h 117"/>
                    <a:gd name="T28" fmla="*/ 153 w 160"/>
                    <a:gd name="T29" fmla="*/ 52 h 117"/>
                    <a:gd name="T30" fmla="*/ 157 w 160"/>
                    <a:gd name="T31" fmla="*/ 64 h 117"/>
                    <a:gd name="T32" fmla="*/ 160 w 160"/>
                    <a:gd name="T33" fmla="*/ 74 h 117"/>
                    <a:gd name="T34" fmla="*/ 133 w 160"/>
                    <a:gd name="T35" fmla="*/ 88 h 117"/>
                    <a:gd name="T36" fmla="*/ 106 w 160"/>
                    <a:gd name="T37" fmla="*/ 102 h 117"/>
                    <a:gd name="T38" fmla="*/ 92 w 160"/>
                    <a:gd name="T39" fmla="*/ 107 h 117"/>
                    <a:gd name="T40" fmla="*/ 76 w 160"/>
                    <a:gd name="T41" fmla="*/ 113 h 117"/>
                    <a:gd name="T42" fmla="*/ 62 w 160"/>
                    <a:gd name="T43" fmla="*/ 116 h 117"/>
                    <a:gd name="T44" fmla="*/ 47 w 160"/>
                    <a:gd name="T45" fmla="*/ 117 h 117"/>
                    <a:gd name="T46" fmla="*/ 32 w 160"/>
                    <a:gd name="T47" fmla="*/ 99 h 117"/>
                    <a:gd name="T48" fmla="*/ 21 w 160"/>
                    <a:gd name="T49" fmla="*/ 83 h 117"/>
                    <a:gd name="T50" fmla="*/ 10 w 160"/>
                    <a:gd name="T51" fmla="*/ 69 h 117"/>
                    <a:gd name="T52" fmla="*/ 0 w 160"/>
                    <a:gd name="T53" fmla="*/ 55 h 117"/>
                    <a:gd name="T54" fmla="*/ 13 w 160"/>
                    <a:gd name="T55" fmla="*/ 48 h 117"/>
                    <a:gd name="T56" fmla="*/ 41 w 160"/>
                    <a:gd name="T57" fmla="*/ 32 h 117"/>
                    <a:gd name="T58" fmla="*/ 60 w 160"/>
                    <a:gd name="T59" fmla="*/ 23 h 117"/>
                    <a:gd name="T60" fmla="*/ 78 w 160"/>
                    <a:gd name="T61" fmla="*/ 14 h 117"/>
                    <a:gd name="T62" fmla="*/ 97 w 160"/>
                    <a:gd name="T63" fmla="*/ 6 h 117"/>
                    <a:gd name="T64" fmla="*/ 114 w 160"/>
                    <a:gd name="T65"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271" name="Freeform 355">
                  <a:extLst>
                    <a:ext uri="{FF2B5EF4-FFF2-40B4-BE49-F238E27FC236}">
                      <a16:creationId xmlns="" xmlns:a16="http://schemas.microsoft.com/office/drawing/2014/main" id="{A63A40E1-90AF-4219-B47D-2E32E40609B6}"/>
                    </a:ext>
                  </a:extLst>
                </p:cNvPr>
                <p:cNvSpPr>
                  <a:spLocks/>
                </p:cNvSpPr>
                <p:nvPr>
                  <p:custDataLst>
                    <p:tags r:id="rId259"/>
                  </p:custDataLst>
                </p:nvPr>
              </p:nvSpPr>
              <p:spPr bwMode="auto">
                <a:xfrm>
                  <a:off x="6363403" y="2465749"/>
                  <a:ext cx="291625" cy="433497"/>
                </a:xfrm>
                <a:custGeom>
                  <a:avLst/>
                  <a:gdLst>
                    <a:gd name="T0" fmla="*/ 742 w 943"/>
                    <a:gd name="T1" fmla="*/ 5 h 1172"/>
                    <a:gd name="T2" fmla="*/ 765 w 943"/>
                    <a:gd name="T3" fmla="*/ 23 h 1172"/>
                    <a:gd name="T4" fmla="*/ 803 w 943"/>
                    <a:gd name="T5" fmla="*/ 30 h 1172"/>
                    <a:gd name="T6" fmla="*/ 814 w 943"/>
                    <a:gd name="T7" fmla="*/ 55 h 1172"/>
                    <a:gd name="T8" fmla="*/ 835 w 943"/>
                    <a:gd name="T9" fmla="*/ 109 h 1172"/>
                    <a:gd name="T10" fmla="*/ 837 w 943"/>
                    <a:gd name="T11" fmla="*/ 187 h 1172"/>
                    <a:gd name="T12" fmla="*/ 857 w 943"/>
                    <a:gd name="T13" fmla="*/ 243 h 1172"/>
                    <a:gd name="T14" fmla="*/ 922 w 943"/>
                    <a:gd name="T15" fmla="*/ 292 h 1172"/>
                    <a:gd name="T16" fmla="*/ 879 w 943"/>
                    <a:gd name="T17" fmla="*/ 361 h 1172"/>
                    <a:gd name="T18" fmla="*/ 851 w 943"/>
                    <a:gd name="T19" fmla="*/ 410 h 1172"/>
                    <a:gd name="T20" fmla="*/ 809 w 943"/>
                    <a:gd name="T21" fmla="*/ 635 h 1172"/>
                    <a:gd name="T22" fmla="*/ 770 w 943"/>
                    <a:gd name="T23" fmla="*/ 677 h 1172"/>
                    <a:gd name="T24" fmla="*/ 763 w 943"/>
                    <a:gd name="T25" fmla="*/ 721 h 1172"/>
                    <a:gd name="T26" fmla="*/ 745 w 943"/>
                    <a:gd name="T27" fmla="*/ 735 h 1172"/>
                    <a:gd name="T28" fmla="*/ 723 w 943"/>
                    <a:gd name="T29" fmla="*/ 798 h 1172"/>
                    <a:gd name="T30" fmla="*/ 692 w 943"/>
                    <a:gd name="T31" fmla="*/ 877 h 1172"/>
                    <a:gd name="T32" fmla="*/ 662 w 943"/>
                    <a:gd name="T33" fmla="*/ 903 h 1172"/>
                    <a:gd name="T34" fmla="*/ 664 w 943"/>
                    <a:gd name="T35" fmla="*/ 934 h 1172"/>
                    <a:gd name="T36" fmla="*/ 686 w 943"/>
                    <a:gd name="T37" fmla="*/ 939 h 1172"/>
                    <a:gd name="T38" fmla="*/ 709 w 943"/>
                    <a:gd name="T39" fmla="*/ 950 h 1172"/>
                    <a:gd name="T40" fmla="*/ 742 w 943"/>
                    <a:gd name="T41" fmla="*/ 971 h 1172"/>
                    <a:gd name="T42" fmla="*/ 756 w 943"/>
                    <a:gd name="T43" fmla="*/ 1007 h 1172"/>
                    <a:gd name="T44" fmla="*/ 775 w 943"/>
                    <a:gd name="T45" fmla="*/ 1043 h 1172"/>
                    <a:gd name="T46" fmla="*/ 803 w 943"/>
                    <a:gd name="T47" fmla="*/ 1053 h 1172"/>
                    <a:gd name="T48" fmla="*/ 809 w 943"/>
                    <a:gd name="T49" fmla="*/ 1094 h 1172"/>
                    <a:gd name="T50" fmla="*/ 718 w 943"/>
                    <a:gd name="T51" fmla="*/ 1115 h 1172"/>
                    <a:gd name="T52" fmla="*/ 687 w 943"/>
                    <a:gd name="T53" fmla="*/ 1157 h 1172"/>
                    <a:gd name="T54" fmla="*/ 598 w 943"/>
                    <a:gd name="T55" fmla="*/ 1170 h 1172"/>
                    <a:gd name="T56" fmla="*/ 515 w 943"/>
                    <a:gd name="T57" fmla="*/ 1158 h 1172"/>
                    <a:gd name="T58" fmla="*/ 464 w 943"/>
                    <a:gd name="T59" fmla="*/ 1123 h 1172"/>
                    <a:gd name="T60" fmla="*/ 390 w 943"/>
                    <a:gd name="T61" fmla="*/ 1125 h 1172"/>
                    <a:gd name="T62" fmla="*/ 319 w 943"/>
                    <a:gd name="T63" fmla="*/ 1120 h 1172"/>
                    <a:gd name="T64" fmla="*/ 297 w 943"/>
                    <a:gd name="T65" fmla="*/ 1104 h 1172"/>
                    <a:gd name="T66" fmla="*/ 294 w 943"/>
                    <a:gd name="T67" fmla="*/ 1075 h 1172"/>
                    <a:gd name="T68" fmla="*/ 274 w 943"/>
                    <a:gd name="T69" fmla="*/ 1029 h 1172"/>
                    <a:gd name="T70" fmla="*/ 216 w 943"/>
                    <a:gd name="T71" fmla="*/ 974 h 1172"/>
                    <a:gd name="T72" fmla="*/ 193 w 943"/>
                    <a:gd name="T73" fmla="*/ 925 h 1172"/>
                    <a:gd name="T74" fmla="*/ 152 w 943"/>
                    <a:gd name="T75" fmla="*/ 903 h 1172"/>
                    <a:gd name="T76" fmla="*/ 120 w 943"/>
                    <a:gd name="T77" fmla="*/ 846 h 1172"/>
                    <a:gd name="T78" fmla="*/ 97 w 943"/>
                    <a:gd name="T79" fmla="*/ 788 h 1172"/>
                    <a:gd name="T80" fmla="*/ 65 w 943"/>
                    <a:gd name="T81" fmla="*/ 758 h 1172"/>
                    <a:gd name="T82" fmla="*/ 33 w 943"/>
                    <a:gd name="T83" fmla="*/ 676 h 1172"/>
                    <a:gd name="T84" fmla="*/ 4 w 943"/>
                    <a:gd name="T85" fmla="*/ 611 h 1172"/>
                    <a:gd name="T86" fmla="*/ 18 w 943"/>
                    <a:gd name="T87" fmla="*/ 577 h 1172"/>
                    <a:gd name="T88" fmla="*/ 29 w 943"/>
                    <a:gd name="T89" fmla="*/ 521 h 1172"/>
                    <a:gd name="T90" fmla="*/ 64 w 943"/>
                    <a:gd name="T91" fmla="*/ 474 h 1172"/>
                    <a:gd name="T92" fmla="*/ 113 w 943"/>
                    <a:gd name="T93" fmla="*/ 222 h 1172"/>
                    <a:gd name="T94" fmla="*/ 123 w 943"/>
                    <a:gd name="T95" fmla="*/ 179 h 1172"/>
                    <a:gd name="T96" fmla="*/ 153 w 943"/>
                    <a:gd name="T97" fmla="*/ 171 h 1172"/>
                    <a:gd name="T98" fmla="*/ 160 w 943"/>
                    <a:gd name="T99" fmla="*/ 122 h 1172"/>
                    <a:gd name="T100" fmla="*/ 159 w 943"/>
                    <a:gd name="T101" fmla="*/ 67 h 1172"/>
                    <a:gd name="T102" fmla="*/ 679 w 943"/>
                    <a:gd name="T103" fmla="*/ 69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272" name="Freeform 356">
                  <a:extLst>
                    <a:ext uri="{FF2B5EF4-FFF2-40B4-BE49-F238E27FC236}">
                      <a16:creationId xmlns="" xmlns:a16="http://schemas.microsoft.com/office/drawing/2014/main" id="{424277BD-77AF-493D-B5BA-0BA65392D16C}"/>
                    </a:ext>
                  </a:extLst>
                </p:cNvPr>
                <p:cNvSpPr>
                  <a:spLocks/>
                </p:cNvSpPr>
                <p:nvPr>
                  <p:custDataLst>
                    <p:tags r:id="rId260"/>
                  </p:custDataLst>
                </p:nvPr>
              </p:nvSpPr>
              <p:spPr bwMode="auto">
                <a:xfrm>
                  <a:off x="6706822" y="2706707"/>
                  <a:ext cx="173399" cy="306263"/>
                </a:xfrm>
                <a:custGeom>
                  <a:avLst/>
                  <a:gdLst>
                    <a:gd name="T0" fmla="*/ 98 w 556"/>
                    <a:gd name="T1" fmla="*/ 62 h 819"/>
                    <a:gd name="T2" fmla="*/ 112 w 556"/>
                    <a:gd name="T3" fmla="*/ 56 h 819"/>
                    <a:gd name="T4" fmla="*/ 129 w 556"/>
                    <a:gd name="T5" fmla="*/ 69 h 819"/>
                    <a:gd name="T6" fmla="*/ 149 w 556"/>
                    <a:gd name="T7" fmla="*/ 85 h 819"/>
                    <a:gd name="T8" fmla="*/ 171 w 556"/>
                    <a:gd name="T9" fmla="*/ 92 h 819"/>
                    <a:gd name="T10" fmla="*/ 215 w 556"/>
                    <a:gd name="T11" fmla="*/ 88 h 819"/>
                    <a:gd name="T12" fmla="*/ 257 w 556"/>
                    <a:gd name="T13" fmla="*/ 82 h 819"/>
                    <a:gd name="T14" fmla="*/ 291 w 556"/>
                    <a:gd name="T15" fmla="*/ 79 h 819"/>
                    <a:gd name="T16" fmla="*/ 301 w 556"/>
                    <a:gd name="T17" fmla="*/ 74 h 819"/>
                    <a:gd name="T18" fmla="*/ 301 w 556"/>
                    <a:gd name="T19" fmla="*/ 68 h 819"/>
                    <a:gd name="T20" fmla="*/ 355 w 556"/>
                    <a:gd name="T21" fmla="*/ 63 h 819"/>
                    <a:gd name="T22" fmla="*/ 434 w 556"/>
                    <a:gd name="T23" fmla="*/ 45 h 819"/>
                    <a:gd name="T24" fmla="*/ 479 w 556"/>
                    <a:gd name="T25" fmla="*/ 28 h 819"/>
                    <a:gd name="T26" fmla="*/ 514 w 556"/>
                    <a:gd name="T27" fmla="*/ 8 h 819"/>
                    <a:gd name="T28" fmla="*/ 547 w 556"/>
                    <a:gd name="T29" fmla="*/ 31 h 819"/>
                    <a:gd name="T30" fmla="*/ 555 w 556"/>
                    <a:gd name="T31" fmla="*/ 57 h 819"/>
                    <a:gd name="T32" fmla="*/ 552 w 556"/>
                    <a:gd name="T33" fmla="*/ 113 h 819"/>
                    <a:gd name="T34" fmla="*/ 532 w 556"/>
                    <a:gd name="T35" fmla="*/ 174 h 819"/>
                    <a:gd name="T36" fmla="*/ 502 w 556"/>
                    <a:gd name="T37" fmla="*/ 231 h 819"/>
                    <a:gd name="T38" fmla="*/ 447 w 556"/>
                    <a:gd name="T39" fmla="*/ 321 h 819"/>
                    <a:gd name="T40" fmla="*/ 423 w 556"/>
                    <a:gd name="T41" fmla="*/ 375 h 819"/>
                    <a:gd name="T42" fmla="*/ 410 w 556"/>
                    <a:gd name="T43" fmla="*/ 415 h 819"/>
                    <a:gd name="T44" fmla="*/ 379 w 556"/>
                    <a:gd name="T45" fmla="*/ 473 h 819"/>
                    <a:gd name="T46" fmla="*/ 330 w 556"/>
                    <a:gd name="T47" fmla="*/ 531 h 819"/>
                    <a:gd name="T48" fmla="*/ 288 w 556"/>
                    <a:gd name="T49" fmla="*/ 566 h 819"/>
                    <a:gd name="T50" fmla="*/ 239 w 556"/>
                    <a:gd name="T51" fmla="*/ 600 h 819"/>
                    <a:gd name="T52" fmla="*/ 168 w 556"/>
                    <a:gd name="T53" fmla="*/ 651 h 819"/>
                    <a:gd name="T54" fmla="*/ 143 w 556"/>
                    <a:gd name="T55" fmla="*/ 680 h 819"/>
                    <a:gd name="T56" fmla="*/ 131 w 556"/>
                    <a:gd name="T57" fmla="*/ 700 h 819"/>
                    <a:gd name="T58" fmla="*/ 116 w 556"/>
                    <a:gd name="T59" fmla="*/ 717 h 819"/>
                    <a:gd name="T60" fmla="*/ 71 w 556"/>
                    <a:gd name="T61" fmla="*/ 745 h 819"/>
                    <a:gd name="T62" fmla="*/ 19 w 556"/>
                    <a:gd name="T63" fmla="*/ 801 h 819"/>
                    <a:gd name="T64" fmla="*/ 2 w 556"/>
                    <a:gd name="T65" fmla="*/ 564 h 819"/>
                    <a:gd name="T66" fmla="*/ 3 w 556"/>
                    <a:gd name="T67" fmla="*/ 554 h 819"/>
                    <a:gd name="T68" fmla="*/ 27 w 556"/>
                    <a:gd name="T69" fmla="*/ 533 h 819"/>
                    <a:gd name="T70" fmla="*/ 42 w 556"/>
                    <a:gd name="T71" fmla="*/ 516 h 819"/>
                    <a:gd name="T72" fmla="*/ 60 w 556"/>
                    <a:gd name="T73" fmla="*/ 497 h 819"/>
                    <a:gd name="T74" fmla="*/ 111 w 556"/>
                    <a:gd name="T75" fmla="*/ 480 h 819"/>
                    <a:gd name="T76" fmla="*/ 119 w 556"/>
                    <a:gd name="T77" fmla="*/ 470 h 819"/>
                    <a:gd name="T78" fmla="*/ 129 w 556"/>
                    <a:gd name="T79" fmla="*/ 452 h 819"/>
                    <a:gd name="T80" fmla="*/ 152 w 556"/>
                    <a:gd name="T81" fmla="*/ 440 h 819"/>
                    <a:gd name="T82" fmla="*/ 174 w 556"/>
                    <a:gd name="T83" fmla="*/ 439 h 819"/>
                    <a:gd name="T84" fmla="*/ 196 w 556"/>
                    <a:gd name="T85" fmla="*/ 439 h 819"/>
                    <a:gd name="T86" fmla="*/ 228 w 556"/>
                    <a:gd name="T87" fmla="*/ 429 h 819"/>
                    <a:gd name="T88" fmla="*/ 251 w 556"/>
                    <a:gd name="T89" fmla="*/ 405 h 819"/>
                    <a:gd name="T90" fmla="*/ 265 w 556"/>
                    <a:gd name="T91" fmla="*/ 379 h 819"/>
                    <a:gd name="T92" fmla="*/ 296 w 556"/>
                    <a:gd name="T93" fmla="*/ 347 h 819"/>
                    <a:gd name="T94" fmla="*/ 354 w 556"/>
                    <a:gd name="T95" fmla="*/ 293 h 819"/>
                    <a:gd name="T96" fmla="*/ 377 w 556"/>
                    <a:gd name="T97" fmla="*/ 266 h 819"/>
                    <a:gd name="T98" fmla="*/ 324 w 556"/>
                    <a:gd name="T99" fmla="*/ 246 h 819"/>
                    <a:gd name="T100" fmla="*/ 257 w 556"/>
                    <a:gd name="T101" fmla="*/ 228 h 819"/>
                    <a:gd name="T102" fmla="*/ 184 w 556"/>
                    <a:gd name="T103" fmla="*/ 209 h 819"/>
                    <a:gd name="T104" fmla="*/ 149 w 556"/>
                    <a:gd name="T105" fmla="*/ 187 h 819"/>
                    <a:gd name="T106" fmla="*/ 112 w 556"/>
                    <a:gd name="T107" fmla="*/ 154 h 819"/>
                    <a:gd name="T108" fmla="*/ 89 w 556"/>
                    <a:gd name="T109" fmla="*/ 121 h 819"/>
                    <a:gd name="T110" fmla="*/ 77 w 556"/>
                    <a:gd name="T111" fmla="*/ 80 h 819"/>
                    <a:gd name="T112" fmla="*/ 65 w 556"/>
                    <a:gd name="T113" fmla="*/ 87 h 819"/>
                    <a:gd name="T114" fmla="*/ 84 w 556"/>
                    <a:gd name="T115" fmla="*/ 68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273" name="Freeform 357">
                  <a:extLst>
                    <a:ext uri="{FF2B5EF4-FFF2-40B4-BE49-F238E27FC236}">
                      <a16:creationId xmlns="" xmlns:a16="http://schemas.microsoft.com/office/drawing/2014/main" id="{4F5CB0D0-4396-4A3B-A596-F465CEDEE99F}"/>
                    </a:ext>
                  </a:extLst>
                </p:cNvPr>
                <p:cNvSpPr>
                  <a:spLocks/>
                </p:cNvSpPr>
                <p:nvPr>
                  <p:custDataLst>
                    <p:tags r:id="rId261"/>
                  </p:custDataLst>
                </p:nvPr>
              </p:nvSpPr>
              <p:spPr bwMode="auto">
                <a:xfrm>
                  <a:off x="6712453" y="2697699"/>
                  <a:ext cx="27023" cy="41660"/>
                </a:xfrm>
                <a:custGeom>
                  <a:avLst/>
                  <a:gdLst>
                    <a:gd name="T0" fmla="*/ 59 w 86"/>
                    <a:gd name="T1" fmla="*/ 0 h 97"/>
                    <a:gd name="T2" fmla="*/ 56 w 86"/>
                    <a:gd name="T3" fmla="*/ 2 h 97"/>
                    <a:gd name="T4" fmla="*/ 52 w 86"/>
                    <a:gd name="T5" fmla="*/ 3 h 97"/>
                    <a:gd name="T6" fmla="*/ 46 w 86"/>
                    <a:gd name="T7" fmla="*/ 3 h 97"/>
                    <a:gd name="T8" fmla="*/ 40 w 86"/>
                    <a:gd name="T9" fmla="*/ 3 h 97"/>
                    <a:gd name="T10" fmla="*/ 33 w 86"/>
                    <a:gd name="T11" fmla="*/ 3 h 97"/>
                    <a:gd name="T12" fmla="*/ 27 w 86"/>
                    <a:gd name="T13" fmla="*/ 3 h 97"/>
                    <a:gd name="T14" fmla="*/ 23 w 86"/>
                    <a:gd name="T15" fmla="*/ 4 h 97"/>
                    <a:gd name="T16" fmla="*/ 20 w 86"/>
                    <a:gd name="T17" fmla="*/ 6 h 97"/>
                    <a:gd name="T18" fmla="*/ 16 w 86"/>
                    <a:gd name="T19" fmla="*/ 9 h 97"/>
                    <a:gd name="T20" fmla="*/ 13 w 86"/>
                    <a:gd name="T21" fmla="*/ 12 h 97"/>
                    <a:gd name="T22" fmla="*/ 11 w 86"/>
                    <a:gd name="T23" fmla="*/ 15 h 97"/>
                    <a:gd name="T24" fmla="*/ 8 w 86"/>
                    <a:gd name="T25" fmla="*/ 20 h 97"/>
                    <a:gd name="T26" fmla="*/ 4 w 86"/>
                    <a:gd name="T27" fmla="*/ 29 h 97"/>
                    <a:gd name="T28" fmla="*/ 2 w 86"/>
                    <a:gd name="T29" fmla="*/ 38 h 97"/>
                    <a:gd name="T30" fmla="*/ 0 w 86"/>
                    <a:gd name="T31" fmla="*/ 57 h 97"/>
                    <a:gd name="T32" fmla="*/ 0 w 86"/>
                    <a:gd name="T33" fmla="*/ 75 h 97"/>
                    <a:gd name="T34" fmla="*/ 0 w 86"/>
                    <a:gd name="T35" fmla="*/ 81 h 97"/>
                    <a:gd name="T36" fmla="*/ 1 w 86"/>
                    <a:gd name="T37" fmla="*/ 86 h 97"/>
                    <a:gd name="T38" fmla="*/ 3 w 86"/>
                    <a:gd name="T39" fmla="*/ 90 h 97"/>
                    <a:gd name="T40" fmla="*/ 7 w 86"/>
                    <a:gd name="T41" fmla="*/ 93 h 97"/>
                    <a:gd name="T42" fmla="*/ 10 w 86"/>
                    <a:gd name="T43" fmla="*/ 95 h 97"/>
                    <a:gd name="T44" fmla="*/ 13 w 86"/>
                    <a:gd name="T45" fmla="*/ 96 h 97"/>
                    <a:gd name="T46" fmla="*/ 18 w 86"/>
                    <a:gd name="T47" fmla="*/ 97 h 97"/>
                    <a:gd name="T48" fmla="*/ 21 w 86"/>
                    <a:gd name="T49" fmla="*/ 97 h 97"/>
                    <a:gd name="T50" fmla="*/ 40 w 86"/>
                    <a:gd name="T51" fmla="*/ 95 h 97"/>
                    <a:gd name="T52" fmla="*/ 53 w 86"/>
                    <a:gd name="T53" fmla="*/ 93 h 97"/>
                    <a:gd name="T54" fmla="*/ 86 w 86"/>
                    <a:gd name="T55" fmla="*/ 68 h 97"/>
                    <a:gd name="T56" fmla="*/ 59 w 86"/>
                    <a:gd name="T57"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274" name="Freeform 358">
                  <a:extLst>
                    <a:ext uri="{FF2B5EF4-FFF2-40B4-BE49-F238E27FC236}">
                      <a16:creationId xmlns="" xmlns:a16="http://schemas.microsoft.com/office/drawing/2014/main" id="{4CEC0241-9263-4D38-916F-83B7FBA77FA8}"/>
                    </a:ext>
                  </a:extLst>
                </p:cNvPr>
                <p:cNvSpPr>
                  <a:spLocks/>
                </p:cNvSpPr>
                <p:nvPr>
                  <p:custDataLst>
                    <p:tags r:id="rId262"/>
                  </p:custDataLst>
                </p:nvPr>
              </p:nvSpPr>
              <p:spPr bwMode="auto">
                <a:xfrm>
                  <a:off x="6569455" y="2634644"/>
                  <a:ext cx="257847" cy="266854"/>
                </a:xfrm>
                <a:custGeom>
                  <a:avLst/>
                  <a:gdLst>
                    <a:gd name="T0" fmla="*/ 182 w 845"/>
                    <a:gd name="T1" fmla="*/ 36 h 720"/>
                    <a:gd name="T2" fmla="*/ 205 w 845"/>
                    <a:gd name="T3" fmla="*/ 28 h 720"/>
                    <a:gd name="T4" fmla="*/ 247 w 845"/>
                    <a:gd name="T5" fmla="*/ 0 h 720"/>
                    <a:gd name="T6" fmla="*/ 273 w 845"/>
                    <a:gd name="T7" fmla="*/ 12 h 720"/>
                    <a:gd name="T8" fmla="*/ 327 w 845"/>
                    <a:gd name="T9" fmla="*/ 37 h 720"/>
                    <a:gd name="T10" fmla="*/ 380 w 845"/>
                    <a:gd name="T11" fmla="*/ 67 h 720"/>
                    <a:gd name="T12" fmla="*/ 426 w 845"/>
                    <a:gd name="T13" fmla="*/ 98 h 720"/>
                    <a:gd name="T14" fmla="*/ 442 w 845"/>
                    <a:gd name="T15" fmla="*/ 125 h 720"/>
                    <a:gd name="T16" fmla="*/ 443 w 845"/>
                    <a:gd name="T17" fmla="*/ 140 h 720"/>
                    <a:gd name="T18" fmla="*/ 458 w 845"/>
                    <a:gd name="T19" fmla="*/ 147 h 720"/>
                    <a:gd name="T20" fmla="*/ 499 w 845"/>
                    <a:gd name="T21" fmla="*/ 178 h 720"/>
                    <a:gd name="T22" fmla="*/ 506 w 845"/>
                    <a:gd name="T23" fmla="*/ 172 h 720"/>
                    <a:gd name="T24" fmla="*/ 488 w 845"/>
                    <a:gd name="T25" fmla="*/ 184 h 720"/>
                    <a:gd name="T26" fmla="*/ 481 w 845"/>
                    <a:gd name="T27" fmla="*/ 202 h 720"/>
                    <a:gd name="T28" fmla="*/ 481 w 845"/>
                    <a:gd name="T29" fmla="*/ 252 h 720"/>
                    <a:gd name="T30" fmla="*/ 493 w 845"/>
                    <a:gd name="T31" fmla="*/ 264 h 720"/>
                    <a:gd name="T32" fmla="*/ 526 w 845"/>
                    <a:gd name="T33" fmla="*/ 265 h 720"/>
                    <a:gd name="T34" fmla="*/ 545 w 845"/>
                    <a:gd name="T35" fmla="*/ 319 h 720"/>
                    <a:gd name="T36" fmla="*/ 583 w 845"/>
                    <a:gd name="T37" fmla="*/ 361 h 720"/>
                    <a:gd name="T38" fmla="*/ 645 w 845"/>
                    <a:gd name="T39" fmla="*/ 400 h 720"/>
                    <a:gd name="T40" fmla="*/ 738 w 845"/>
                    <a:gd name="T41" fmla="*/ 430 h 720"/>
                    <a:gd name="T42" fmla="*/ 845 w 845"/>
                    <a:gd name="T43" fmla="*/ 449 h 720"/>
                    <a:gd name="T44" fmla="*/ 811 w 845"/>
                    <a:gd name="T45" fmla="*/ 482 h 720"/>
                    <a:gd name="T46" fmla="*/ 731 w 845"/>
                    <a:gd name="T47" fmla="*/ 547 h 720"/>
                    <a:gd name="T48" fmla="*/ 712 w 845"/>
                    <a:gd name="T49" fmla="*/ 579 h 720"/>
                    <a:gd name="T50" fmla="*/ 697 w 845"/>
                    <a:gd name="T51" fmla="*/ 617 h 720"/>
                    <a:gd name="T52" fmla="*/ 674 w 845"/>
                    <a:gd name="T53" fmla="*/ 629 h 720"/>
                    <a:gd name="T54" fmla="*/ 580 w 845"/>
                    <a:gd name="T55" fmla="*/ 655 h 720"/>
                    <a:gd name="T56" fmla="*/ 559 w 845"/>
                    <a:gd name="T57" fmla="*/ 671 h 720"/>
                    <a:gd name="T58" fmla="*/ 525 w 845"/>
                    <a:gd name="T59" fmla="*/ 681 h 720"/>
                    <a:gd name="T60" fmla="*/ 482 w 845"/>
                    <a:gd name="T61" fmla="*/ 693 h 720"/>
                    <a:gd name="T62" fmla="*/ 461 w 845"/>
                    <a:gd name="T63" fmla="*/ 680 h 720"/>
                    <a:gd name="T64" fmla="*/ 427 w 845"/>
                    <a:gd name="T65" fmla="*/ 679 h 720"/>
                    <a:gd name="T66" fmla="*/ 405 w 845"/>
                    <a:gd name="T67" fmla="*/ 699 h 720"/>
                    <a:gd name="T68" fmla="*/ 390 w 845"/>
                    <a:gd name="T69" fmla="*/ 714 h 720"/>
                    <a:gd name="T70" fmla="*/ 360 w 845"/>
                    <a:gd name="T71" fmla="*/ 720 h 720"/>
                    <a:gd name="T72" fmla="*/ 318 w 845"/>
                    <a:gd name="T73" fmla="*/ 714 h 720"/>
                    <a:gd name="T74" fmla="*/ 289 w 845"/>
                    <a:gd name="T75" fmla="*/ 698 h 720"/>
                    <a:gd name="T76" fmla="*/ 246 w 845"/>
                    <a:gd name="T77" fmla="*/ 671 h 720"/>
                    <a:gd name="T78" fmla="*/ 181 w 845"/>
                    <a:gd name="T79" fmla="*/ 661 h 720"/>
                    <a:gd name="T80" fmla="*/ 140 w 845"/>
                    <a:gd name="T81" fmla="*/ 653 h 720"/>
                    <a:gd name="T82" fmla="*/ 151 w 845"/>
                    <a:gd name="T83" fmla="*/ 614 h 720"/>
                    <a:gd name="T84" fmla="*/ 127 w 845"/>
                    <a:gd name="T85" fmla="*/ 596 h 720"/>
                    <a:gd name="T86" fmla="*/ 108 w 845"/>
                    <a:gd name="T87" fmla="*/ 583 h 720"/>
                    <a:gd name="T88" fmla="*/ 93 w 845"/>
                    <a:gd name="T89" fmla="*/ 551 h 720"/>
                    <a:gd name="T90" fmla="*/ 77 w 845"/>
                    <a:gd name="T91" fmla="*/ 511 h 720"/>
                    <a:gd name="T92" fmla="*/ 49 w 845"/>
                    <a:gd name="T93" fmla="*/ 489 h 720"/>
                    <a:gd name="T94" fmla="*/ 16 w 845"/>
                    <a:gd name="T95" fmla="*/ 477 h 720"/>
                    <a:gd name="T96" fmla="*/ 5 w 845"/>
                    <a:gd name="T97" fmla="*/ 472 h 720"/>
                    <a:gd name="T98" fmla="*/ 2 w 845"/>
                    <a:gd name="T99" fmla="*/ 448 h 720"/>
                    <a:gd name="T100" fmla="*/ 21 w 845"/>
                    <a:gd name="T101" fmla="*/ 422 h 720"/>
                    <a:gd name="T102" fmla="*/ 55 w 845"/>
                    <a:gd name="T103" fmla="*/ 413 h 720"/>
                    <a:gd name="T104" fmla="*/ 67 w 845"/>
                    <a:gd name="T105" fmla="*/ 321 h 720"/>
                    <a:gd name="T106" fmla="*/ 82 w 845"/>
                    <a:gd name="T107" fmla="*/ 275 h 720"/>
                    <a:gd name="T108" fmla="*/ 95 w 845"/>
                    <a:gd name="T109" fmla="*/ 260 h 720"/>
                    <a:gd name="T110" fmla="*/ 103 w 845"/>
                    <a:gd name="T111" fmla="*/ 236 h 720"/>
                    <a:gd name="T112" fmla="*/ 116 w 845"/>
                    <a:gd name="T113" fmla="*/ 206 h 720"/>
                    <a:gd name="T114" fmla="*/ 148 w 845"/>
                    <a:gd name="T115" fmla="*/ 178 h 720"/>
                    <a:gd name="T116" fmla="*/ 167 w 845"/>
                    <a:gd name="T117" fmla="*/ 16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275" name="Line 359">
                  <a:extLst>
                    <a:ext uri="{FF2B5EF4-FFF2-40B4-BE49-F238E27FC236}">
                      <a16:creationId xmlns="" xmlns:a16="http://schemas.microsoft.com/office/drawing/2014/main" id="{5CD7F5C6-DAC9-4B08-A4AF-0EEB9A811A09}"/>
                    </a:ext>
                  </a:extLst>
                </p:cNvPr>
                <p:cNvSpPr>
                  <a:spLocks noChangeShapeType="1"/>
                </p:cNvSpPr>
                <p:nvPr>
                  <p:custDataLst>
                    <p:tags r:id="rId263"/>
                  </p:custDataLst>
                </p:nvPr>
              </p:nvSpPr>
              <p:spPr bwMode="auto">
                <a:xfrm flipH="1">
                  <a:off x="4342292" y="3002835"/>
                  <a:ext cx="3378" cy="5630"/>
                </a:xfrm>
                <a:prstGeom prst="line">
                  <a:avLst/>
                </a:prstGeom>
                <a:solidFill>
                  <a:srgbClr val="CDCDCD"/>
                </a:solidFill>
                <a:ln w="3175">
                  <a:solidFill>
                    <a:srgbClr val="FFFFFF"/>
                  </a:solidFill>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276" name="Freeform 360">
                  <a:extLst>
                    <a:ext uri="{FF2B5EF4-FFF2-40B4-BE49-F238E27FC236}">
                      <a16:creationId xmlns="" xmlns:a16="http://schemas.microsoft.com/office/drawing/2014/main" id="{5061D94E-2C60-4293-8D0F-0E1D413D0473}"/>
                    </a:ext>
                  </a:extLst>
                </p:cNvPr>
                <p:cNvSpPr>
                  <a:spLocks/>
                </p:cNvSpPr>
                <p:nvPr>
                  <p:custDataLst>
                    <p:tags r:id="rId264"/>
                  </p:custDataLst>
                </p:nvPr>
              </p:nvSpPr>
              <p:spPr bwMode="auto">
                <a:xfrm>
                  <a:off x="4342292" y="3008466"/>
                  <a:ext cx="9008" cy="41660"/>
                </a:xfrm>
                <a:custGeom>
                  <a:avLst/>
                  <a:gdLst>
                    <a:gd name="T0" fmla="*/ 0 w 33"/>
                    <a:gd name="T1" fmla="*/ 0 h 6"/>
                    <a:gd name="T2" fmla="*/ 7 w 33"/>
                    <a:gd name="T3" fmla="*/ 1 h 6"/>
                    <a:gd name="T4" fmla="*/ 15 w 33"/>
                    <a:gd name="T5" fmla="*/ 3 h 6"/>
                    <a:gd name="T6" fmla="*/ 23 w 33"/>
                    <a:gd name="T7" fmla="*/ 5 h 6"/>
                    <a:gd name="T8" fmla="*/ 33 w 33"/>
                    <a:gd name="T9" fmla="*/ 6 h 6"/>
                  </a:gdLst>
                  <a:ahLst/>
                  <a:cxnLst>
                    <a:cxn ang="0">
                      <a:pos x="T0" y="T1"/>
                    </a:cxn>
                    <a:cxn ang="0">
                      <a:pos x="T2" y="T3"/>
                    </a:cxn>
                    <a:cxn ang="0">
                      <a:pos x="T4" y="T5"/>
                    </a:cxn>
                    <a:cxn ang="0">
                      <a:pos x="T6" y="T7"/>
                    </a:cxn>
                    <a:cxn ang="0">
                      <a:pos x="T8" y="T9"/>
                    </a:cxn>
                  </a:cxnLst>
                  <a:rect l="0" t="0" r="r" b="b"/>
                  <a:pathLst>
                    <a:path w="33" h="6">
                      <a:moveTo>
                        <a:pt x="0" y="0"/>
                      </a:moveTo>
                      <a:lnTo>
                        <a:pt x="7" y="1"/>
                      </a:lnTo>
                      <a:lnTo>
                        <a:pt x="15" y="3"/>
                      </a:lnTo>
                      <a:lnTo>
                        <a:pt x="23" y="5"/>
                      </a:lnTo>
                      <a:lnTo>
                        <a:pt x="33" y="6"/>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277" name="Freeform 361">
                  <a:extLst>
                    <a:ext uri="{FF2B5EF4-FFF2-40B4-BE49-F238E27FC236}">
                      <a16:creationId xmlns="" xmlns:a16="http://schemas.microsoft.com/office/drawing/2014/main" id="{A8A05369-1F51-40B4-B331-581B1D563726}"/>
                    </a:ext>
                  </a:extLst>
                </p:cNvPr>
                <p:cNvSpPr>
                  <a:spLocks/>
                </p:cNvSpPr>
                <p:nvPr>
                  <p:custDataLst>
                    <p:tags r:id="rId265"/>
                  </p:custDataLst>
                </p:nvPr>
              </p:nvSpPr>
              <p:spPr bwMode="auto">
                <a:xfrm>
                  <a:off x="4347921" y="2999458"/>
                  <a:ext cx="3377" cy="40535"/>
                </a:xfrm>
                <a:custGeom>
                  <a:avLst/>
                  <a:gdLst>
                    <a:gd name="T0" fmla="*/ 13 w 13"/>
                    <a:gd name="T1" fmla="*/ 30 h 30"/>
                    <a:gd name="T2" fmla="*/ 13 w 13"/>
                    <a:gd name="T3" fmla="*/ 0 h 30"/>
                    <a:gd name="T4" fmla="*/ 0 w 13"/>
                    <a:gd name="T5" fmla="*/ 0 h 30"/>
                  </a:gdLst>
                  <a:ahLst/>
                  <a:cxnLst>
                    <a:cxn ang="0">
                      <a:pos x="T0" y="T1"/>
                    </a:cxn>
                    <a:cxn ang="0">
                      <a:pos x="T2" y="T3"/>
                    </a:cxn>
                    <a:cxn ang="0">
                      <a:pos x="T4" y="T5"/>
                    </a:cxn>
                  </a:cxnLst>
                  <a:rect l="0" t="0" r="r" b="b"/>
                  <a:pathLst>
                    <a:path w="13" h="30">
                      <a:moveTo>
                        <a:pt x="13" y="30"/>
                      </a:moveTo>
                      <a:lnTo>
                        <a:pt x="13" y="0"/>
                      </a:lnTo>
                      <a:lnTo>
                        <a:pt x="0"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grpSp>
              <p:nvGrpSpPr>
                <p:cNvPr id="278" name="Group 362">
                  <a:extLst>
                    <a:ext uri="{FF2B5EF4-FFF2-40B4-BE49-F238E27FC236}">
                      <a16:creationId xmlns="" xmlns:a16="http://schemas.microsoft.com/office/drawing/2014/main" id="{39AD0073-4F8F-451D-AB02-5C4D08073AEB}"/>
                    </a:ext>
                  </a:extLst>
                </p:cNvPr>
                <p:cNvGrpSpPr>
                  <a:grpSpLocks/>
                </p:cNvGrpSpPr>
                <p:nvPr>
                  <p:custDataLst>
                    <p:tags r:id="rId266"/>
                  </p:custDataLst>
                </p:nvPr>
              </p:nvGrpSpPr>
              <p:grpSpPr bwMode="auto">
                <a:xfrm>
                  <a:off x="4342292" y="2953293"/>
                  <a:ext cx="296130" cy="142998"/>
                  <a:chOff x="912" y="2626"/>
                  <a:chExt cx="311" cy="127"/>
                </a:xfrm>
                <a:solidFill>
                  <a:srgbClr val="CDCDCD"/>
                </a:solidFill>
              </p:grpSpPr>
              <p:sp>
                <p:nvSpPr>
                  <p:cNvPr id="491" name="Freeform 363">
                    <a:extLst>
                      <a:ext uri="{FF2B5EF4-FFF2-40B4-BE49-F238E27FC236}">
                        <a16:creationId xmlns="" xmlns:a16="http://schemas.microsoft.com/office/drawing/2014/main" id="{98960374-2F43-4019-8E75-8B9CDC0D343F}"/>
                      </a:ext>
                    </a:extLst>
                  </p:cNvPr>
                  <p:cNvSpPr>
                    <a:spLocks/>
                  </p:cNvSpPr>
                  <p:nvPr/>
                </p:nvSpPr>
                <p:spPr bwMode="auto">
                  <a:xfrm>
                    <a:off x="1110" y="2626"/>
                    <a:ext cx="113" cy="127"/>
                  </a:xfrm>
                  <a:custGeom>
                    <a:avLst/>
                    <a:gdLst>
                      <a:gd name="T0" fmla="*/ 312 w 352"/>
                      <a:gd name="T1" fmla="*/ 79 h 387"/>
                      <a:gd name="T2" fmla="*/ 286 w 352"/>
                      <a:gd name="T3" fmla="*/ 79 h 387"/>
                      <a:gd name="T4" fmla="*/ 265 w 352"/>
                      <a:gd name="T5" fmla="*/ 79 h 387"/>
                      <a:gd name="T6" fmla="*/ 249 w 352"/>
                      <a:gd name="T7" fmla="*/ 74 h 387"/>
                      <a:gd name="T8" fmla="*/ 222 w 352"/>
                      <a:gd name="T9" fmla="*/ 59 h 387"/>
                      <a:gd name="T10" fmla="*/ 168 w 352"/>
                      <a:gd name="T11" fmla="*/ 20 h 387"/>
                      <a:gd name="T12" fmla="*/ 137 w 352"/>
                      <a:gd name="T13" fmla="*/ 6 h 387"/>
                      <a:gd name="T14" fmla="*/ 129 w 352"/>
                      <a:gd name="T15" fmla="*/ 19 h 387"/>
                      <a:gd name="T16" fmla="*/ 119 w 352"/>
                      <a:gd name="T17" fmla="*/ 29 h 387"/>
                      <a:gd name="T18" fmla="*/ 107 w 352"/>
                      <a:gd name="T19" fmla="*/ 35 h 387"/>
                      <a:gd name="T20" fmla="*/ 86 w 352"/>
                      <a:gd name="T21" fmla="*/ 56 h 387"/>
                      <a:gd name="T22" fmla="*/ 53 w 352"/>
                      <a:gd name="T23" fmla="*/ 97 h 387"/>
                      <a:gd name="T24" fmla="*/ 30 w 352"/>
                      <a:gd name="T25" fmla="*/ 131 h 387"/>
                      <a:gd name="T26" fmla="*/ 17 w 352"/>
                      <a:gd name="T27" fmla="*/ 154 h 387"/>
                      <a:gd name="T28" fmla="*/ 7 w 352"/>
                      <a:gd name="T29" fmla="*/ 177 h 387"/>
                      <a:gd name="T30" fmla="*/ 0 w 352"/>
                      <a:gd name="T31" fmla="*/ 198 h 387"/>
                      <a:gd name="T32" fmla="*/ 0 w 352"/>
                      <a:gd name="T33" fmla="*/ 213 h 387"/>
                      <a:gd name="T34" fmla="*/ 3 w 352"/>
                      <a:gd name="T35" fmla="*/ 222 h 387"/>
                      <a:gd name="T36" fmla="*/ 9 w 352"/>
                      <a:gd name="T37" fmla="*/ 231 h 387"/>
                      <a:gd name="T38" fmla="*/ 24 w 352"/>
                      <a:gd name="T39" fmla="*/ 241 h 387"/>
                      <a:gd name="T40" fmla="*/ 39 w 352"/>
                      <a:gd name="T41" fmla="*/ 245 h 387"/>
                      <a:gd name="T42" fmla="*/ 52 w 352"/>
                      <a:gd name="T43" fmla="*/ 245 h 387"/>
                      <a:gd name="T44" fmla="*/ 63 w 352"/>
                      <a:gd name="T45" fmla="*/ 241 h 387"/>
                      <a:gd name="T46" fmla="*/ 73 w 352"/>
                      <a:gd name="T47" fmla="*/ 236 h 387"/>
                      <a:gd name="T48" fmla="*/ 78 w 352"/>
                      <a:gd name="T49" fmla="*/ 236 h 387"/>
                      <a:gd name="T50" fmla="*/ 80 w 352"/>
                      <a:gd name="T51" fmla="*/ 238 h 387"/>
                      <a:gd name="T52" fmla="*/ 80 w 352"/>
                      <a:gd name="T53" fmla="*/ 257 h 387"/>
                      <a:gd name="T54" fmla="*/ 76 w 352"/>
                      <a:gd name="T55" fmla="*/ 279 h 387"/>
                      <a:gd name="T56" fmla="*/ 71 w 352"/>
                      <a:gd name="T57" fmla="*/ 290 h 387"/>
                      <a:gd name="T58" fmla="*/ 73 w 352"/>
                      <a:gd name="T59" fmla="*/ 307 h 387"/>
                      <a:gd name="T60" fmla="*/ 80 w 352"/>
                      <a:gd name="T61" fmla="*/ 331 h 387"/>
                      <a:gd name="T62" fmla="*/ 89 w 352"/>
                      <a:gd name="T63" fmla="*/ 351 h 387"/>
                      <a:gd name="T64" fmla="*/ 122 w 352"/>
                      <a:gd name="T65" fmla="*/ 373 h 387"/>
                      <a:gd name="T66" fmla="*/ 142 w 352"/>
                      <a:gd name="T67" fmla="*/ 385 h 387"/>
                      <a:gd name="T68" fmla="*/ 152 w 352"/>
                      <a:gd name="T69" fmla="*/ 386 h 387"/>
                      <a:gd name="T70" fmla="*/ 163 w 352"/>
                      <a:gd name="T71" fmla="*/ 377 h 387"/>
                      <a:gd name="T72" fmla="*/ 173 w 352"/>
                      <a:gd name="T73" fmla="*/ 363 h 387"/>
                      <a:gd name="T74" fmla="*/ 178 w 352"/>
                      <a:gd name="T75" fmla="*/ 350 h 387"/>
                      <a:gd name="T76" fmla="*/ 181 w 352"/>
                      <a:gd name="T77" fmla="*/ 338 h 387"/>
                      <a:gd name="T78" fmla="*/ 184 w 352"/>
                      <a:gd name="T79" fmla="*/ 323 h 387"/>
                      <a:gd name="T80" fmla="*/ 195 w 352"/>
                      <a:gd name="T81" fmla="*/ 304 h 387"/>
                      <a:gd name="T82" fmla="*/ 216 w 352"/>
                      <a:gd name="T83" fmla="*/ 281 h 387"/>
                      <a:gd name="T84" fmla="*/ 238 w 352"/>
                      <a:gd name="T85" fmla="*/ 263 h 387"/>
                      <a:gd name="T86" fmla="*/ 264 w 352"/>
                      <a:gd name="T87" fmla="*/ 249 h 387"/>
                      <a:gd name="T88" fmla="*/ 300 w 352"/>
                      <a:gd name="T89" fmla="*/ 229 h 387"/>
                      <a:gd name="T90" fmla="*/ 324 w 352"/>
                      <a:gd name="T91" fmla="*/ 212 h 387"/>
                      <a:gd name="T92" fmla="*/ 338 w 352"/>
                      <a:gd name="T93" fmla="*/ 199 h 387"/>
                      <a:gd name="T94" fmla="*/ 346 w 352"/>
                      <a:gd name="T95" fmla="*/ 185 h 387"/>
                      <a:gd name="T96" fmla="*/ 352 w 352"/>
                      <a:gd name="T97" fmla="*/ 169 h 387"/>
                      <a:gd name="T98" fmla="*/ 351 w 352"/>
                      <a:gd name="T99" fmla="*/ 149 h 387"/>
                      <a:gd name="T100" fmla="*/ 344 w 352"/>
                      <a:gd name="T101" fmla="*/ 125 h 387"/>
                      <a:gd name="T102" fmla="*/ 330 w 352"/>
                      <a:gd name="T103" fmla="*/ 91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492" name="Freeform 364">
                    <a:extLst>
                      <a:ext uri="{FF2B5EF4-FFF2-40B4-BE49-F238E27FC236}">
                        <a16:creationId xmlns="" xmlns:a16="http://schemas.microsoft.com/office/drawing/2014/main" id="{1C2A5052-70A7-4D36-B1A6-3105FB0A671E}"/>
                      </a:ext>
                    </a:extLst>
                  </p:cNvPr>
                  <p:cNvSpPr>
                    <a:spLocks/>
                  </p:cNvSpPr>
                  <p:nvPr/>
                </p:nvSpPr>
                <p:spPr bwMode="auto">
                  <a:xfrm>
                    <a:off x="923" y="2662"/>
                    <a:ext cx="17" cy="26"/>
                  </a:xfrm>
                  <a:custGeom>
                    <a:avLst/>
                    <a:gdLst>
                      <a:gd name="T0" fmla="*/ 14 w 52"/>
                      <a:gd name="T1" fmla="*/ 0 h 78"/>
                      <a:gd name="T2" fmla="*/ 20 w 52"/>
                      <a:gd name="T3" fmla="*/ 0 h 78"/>
                      <a:gd name="T4" fmla="*/ 25 w 52"/>
                      <a:gd name="T5" fmla="*/ 2 h 78"/>
                      <a:gd name="T6" fmla="*/ 30 w 52"/>
                      <a:gd name="T7" fmla="*/ 6 h 78"/>
                      <a:gd name="T8" fmla="*/ 36 w 52"/>
                      <a:gd name="T9" fmla="*/ 9 h 78"/>
                      <a:gd name="T10" fmla="*/ 40 w 52"/>
                      <a:gd name="T11" fmla="*/ 13 h 78"/>
                      <a:gd name="T12" fmla="*/ 45 w 52"/>
                      <a:gd name="T13" fmla="*/ 17 h 78"/>
                      <a:gd name="T14" fmla="*/ 47 w 52"/>
                      <a:gd name="T15" fmla="*/ 21 h 78"/>
                      <a:gd name="T16" fmla="*/ 48 w 52"/>
                      <a:gd name="T17" fmla="*/ 24 h 78"/>
                      <a:gd name="T18" fmla="*/ 51 w 52"/>
                      <a:gd name="T19" fmla="*/ 34 h 78"/>
                      <a:gd name="T20" fmla="*/ 52 w 52"/>
                      <a:gd name="T21" fmla="*/ 41 h 78"/>
                      <a:gd name="T22" fmla="*/ 51 w 52"/>
                      <a:gd name="T23" fmla="*/ 46 h 78"/>
                      <a:gd name="T24" fmla="*/ 49 w 52"/>
                      <a:gd name="T25" fmla="*/ 50 h 78"/>
                      <a:gd name="T26" fmla="*/ 47 w 52"/>
                      <a:gd name="T27" fmla="*/ 54 h 78"/>
                      <a:gd name="T28" fmla="*/ 44 w 52"/>
                      <a:gd name="T29" fmla="*/ 60 h 78"/>
                      <a:gd name="T30" fmla="*/ 41 w 52"/>
                      <a:gd name="T31" fmla="*/ 65 h 78"/>
                      <a:gd name="T32" fmla="*/ 41 w 52"/>
                      <a:gd name="T33" fmla="*/ 73 h 78"/>
                      <a:gd name="T34" fmla="*/ 29 w 52"/>
                      <a:gd name="T35" fmla="*/ 75 h 78"/>
                      <a:gd name="T36" fmla="*/ 16 w 52"/>
                      <a:gd name="T37" fmla="*/ 78 h 78"/>
                      <a:gd name="T38" fmla="*/ 11 w 52"/>
                      <a:gd name="T39" fmla="*/ 78 h 78"/>
                      <a:gd name="T40" fmla="*/ 5 w 52"/>
                      <a:gd name="T41" fmla="*/ 78 h 78"/>
                      <a:gd name="T42" fmla="*/ 4 w 52"/>
                      <a:gd name="T43" fmla="*/ 78 h 78"/>
                      <a:gd name="T44" fmla="*/ 2 w 52"/>
                      <a:gd name="T45" fmla="*/ 77 h 78"/>
                      <a:gd name="T46" fmla="*/ 2 w 52"/>
                      <a:gd name="T47" fmla="*/ 75 h 78"/>
                      <a:gd name="T48" fmla="*/ 1 w 52"/>
                      <a:gd name="T49" fmla="*/ 73 h 78"/>
                      <a:gd name="T50" fmla="*/ 0 w 52"/>
                      <a:gd name="T51" fmla="*/ 69 h 78"/>
                      <a:gd name="T52" fmla="*/ 1 w 52"/>
                      <a:gd name="T53" fmla="*/ 64 h 78"/>
                      <a:gd name="T54" fmla="*/ 3 w 52"/>
                      <a:gd name="T55" fmla="*/ 60 h 78"/>
                      <a:gd name="T56" fmla="*/ 7 w 52"/>
                      <a:gd name="T57" fmla="*/ 56 h 78"/>
                      <a:gd name="T58" fmla="*/ 17 w 52"/>
                      <a:gd name="T59" fmla="*/ 47 h 78"/>
                      <a:gd name="T60" fmla="*/ 28 w 52"/>
                      <a:gd name="T61" fmla="*/ 42 h 78"/>
                      <a:gd name="T62" fmla="*/ 24 w 52"/>
                      <a:gd name="T63" fmla="*/ 32 h 78"/>
                      <a:gd name="T64" fmla="*/ 21 w 52"/>
                      <a:gd name="T65" fmla="*/ 21 h 78"/>
                      <a:gd name="T66" fmla="*/ 18 w 52"/>
                      <a:gd name="T67" fmla="*/ 10 h 78"/>
                      <a:gd name="T68" fmla="*/ 14 w 52"/>
                      <a:gd name="T6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493" name="Freeform 365">
                    <a:extLst>
                      <a:ext uri="{FF2B5EF4-FFF2-40B4-BE49-F238E27FC236}">
                        <a16:creationId xmlns="" xmlns:a16="http://schemas.microsoft.com/office/drawing/2014/main" id="{DA6A6C64-F564-4B56-BA5C-43D9C78A066B}"/>
                      </a:ext>
                    </a:extLst>
                  </p:cNvPr>
                  <p:cNvSpPr>
                    <a:spLocks/>
                  </p:cNvSpPr>
                  <p:nvPr/>
                </p:nvSpPr>
                <p:spPr bwMode="auto">
                  <a:xfrm>
                    <a:off x="912" y="2666"/>
                    <a:ext cx="9" cy="10"/>
                  </a:xfrm>
                  <a:custGeom>
                    <a:avLst/>
                    <a:gdLst>
                      <a:gd name="T0" fmla="*/ 13 w 33"/>
                      <a:gd name="T1" fmla="*/ 6 h 30"/>
                      <a:gd name="T2" fmla="*/ 0 w 33"/>
                      <a:gd name="T3" fmla="*/ 24 h 30"/>
                      <a:gd name="T4" fmla="*/ 7 w 33"/>
                      <a:gd name="T5" fmla="*/ 25 h 30"/>
                      <a:gd name="T6" fmla="*/ 15 w 33"/>
                      <a:gd name="T7" fmla="*/ 27 h 30"/>
                      <a:gd name="T8" fmla="*/ 23 w 33"/>
                      <a:gd name="T9" fmla="*/ 29 h 30"/>
                      <a:gd name="T10" fmla="*/ 33 w 33"/>
                      <a:gd name="T11" fmla="*/ 30 h 30"/>
                      <a:gd name="T12" fmla="*/ 33 w 33"/>
                      <a:gd name="T13" fmla="*/ 0 h 30"/>
                      <a:gd name="T14" fmla="*/ 20 w 33"/>
                      <a:gd name="T15" fmla="*/ 0 h 30"/>
                      <a:gd name="T16" fmla="*/ 13 w 33"/>
                      <a:gd name="T17"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grpSp>
            <p:sp>
              <p:nvSpPr>
                <p:cNvPr id="279" name="Freeform 366">
                  <a:extLst>
                    <a:ext uri="{FF2B5EF4-FFF2-40B4-BE49-F238E27FC236}">
                      <a16:creationId xmlns="" xmlns:a16="http://schemas.microsoft.com/office/drawing/2014/main" id="{2E9CDD92-66A2-4EE4-8D6C-7023DB72E16A}"/>
                    </a:ext>
                  </a:extLst>
                </p:cNvPr>
                <p:cNvSpPr>
                  <a:spLocks/>
                </p:cNvSpPr>
                <p:nvPr>
                  <p:custDataLst>
                    <p:tags r:id="rId267"/>
                  </p:custDataLst>
                </p:nvPr>
              </p:nvSpPr>
              <p:spPr bwMode="auto">
                <a:xfrm>
                  <a:off x="6929764" y="3462230"/>
                  <a:ext cx="13512" cy="41661"/>
                </a:xfrm>
                <a:custGeom>
                  <a:avLst/>
                  <a:gdLst>
                    <a:gd name="T0" fmla="*/ 13 w 47"/>
                    <a:gd name="T1" fmla="*/ 0 h 28"/>
                    <a:gd name="T2" fmla="*/ 25 w 47"/>
                    <a:gd name="T3" fmla="*/ 0 h 28"/>
                    <a:gd name="T4" fmla="*/ 31 w 47"/>
                    <a:gd name="T5" fmla="*/ 2 h 28"/>
                    <a:gd name="T6" fmla="*/ 33 w 47"/>
                    <a:gd name="T7" fmla="*/ 4 h 28"/>
                    <a:gd name="T8" fmla="*/ 33 w 47"/>
                    <a:gd name="T9" fmla="*/ 6 h 28"/>
                    <a:gd name="T10" fmla="*/ 32 w 47"/>
                    <a:gd name="T11" fmla="*/ 8 h 28"/>
                    <a:gd name="T12" fmla="*/ 33 w 47"/>
                    <a:gd name="T13" fmla="*/ 10 h 28"/>
                    <a:gd name="T14" fmla="*/ 37 w 47"/>
                    <a:gd name="T15" fmla="*/ 12 h 28"/>
                    <a:gd name="T16" fmla="*/ 47 w 47"/>
                    <a:gd name="T17" fmla="*/ 12 h 28"/>
                    <a:gd name="T18" fmla="*/ 42 w 47"/>
                    <a:gd name="T19" fmla="*/ 19 h 28"/>
                    <a:gd name="T20" fmla="*/ 37 w 47"/>
                    <a:gd name="T21" fmla="*/ 25 h 28"/>
                    <a:gd name="T22" fmla="*/ 33 w 47"/>
                    <a:gd name="T23" fmla="*/ 27 h 28"/>
                    <a:gd name="T24" fmla="*/ 28 w 47"/>
                    <a:gd name="T25" fmla="*/ 28 h 28"/>
                    <a:gd name="T26" fmla="*/ 16 w 47"/>
                    <a:gd name="T27" fmla="*/ 27 h 28"/>
                    <a:gd name="T28" fmla="*/ 0 w 47"/>
                    <a:gd name="T29" fmla="*/ 25 h 28"/>
                    <a:gd name="T30" fmla="*/ 1 w 47"/>
                    <a:gd name="T31" fmla="*/ 19 h 28"/>
                    <a:gd name="T32" fmla="*/ 2 w 47"/>
                    <a:gd name="T33" fmla="*/ 15 h 28"/>
                    <a:gd name="T34" fmla="*/ 4 w 47"/>
                    <a:gd name="T35" fmla="*/ 13 h 28"/>
                    <a:gd name="T36" fmla="*/ 6 w 47"/>
                    <a:gd name="T37" fmla="*/ 12 h 28"/>
                    <a:gd name="T38" fmla="*/ 9 w 47"/>
                    <a:gd name="T39" fmla="*/ 11 h 28"/>
                    <a:gd name="T40" fmla="*/ 11 w 47"/>
                    <a:gd name="T41" fmla="*/ 9 h 28"/>
                    <a:gd name="T42" fmla="*/ 13 w 47"/>
                    <a:gd name="T43" fmla="*/ 5 h 28"/>
                    <a:gd name="T44" fmla="*/ 13 w 47"/>
                    <a:gd name="T4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280" name="Freeform 367">
                  <a:extLst>
                    <a:ext uri="{FF2B5EF4-FFF2-40B4-BE49-F238E27FC236}">
                      <a16:creationId xmlns="" xmlns:a16="http://schemas.microsoft.com/office/drawing/2014/main" id="{C33A7126-15BF-4BC8-9B31-736EE15F8BF6}"/>
                    </a:ext>
                  </a:extLst>
                </p:cNvPr>
                <p:cNvSpPr>
                  <a:spLocks/>
                </p:cNvSpPr>
                <p:nvPr>
                  <p:custDataLst>
                    <p:tags r:id="rId268"/>
                  </p:custDataLst>
                </p:nvPr>
              </p:nvSpPr>
              <p:spPr bwMode="auto">
                <a:xfrm>
                  <a:off x="6909497" y="3481372"/>
                  <a:ext cx="16890" cy="40535"/>
                </a:xfrm>
                <a:custGeom>
                  <a:avLst/>
                  <a:gdLst>
                    <a:gd name="T0" fmla="*/ 13 w 53"/>
                    <a:gd name="T1" fmla="*/ 0 h 33"/>
                    <a:gd name="T2" fmla="*/ 26 w 53"/>
                    <a:gd name="T3" fmla="*/ 1 h 33"/>
                    <a:gd name="T4" fmla="*/ 34 w 53"/>
                    <a:gd name="T5" fmla="*/ 1 h 33"/>
                    <a:gd name="T6" fmla="*/ 37 w 53"/>
                    <a:gd name="T7" fmla="*/ 3 h 33"/>
                    <a:gd name="T8" fmla="*/ 37 w 53"/>
                    <a:gd name="T9" fmla="*/ 4 h 33"/>
                    <a:gd name="T10" fmla="*/ 37 w 53"/>
                    <a:gd name="T11" fmla="*/ 6 h 33"/>
                    <a:gd name="T12" fmla="*/ 39 w 53"/>
                    <a:gd name="T13" fmla="*/ 8 h 33"/>
                    <a:gd name="T14" fmla="*/ 44 w 53"/>
                    <a:gd name="T15" fmla="*/ 10 h 33"/>
                    <a:gd name="T16" fmla="*/ 53 w 53"/>
                    <a:gd name="T17" fmla="*/ 12 h 33"/>
                    <a:gd name="T18" fmla="*/ 48 w 53"/>
                    <a:gd name="T19" fmla="*/ 22 h 33"/>
                    <a:gd name="T20" fmla="*/ 44 w 53"/>
                    <a:gd name="T21" fmla="*/ 28 h 33"/>
                    <a:gd name="T22" fmla="*/ 42 w 53"/>
                    <a:gd name="T23" fmla="*/ 31 h 33"/>
                    <a:gd name="T24" fmla="*/ 38 w 53"/>
                    <a:gd name="T25" fmla="*/ 32 h 33"/>
                    <a:gd name="T26" fmla="*/ 36 w 53"/>
                    <a:gd name="T27" fmla="*/ 33 h 33"/>
                    <a:gd name="T28" fmla="*/ 34 w 53"/>
                    <a:gd name="T29" fmla="*/ 33 h 33"/>
                    <a:gd name="T30" fmla="*/ 20 w 53"/>
                    <a:gd name="T31" fmla="*/ 30 h 33"/>
                    <a:gd name="T32" fmla="*/ 0 w 53"/>
                    <a:gd name="T33" fmla="*/ 24 h 33"/>
                    <a:gd name="T34" fmla="*/ 0 w 53"/>
                    <a:gd name="T35" fmla="*/ 19 h 33"/>
                    <a:gd name="T36" fmla="*/ 2 w 53"/>
                    <a:gd name="T37" fmla="*/ 16 h 33"/>
                    <a:gd name="T38" fmla="*/ 4 w 53"/>
                    <a:gd name="T39" fmla="*/ 14 h 33"/>
                    <a:gd name="T40" fmla="*/ 7 w 53"/>
                    <a:gd name="T41" fmla="*/ 12 h 33"/>
                    <a:gd name="T42" fmla="*/ 9 w 53"/>
                    <a:gd name="T43" fmla="*/ 11 h 33"/>
                    <a:gd name="T44" fmla="*/ 11 w 53"/>
                    <a:gd name="T45" fmla="*/ 9 h 33"/>
                    <a:gd name="T46" fmla="*/ 12 w 53"/>
                    <a:gd name="T47" fmla="*/ 6 h 33"/>
                    <a:gd name="T48" fmla="*/ 13 w 53"/>
                    <a:gd name="T4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grpSp>
              <p:nvGrpSpPr>
                <p:cNvPr id="281" name="Group 368">
                  <a:extLst>
                    <a:ext uri="{FF2B5EF4-FFF2-40B4-BE49-F238E27FC236}">
                      <a16:creationId xmlns="" xmlns:a16="http://schemas.microsoft.com/office/drawing/2014/main" id="{B7294703-D679-433E-9115-2F28220997D5}"/>
                    </a:ext>
                  </a:extLst>
                </p:cNvPr>
                <p:cNvGrpSpPr>
                  <a:grpSpLocks/>
                </p:cNvGrpSpPr>
                <p:nvPr>
                  <p:custDataLst>
                    <p:tags r:id="rId269"/>
                  </p:custDataLst>
                </p:nvPr>
              </p:nvGrpSpPr>
              <p:grpSpPr bwMode="auto">
                <a:xfrm>
                  <a:off x="6796900" y="3121062"/>
                  <a:ext cx="119352" cy="73188"/>
                  <a:chOff x="3481" y="2773"/>
                  <a:chExt cx="125" cy="65"/>
                </a:xfrm>
                <a:solidFill>
                  <a:srgbClr val="CDCDCD"/>
                </a:solidFill>
              </p:grpSpPr>
              <p:sp>
                <p:nvSpPr>
                  <p:cNvPr id="480" name="Freeform 369">
                    <a:extLst>
                      <a:ext uri="{FF2B5EF4-FFF2-40B4-BE49-F238E27FC236}">
                        <a16:creationId xmlns="" xmlns:a16="http://schemas.microsoft.com/office/drawing/2014/main" id="{35004C0B-C716-41EF-87FF-BFE05E5ECF26}"/>
                      </a:ext>
                    </a:extLst>
                  </p:cNvPr>
                  <p:cNvSpPr>
                    <a:spLocks/>
                  </p:cNvSpPr>
                  <p:nvPr/>
                </p:nvSpPr>
                <p:spPr bwMode="auto">
                  <a:xfrm>
                    <a:off x="3583" y="2798"/>
                    <a:ext cx="5" cy="6"/>
                  </a:xfrm>
                  <a:custGeom>
                    <a:avLst/>
                    <a:gdLst>
                      <a:gd name="T0" fmla="*/ 13 w 13"/>
                      <a:gd name="T1" fmla="*/ 0 h 18"/>
                      <a:gd name="T2" fmla="*/ 10 w 13"/>
                      <a:gd name="T3" fmla="*/ 9 h 18"/>
                      <a:gd name="T4" fmla="*/ 6 w 13"/>
                      <a:gd name="T5" fmla="*/ 18 h 18"/>
                      <a:gd name="T6" fmla="*/ 5 w 13"/>
                      <a:gd name="T7" fmla="*/ 17 h 18"/>
                      <a:gd name="T8" fmla="*/ 3 w 13"/>
                      <a:gd name="T9" fmla="*/ 14 h 18"/>
                      <a:gd name="T10" fmla="*/ 1 w 13"/>
                      <a:gd name="T11" fmla="*/ 10 h 18"/>
                      <a:gd name="T12" fmla="*/ 0 w 13"/>
                      <a:gd name="T13" fmla="*/ 6 h 18"/>
                    </a:gdLst>
                    <a:ahLst/>
                    <a:cxnLst>
                      <a:cxn ang="0">
                        <a:pos x="T0" y="T1"/>
                      </a:cxn>
                      <a:cxn ang="0">
                        <a:pos x="T2" y="T3"/>
                      </a:cxn>
                      <a:cxn ang="0">
                        <a:pos x="T4" y="T5"/>
                      </a:cxn>
                      <a:cxn ang="0">
                        <a:pos x="T6" y="T7"/>
                      </a:cxn>
                      <a:cxn ang="0">
                        <a:pos x="T8" y="T9"/>
                      </a:cxn>
                      <a:cxn ang="0">
                        <a:pos x="T10" y="T11"/>
                      </a:cxn>
                      <a:cxn ang="0">
                        <a:pos x="T12" y="T13"/>
                      </a:cxn>
                    </a:cxnLst>
                    <a:rect l="0" t="0" r="r" b="b"/>
                    <a:pathLst>
                      <a:path w="13" h="18">
                        <a:moveTo>
                          <a:pt x="13" y="0"/>
                        </a:moveTo>
                        <a:lnTo>
                          <a:pt x="10" y="9"/>
                        </a:lnTo>
                        <a:lnTo>
                          <a:pt x="6" y="18"/>
                        </a:lnTo>
                        <a:lnTo>
                          <a:pt x="5" y="17"/>
                        </a:lnTo>
                        <a:lnTo>
                          <a:pt x="3" y="14"/>
                        </a:lnTo>
                        <a:lnTo>
                          <a:pt x="1" y="10"/>
                        </a:lnTo>
                        <a:lnTo>
                          <a:pt x="0" y="6"/>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481" name="Line 370">
                    <a:extLst>
                      <a:ext uri="{FF2B5EF4-FFF2-40B4-BE49-F238E27FC236}">
                        <a16:creationId xmlns="" xmlns:a16="http://schemas.microsoft.com/office/drawing/2014/main" id="{06C94D5E-0154-4D61-89B8-322B8D07E801}"/>
                      </a:ext>
                    </a:extLst>
                  </p:cNvPr>
                  <p:cNvSpPr>
                    <a:spLocks noChangeShapeType="1"/>
                  </p:cNvSpPr>
                  <p:nvPr/>
                </p:nvSpPr>
                <p:spPr bwMode="auto">
                  <a:xfrm>
                    <a:off x="3583" y="2800"/>
                    <a:ext cx="2" cy="1"/>
                  </a:xfrm>
                  <a:prstGeom prst="line">
                    <a:avLst/>
                  </a:prstGeom>
                  <a:grpFill/>
                  <a:ln w="3175">
                    <a:solidFill>
                      <a:srgbClr val="FFFFFF"/>
                    </a:solidFill>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482" name="Freeform 371">
                    <a:extLst>
                      <a:ext uri="{FF2B5EF4-FFF2-40B4-BE49-F238E27FC236}">
                        <a16:creationId xmlns="" xmlns:a16="http://schemas.microsoft.com/office/drawing/2014/main" id="{B7675071-16D1-420C-B8AC-5706C31529EE}"/>
                      </a:ext>
                    </a:extLst>
                  </p:cNvPr>
                  <p:cNvSpPr>
                    <a:spLocks/>
                  </p:cNvSpPr>
                  <p:nvPr/>
                </p:nvSpPr>
                <p:spPr bwMode="auto">
                  <a:xfrm>
                    <a:off x="3554" y="2819"/>
                    <a:ext cx="5" cy="6"/>
                  </a:xfrm>
                  <a:custGeom>
                    <a:avLst/>
                    <a:gdLst>
                      <a:gd name="T0" fmla="*/ 14 w 14"/>
                      <a:gd name="T1" fmla="*/ 19 h 19"/>
                      <a:gd name="T2" fmla="*/ 0 w 14"/>
                      <a:gd name="T3" fmla="*/ 0 h 19"/>
                      <a:gd name="T4" fmla="*/ 14 w 14"/>
                      <a:gd name="T5" fmla="*/ 19 h 19"/>
                    </a:gdLst>
                    <a:ahLst/>
                    <a:cxnLst>
                      <a:cxn ang="0">
                        <a:pos x="T0" y="T1"/>
                      </a:cxn>
                      <a:cxn ang="0">
                        <a:pos x="T2" y="T3"/>
                      </a:cxn>
                      <a:cxn ang="0">
                        <a:pos x="T4" y="T5"/>
                      </a:cxn>
                    </a:cxnLst>
                    <a:rect l="0" t="0" r="r" b="b"/>
                    <a:pathLst>
                      <a:path w="14" h="19">
                        <a:moveTo>
                          <a:pt x="14" y="19"/>
                        </a:moveTo>
                        <a:lnTo>
                          <a:pt x="0" y="0"/>
                        </a:lnTo>
                        <a:lnTo>
                          <a:pt x="14" y="19"/>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483" name="Freeform 372">
                    <a:extLst>
                      <a:ext uri="{FF2B5EF4-FFF2-40B4-BE49-F238E27FC236}">
                        <a16:creationId xmlns="" xmlns:a16="http://schemas.microsoft.com/office/drawing/2014/main" id="{164C6074-367C-4026-8166-B79443873E3F}"/>
                      </a:ext>
                    </a:extLst>
                  </p:cNvPr>
                  <p:cNvSpPr>
                    <a:spLocks/>
                  </p:cNvSpPr>
                  <p:nvPr/>
                </p:nvSpPr>
                <p:spPr bwMode="auto">
                  <a:xfrm>
                    <a:off x="3528" y="2832"/>
                    <a:ext cx="2" cy="6"/>
                  </a:xfrm>
                  <a:custGeom>
                    <a:avLst/>
                    <a:gdLst>
                      <a:gd name="T0" fmla="*/ 0 w 7"/>
                      <a:gd name="T1" fmla="*/ 6 h 18"/>
                      <a:gd name="T2" fmla="*/ 7 w 7"/>
                      <a:gd name="T3" fmla="*/ 18 h 18"/>
                      <a:gd name="T4" fmla="*/ 0 w 7"/>
                      <a:gd name="T5" fmla="*/ 18 h 18"/>
                      <a:gd name="T6" fmla="*/ 0 w 7"/>
                      <a:gd name="T7" fmla="*/ 0 h 18"/>
                      <a:gd name="T8" fmla="*/ 7 w 7"/>
                      <a:gd name="T9" fmla="*/ 0 h 18"/>
                    </a:gdLst>
                    <a:ahLst/>
                    <a:cxnLst>
                      <a:cxn ang="0">
                        <a:pos x="T0" y="T1"/>
                      </a:cxn>
                      <a:cxn ang="0">
                        <a:pos x="T2" y="T3"/>
                      </a:cxn>
                      <a:cxn ang="0">
                        <a:pos x="T4" y="T5"/>
                      </a:cxn>
                      <a:cxn ang="0">
                        <a:pos x="T6" y="T7"/>
                      </a:cxn>
                      <a:cxn ang="0">
                        <a:pos x="T8" y="T9"/>
                      </a:cxn>
                    </a:cxnLst>
                    <a:rect l="0" t="0" r="r" b="b"/>
                    <a:pathLst>
                      <a:path w="7" h="18">
                        <a:moveTo>
                          <a:pt x="0" y="6"/>
                        </a:moveTo>
                        <a:lnTo>
                          <a:pt x="7" y="18"/>
                        </a:lnTo>
                        <a:lnTo>
                          <a:pt x="0" y="18"/>
                        </a:lnTo>
                        <a:lnTo>
                          <a:pt x="0" y="0"/>
                        </a:lnTo>
                        <a:lnTo>
                          <a:pt x="7" y="0"/>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484" name="Freeform 373">
                    <a:extLst>
                      <a:ext uri="{FF2B5EF4-FFF2-40B4-BE49-F238E27FC236}">
                        <a16:creationId xmlns="" xmlns:a16="http://schemas.microsoft.com/office/drawing/2014/main" id="{F23D8F85-6801-4B6B-ADEF-2CAEF0AF07CB}"/>
                      </a:ext>
                    </a:extLst>
                  </p:cNvPr>
                  <p:cNvSpPr>
                    <a:spLocks/>
                  </p:cNvSpPr>
                  <p:nvPr/>
                </p:nvSpPr>
                <p:spPr bwMode="auto">
                  <a:xfrm>
                    <a:off x="3599" y="2773"/>
                    <a:ext cx="7" cy="4"/>
                  </a:xfrm>
                  <a:custGeom>
                    <a:avLst/>
                    <a:gdLst>
                      <a:gd name="T0" fmla="*/ 20 w 20"/>
                      <a:gd name="T1" fmla="*/ 12 h 12"/>
                      <a:gd name="T2" fmla="*/ 10 w 20"/>
                      <a:gd name="T3" fmla="*/ 9 h 12"/>
                      <a:gd name="T4" fmla="*/ 0 w 20"/>
                      <a:gd name="T5" fmla="*/ 6 h 12"/>
                      <a:gd name="T6" fmla="*/ 1 w 20"/>
                      <a:gd name="T7" fmla="*/ 5 h 12"/>
                      <a:gd name="T8" fmla="*/ 3 w 20"/>
                      <a:gd name="T9" fmla="*/ 3 h 12"/>
                      <a:gd name="T10" fmla="*/ 8 w 20"/>
                      <a:gd name="T11" fmla="*/ 1 h 12"/>
                      <a:gd name="T12" fmla="*/ 13 w 2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0" h="12">
                        <a:moveTo>
                          <a:pt x="20" y="12"/>
                        </a:moveTo>
                        <a:lnTo>
                          <a:pt x="10" y="9"/>
                        </a:lnTo>
                        <a:lnTo>
                          <a:pt x="0" y="6"/>
                        </a:lnTo>
                        <a:lnTo>
                          <a:pt x="1" y="5"/>
                        </a:lnTo>
                        <a:lnTo>
                          <a:pt x="3" y="3"/>
                        </a:lnTo>
                        <a:lnTo>
                          <a:pt x="8" y="1"/>
                        </a:lnTo>
                        <a:lnTo>
                          <a:pt x="13" y="0"/>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485" name="Line 374">
                    <a:extLst>
                      <a:ext uri="{FF2B5EF4-FFF2-40B4-BE49-F238E27FC236}">
                        <a16:creationId xmlns="" xmlns:a16="http://schemas.microsoft.com/office/drawing/2014/main" id="{26F6B81A-DC77-4E64-AD9C-2278FE89CEB8}"/>
                      </a:ext>
                    </a:extLst>
                  </p:cNvPr>
                  <p:cNvSpPr>
                    <a:spLocks noChangeShapeType="1"/>
                  </p:cNvSpPr>
                  <p:nvPr/>
                </p:nvSpPr>
                <p:spPr bwMode="auto">
                  <a:xfrm>
                    <a:off x="3603" y="2773"/>
                    <a:ext cx="1" cy="2"/>
                  </a:xfrm>
                  <a:prstGeom prst="line">
                    <a:avLst/>
                  </a:prstGeom>
                  <a:grpFill/>
                  <a:ln w="3175">
                    <a:solidFill>
                      <a:srgbClr val="FFFFFF"/>
                    </a:solidFill>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486" name="Freeform 375">
                    <a:extLst>
                      <a:ext uri="{FF2B5EF4-FFF2-40B4-BE49-F238E27FC236}">
                        <a16:creationId xmlns="" xmlns:a16="http://schemas.microsoft.com/office/drawing/2014/main" id="{8FBE73FC-C72A-487F-8597-912E7B275396}"/>
                      </a:ext>
                    </a:extLst>
                  </p:cNvPr>
                  <p:cNvSpPr>
                    <a:spLocks/>
                  </p:cNvSpPr>
                  <p:nvPr/>
                </p:nvSpPr>
                <p:spPr bwMode="auto">
                  <a:xfrm>
                    <a:off x="3481" y="2828"/>
                    <a:ext cx="7" cy="6"/>
                  </a:xfrm>
                  <a:custGeom>
                    <a:avLst/>
                    <a:gdLst>
                      <a:gd name="T0" fmla="*/ 0 w 20"/>
                      <a:gd name="T1" fmla="*/ 0 h 18"/>
                      <a:gd name="T2" fmla="*/ 0 w 20"/>
                      <a:gd name="T3" fmla="*/ 18 h 18"/>
                      <a:gd name="T4" fmla="*/ 20 w 20"/>
                      <a:gd name="T5" fmla="*/ 18 h 18"/>
                    </a:gdLst>
                    <a:ahLst/>
                    <a:cxnLst>
                      <a:cxn ang="0">
                        <a:pos x="T0" y="T1"/>
                      </a:cxn>
                      <a:cxn ang="0">
                        <a:pos x="T2" y="T3"/>
                      </a:cxn>
                      <a:cxn ang="0">
                        <a:pos x="T4" y="T5"/>
                      </a:cxn>
                    </a:cxnLst>
                    <a:rect l="0" t="0" r="r" b="b"/>
                    <a:pathLst>
                      <a:path w="20" h="18">
                        <a:moveTo>
                          <a:pt x="0" y="0"/>
                        </a:moveTo>
                        <a:lnTo>
                          <a:pt x="0" y="18"/>
                        </a:lnTo>
                        <a:lnTo>
                          <a:pt x="20" y="18"/>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487" name="Freeform 376">
                    <a:extLst>
                      <a:ext uri="{FF2B5EF4-FFF2-40B4-BE49-F238E27FC236}">
                        <a16:creationId xmlns="" xmlns:a16="http://schemas.microsoft.com/office/drawing/2014/main" id="{2C566885-D42B-4E7B-8E78-314E1B6447E8}"/>
                      </a:ext>
                    </a:extLst>
                  </p:cNvPr>
                  <p:cNvSpPr>
                    <a:spLocks/>
                  </p:cNvSpPr>
                  <p:nvPr/>
                </p:nvSpPr>
                <p:spPr bwMode="auto">
                  <a:xfrm>
                    <a:off x="3485" y="2830"/>
                    <a:ext cx="3" cy="4"/>
                  </a:xfrm>
                  <a:custGeom>
                    <a:avLst/>
                    <a:gdLst>
                      <a:gd name="T0" fmla="*/ 7 w 7"/>
                      <a:gd name="T1" fmla="*/ 12 h 12"/>
                      <a:gd name="T2" fmla="*/ 4 w 7"/>
                      <a:gd name="T3" fmla="*/ 6 h 12"/>
                      <a:gd name="T4" fmla="*/ 0 w 7"/>
                      <a:gd name="T5" fmla="*/ 0 h 12"/>
                    </a:gdLst>
                    <a:ahLst/>
                    <a:cxnLst>
                      <a:cxn ang="0">
                        <a:pos x="T0" y="T1"/>
                      </a:cxn>
                      <a:cxn ang="0">
                        <a:pos x="T2" y="T3"/>
                      </a:cxn>
                      <a:cxn ang="0">
                        <a:pos x="T4" y="T5"/>
                      </a:cxn>
                    </a:cxnLst>
                    <a:rect l="0" t="0" r="r" b="b"/>
                    <a:pathLst>
                      <a:path w="7" h="12">
                        <a:moveTo>
                          <a:pt x="7" y="12"/>
                        </a:moveTo>
                        <a:lnTo>
                          <a:pt x="4" y="6"/>
                        </a:lnTo>
                        <a:lnTo>
                          <a:pt x="0" y="0"/>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488" name="Freeform 377">
                    <a:extLst>
                      <a:ext uri="{FF2B5EF4-FFF2-40B4-BE49-F238E27FC236}">
                        <a16:creationId xmlns="" xmlns:a16="http://schemas.microsoft.com/office/drawing/2014/main" id="{676A05B4-2D17-41DA-A9FC-376D5211C255}"/>
                      </a:ext>
                    </a:extLst>
                  </p:cNvPr>
                  <p:cNvSpPr>
                    <a:spLocks/>
                  </p:cNvSpPr>
                  <p:nvPr/>
                </p:nvSpPr>
                <p:spPr bwMode="auto">
                  <a:xfrm>
                    <a:off x="3481" y="2828"/>
                    <a:ext cx="7" cy="6"/>
                  </a:xfrm>
                  <a:custGeom>
                    <a:avLst/>
                    <a:gdLst>
                      <a:gd name="T0" fmla="*/ 0 w 20"/>
                      <a:gd name="T1" fmla="*/ 0 h 18"/>
                      <a:gd name="T2" fmla="*/ 0 w 20"/>
                      <a:gd name="T3" fmla="*/ 18 h 18"/>
                      <a:gd name="T4" fmla="*/ 20 w 20"/>
                      <a:gd name="T5" fmla="*/ 18 h 18"/>
                      <a:gd name="T6" fmla="*/ 17 w 20"/>
                      <a:gd name="T7" fmla="*/ 12 h 18"/>
                      <a:gd name="T8" fmla="*/ 13 w 20"/>
                      <a:gd name="T9" fmla="*/ 6 h 18"/>
                      <a:gd name="T10" fmla="*/ 0 w 20"/>
                      <a:gd name="T11" fmla="*/ 0 h 18"/>
                    </a:gdLst>
                    <a:ahLst/>
                    <a:cxnLst>
                      <a:cxn ang="0">
                        <a:pos x="T0" y="T1"/>
                      </a:cxn>
                      <a:cxn ang="0">
                        <a:pos x="T2" y="T3"/>
                      </a:cxn>
                      <a:cxn ang="0">
                        <a:pos x="T4" y="T5"/>
                      </a:cxn>
                      <a:cxn ang="0">
                        <a:pos x="T6" y="T7"/>
                      </a:cxn>
                      <a:cxn ang="0">
                        <a:pos x="T8" y="T9"/>
                      </a:cxn>
                      <a:cxn ang="0">
                        <a:pos x="T10" y="T11"/>
                      </a:cxn>
                    </a:cxnLst>
                    <a:rect l="0" t="0" r="r" b="b"/>
                    <a:pathLst>
                      <a:path w="20" h="18">
                        <a:moveTo>
                          <a:pt x="0" y="0"/>
                        </a:moveTo>
                        <a:lnTo>
                          <a:pt x="0" y="18"/>
                        </a:lnTo>
                        <a:lnTo>
                          <a:pt x="20" y="18"/>
                        </a:lnTo>
                        <a:lnTo>
                          <a:pt x="17" y="12"/>
                        </a:lnTo>
                        <a:lnTo>
                          <a:pt x="13" y="6"/>
                        </a:lnTo>
                        <a:lnTo>
                          <a:pt x="0" y="0"/>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489" name="Freeform 378">
                    <a:extLst>
                      <a:ext uri="{FF2B5EF4-FFF2-40B4-BE49-F238E27FC236}">
                        <a16:creationId xmlns="" xmlns:a16="http://schemas.microsoft.com/office/drawing/2014/main" id="{44B35717-3246-40C2-BBEB-691E9FFB7537}"/>
                      </a:ext>
                    </a:extLst>
                  </p:cNvPr>
                  <p:cNvSpPr>
                    <a:spLocks/>
                  </p:cNvSpPr>
                  <p:nvPr/>
                </p:nvSpPr>
                <p:spPr bwMode="auto">
                  <a:xfrm>
                    <a:off x="3528" y="2832"/>
                    <a:ext cx="2" cy="6"/>
                  </a:xfrm>
                  <a:custGeom>
                    <a:avLst/>
                    <a:gdLst>
                      <a:gd name="T0" fmla="*/ 0 w 7"/>
                      <a:gd name="T1" fmla="*/ 6 h 18"/>
                      <a:gd name="T2" fmla="*/ 7 w 7"/>
                      <a:gd name="T3" fmla="*/ 18 h 18"/>
                      <a:gd name="T4" fmla="*/ 0 w 7"/>
                      <a:gd name="T5" fmla="*/ 18 h 18"/>
                      <a:gd name="T6" fmla="*/ 0 w 7"/>
                      <a:gd name="T7" fmla="*/ 0 h 18"/>
                      <a:gd name="T8" fmla="*/ 7 w 7"/>
                      <a:gd name="T9" fmla="*/ 0 h 18"/>
                      <a:gd name="T10" fmla="*/ 0 w 7"/>
                      <a:gd name="T11" fmla="*/ 6 h 18"/>
                    </a:gdLst>
                    <a:ahLst/>
                    <a:cxnLst>
                      <a:cxn ang="0">
                        <a:pos x="T0" y="T1"/>
                      </a:cxn>
                      <a:cxn ang="0">
                        <a:pos x="T2" y="T3"/>
                      </a:cxn>
                      <a:cxn ang="0">
                        <a:pos x="T4" y="T5"/>
                      </a:cxn>
                      <a:cxn ang="0">
                        <a:pos x="T6" y="T7"/>
                      </a:cxn>
                      <a:cxn ang="0">
                        <a:pos x="T8" y="T9"/>
                      </a:cxn>
                      <a:cxn ang="0">
                        <a:pos x="T10" y="T11"/>
                      </a:cxn>
                    </a:cxnLst>
                    <a:rect l="0" t="0" r="r" b="b"/>
                    <a:pathLst>
                      <a:path w="7" h="18">
                        <a:moveTo>
                          <a:pt x="0" y="6"/>
                        </a:moveTo>
                        <a:lnTo>
                          <a:pt x="7" y="18"/>
                        </a:lnTo>
                        <a:lnTo>
                          <a:pt x="0" y="18"/>
                        </a:lnTo>
                        <a:lnTo>
                          <a:pt x="0" y="0"/>
                        </a:lnTo>
                        <a:lnTo>
                          <a:pt x="7" y="0"/>
                        </a:lnTo>
                        <a:lnTo>
                          <a:pt x="0" y="6"/>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490" name="Freeform 379">
                    <a:extLst>
                      <a:ext uri="{FF2B5EF4-FFF2-40B4-BE49-F238E27FC236}">
                        <a16:creationId xmlns="" xmlns:a16="http://schemas.microsoft.com/office/drawing/2014/main" id="{F5308DF3-99F0-47CB-9946-D4DD294B35C0}"/>
                      </a:ext>
                    </a:extLst>
                  </p:cNvPr>
                  <p:cNvSpPr>
                    <a:spLocks/>
                  </p:cNvSpPr>
                  <p:nvPr/>
                </p:nvSpPr>
                <p:spPr bwMode="auto">
                  <a:xfrm>
                    <a:off x="3583" y="2798"/>
                    <a:ext cx="5" cy="6"/>
                  </a:xfrm>
                  <a:custGeom>
                    <a:avLst/>
                    <a:gdLst>
                      <a:gd name="T0" fmla="*/ 13 w 13"/>
                      <a:gd name="T1" fmla="*/ 0 h 18"/>
                      <a:gd name="T2" fmla="*/ 10 w 13"/>
                      <a:gd name="T3" fmla="*/ 9 h 18"/>
                      <a:gd name="T4" fmla="*/ 6 w 13"/>
                      <a:gd name="T5" fmla="*/ 18 h 18"/>
                      <a:gd name="T6" fmla="*/ 5 w 13"/>
                      <a:gd name="T7" fmla="*/ 17 h 18"/>
                      <a:gd name="T8" fmla="*/ 3 w 13"/>
                      <a:gd name="T9" fmla="*/ 14 h 18"/>
                      <a:gd name="T10" fmla="*/ 1 w 13"/>
                      <a:gd name="T11" fmla="*/ 10 h 18"/>
                      <a:gd name="T12" fmla="*/ 0 w 13"/>
                      <a:gd name="T13" fmla="*/ 6 h 18"/>
                      <a:gd name="T14" fmla="*/ 6 w 13"/>
                      <a:gd name="T15" fmla="*/ 6 h 18"/>
                      <a:gd name="T16" fmla="*/ 13 w 13"/>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grpSp>
            <p:sp>
              <p:nvSpPr>
                <p:cNvPr id="282" name="Freeform 380">
                  <a:extLst>
                    <a:ext uri="{FF2B5EF4-FFF2-40B4-BE49-F238E27FC236}">
                      <a16:creationId xmlns="" xmlns:a16="http://schemas.microsoft.com/office/drawing/2014/main" id="{8AE6B6A2-C0E5-4348-A4A1-3812F873D6EE}"/>
                    </a:ext>
                  </a:extLst>
                </p:cNvPr>
                <p:cNvSpPr>
                  <a:spLocks/>
                </p:cNvSpPr>
                <p:nvPr>
                  <p:custDataLst>
                    <p:tags r:id="rId270"/>
                  </p:custDataLst>
                </p:nvPr>
              </p:nvSpPr>
              <p:spPr bwMode="auto">
                <a:xfrm>
                  <a:off x="6178744" y="3115432"/>
                  <a:ext cx="226319" cy="269107"/>
                </a:xfrm>
                <a:custGeom>
                  <a:avLst/>
                  <a:gdLst>
                    <a:gd name="T0" fmla="*/ 60 w 736"/>
                    <a:gd name="T1" fmla="*/ 685 h 721"/>
                    <a:gd name="T2" fmla="*/ 91 w 736"/>
                    <a:gd name="T3" fmla="*/ 668 h 721"/>
                    <a:gd name="T4" fmla="*/ 126 w 736"/>
                    <a:gd name="T5" fmla="*/ 668 h 721"/>
                    <a:gd name="T6" fmla="*/ 196 w 736"/>
                    <a:gd name="T7" fmla="*/ 692 h 721"/>
                    <a:gd name="T8" fmla="*/ 245 w 736"/>
                    <a:gd name="T9" fmla="*/ 705 h 721"/>
                    <a:gd name="T10" fmla="*/ 292 w 736"/>
                    <a:gd name="T11" fmla="*/ 703 h 721"/>
                    <a:gd name="T12" fmla="*/ 611 w 736"/>
                    <a:gd name="T13" fmla="*/ 717 h 721"/>
                    <a:gd name="T14" fmla="*/ 651 w 736"/>
                    <a:gd name="T15" fmla="*/ 707 h 721"/>
                    <a:gd name="T16" fmla="*/ 627 w 736"/>
                    <a:gd name="T17" fmla="*/ 657 h 721"/>
                    <a:gd name="T18" fmla="*/ 664 w 736"/>
                    <a:gd name="T19" fmla="*/ 433 h 721"/>
                    <a:gd name="T20" fmla="*/ 709 w 736"/>
                    <a:gd name="T21" fmla="*/ 429 h 721"/>
                    <a:gd name="T22" fmla="*/ 723 w 736"/>
                    <a:gd name="T23" fmla="*/ 416 h 721"/>
                    <a:gd name="T24" fmla="*/ 734 w 736"/>
                    <a:gd name="T25" fmla="*/ 360 h 721"/>
                    <a:gd name="T26" fmla="*/ 722 w 736"/>
                    <a:gd name="T27" fmla="*/ 302 h 721"/>
                    <a:gd name="T28" fmla="*/ 708 w 736"/>
                    <a:gd name="T29" fmla="*/ 304 h 721"/>
                    <a:gd name="T30" fmla="*/ 676 w 736"/>
                    <a:gd name="T31" fmla="*/ 300 h 721"/>
                    <a:gd name="T32" fmla="*/ 634 w 736"/>
                    <a:gd name="T33" fmla="*/ 299 h 721"/>
                    <a:gd name="T34" fmla="*/ 623 w 736"/>
                    <a:gd name="T35" fmla="*/ 290 h 721"/>
                    <a:gd name="T36" fmla="*/ 617 w 736"/>
                    <a:gd name="T37" fmla="*/ 253 h 721"/>
                    <a:gd name="T38" fmla="*/ 607 w 736"/>
                    <a:gd name="T39" fmla="*/ 219 h 721"/>
                    <a:gd name="T40" fmla="*/ 597 w 736"/>
                    <a:gd name="T41" fmla="*/ 186 h 721"/>
                    <a:gd name="T42" fmla="*/ 607 w 736"/>
                    <a:gd name="T43" fmla="*/ 167 h 721"/>
                    <a:gd name="T44" fmla="*/ 617 w 736"/>
                    <a:gd name="T45" fmla="*/ 148 h 721"/>
                    <a:gd name="T46" fmla="*/ 611 w 736"/>
                    <a:gd name="T47" fmla="*/ 100 h 721"/>
                    <a:gd name="T48" fmla="*/ 544 w 736"/>
                    <a:gd name="T49" fmla="*/ 70 h 721"/>
                    <a:gd name="T50" fmla="*/ 477 w 736"/>
                    <a:gd name="T51" fmla="*/ 66 h 721"/>
                    <a:gd name="T52" fmla="*/ 471 w 736"/>
                    <a:gd name="T53" fmla="*/ 81 h 721"/>
                    <a:gd name="T54" fmla="*/ 463 w 736"/>
                    <a:gd name="T55" fmla="*/ 101 h 721"/>
                    <a:gd name="T56" fmla="*/ 440 w 736"/>
                    <a:gd name="T57" fmla="*/ 122 h 721"/>
                    <a:gd name="T58" fmla="*/ 392 w 736"/>
                    <a:gd name="T59" fmla="*/ 130 h 721"/>
                    <a:gd name="T60" fmla="*/ 364 w 736"/>
                    <a:gd name="T61" fmla="*/ 115 h 721"/>
                    <a:gd name="T62" fmla="*/ 339 w 736"/>
                    <a:gd name="T63" fmla="*/ 82 h 721"/>
                    <a:gd name="T64" fmla="*/ 319 w 736"/>
                    <a:gd name="T65" fmla="*/ 39 h 721"/>
                    <a:gd name="T66" fmla="*/ 312 w 736"/>
                    <a:gd name="T67" fmla="*/ 0 h 721"/>
                    <a:gd name="T68" fmla="*/ 30 w 736"/>
                    <a:gd name="T69" fmla="*/ 15 h 721"/>
                    <a:gd name="T70" fmla="*/ 47 w 736"/>
                    <a:gd name="T71" fmla="*/ 29 h 721"/>
                    <a:gd name="T72" fmla="*/ 75 w 736"/>
                    <a:gd name="T73" fmla="*/ 75 h 721"/>
                    <a:gd name="T74" fmla="*/ 102 w 736"/>
                    <a:gd name="T75" fmla="*/ 130 h 721"/>
                    <a:gd name="T76" fmla="*/ 103 w 736"/>
                    <a:gd name="T77" fmla="*/ 171 h 721"/>
                    <a:gd name="T78" fmla="*/ 93 w 736"/>
                    <a:gd name="T79" fmla="*/ 203 h 721"/>
                    <a:gd name="T80" fmla="*/ 96 w 736"/>
                    <a:gd name="T81" fmla="*/ 229 h 721"/>
                    <a:gd name="T82" fmla="*/ 119 w 736"/>
                    <a:gd name="T83" fmla="*/ 272 h 721"/>
                    <a:gd name="T84" fmla="*/ 131 w 736"/>
                    <a:gd name="T85" fmla="*/ 307 h 721"/>
                    <a:gd name="T86" fmla="*/ 127 w 736"/>
                    <a:gd name="T87" fmla="*/ 352 h 721"/>
                    <a:gd name="T88" fmla="*/ 106 w 736"/>
                    <a:gd name="T89" fmla="*/ 403 h 721"/>
                    <a:gd name="T90" fmla="*/ 77 w 736"/>
                    <a:gd name="T91" fmla="*/ 446 h 721"/>
                    <a:gd name="T92" fmla="*/ 41 w 736"/>
                    <a:gd name="T93" fmla="*/ 477 h 721"/>
                    <a:gd name="T94" fmla="*/ 25 w 736"/>
                    <a:gd name="T95" fmla="*/ 591 h 721"/>
                    <a:gd name="T96" fmla="*/ 11 w 736"/>
                    <a:gd name="T97" fmla="*/ 627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283" name="Freeform 381">
                  <a:extLst>
                    <a:ext uri="{FF2B5EF4-FFF2-40B4-BE49-F238E27FC236}">
                      <a16:creationId xmlns="" xmlns:a16="http://schemas.microsoft.com/office/drawing/2014/main" id="{8892C87A-1F57-4F83-A14D-B143722ABE3C}"/>
                    </a:ext>
                  </a:extLst>
                </p:cNvPr>
                <p:cNvSpPr>
                  <a:spLocks/>
                </p:cNvSpPr>
                <p:nvPr>
                  <p:custDataLst>
                    <p:tags r:id="rId271"/>
                  </p:custDataLst>
                </p:nvPr>
              </p:nvSpPr>
              <p:spPr bwMode="auto">
                <a:xfrm>
                  <a:off x="6186625" y="3096291"/>
                  <a:ext cx="11260" cy="42787"/>
                </a:xfrm>
                <a:custGeom>
                  <a:avLst/>
                  <a:gdLst>
                    <a:gd name="T0" fmla="*/ 0 w 39"/>
                    <a:gd name="T1" fmla="*/ 31 h 31"/>
                    <a:gd name="T2" fmla="*/ 12 w 39"/>
                    <a:gd name="T3" fmla="*/ 28 h 31"/>
                    <a:gd name="T4" fmla="*/ 22 w 39"/>
                    <a:gd name="T5" fmla="*/ 28 h 31"/>
                    <a:gd name="T6" fmla="*/ 26 w 39"/>
                    <a:gd name="T7" fmla="*/ 28 h 31"/>
                    <a:gd name="T8" fmla="*/ 30 w 39"/>
                    <a:gd name="T9" fmla="*/ 28 h 31"/>
                    <a:gd name="T10" fmla="*/ 35 w 39"/>
                    <a:gd name="T11" fmla="*/ 27 h 31"/>
                    <a:gd name="T12" fmla="*/ 39 w 39"/>
                    <a:gd name="T13" fmla="*/ 25 h 31"/>
                    <a:gd name="T14" fmla="*/ 39 w 39"/>
                    <a:gd name="T15" fmla="*/ 0 h 31"/>
                    <a:gd name="T16" fmla="*/ 26 w 39"/>
                    <a:gd name="T17" fmla="*/ 0 h 31"/>
                    <a:gd name="T18" fmla="*/ 17 w 39"/>
                    <a:gd name="T19" fmla="*/ 0 h 31"/>
                    <a:gd name="T20" fmla="*/ 8 w 39"/>
                    <a:gd name="T21" fmla="*/ 0 h 31"/>
                    <a:gd name="T22" fmla="*/ 0 w 39"/>
                    <a:gd name="T23" fmla="*/ 0 h 31"/>
                    <a:gd name="T24" fmla="*/ 0 w 39"/>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284" name="Freeform 382">
                  <a:extLst>
                    <a:ext uri="{FF2B5EF4-FFF2-40B4-BE49-F238E27FC236}">
                      <a16:creationId xmlns="" xmlns:a16="http://schemas.microsoft.com/office/drawing/2014/main" id="{CABE1453-8B31-4A2F-9CAA-1A447BC0B0FB}"/>
                    </a:ext>
                  </a:extLst>
                </p:cNvPr>
                <p:cNvSpPr>
                  <a:spLocks/>
                </p:cNvSpPr>
                <p:nvPr>
                  <p:custDataLst>
                    <p:tags r:id="rId272"/>
                  </p:custDataLst>
                </p:nvPr>
              </p:nvSpPr>
              <p:spPr bwMode="auto">
                <a:xfrm>
                  <a:off x="6258688" y="3481372"/>
                  <a:ext cx="281491" cy="282618"/>
                </a:xfrm>
                <a:custGeom>
                  <a:avLst/>
                  <a:gdLst>
                    <a:gd name="T0" fmla="*/ 899 w 903"/>
                    <a:gd name="T1" fmla="*/ 291 h 759"/>
                    <a:gd name="T2" fmla="*/ 863 w 903"/>
                    <a:gd name="T3" fmla="*/ 388 h 759"/>
                    <a:gd name="T4" fmla="*/ 832 w 903"/>
                    <a:gd name="T5" fmla="*/ 414 h 759"/>
                    <a:gd name="T6" fmla="*/ 761 w 903"/>
                    <a:gd name="T7" fmla="*/ 507 h 759"/>
                    <a:gd name="T8" fmla="*/ 720 w 903"/>
                    <a:gd name="T9" fmla="*/ 561 h 759"/>
                    <a:gd name="T10" fmla="*/ 647 w 903"/>
                    <a:gd name="T11" fmla="*/ 613 h 759"/>
                    <a:gd name="T12" fmla="*/ 583 w 903"/>
                    <a:gd name="T13" fmla="*/ 666 h 759"/>
                    <a:gd name="T14" fmla="*/ 557 w 903"/>
                    <a:gd name="T15" fmla="*/ 698 h 759"/>
                    <a:gd name="T16" fmla="*/ 520 w 903"/>
                    <a:gd name="T17" fmla="*/ 705 h 759"/>
                    <a:gd name="T18" fmla="*/ 496 w 903"/>
                    <a:gd name="T19" fmla="*/ 710 h 759"/>
                    <a:gd name="T20" fmla="*/ 485 w 903"/>
                    <a:gd name="T21" fmla="*/ 727 h 759"/>
                    <a:gd name="T22" fmla="*/ 372 w 903"/>
                    <a:gd name="T23" fmla="*/ 727 h 759"/>
                    <a:gd name="T24" fmla="*/ 339 w 903"/>
                    <a:gd name="T25" fmla="*/ 732 h 759"/>
                    <a:gd name="T26" fmla="*/ 316 w 903"/>
                    <a:gd name="T27" fmla="*/ 732 h 759"/>
                    <a:gd name="T28" fmla="*/ 286 w 903"/>
                    <a:gd name="T29" fmla="*/ 727 h 759"/>
                    <a:gd name="T30" fmla="*/ 263 w 903"/>
                    <a:gd name="T31" fmla="*/ 737 h 759"/>
                    <a:gd name="T32" fmla="*/ 146 w 903"/>
                    <a:gd name="T33" fmla="*/ 759 h 759"/>
                    <a:gd name="T34" fmla="*/ 116 w 903"/>
                    <a:gd name="T35" fmla="*/ 753 h 759"/>
                    <a:gd name="T36" fmla="*/ 90 w 903"/>
                    <a:gd name="T37" fmla="*/ 739 h 759"/>
                    <a:gd name="T38" fmla="*/ 76 w 903"/>
                    <a:gd name="T39" fmla="*/ 719 h 759"/>
                    <a:gd name="T40" fmla="*/ 79 w 903"/>
                    <a:gd name="T41" fmla="*/ 697 h 759"/>
                    <a:gd name="T42" fmla="*/ 75 w 903"/>
                    <a:gd name="T43" fmla="*/ 628 h 759"/>
                    <a:gd name="T44" fmla="*/ 79 w 903"/>
                    <a:gd name="T45" fmla="*/ 608 h 759"/>
                    <a:gd name="T46" fmla="*/ 68 w 903"/>
                    <a:gd name="T47" fmla="*/ 572 h 759"/>
                    <a:gd name="T48" fmla="*/ 22 w 903"/>
                    <a:gd name="T49" fmla="*/ 516 h 759"/>
                    <a:gd name="T50" fmla="*/ 12 w 903"/>
                    <a:gd name="T51" fmla="*/ 484 h 759"/>
                    <a:gd name="T52" fmla="*/ 10 w 903"/>
                    <a:gd name="T53" fmla="*/ 439 h 759"/>
                    <a:gd name="T54" fmla="*/ 0 w 903"/>
                    <a:gd name="T55" fmla="*/ 377 h 759"/>
                    <a:gd name="T56" fmla="*/ 39 w 903"/>
                    <a:gd name="T57" fmla="*/ 377 h 759"/>
                    <a:gd name="T58" fmla="*/ 57 w 903"/>
                    <a:gd name="T59" fmla="*/ 396 h 759"/>
                    <a:gd name="T60" fmla="*/ 94 w 903"/>
                    <a:gd name="T61" fmla="*/ 410 h 759"/>
                    <a:gd name="T62" fmla="*/ 135 w 903"/>
                    <a:gd name="T63" fmla="*/ 411 h 759"/>
                    <a:gd name="T64" fmla="*/ 160 w 903"/>
                    <a:gd name="T65" fmla="*/ 400 h 759"/>
                    <a:gd name="T66" fmla="*/ 182 w 903"/>
                    <a:gd name="T67" fmla="*/ 372 h 759"/>
                    <a:gd name="T68" fmla="*/ 197 w 903"/>
                    <a:gd name="T69" fmla="*/ 229 h 759"/>
                    <a:gd name="T70" fmla="*/ 204 w 903"/>
                    <a:gd name="T71" fmla="*/ 184 h 759"/>
                    <a:gd name="T72" fmla="*/ 210 w 903"/>
                    <a:gd name="T73" fmla="*/ 168 h 759"/>
                    <a:gd name="T74" fmla="*/ 239 w 903"/>
                    <a:gd name="T75" fmla="*/ 178 h 759"/>
                    <a:gd name="T76" fmla="*/ 245 w 903"/>
                    <a:gd name="T77" fmla="*/ 238 h 759"/>
                    <a:gd name="T78" fmla="*/ 247 w 903"/>
                    <a:gd name="T79" fmla="*/ 274 h 759"/>
                    <a:gd name="T80" fmla="*/ 256 w 903"/>
                    <a:gd name="T81" fmla="*/ 287 h 759"/>
                    <a:gd name="T82" fmla="*/ 287 w 903"/>
                    <a:gd name="T83" fmla="*/ 295 h 759"/>
                    <a:gd name="T84" fmla="*/ 312 w 903"/>
                    <a:gd name="T85" fmla="*/ 293 h 759"/>
                    <a:gd name="T86" fmla="*/ 333 w 903"/>
                    <a:gd name="T87" fmla="*/ 272 h 759"/>
                    <a:gd name="T88" fmla="*/ 350 w 903"/>
                    <a:gd name="T89" fmla="*/ 234 h 759"/>
                    <a:gd name="T90" fmla="*/ 368 w 903"/>
                    <a:gd name="T91" fmla="*/ 201 h 759"/>
                    <a:gd name="T92" fmla="*/ 387 w 903"/>
                    <a:gd name="T93" fmla="*/ 191 h 759"/>
                    <a:gd name="T94" fmla="*/ 414 w 903"/>
                    <a:gd name="T95" fmla="*/ 193 h 759"/>
                    <a:gd name="T96" fmla="*/ 451 w 903"/>
                    <a:gd name="T97" fmla="*/ 208 h 759"/>
                    <a:gd name="T98" fmla="*/ 478 w 903"/>
                    <a:gd name="T99" fmla="*/ 216 h 759"/>
                    <a:gd name="T100" fmla="*/ 512 w 903"/>
                    <a:gd name="T101" fmla="*/ 213 h 759"/>
                    <a:gd name="T102" fmla="*/ 531 w 903"/>
                    <a:gd name="T103" fmla="*/ 200 h 759"/>
                    <a:gd name="T104" fmla="*/ 564 w 903"/>
                    <a:gd name="T105" fmla="*/ 127 h 759"/>
                    <a:gd name="T106" fmla="*/ 620 w 903"/>
                    <a:gd name="T107" fmla="*/ 80 h 759"/>
                    <a:gd name="T108" fmla="*/ 732 w 903"/>
                    <a:gd name="T109" fmla="*/ 11 h 759"/>
                    <a:gd name="T110" fmla="*/ 806 w 903"/>
                    <a:gd name="T111" fmla="*/ 3 h 759"/>
                    <a:gd name="T112" fmla="*/ 830 w 903"/>
                    <a:gd name="T113" fmla="*/ 6 h 759"/>
                    <a:gd name="T114" fmla="*/ 854 w 903"/>
                    <a:gd name="T115" fmla="*/ 35 h 759"/>
                    <a:gd name="T116" fmla="*/ 873 w 903"/>
                    <a:gd name="T117" fmla="*/ 71 h 759"/>
                    <a:gd name="T118" fmla="*/ 883 w 903"/>
                    <a:gd name="T119" fmla="*/ 107 h 759"/>
                    <a:gd name="T120" fmla="*/ 868 w 903"/>
                    <a:gd name="T121" fmla="*/ 207 h 759"/>
                    <a:gd name="T122" fmla="*/ 830 w 903"/>
                    <a:gd name="T123" fmla="*/ 204 h 759"/>
                    <a:gd name="T124" fmla="*/ 826 w 903"/>
                    <a:gd name="T125" fmla="*/ 281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285" name="Freeform 383">
                  <a:extLst>
                    <a:ext uri="{FF2B5EF4-FFF2-40B4-BE49-F238E27FC236}">
                      <a16:creationId xmlns="" xmlns:a16="http://schemas.microsoft.com/office/drawing/2014/main" id="{CC90F5AF-5F09-469F-999F-6BCC85641DBC}"/>
                    </a:ext>
                  </a:extLst>
                </p:cNvPr>
                <p:cNvSpPr>
                  <a:spLocks/>
                </p:cNvSpPr>
                <p:nvPr>
                  <p:custDataLst>
                    <p:tags r:id="rId273"/>
                  </p:custDataLst>
                </p:nvPr>
              </p:nvSpPr>
              <p:spPr bwMode="auto">
                <a:xfrm>
                  <a:off x="6363403" y="2465749"/>
                  <a:ext cx="291625" cy="433497"/>
                </a:xfrm>
                <a:custGeom>
                  <a:avLst/>
                  <a:gdLst>
                    <a:gd name="T0" fmla="*/ 742 w 943"/>
                    <a:gd name="T1" fmla="*/ 5 h 1172"/>
                    <a:gd name="T2" fmla="*/ 765 w 943"/>
                    <a:gd name="T3" fmla="*/ 23 h 1172"/>
                    <a:gd name="T4" fmla="*/ 803 w 943"/>
                    <a:gd name="T5" fmla="*/ 30 h 1172"/>
                    <a:gd name="T6" fmla="*/ 814 w 943"/>
                    <a:gd name="T7" fmla="*/ 55 h 1172"/>
                    <a:gd name="T8" fmla="*/ 835 w 943"/>
                    <a:gd name="T9" fmla="*/ 109 h 1172"/>
                    <a:gd name="T10" fmla="*/ 837 w 943"/>
                    <a:gd name="T11" fmla="*/ 187 h 1172"/>
                    <a:gd name="T12" fmla="*/ 857 w 943"/>
                    <a:gd name="T13" fmla="*/ 243 h 1172"/>
                    <a:gd name="T14" fmla="*/ 922 w 943"/>
                    <a:gd name="T15" fmla="*/ 292 h 1172"/>
                    <a:gd name="T16" fmla="*/ 879 w 943"/>
                    <a:gd name="T17" fmla="*/ 361 h 1172"/>
                    <a:gd name="T18" fmla="*/ 851 w 943"/>
                    <a:gd name="T19" fmla="*/ 410 h 1172"/>
                    <a:gd name="T20" fmla="*/ 809 w 943"/>
                    <a:gd name="T21" fmla="*/ 635 h 1172"/>
                    <a:gd name="T22" fmla="*/ 770 w 943"/>
                    <a:gd name="T23" fmla="*/ 677 h 1172"/>
                    <a:gd name="T24" fmla="*/ 763 w 943"/>
                    <a:gd name="T25" fmla="*/ 721 h 1172"/>
                    <a:gd name="T26" fmla="*/ 745 w 943"/>
                    <a:gd name="T27" fmla="*/ 735 h 1172"/>
                    <a:gd name="T28" fmla="*/ 723 w 943"/>
                    <a:gd name="T29" fmla="*/ 798 h 1172"/>
                    <a:gd name="T30" fmla="*/ 692 w 943"/>
                    <a:gd name="T31" fmla="*/ 877 h 1172"/>
                    <a:gd name="T32" fmla="*/ 662 w 943"/>
                    <a:gd name="T33" fmla="*/ 903 h 1172"/>
                    <a:gd name="T34" fmla="*/ 664 w 943"/>
                    <a:gd name="T35" fmla="*/ 934 h 1172"/>
                    <a:gd name="T36" fmla="*/ 686 w 943"/>
                    <a:gd name="T37" fmla="*/ 939 h 1172"/>
                    <a:gd name="T38" fmla="*/ 709 w 943"/>
                    <a:gd name="T39" fmla="*/ 950 h 1172"/>
                    <a:gd name="T40" fmla="*/ 742 w 943"/>
                    <a:gd name="T41" fmla="*/ 971 h 1172"/>
                    <a:gd name="T42" fmla="*/ 756 w 943"/>
                    <a:gd name="T43" fmla="*/ 1007 h 1172"/>
                    <a:gd name="T44" fmla="*/ 775 w 943"/>
                    <a:gd name="T45" fmla="*/ 1043 h 1172"/>
                    <a:gd name="T46" fmla="*/ 803 w 943"/>
                    <a:gd name="T47" fmla="*/ 1053 h 1172"/>
                    <a:gd name="T48" fmla="*/ 809 w 943"/>
                    <a:gd name="T49" fmla="*/ 1094 h 1172"/>
                    <a:gd name="T50" fmla="*/ 718 w 943"/>
                    <a:gd name="T51" fmla="*/ 1115 h 1172"/>
                    <a:gd name="T52" fmla="*/ 687 w 943"/>
                    <a:gd name="T53" fmla="*/ 1157 h 1172"/>
                    <a:gd name="T54" fmla="*/ 598 w 943"/>
                    <a:gd name="T55" fmla="*/ 1170 h 1172"/>
                    <a:gd name="T56" fmla="*/ 515 w 943"/>
                    <a:gd name="T57" fmla="*/ 1158 h 1172"/>
                    <a:gd name="T58" fmla="*/ 464 w 943"/>
                    <a:gd name="T59" fmla="*/ 1123 h 1172"/>
                    <a:gd name="T60" fmla="*/ 390 w 943"/>
                    <a:gd name="T61" fmla="*/ 1125 h 1172"/>
                    <a:gd name="T62" fmla="*/ 319 w 943"/>
                    <a:gd name="T63" fmla="*/ 1120 h 1172"/>
                    <a:gd name="T64" fmla="*/ 297 w 943"/>
                    <a:gd name="T65" fmla="*/ 1104 h 1172"/>
                    <a:gd name="T66" fmla="*/ 294 w 943"/>
                    <a:gd name="T67" fmla="*/ 1075 h 1172"/>
                    <a:gd name="T68" fmla="*/ 274 w 943"/>
                    <a:gd name="T69" fmla="*/ 1029 h 1172"/>
                    <a:gd name="T70" fmla="*/ 216 w 943"/>
                    <a:gd name="T71" fmla="*/ 974 h 1172"/>
                    <a:gd name="T72" fmla="*/ 193 w 943"/>
                    <a:gd name="T73" fmla="*/ 925 h 1172"/>
                    <a:gd name="T74" fmla="*/ 152 w 943"/>
                    <a:gd name="T75" fmla="*/ 903 h 1172"/>
                    <a:gd name="T76" fmla="*/ 120 w 943"/>
                    <a:gd name="T77" fmla="*/ 846 h 1172"/>
                    <a:gd name="T78" fmla="*/ 97 w 943"/>
                    <a:gd name="T79" fmla="*/ 788 h 1172"/>
                    <a:gd name="T80" fmla="*/ 65 w 943"/>
                    <a:gd name="T81" fmla="*/ 758 h 1172"/>
                    <a:gd name="T82" fmla="*/ 33 w 943"/>
                    <a:gd name="T83" fmla="*/ 676 h 1172"/>
                    <a:gd name="T84" fmla="*/ 4 w 943"/>
                    <a:gd name="T85" fmla="*/ 611 h 1172"/>
                    <a:gd name="T86" fmla="*/ 18 w 943"/>
                    <a:gd name="T87" fmla="*/ 577 h 1172"/>
                    <a:gd name="T88" fmla="*/ 29 w 943"/>
                    <a:gd name="T89" fmla="*/ 521 h 1172"/>
                    <a:gd name="T90" fmla="*/ 64 w 943"/>
                    <a:gd name="T91" fmla="*/ 474 h 1172"/>
                    <a:gd name="T92" fmla="*/ 113 w 943"/>
                    <a:gd name="T93" fmla="*/ 222 h 1172"/>
                    <a:gd name="T94" fmla="*/ 123 w 943"/>
                    <a:gd name="T95" fmla="*/ 179 h 1172"/>
                    <a:gd name="T96" fmla="*/ 153 w 943"/>
                    <a:gd name="T97" fmla="*/ 171 h 1172"/>
                    <a:gd name="T98" fmla="*/ 160 w 943"/>
                    <a:gd name="T99" fmla="*/ 122 h 1172"/>
                    <a:gd name="T100" fmla="*/ 159 w 943"/>
                    <a:gd name="T101" fmla="*/ 67 h 1172"/>
                    <a:gd name="T102" fmla="*/ 679 w 943"/>
                    <a:gd name="T103" fmla="*/ 69 h 1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grpSp>
              <p:nvGrpSpPr>
                <p:cNvPr id="286" name="Group 384">
                  <a:extLst>
                    <a:ext uri="{FF2B5EF4-FFF2-40B4-BE49-F238E27FC236}">
                      <a16:creationId xmlns="" xmlns:a16="http://schemas.microsoft.com/office/drawing/2014/main" id="{76418DB7-9D4E-4904-8EEA-7CBBC0EE6FA9}"/>
                    </a:ext>
                  </a:extLst>
                </p:cNvPr>
                <p:cNvGrpSpPr>
                  <a:grpSpLocks/>
                </p:cNvGrpSpPr>
                <p:nvPr>
                  <p:custDataLst>
                    <p:tags r:id="rId274"/>
                  </p:custDataLst>
                </p:nvPr>
              </p:nvGrpSpPr>
              <p:grpSpPr bwMode="auto">
                <a:xfrm>
                  <a:off x="5500912" y="2608747"/>
                  <a:ext cx="57424" cy="58550"/>
                  <a:chOff x="2352" y="2343"/>
                  <a:chExt cx="65" cy="53"/>
                </a:xfrm>
                <a:solidFill>
                  <a:srgbClr val="CDCDCD"/>
                </a:solidFill>
              </p:grpSpPr>
              <p:sp>
                <p:nvSpPr>
                  <p:cNvPr id="474" name="Freeform 385">
                    <a:extLst>
                      <a:ext uri="{FF2B5EF4-FFF2-40B4-BE49-F238E27FC236}">
                        <a16:creationId xmlns="" xmlns:a16="http://schemas.microsoft.com/office/drawing/2014/main" id="{87C78E8D-D675-44F0-89BB-046C308D2AF6}"/>
                      </a:ext>
                    </a:extLst>
                  </p:cNvPr>
                  <p:cNvSpPr>
                    <a:spLocks/>
                  </p:cNvSpPr>
                  <p:nvPr/>
                </p:nvSpPr>
                <p:spPr bwMode="auto">
                  <a:xfrm>
                    <a:off x="2352" y="2343"/>
                    <a:ext cx="16" cy="11"/>
                  </a:xfrm>
                  <a:custGeom>
                    <a:avLst/>
                    <a:gdLst>
                      <a:gd name="T0" fmla="*/ 46 w 51"/>
                      <a:gd name="T1" fmla="*/ 0 h 33"/>
                      <a:gd name="T2" fmla="*/ 0 w 51"/>
                      <a:gd name="T3" fmla="*/ 5 h 33"/>
                      <a:gd name="T4" fmla="*/ 4 w 51"/>
                      <a:gd name="T5" fmla="*/ 28 h 33"/>
                      <a:gd name="T6" fmla="*/ 10 w 51"/>
                      <a:gd name="T7" fmla="*/ 33 h 33"/>
                      <a:gd name="T8" fmla="*/ 35 w 51"/>
                      <a:gd name="T9" fmla="*/ 25 h 33"/>
                      <a:gd name="T10" fmla="*/ 48 w 51"/>
                      <a:gd name="T11" fmla="*/ 15 h 33"/>
                      <a:gd name="T12" fmla="*/ 51 w 51"/>
                      <a:gd name="T13" fmla="*/ 8 h 33"/>
                      <a:gd name="T14" fmla="*/ 46 w 51"/>
                      <a:gd name="T15" fmla="*/ 0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475" name="Freeform 386">
                    <a:extLst>
                      <a:ext uri="{FF2B5EF4-FFF2-40B4-BE49-F238E27FC236}">
                        <a16:creationId xmlns="" xmlns:a16="http://schemas.microsoft.com/office/drawing/2014/main" id="{B46FCD85-C53B-4E82-A169-247AC621F9E4}"/>
                      </a:ext>
                    </a:extLst>
                  </p:cNvPr>
                  <p:cNvSpPr>
                    <a:spLocks/>
                  </p:cNvSpPr>
                  <p:nvPr/>
                </p:nvSpPr>
                <p:spPr bwMode="auto">
                  <a:xfrm>
                    <a:off x="2372" y="2354"/>
                    <a:ext cx="20" cy="7"/>
                  </a:xfrm>
                  <a:custGeom>
                    <a:avLst/>
                    <a:gdLst>
                      <a:gd name="T0" fmla="*/ 61 w 61"/>
                      <a:gd name="T1" fmla="*/ 6 h 20"/>
                      <a:gd name="T2" fmla="*/ 53 w 61"/>
                      <a:gd name="T3" fmla="*/ 2 h 20"/>
                      <a:gd name="T4" fmla="*/ 0 w 61"/>
                      <a:gd name="T5" fmla="*/ 0 h 20"/>
                      <a:gd name="T6" fmla="*/ 2 w 61"/>
                      <a:gd name="T7" fmla="*/ 14 h 20"/>
                      <a:gd name="T8" fmla="*/ 7 w 61"/>
                      <a:gd name="T9" fmla="*/ 20 h 20"/>
                      <a:gd name="T10" fmla="*/ 18 w 61"/>
                      <a:gd name="T11" fmla="*/ 13 h 20"/>
                      <a:gd name="T12" fmla="*/ 61 w 61"/>
                      <a:gd name="T13" fmla="*/ 6 h 20"/>
                    </a:gdLst>
                    <a:ahLst/>
                    <a:cxnLst>
                      <a:cxn ang="0">
                        <a:pos x="T0" y="T1"/>
                      </a:cxn>
                      <a:cxn ang="0">
                        <a:pos x="T2" y="T3"/>
                      </a:cxn>
                      <a:cxn ang="0">
                        <a:pos x="T4" y="T5"/>
                      </a:cxn>
                      <a:cxn ang="0">
                        <a:pos x="T6" y="T7"/>
                      </a:cxn>
                      <a:cxn ang="0">
                        <a:pos x="T8" y="T9"/>
                      </a:cxn>
                      <a:cxn ang="0">
                        <a:pos x="T10" y="T11"/>
                      </a:cxn>
                      <a:cxn ang="0">
                        <a:pos x="T12" y="T13"/>
                      </a:cxn>
                    </a:cxnLst>
                    <a:rect l="0" t="0" r="r" b="b"/>
                    <a:pathLst>
                      <a:path w="61" h="20">
                        <a:moveTo>
                          <a:pt x="61" y="6"/>
                        </a:moveTo>
                        <a:lnTo>
                          <a:pt x="53" y="2"/>
                        </a:lnTo>
                        <a:lnTo>
                          <a:pt x="0" y="0"/>
                        </a:lnTo>
                        <a:lnTo>
                          <a:pt x="2" y="14"/>
                        </a:lnTo>
                        <a:lnTo>
                          <a:pt x="7" y="20"/>
                        </a:lnTo>
                        <a:lnTo>
                          <a:pt x="18" y="13"/>
                        </a:lnTo>
                        <a:lnTo>
                          <a:pt x="61" y="6"/>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476" name="Freeform 387">
                    <a:extLst>
                      <a:ext uri="{FF2B5EF4-FFF2-40B4-BE49-F238E27FC236}">
                        <a16:creationId xmlns="" xmlns:a16="http://schemas.microsoft.com/office/drawing/2014/main" id="{B5F30E85-1DE7-4408-A0E9-FC14430FDEE5}"/>
                      </a:ext>
                    </a:extLst>
                  </p:cNvPr>
                  <p:cNvSpPr>
                    <a:spLocks/>
                  </p:cNvSpPr>
                  <p:nvPr/>
                </p:nvSpPr>
                <p:spPr bwMode="auto">
                  <a:xfrm>
                    <a:off x="2407" y="2346"/>
                    <a:ext cx="5" cy="12"/>
                  </a:xfrm>
                  <a:custGeom>
                    <a:avLst/>
                    <a:gdLst>
                      <a:gd name="T0" fmla="*/ 2 w 15"/>
                      <a:gd name="T1" fmla="*/ 0 h 36"/>
                      <a:gd name="T2" fmla="*/ 0 w 15"/>
                      <a:gd name="T3" fmla="*/ 20 h 36"/>
                      <a:gd name="T4" fmla="*/ 0 w 15"/>
                      <a:gd name="T5" fmla="*/ 36 h 36"/>
                      <a:gd name="T6" fmla="*/ 11 w 15"/>
                      <a:gd name="T7" fmla="*/ 35 h 36"/>
                      <a:gd name="T8" fmla="*/ 15 w 15"/>
                      <a:gd name="T9" fmla="*/ 14 h 36"/>
                      <a:gd name="T10" fmla="*/ 2 w 15"/>
                      <a:gd name="T11" fmla="*/ 0 h 36"/>
                    </a:gdLst>
                    <a:ahLst/>
                    <a:cxnLst>
                      <a:cxn ang="0">
                        <a:pos x="T0" y="T1"/>
                      </a:cxn>
                      <a:cxn ang="0">
                        <a:pos x="T2" y="T3"/>
                      </a:cxn>
                      <a:cxn ang="0">
                        <a:pos x="T4" y="T5"/>
                      </a:cxn>
                      <a:cxn ang="0">
                        <a:pos x="T6" y="T7"/>
                      </a:cxn>
                      <a:cxn ang="0">
                        <a:pos x="T8" y="T9"/>
                      </a:cxn>
                      <a:cxn ang="0">
                        <a:pos x="T10" y="T11"/>
                      </a:cxn>
                    </a:cxnLst>
                    <a:rect l="0" t="0" r="r" b="b"/>
                    <a:pathLst>
                      <a:path w="15" h="36">
                        <a:moveTo>
                          <a:pt x="2" y="0"/>
                        </a:moveTo>
                        <a:lnTo>
                          <a:pt x="0" y="20"/>
                        </a:lnTo>
                        <a:lnTo>
                          <a:pt x="0" y="36"/>
                        </a:lnTo>
                        <a:lnTo>
                          <a:pt x="11" y="35"/>
                        </a:lnTo>
                        <a:lnTo>
                          <a:pt x="15" y="14"/>
                        </a:lnTo>
                        <a:lnTo>
                          <a:pt x="2" y="0"/>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477" name="Freeform 388">
                    <a:extLst>
                      <a:ext uri="{FF2B5EF4-FFF2-40B4-BE49-F238E27FC236}">
                        <a16:creationId xmlns="" xmlns:a16="http://schemas.microsoft.com/office/drawing/2014/main" id="{28B29AC7-3B2C-4708-9575-4F760CFAF734}"/>
                      </a:ext>
                    </a:extLst>
                  </p:cNvPr>
                  <p:cNvSpPr>
                    <a:spLocks/>
                  </p:cNvSpPr>
                  <p:nvPr/>
                </p:nvSpPr>
                <p:spPr bwMode="auto">
                  <a:xfrm>
                    <a:off x="2406" y="2361"/>
                    <a:ext cx="11" cy="11"/>
                  </a:xfrm>
                  <a:custGeom>
                    <a:avLst/>
                    <a:gdLst>
                      <a:gd name="T0" fmla="*/ 4 w 37"/>
                      <a:gd name="T1" fmla="*/ 4 h 33"/>
                      <a:gd name="T2" fmla="*/ 22 w 37"/>
                      <a:gd name="T3" fmla="*/ 0 h 33"/>
                      <a:gd name="T4" fmla="*/ 35 w 37"/>
                      <a:gd name="T5" fmla="*/ 6 h 33"/>
                      <a:gd name="T6" fmla="*/ 37 w 37"/>
                      <a:gd name="T7" fmla="*/ 22 h 33"/>
                      <a:gd name="T8" fmla="*/ 24 w 37"/>
                      <a:gd name="T9" fmla="*/ 33 h 33"/>
                      <a:gd name="T10" fmla="*/ 11 w 37"/>
                      <a:gd name="T11" fmla="*/ 33 h 33"/>
                      <a:gd name="T12" fmla="*/ 2 w 37"/>
                      <a:gd name="T13" fmla="*/ 24 h 33"/>
                      <a:gd name="T14" fmla="*/ 0 w 37"/>
                      <a:gd name="T15" fmla="*/ 16 h 33"/>
                      <a:gd name="T16" fmla="*/ 4 w 37"/>
                      <a:gd name="T17" fmla="*/ 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478" name="Freeform 389">
                    <a:extLst>
                      <a:ext uri="{FF2B5EF4-FFF2-40B4-BE49-F238E27FC236}">
                        <a16:creationId xmlns="" xmlns:a16="http://schemas.microsoft.com/office/drawing/2014/main" id="{F016AC92-E368-441E-A003-07F2487E0E58}"/>
                      </a:ext>
                    </a:extLst>
                  </p:cNvPr>
                  <p:cNvSpPr>
                    <a:spLocks/>
                  </p:cNvSpPr>
                  <p:nvPr/>
                </p:nvSpPr>
                <p:spPr bwMode="auto">
                  <a:xfrm>
                    <a:off x="2388" y="2378"/>
                    <a:ext cx="16" cy="18"/>
                  </a:xfrm>
                  <a:custGeom>
                    <a:avLst/>
                    <a:gdLst>
                      <a:gd name="T0" fmla="*/ 2 w 49"/>
                      <a:gd name="T1" fmla="*/ 0 h 54"/>
                      <a:gd name="T2" fmla="*/ 0 w 49"/>
                      <a:gd name="T3" fmla="*/ 0 h 54"/>
                      <a:gd name="T4" fmla="*/ 2 w 49"/>
                      <a:gd name="T5" fmla="*/ 50 h 54"/>
                      <a:gd name="T6" fmla="*/ 18 w 49"/>
                      <a:gd name="T7" fmla="*/ 54 h 54"/>
                      <a:gd name="T8" fmla="*/ 44 w 49"/>
                      <a:gd name="T9" fmla="*/ 45 h 54"/>
                      <a:gd name="T10" fmla="*/ 49 w 49"/>
                      <a:gd name="T11" fmla="*/ 31 h 54"/>
                      <a:gd name="T12" fmla="*/ 40 w 49"/>
                      <a:gd name="T13" fmla="*/ 21 h 54"/>
                      <a:gd name="T14" fmla="*/ 19 w 49"/>
                      <a:gd name="T15" fmla="*/ 8 h 54"/>
                      <a:gd name="T16" fmla="*/ 2 w 49"/>
                      <a:gd name="T1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479" name="Freeform 390">
                    <a:extLst>
                      <a:ext uri="{FF2B5EF4-FFF2-40B4-BE49-F238E27FC236}">
                        <a16:creationId xmlns="" xmlns:a16="http://schemas.microsoft.com/office/drawing/2014/main" id="{38663E39-360B-4C39-92F7-45813064BCAE}"/>
                      </a:ext>
                    </a:extLst>
                  </p:cNvPr>
                  <p:cNvSpPr>
                    <a:spLocks/>
                  </p:cNvSpPr>
                  <p:nvPr/>
                </p:nvSpPr>
                <p:spPr bwMode="auto">
                  <a:xfrm>
                    <a:off x="2374" y="2388"/>
                    <a:ext cx="9" cy="7"/>
                  </a:xfrm>
                  <a:custGeom>
                    <a:avLst/>
                    <a:gdLst>
                      <a:gd name="T0" fmla="*/ 18 w 26"/>
                      <a:gd name="T1" fmla="*/ 0 h 22"/>
                      <a:gd name="T2" fmla="*/ 3 w 26"/>
                      <a:gd name="T3" fmla="*/ 2 h 22"/>
                      <a:gd name="T4" fmla="*/ 0 w 26"/>
                      <a:gd name="T5" fmla="*/ 15 h 22"/>
                      <a:gd name="T6" fmla="*/ 6 w 26"/>
                      <a:gd name="T7" fmla="*/ 21 h 22"/>
                      <a:gd name="T8" fmla="*/ 19 w 26"/>
                      <a:gd name="T9" fmla="*/ 22 h 22"/>
                      <a:gd name="T10" fmla="*/ 26 w 26"/>
                      <a:gd name="T11" fmla="*/ 11 h 22"/>
                      <a:gd name="T12" fmla="*/ 18 w 26"/>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6" h="22">
                        <a:moveTo>
                          <a:pt x="18" y="0"/>
                        </a:moveTo>
                        <a:lnTo>
                          <a:pt x="3" y="2"/>
                        </a:lnTo>
                        <a:lnTo>
                          <a:pt x="0" y="15"/>
                        </a:lnTo>
                        <a:lnTo>
                          <a:pt x="6" y="21"/>
                        </a:lnTo>
                        <a:lnTo>
                          <a:pt x="19" y="22"/>
                        </a:lnTo>
                        <a:lnTo>
                          <a:pt x="26" y="11"/>
                        </a:lnTo>
                        <a:lnTo>
                          <a:pt x="18" y="0"/>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grpSp>
            <p:grpSp>
              <p:nvGrpSpPr>
                <p:cNvPr id="287" name="Group 391">
                  <a:extLst>
                    <a:ext uri="{FF2B5EF4-FFF2-40B4-BE49-F238E27FC236}">
                      <a16:creationId xmlns="" xmlns:a16="http://schemas.microsoft.com/office/drawing/2014/main" id="{09CA853B-3BC5-4B69-8105-8C2C3A6C6247}"/>
                    </a:ext>
                  </a:extLst>
                </p:cNvPr>
                <p:cNvGrpSpPr>
                  <a:grpSpLocks/>
                </p:cNvGrpSpPr>
                <p:nvPr>
                  <p:custDataLst>
                    <p:tags r:id="rId275"/>
                  </p:custDataLst>
                </p:nvPr>
              </p:nvGrpSpPr>
              <p:grpSpPr bwMode="auto">
                <a:xfrm>
                  <a:off x="3972974" y="1232815"/>
                  <a:ext cx="1345531" cy="803940"/>
                  <a:chOff x="527" y="1110"/>
                  <a:chExt cx="1410" cy="709"/>
                </a:xfrm>
                <a:solidFill>
                  <a:srgbClr val="CDCDCD"/>
                </a:solidFill>
              </p:grpSpPr>
              <p:sp>
                <p:nvSpPr>
                  <p:cNvPr id="432" name="Freeform 392">
                    <a:extLst>
                      <a:ext uri="{FF2B5EF4-FFF2-40B4-BE49-F238E27FC236}">
                        <a16:creationId xmlns="" xmlns:a16="http://schemas.microsoft.com/office/drawing/2014/main" id="{42708C78-DBFB-4EE0-9F05-07A584877701}"/>
                      </a:ext>
                    </a:extLst>
                  </p:cNvPr>
                  <p:cNvSpPr>
                    <a:spLocks/>
                  </p:cNvSpPr>
                  <p:nvPr/>
                </p:nvSpPr>
                <p:spPr bwMode="auto">
                  <a:xfrm>
                    <a:off x="1401" y="1427"/>
                    <a:ext cx="31" cy="17"/>
                  </a:xfrm>
                  <a:custGeom>
                    <a:avLst/>
                    <a:gdLst>
                      <a:gd name="T0" fmla="*/ 0 w 98"/>
                      <a:gd name="T1" fmla="*/ 41 h 54"/>
                      <a:gd name="T2" fmla="*/ 5 w 98"/>
                      <a:gd name="T3" fmla="*/ 46 h 54"/>
                      <a:gd name="T4" fmla="*/ 13 w 98"/>
                      <a:gd name="T5" fmla="*/ 50 h 54"/>
                      <a:gd name="T6" fmla="*/ 23 w 98"/>
                      <a:gd name="T7" fmla="*/ 53 h 54"/>
                      <a:gd name="T8" fmla="*/ 32 w 98"/>
                      <a:gd name="T9" fmla="*/ 54 h 54"/>
                      <a:gd name="T10" fmla="*/ 38 w 98"/>
                      <a:gd name="T11" fmla="*/ 54 h 54"/>
                      <a:gd name="T12" fmla="*/ 45 w 98"/>
                      <a:gd name="T13" fmla="*/ 53 h 54"/>
                      <a:gd name="T14" fmla="*/ 50 w 98"/>
                      <a:gd name="T15" fmla="*/ 51 h 54"/>
                      <a:gd name="T16" fmla="*/ 56 w 98"/>
                      <a:gd name="T17" fmla="*/ 49 h 54"/>
                      <a:gd name="T18" fmla="*/ 67 w 98"/>
                      <a:gd name="T19" fmla="*/ 42 h 54"/>
                      <a:gd name="T20" fmla="*/ 75 w 98"/>
                      <a:gd name="T21" fmla="*/ 35 h 54"/>
                      <a:gd name="T22" fmla="*/ 84 w 98"/>
                      <a:gd name="T23" fmla="*/ 28 h 54"/>
                      <a:gd name="T24" fmla="*/ 91 w 98"/>
                      <a:gd name="T25" fmla="*/ 20 h 54"/>
                      <a:gd name="T26" fmla="*/ 95 w 98"/>
                      <a:gd name="T27" fmla="*/ 12 h 54"/>
                      <a:gd name="T28" fmla="*/ 98 w 98"/>
                      <a:gd name="T29" fmla="*/ 4 h 54"/>
                      <a:gd name="T30" fmla="*/ 91 w 98"/>
                      <a:gd name="T31" fmla="*/ 2 h 54"/>
                      <a:gd name="T32" fmla="*/ 83 w 98"/>
                      <a:gd name="T33" fmla="*/ 0 h 54"/>
                      <a:gd name="T34" fmla="*/ 75 w 98"/>
                      <a:gd name="T35" fmla="*/ 0 h 54"/>
                      <a:gd name="T36" fmla="*/ 68 w 98"/>
                      <a:gd name="T37" fmla="*/ 0 h 54"/>
                      <a:gd name="T38" fmla="*/ 59 w 98"/>
                      <a:gd name="T39" fmla="*/ 1 h 54"/>
                      <a:gd name="T40" fmla="*/ 51 w 98"/>
                      <a:gd name="T41" fmla="*/ 3 h 54"/>
                      <a:gd name="T42" fmla="*/ 43 w 98"/>
                      <a:gd name="T43" fmla="*/ 6 h 54"/>
                      <a:gd name="T44" fmla="*/ 37 w 98"/>
                      <a:gd name="T45" fmla="*/ 9 h 54"/>
                      <a:gd name="T46" fmla="*/ 23 w 98"/>
                      <a:gd name="T47" fmla="*/ 17 h 54"/>
                      <a:gd name="T48" fmla="*/ 12 w 98"/>
                      <a:gd name="T49" fmla="*/ 25 h 54"/>
                      <a:gd name="T50" fmla="*/ 7 w 98"/>
                      <a:gd name="T51" fmla="*/ 29 h 54"/>
                      <a:gd name="T52" fmla="*/ 4 w 98"/>
                      <a:gd name="T53" fmla="*/ 33 h 54"/>
                      <a:gd name="T54" fmla="*/ 1 w 98"/>
                      <a:gd name="T55" fmla="*/ 37 h 54"/>
                      <a:gd name="T56" fmla="*/ 0 w 98"/>
                      <a:gd name="T57" fmla="*/ 4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433" name="Freeform 393">
                    <a:extLst>
                      <a:ext uri="{FF2B5EF4-FFF2-40B4-BE49-F238E27FC236}">
                        <a16:creationId xmlns="" xmlns:a16="http://schemas.microsoft.com/office/drawing/2014/main" id="{7C0B36DB-EC98-4DA5-AF8D-607CA998C4B8}"/>
                      </a:ext>
                    </a:extLst>
                  </p:cNvPr>
                  <p:cNvSpPr>
                    <a:spLocks/>
                  </p:cNvSpPr>
                  <p:nvPr/>
                </p:nvSpPr>
                <p:spPr bwMode="auto">
                  <a:xfrm>
                    <a:off x="1387" y="1551"/>
                    <a:ext cx="21" cy="8"/>
                  </a:xfrm>
                  <a:custGeom>
                    <a:avLst/>
                    <a:gdLst>
                      <a:gd name="T0" fmla="*/ 0 w 67"/>
                      <a:gd name="T1" fmla="*/ 27 h 28"/>
                      <a:gd name="T2" fmla="*/ 11 w 67"/>
                      <a:gd name="T3" fmla="*/ 28 h 28"/>
                      <a:gd name="T4" fmla="*/ 21 w 67"/>
                      <a:gd name="T5" fmla="*/ 27 h 28"/>
                      <a:gd name="T6" fmla="*/ 31 w 67"/>
                      <a:gd name="T7" fmla="*/ 25 h 28"/>
                      <a:gd name="T8" fmla="*/ 41 w 67"/>
                      <a:gd name="T9" fmla="*/ 21 h 28"/>
                      <a:gd name="T10" fmla="*/ 49 w 67"/>
                      <a:gd name="T11" fmla="*/ 17 h 28"/>
                      <a:gd name="T12" fmla="*/ 57 w 67"/>
                      <a:gd name="T13" fmla="*/ 12 h 28"/>
                      <a:gd name="T14" fmla="*/ 63 w 67"/>
                      <a:gd name="T15" fmla="*/ 7 h 28"/>
                      <a:gd name="T16" fmla="*/ 67 w 67"/>
                      <a:gd name="T17" fmla="*/ 3 h 28"/>
                      <a:gd name="T18" fmla="*/ 57 w 67"/>
                      <a:gd name="T19" fmla="*/ 1 h 28"/>
                      <a:gd name="T20" fmla="*/ 46 w 67"/>
                      <a:gd name="T21" fmla="*/ 0 h 28"/>
                      <a:gd name="T22" fmla="*/ 36 w 67"/>
                      <a:gd name="T23" fmla="*/ 1 h 28"/>
                      <a:gd name="T24" fmla="*/ 26 w 67"/>
                      <a:gd name="T25" fmla="*/ 3 h 28"/>
                      <a:gd name="T26" fmla="*/ 17 w 67"/>
                      <a:gd name="T27" fmla="*/ 7 h 28"/>
                      <a:gd name="T28" fmla="*/ 10 w 67"/>
                      <a:gd name="T29" fmla="*/ 12 h 28"/>
                      <a:gd name="T30" fmla="*/ 7 w 67"/>
                      <a:gd name="T31" fmla="*/ 15 h 28"/>
                      <a:gd name="T32" fmla="*/ 4 w 67"/>
                      <a:gd name="T33" fmla="*/ 19 h 28"/>
                      <a:gd name="T34" fmla="*/ 2 w 67"/>
                      <a:gd name="T35" fmla="*/ 22 h 28"/>
                      <a:gd name="T36" fmla="*/ 0 w 67"/>
                      <a:gd name="T37"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434" name="Freeform 394">
                    <a:extLst>
                      <a:ext uri="{FF2B5EF4-FFF2-40B4-BE49-F238E27FC236}">
                        <a16:creationId xmlns="" xmlns:a16="http://schemas.microsoft.com/office/drawing/2014/main" id="{4C9C4C59-8A83-436C-9E21-A951D05A571D}"/>
                      </a:ext>
                    </a:extLst>
                  </p:cNvPr>
                  <p:cNvSpPr>
                    <a:spLocks/>
                  </p:cNvSpPr>
                  <p:nvPr/>
                </p:nvSpPr>
                <p:spPr bwMode="auto">
                  <a:xfrm>
                    <a:off x="1332" y="1608"/>
                    <a:ext cx="11" cy="11"/>
                  </a:xfrm>
                  <a:custGeom>
                    <a:avLst/>
                    <a:gdLst>
                      <a:gd name="T0" fmla="*/ 0 w 32"/>
                      <a:gd name="T1" fmla="*/ 18 h 36"/>
                      <a:gd name="T2" fmla="*/ 1 w 32"/>
                      <a:gd name="T3" fmla="*/ 24 h 36"/>
                      <a:gd name="T4" fmla="*/ 4 w 32"/>
                      <a:gd name="T5" fmla="*/ 29 h 36"/>
                      <a:gd name="T6" fmla="*/ 6 w 32"/>
                      <a:gd name="T7" fmla="*/ 32 h 36"/>
                      <a:gd name="T8" fmla="*/ 8 w 32"/>
                      <a:gd name="T9" fmla="*/ 34 h 36"/>
                      <a:gd name="T10" fmla="*/ 11 w 32"/>
                      <a:gd name="T11" fmla="*/ 36 h 36"/>
                      <a:gd name="T12" fmla="*/ 13 w 32"/>
                      <a:gd name="T13" fmla="*/ 36 h 36"/>
                      <a:gd name="T14" fmla="*/ 32 w 32"/>
                      <a:gd name="T15" fmla="*/ 36 h 36"/>
                      <a:gd name="T16" fmla="*/ 32 w 32"/>
                      <a:gd name="T17" fmla="*/ 22 h 36"/>
                      <a:gd name="T18" fmla="*/ 31 w 32"/>
                      <a:gd name="T19" fmla="*/ 14 h 36"/>
                      <a:gd name="T20" fmla="*/ 30 w 32"/>
                      <a:gd name="T21" fmla="*/ 7 h 36"/>
                      <a:gd name="T22" fmla="*/ 26 w 32"/>
                      <a:gd name="T23" fmla="*/ 0 h 36"/>
                      <a:gd name="T24" fmla="*/ 19 w 32"/>
                      <a:gd name="T25" fmla="*/ 2 h 36"/>
                      <a:gd name="T26" fmla="*/ 11 w 32"/>
                      <a:gd name="T27" fmla="*/ 7 h 36"/>
                      <a:gd name="T28" fmla="*/ 6 w 32"/>
                      <a:gd name="T29" fmla="*/ 10 h 36"/>
                      <a:gd name="T30" fmla="*/ 3 w 32"/>
                      <a:gd name="T31" fmla="*/ 13 h 36"/>
                      <a:gd name="T32" fmla="*/ 1 w 32"/>
                      <a:gd name="T33" fmla="*/ 16 h 36"/>
                      <a:gd name="T34" fmla="*/ 0 w 32"/>
                      <a:gd name="T35"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435" name="Freeform 395">
                    <a:extLst>
                      <a:ext uri="{FF2B5EF4-FFF2-40B4-BE49-F238E27FC236}">
                        <a16:creationId xmlns="" xmlns:a16="http://schemas.microsoft.com/office/drawing/2014/main" id="{5200189D-556C-4D5D-82B0-EE2EC845E9C5}"/>
                      </a:ext>
                    </a:extLst>
                  </p:cNvPr>
                  <p:cNvSpPr>
                    <a:spLocks/>
                  </p:cNvSpPr>
                  <p:nvPr/>
                </p:nvSpPr>
                <p:spPr bwMode="auto">
                  <a:xfrm>
                    <a:off x="1279" y="1314"/>
                    <a:ext cx="46" cy="17"/>
                  </a:xfrm>
                  <a:custGeom>
                    <a:avLst/>
                    <a:gdLst>
                      <a:gd name="T0" fmla="*/ 0 w 146"/>
                      <a:gd name="T1" fmla="*/ 43 h 52"/>
                      <a:gd name="T2" fmla="*/ 11 w 146"/>
                      <a:gd name="T3" fmla="*/ 46 h 52"/>
                      <a:gd name="T4" fmla="*/ 22 w 146"/>
                      <a:gd name="T5" fmla="*/ 48 h 52"/>
                      <a:gd name="T6" fmla="*/ 33 w 146"/>
                      <a:gd name="T7" fmla="*/ 51 h 52"/>
                      <a:gd name="T8" fmla="*/ 43 w 146"/>
                      <a:gd name="T9" fmla="*/ 52 h 52"/>
                      <a:gd name="T10" fmla="*/ 63 w 146"/>
                      <a:gd name="T11" fmla="*/ 52 h 52"/>
                      <a:gd name="T12" fmla="*/ 82 w 146"/>
                      <a:gd name="T13" fmla="*/ 51 h 52"/>
                      <a:gd name="T14" fmla="*/ 117 w 146"/>
                      <a:gd name="T15" fmla="*/ 46 h 52"/>
                      <a:gd name="T16" fmla="*/ 146 w 146"/>
                      <a:gd name="T17" fmla="*/ 43 h 52"/>
                      <a:gd name="T18" fmla="*/ 144 w 146"/>
                      <a:gd name="T19" fmla="*/ 36 h 52"/>
                      <a:gd name="T20" fmla="*/ 142 w 146"/>
                      <a:gd name="T21" fmla="*/ 30 h 52"/>
                      <a:gd name="T22" fmla="*/ 139 w 146"/>
                      <a:gd name="T23" fmla="*/ 24 h 52"/>
                      <a:gd name="T24" fmla="*/ 137 w 146"/>
                      <a:gd name="T25" fmla="*/ 19 h 52"/>
                      <a:gd name="T26" fmla="*/ 134 w 146"/>
                      <a:gd name="T27" fmla="*/ 15 h 52"/>
                      <a:gd name="T28" fmla="*/ 129 w 146"/>
                      <a:gd name="T29" fmla="*/ 11 h 52"/>
                      <a:gd name="T30" fmla="*/ 125 w 146"/>
                      <a:gd name="T31" fmla="*/ 8 h 52"/>
                      <a:gd name="T32" fmla="*/ 121 w 146"/>
                      <a:gd name="T33" fmla="*/ 6 h 52"/>
                      <a:gd name="T34" fmla="*/ 111 w 146"/>
                      <a:gd name="T35" fmla="*/ 2 h 52"/>
                      <a:gd name="T36" fmla="*/ 101 w 146"/>
                      <a:gd name="T37" fmla="*/ 0 h 52"/>
                      <a:gd name="T38" fmla="*/ 89 w 146"/>
                      <a:gd name="T39" fmla="*/ 1 h 52"/>
                      <a:gd name="T40" fmla="*/ 78 w 146"/>
                      <a:gd name="T41" fmla="*/ 2 h 52"/>
                      <a:gd name="T42" fmla="*/ 66 w 146"/>
                      <a:gd name="T43" fmla="*/ 5 h 52"/>
                      <a:gd name="T44" fmla="*/ 54 w 146"/>
                      <a:gd name="T45" fmla="*/ 9 h 52"/>
                      <a:gd name="T46" fmla="*/ 43 w 146"/>
                      <a:gd name="T47" fmla="*/ 14 h 52"/>
                      <a:gd name="T48" fmla="*/ 32 w 146"/>
                      <a:gd name="T49" fmla="*/ 19 h 52"/>
                      <a:gd name="T50" fmla="*/ 22 w 146"/>
                      <a:gd name="T51" fmla="*/ 25 h 52"/>
                      <a:gd name="T52" fmla="*/ 13 w 146"/>
                      <a:gd name="T53" fmla="*/ 31 h 52"/>
                      <a:gd name="T54" fmla="*/ 5 w 146"/>
                      <a:gd name="T55" fmla="*/ 37 h 52"/>
                      <a:gd name="T56" fmla="*/ 0 w 146"/>
                      <a:gd name="T5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436" name="Freeform 396">
                    <a:extLst>
                      <a:ext uri="{FF2B5EF4-FFF2-40B4-BE49-F238E27FC236}">
                        <a16:creationId xmlns="" xmlns:a16="http://schemas.microsoft.com/office/drawing/2014/main" id="{6B7FE157-6A16-4454-A4AB-151F5C1F0C95}"/>
                      </a:ext>
                    </a:extLst>
                  </p:cNvPr>
                  <p:cNvSpPr>
                    <a:spLocks/>
                  </p:cNvSpPr>
                  <p:nvPr/>
                </p:nvSpPr>
                <p:spPr bwMode="auto">
                  <a:xfrm>
                    <a:off x="1261" y="1252"/>
                    <a:ext cx="20" cy="10"/>
                  </a:xfrm>
                  <a:custGeom>
                    <a:avLst/>
                    <a:gdLst>
                      <a:gd name="T0" fmla="*/ 60 w 60"/>
                      <a:gd name="T1" fmla="*/ 0 h 31"/>
                      <a:gd name="T2" fmla="*/ 49 w 60"/>
                      <a:gd name="T3" fmla="*/ 0 h 31"/>
                      <a:gd name="T4" fmla="*/ 38 w 60"/>
                      <a:gd name="T5" fmla="*/ 0 h 31"/>
                      <a:gd name="T6" fmla="*/ 31 w 60"/>
                      <a:gd name="T7" fmla="*/ 0 h 31"/>
                      <a:gd name="T8" fmla="*/ 27 w 60"/>
                      <a:gd name="T9" fmla="*/ 0 h 31"/>
                      <a:gd name="T10" fmla="*/ 18 w 60"/>
                      <a:gd name="T11" fmla="*/ 0 h 31"/>
                      <a:gd name="T12" fmla="*/ 9 w 60"/>
                      <a:gd name="T13" fmla="*/ 2 h 31"/>
                      <a:gd name="T14" fmla="*/ 5 w 60"/>
                      <a:gd name="T15" fmla="*/ 3 h 31"/>
                      <a:gd name="T16" fmla="*/ 2 w 60"/>
                      <a:gd name="T17" fmla="*/ 5 h 31"/>
                      <a:gd name="T18" fmla="*/ 1 w 60"/>
                      <a:gd name="T19" fmla="*/ 8 h 31"/>
                      <a:gd name="T20" fmla="*/ 0 w 60"/>
                      <a:gd name="T21" fmla="*/ 12 h 31"/>
                      <a:gd name="T22" fmla="*/ 1 w 60"/>
                      <a:gd name="T23" fmla="*/ 15 h 31"/>
                      <a:gd name="T24" fmla="*/ 2 w 60"/>
                      <a:gd name="T25" fmla="*/ 18 h 31"/>
                      <a:gd name="T26" fmla="*/ 5 w 60"/>
                      <a:gd name="T27" fmla="*/ 22 h 31"/>
                      <a:gd name="T28" fmla="*/ 9 w 60"/>
                      <a:gd name="T29" fmla="*/ 24 h 31"/>
                      <a:gd name="T30" fmla="*/ 12 w 60"/>
                      <a:gd name="T31" fmla="*/ 27 h 31"/>
                      <a:gd name="T32" fmla="*/ 18 w 60"/>
                      <a:gd name="T33" fmla="*/ 29 h 31"/>
                      <a:gd name="T34" fmla="*/ 22 w 60"/>
                      <a:gd name="T35" fmla="*/ 31 h 31"/>
                      <a:gd name="T36" fmla="*/ 27 w 60"/>
                      <a:gd name="T37" fmla="*/ 31 h 31"/>
                      <a:gd name="T38" fmla="*/ 32 w 60"/>
                      <a:gd name="T39" fmla="*/ 30 h 31"/>
                      <a:gd name="T40" fmla="*/ 37 w 60"/>
                      <a:gd name="T41" fmla="*/ 28 h 31"/>
                      <a:gd name="T42" fmla="*/ 43 w 60"/>
                      <a:gd name="T43" fmla="*/ 24 h 31"/>
                      <a:gd name="T44" fmla="*/ 48 w 60"/>
                      <a:gd name="T45" fmla="*/ 18 h 31"/>
                      <a:gd name="T46" fmla="*/ 57 w 60"/>
                      <a:gd name="T47" fmla="*/ 10 h 31"/>
                      <a:gd name="T48" fmla="*/ 60 w 60"/>
                      <a:gd name="T49" fmla="*/ 6 h 31"/>
                      <a:gd name="T50" fmla="*/ 60 w 60"/>
                      <a:gd name="T5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437" name="Freeform 397">
                    <a:extLst>
                      <a:ext uri="{FF2B5EF4-FFF2-40B4-BE49-F238E27FC236}">
                        <a16:creationId xmlns="" xmlns:a16="http://schemas.microsoft.com/office/drawing/2014/main" id="{2F1ABEDF-575D-4883-A9FC-83D6E6507C02}"/>
                      </a:ext>
                    </a:extLst>
                  </p:cNvPr>
                  <p:cNvSpPr>
                    <a:spLocks/>
                  </p:cNvSpPr>
                  <p:nvPr/>
                </p:nvSpPr>
                <p:spPr bwMode="auto">
                  <a:xfrm>
                    <a:off x="1730" y="1713"/>
                    <a:ext cx="26" cy="20"/>
                  </a:xfrm>
                  <a:custGeom>
                    <a:avLst/>
                    <a:gdLst>
                      <a:gd name="T0" fmla="*/ 0 w 80"/>
                      <a:gd name="T1" fmla="*/ 43 h 62"/>
                      <a:gd name="T2" fmla="*/ 1 w 80"/>
                      <a:gd name="T3" fmla="*/ 46 h 62"/>
                      <a:gd name="T4" fmla="*/ 1 w 80"/>
                      <a:gd name="T5" fmla="*/ 49 h 62"/>
                      <a:gd name="T6" fmla="*/ 3 w 80"/>
                      <a:gd name="T7" fmla="*/ 51 h 62"/>
                      <a:gd name="T8" fmla="*/ 4 w 80"/>
                      <a:gd name="T9" fmla="*/ 53 h 62"/>
                      <a:gd name="T10" fmla="*/ 10 w 80"/>
                      <a:gd name="T11" fmla="*/ 57 h 62"/>
                      <a:gd name="T12" fmla="*/ 15 w 80"/>
                      <a:gd name="T13" fmla="*/ 59 h 62"/>
                      <a:gd name="T14" fmla="*/ 28 w 80"/>
                      <a:gd name="T15" fmla="*/ 62 h 62"/>
                      <a:gd name="T16" fmla="*/ 40 w 80"/>
                      <a:gd name="T17" fmla="*/ 62 h 62"/>
                      <a:gd name="T18" fmla="*/ 45 w 80"/>
                      <a:gd name="T19" fmla="*/ 62 h 62"/>
                      <a:gd name="T20" fmla="*/ 49 w 80"/>
                      <a:gd name="T21" fmla="*/ 59 h 62"/>
                      <a:gd name="T22" fmla="*/ 54 w 80"/>
                      <a:gd name="T23" fmla="*/ 57 h 62"/>
                      <a:gd name="T24" fmla="*/ 58 w 80"/>
                      <a:gd name="T25" fmla="*/ 54 h 62"/>
                      <a:gd name="T26" fmla="*/ 65 w 80"/>
                      <a:gd name="T27" fmla="*/ 47 h 62"/>
                      <a:gd name="T28" fmla="*/ 70 w 80"/>
                      <a:gd name="T29" fmla="*/ 38 h 62"/>
                      <a:gd name="T30" fmla="*/ 74 w 80"/>
                      <a:gd name="T31" fmla="*/ 28 h 62"/>
                      <a:gd name="T32" fmla="*/ 78 w 80"/>
                      <a:gd name="T33" fmla="*/ 18 h 62"/>
                      <a:gd name="T34" fmla="*/ 79 w 80"/>
                      <a:gd name="T35" fmla="*/ 8 h 62"/>
                      <a:gd name="T36" fmla="*/ 80 w 80"/>
                      <a:gd name="T37" fmla="*/ 0 h 62"/>
                      <a:gd name="T38" fmla="*/ 71 w 80"/>
                      <a:gd name="T39" fmla="*/ 0 h 62"/>
                      <a:gd name="T40" fmla="*/ 59 w 80"/>
                      <a:gd name="T41" fmla="*/ 3 h 62"/>
                      <a:gd name="T42" fmla="*/ 46 w 80"/>
                      <a:gd name="T43" fmla="*/ 8 h 62"/>
                      <a:gd name="T44" fmla="*/ 33 w 80"/>
                      <a:gd name="T45" fmla="*/ 13 h 62"/>
                      <a:gd name="T46" fmla="*/ 21 w 80"/>
                      <a:gd name="T47" fmla="*/ 19 h 62"/>
                      <a:gd name="T48" fmla="*/ 10 w 80"/>
                      <a:gd name="T49" fmla="*/ 26 h 62"/>
                      <a:gd name="T50" fmla="*/ 6 w 80"/>
                      <a:gd name="T51" fmla="*/ 30 h 62"/>
                      <a:gd name="T52" fmla="*/ 3 w 80"/>
                      <a:gd name="T53" fmla="*/ 34 h 62"/>
                      <a:gd name="T54" fmla="*/ 1 w 80"/>
                      <a:gd name="T55" fmla="*/ 39 h 62"/>
                      <a:gd name="T56" fmla="*/ 0 w 80"/>
                      <a:gd name="T5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438" name="Freeform 398">
                    <a:extLst>
                      <a:ext uri="{FF2B5EF4-FFF2-40B4-BE49-F238E27FC236}">
                        <a16:creationId xmlns="" xmlns:a16="http://schemas.microsoft.com/office/drawing/2014/main" id="{F8678FBC-8052-49B9-AE91-AA4A5F497D1E}"/>
                      </a:ext>
                    </a:extLst>
                  </p:cNvPr>
                  <p:cNvSpPr>
                    <a:spLocks/>
                  </p:cNvSpPr>
                  <p:nvPr/>
                </p:nvSpPr>
                <p:spPr bwMode="auto">
                  <a:xfrm>
                    <a:off x="1583" y="1674"/>
                    <a:ext cx="33" cy="16"/>
                  </a:xfrm>
                  <a:custGeom>
                    <a:avLst/>
                    <a:gdLst>
                      <a:gd name="T0" fmla="*/ 80 w 106"/>
                      <a:gd name="T1" fmla="*/ 13 h 49"/>
                      <a:gd name="T2" fmla="*/ 72 w 106"/>
                      <a:gd name="T3" fmla="*/ 12 h 49"/>
                      <a:gd name="T4" fmla="*/ 66 w 106"/>
                      <a:gd name="T5" fmla="*/ 11 h 49"/>
                      <a:gd name="T6" fmla="*/ 59 w 106"/>
                      <a:gd name="T7" fmla="*/ 8 h 49"/>
                      <a:gd name="T8" fmla="*/ 53 w 106"/>
                      <a:gd name="T9" fmla="*/ 6 h 49"/>
                      <a:gd name="T10" fmla="*/ 47 w 106"/>
                      <a:gd name="T11" fmla="*/ 4 h 49"/>
                      <a:gd name="T12" fmla="*/ 41 w 106"/>
                      <a:gd name="T13" fmla="*/ 2 h 49"/>
                      <a:gd name="T14" fmla="*/ 34 w 106"/>
                      <a:gd name="T15" fmla="*/ 0 h 49"/>
                      <a:gd name="T16" fmla="*/ 26 w 106"/>
                      <a:gd name="T17" fmla="*/ 0 h 49"/>
                      <a:gd name="T18" fmla="*/ 15 w 106"/>
                      <a:gd name="T19" fmla="*/ 0 h 49"/>
                      <a:gd name="T20" fmla="*/ 0 w 106"/>
                      <a:gd name="T21" fmla="*/ 0 h 49"/>
                      <a:gd name="T22" fmla="*/ 9 w 106"/>
                      <a:gd name="T23" fmla="*/ 11 h 49"/>
                      <a:gd name="T24" fmla="*/ 17 w 106"/>
                      <a:gd name="T25" fmla="*/ 21 h 49"/>
                      <a:gd name="T26" fmla="*/ 26 w 106"/>
                      <a:gd name="T27" fmla="*/ 29 h 49"/>
                      <a:gd name="T28" fmla="*/ 34 w 106"/>
                      <a:gd name="T29" fmla="*/ 36 h 49"/>
                      <a:gd name="T30" fmla="*/ 42 w 106"/>
                      <a:gd name="T31" fmla="*/ 42 h 49"/>
                      <a:gd name="T32" fmla="*/ 52 w 106"/>
                      <a:gd name="T33" fmla="*/ 46 h 49"/>
                      <a:gd name="T34" fmla="*/ 61 w 106"/>
                      <a:gd name="T35" fmla="*/ 48 h 49"/>
                      <a:gd name="T36" fmla="*/ 72 w 106"/>
                      <a:gd name="T37" fmla="*/ 49 h 49"/>
                      <a:gd name="T38" fmla="*/ 79 w 106"/>
                      <a:gd name="T39" fmla="*/ 48 h 49"/>
                      <a:gd name="T40" fmla="*/ 87 w 106"/>
                      <a:gd name="T41" fmla="*/ 45 h 49"/>
                      <a:gd name="T42" fmla="*/ 97 w 106"/>
                      <a:gd name="T43" fmla="*/ 39 h 49"/>
                      <a:gd name="T44" fmla="*/ 106 w 106"/>
                      <a:gd name="T45" fmla="*/ 31 h 49"/>
                      <a:gd name="T46" fmla="*/ 101 w 106"/>
                      <a:gd name="T47" fmla="*/ 30 h 49"/>
                      <a:gd name="T48" fmla="*/ 98 w 106"/>
                      <a:gd name="T49" fmla="*/ 28 h 49"/>
                      <a:gd name="T50" fmla="*/ 93 w 106"/>
                      <a:gd name="T51" fmla="*/ 25 h 49"/>
                      <a:gd name="T52" fmla="*/ 90 w 106"/>
                      <a:gd name="T53" fmla="*/ 22 h 49"/>
                      <a:gd name="T54" fmla="*/ 88 w 106"/>
                      <a:gd name="T55" fmla="*/ 19 h 49"/>
                      <a:gd name="T56" fmla="*/ 84 w 106"/>
                      <a:gd name="T57" fmla="*/ 16 h 49"/>
                      <a:gd name="T58" fmla="*/ 82 w 106"/>
                      <a:gd name="T59" fmla="*/ 14 h 49"/>
                      <a:gd name="T60" fmla="*/ 80 w 106"/>
                      <a:gd name="T61" fmla="*/ 1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439" name="Freeform 399">
                    <a:extLst>
                      <a:ext uri="{FF2B5EF4-FFF2-40B4-BE49-F238E27FC236}">
                        <a16:creationId xmlns="" xmlns:a16="http://schemas.microsoft.com/office/drawing/2014/main" id="{C6267228-A586-4F2A-B026-00C1990CC9F2}"/>
                      </a:ext>
                    </a:extLst>
                  </p:cNvPr>
                  <p:cNvSpPr>
                    <a:spLocks/>
                  </p:cNvSpPr>
                  <p:nvPr/>
                </p:nvSpPr>
                <p:spPr bwMode="auto">
                  <a:xfrm>
                    <a:off x="1599" y="1713"/>
                    <a:ext cx="15" cy="7"/>
                  </a:xfrm>
                  <a:custGeom>
                    <a:avLst/>
                    <a:gdLst>
                      <a:gd name="T0" fmla="*/ 0 w 47"/>
                      <a:gd name="T1" fmla="*/ 19 h 22"/>
                      <a:gd name="T2" fmla="*/ 5 w 47"/>
                      <a:gd name="T3" fmla="*/ 21 h 22"/>
                      <a:gd name="T4" fmla="*/ 12 w 47"/>
                      <a:gd name="T5" fmla="*/ 22 h 22"/>
                      <a:gd name="T6" fmla="*/ 18 w 47"/>
                      <a:gd name="T7" fmla="*/ 22 h 22"/>
                      <a:gd name="T8" fmla="*/ 26 w 47"/>
                      <a:gd name="T9" fmla="*/ 21 h 22"/>
                      <a:gd name="T10" fmla="*/ 33 w 47"/>
                      <a:gd name="T11" fmla="*/ 19 h 22"/>
                      <a:gd name="T12" fmla="*/ 38 w 47"/>
                      <a:gd name="T13" fmla="*/ 15 h 22"/>
                      <a:gd name="T14" fmla="*/ 41 w 47"/>
                      <a:gd name="T15" fmla="*/ 12 h 22"/>
                      <a:gd name="T16" fmla="*/ 44 w 47"/>
                      <a:gd name="T17" fmla="*/ 9 h 22"/>
                      <a:gd name="T18" fmla="*/ 45 w 47"/>
                      <a:gd name="T19" fmla="*/ 5 h 22"/>
                      <a:gd name="T20" fmla="*/ 47 w 47"/>
                      <a:gd name="T21" fmla="*/ 0 h 22"/>
                      <a:gd name="T22" fmla="*/ 0 w 47"/>
                      <a:gd name="T23"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440" name="Freeform 400">
                    <a:extLst>
                      <a:ext uri="{FF2B5EF4-FFF2-40B4-BE49-F238E27FC236}">
                        <a16:creationId xmlns="" xmlns:a16="http://schemas.microsoft.com/office/drawing/2014/main" id="{97D212F5-4A45-41B5-A377-43176D0DCE14}"/>
                      </a:ext>
                    </a:extLst>
                  </p:cNvPr>
                  <p:cNvSpPr>
                    <a:spLocks/>
                  </p:cNvSpPr>
                  <p:nvPr/>
                </p:nvSpPr>
                <p:spPr bwMode="auto">
                  <a:xfrm>
                    <a:off x="1608" y="1742"/>
                    <a:ext cx="17" cy="11"/>
                  </a:xfrm>
                  <a:custGeom>
                    <a:avLst/>
                    <a:gdLst>
                      <a:gd name="T0" fmla="*/ 53 w 53"/>
                      <a:gd name="T1" fmla="*/ 0 h 32"/>
                      <a:gd name="T2" fmla="*/ 37 w 53"/>
                      <a:gd name="T3" fmla="*/ 9 h 32"/>
                      <a:gd name="T4" fmla="*/ 23 w 53"/>
                      <a:gd name="T5" fmla="*/ 18 h 32"/>
                      <a:gd name="T6" fmla="*/ 11 w 53"/>
                      <a:gd name="T7" fmla="*/ 26 h 32"/>
                      <a:gd name="T8" fmla="*/ 0 w 53"/>
                      <a:gd name="T9" fmla="*/ 32 h 32"/>
                      <a:gd name="T10" fmla="*/ 13 w 53"/>
                      <a:gd name="T11" fmla="*/ 32 h 32"/>
                      <a:gd name="T12" fmla="*/ 26 w 53"/>
                      <a:gd name="T13" fmla="*/ 32 h 32"/>
                      <a:gd name="T14" fmla="*/ 39 w 53"/>
                      <a:gd name="T15" fmla="*/ 32 h 32"/>
                      <a:gd name="T16" fmla="*/ 53 w 53"/>
                      <a:gd name="T17" fmla="*/ 32 h 32"/>
                      <a:gd name="T18" fmla="*/ 53 w 53"/>
                      <a:gd name="T19" fmla="*/ 24 h 32"/>
                      <a:gd name="T20" fmla="*/ 53 w 53"/>
                      <a:gd name="T21" fmla="*/ 16 h 32"/>
                      <a:gd name="T22" fmla="*/ 53 w 53"/>
                      <a:gd name="T23" fmla="*/ 9 h 32"/>
                      <a:gd name="T24" fmla="*/ 53 w 53"/>
                      <a:gd name="T2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441" name="Freeform 401">
                    <a:extLst>
                      <a:ext uri="{FF2B5EF4-FFF2-40B4-BE49-F238E27FC236}">
                        <a16:creationId xmlns="" xmlns:a16="http://schemas.microsoft.com/office/drawing/2014/main" id="{40983F90-26CB-41F0-9BC9-5385B70D7748}"/>
                      </a:ext>
                    </a:extLst>
                  </p:cNvPr>
                  <p:cNvSpPr>
                    <a:spLocks/>
                  </p:cNvSpPr>
                  <p:nvPr/>
                </p:nvSpPr>
                <p:spPr bwMode="auto">
                  <a:xfrm>
                    <a:off x="1450" y="1438"/>
                    <a:ext cx="14" cy="12"/>
                  </a:xfrm>
                  <a:custGeom>
                    <a:avLst/>
                    <a:gdLst>
                      <a:gd name="T0" fmla="*/ 27 w 46"/>
                      <a:gd name="T1" fmla="*/ 3 h 34"/>
                      <a:gd name="T2" fmla="*/ 0 w 46"/>
                      <a:gd name="T3" fmla="*/ 16 h 34"/>
                      <a:gd name="T4" fmla="*/ 0 w 46"/>
                      <a:gd name="T5" fmla="*/ 34 h 34"/>
                      <a:gd name="T6" fmla="*/ 27 w 46"/>
                      <a:gd name="T7" fmla="*/ 34 h 34"/>
                      <a:gd name="T8" fmla="*/ 31 w 46"/>
                      <a:gd name="T9" fmla="*/ 32 h 34"/>
                      <a:gd name="T10" fmla="*/ 35 w 46"/>
                      <a:gd name="T11" fmla="*/ 28 h 34"/>
                      <a:gd name="T12" fmla="*/ 39 w 46"/>
                      <a:gd name="T13" fmla="*/ 25 h 34"/>
                      <a:gd name="T14" fmla="*/ 42 w 46"/>
                      <a:gd name="T15" fmla="*/ 21 h 34"/>
                      <a:gd name="T16" fmla="*/ 44 w 46"/>
                      <a:gd name="T17" fmla="*/ 17 h 34"/>
                      <a:gd name="T18" fmla="*/ 45 w 46"/>
                      <a:gd name="T19" fmla="*/ 13 h 34"/>
                      <a:gd name="T20" fmla="*/ 46 w 46"/>
                      <a:gd name="T21" fmla="*/ 8 h 34"/>
                      <a:gd name="T22" fmla="*/ 46 w 46"/>
                      <a:gd name="T23" fmla="*/ 3 h 34"/>
                      <a:gd name="T24" fmla="*/ 46 w 46"/>
                      <a:gd name="T25" fmla="*/ 1 h 34"/>
                      <a:gd name="T26" fmla="*/ 44 w 46"/>
                      <a:gd name="T27" fmla="*/ 0 h 34"/>
                      <a:gd name="T28" fmla="*/ 42 w 46"/>
                      <a:gd name="T29" fmla="*/ 0 h 34"/>
                      <a:gd name="T30" fmla="*/ 39 w 46"/>
                      <a:gd name="T31" fmla="*/ 0 h 34"/>
                      <a:gd name="T32" fmla="*/ 32 w 46"/>
                      <a:gd name="T33" fmla="*/ 2 h 34"/>
                      <a:gd name="T34" fmla="*/ 27 w 46"/>
                      <a:gd name="T35"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442" name="Freeform 402">
                    <a:extLst>
                      <a:ext uri="{FF2B5EF4-FFF2-40B4-BE49-F238E27FC236}">
                        <a16:creationId xmlns="" xmlns:a16="http://schemas.microsoft.com/office/drawing/2014/main" id="{360024A1-A2D6-4247-AD0A-B04E4B11124C}"/>
                      </a:ext>
                    </a:extLst>
                  </p:cNvPr>
                  <p:cNvSpPr>
                    <a:spLocks/>
                  </p:cNvSpPr>
                  <p:nvPr/>
                </p:nvSpPr>
                <p:spPr bwMode="auto">
                  <a:xfrm>
                    <a:off x="1305" y="1224"/>
                    <a:ext cx="16" cy="8"/>
                  </a:xfrm>
                  <a:custGeom>
                    <a:avLst/>
                    <a:gdLst>
                      <a:gd name="T0" fmla="*/ 0 w 48"/>
                      <a:gd name="T1" fmla="*/ 25 h 25"/>
                      <a:gd name="T2" fmla="*/ 14 w 48"/>
                      <a:gd name="T3" fmla="*/ 25 h 25"/>
                      <a:gd name="T4" fmla="*/ 28 w 48"/>
                      <a:gd name="T5" fmla="*/ 25 h 25"/>
                      <a:gd name="T6" fmla="*/ 30 w 48"/>
                      <a:gd name="T7" fmla="*/ 24 h 25"/>
                      <a:gd name="T8" fmla="*/ 33 w 48"/>
                      <a:gd name="T9" fmla="*/ 22 h 25"/>
                      <a:gd name="T10" fmla="*/ 37 w 48"/>
                      <a:gd name="T11" fmla="*/ 18 h 25"/>
                      <a:gd name="T12" fmla="*/ 40 w 48"/>
                      <a:gd name="T13" fmla="*/ 15 h 25"/>
                      <a:gd name="T14" fmla="*/ 45 w 48"/>
                      <a:gd name="T15" fmla="*/ 7 h 25"/>
                      <a:gd name="T16" fmla="*/ 48 w 48"/>
                      <a:gd name="T17" fmla="*/ 0 h 25"/>
                      <a:gd name="T18" fmla="*/ 40 w 48"/>
                      <a:gd name="T19" fmla="*/ 1 h 25"/>
                      <a:gd name="T20" fmla="*/ 33 w 48"/>
                      <a:gd name="T21" fmla="*/ 2 h 25"/>
                      <a:gd name="T22" fmla="*/ 28 w 48"/>
                      <a:gd name="T23" fmla="*/ 5 h 25"/>
                      <a:gd name="T24" fmla="*/ 21 w 48"/>
                      <a:gd name="T25" fmla="*/ 8 h 25"/>
                      <a:gd name="T26" fmla="*/ 11 w 48"/>
                      <a:gd name="T27" fmla="*/ 16 h 25"/>
                      <a:gd name="T28" fmla="*/ 0 w 48"/>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443" name="Freeform 403">
                    <a:extLst>
                      <a:ext uri="{FF2B5EF4-FFF2-40B4-BE49-F238E27FC236}">
                        <a16:creationId xmlns="" xmlns:a16="http://schemas.microsoft.com/office/drawing/2014/main" id="{A8B6D491-5C4A-425F-80CD-EC085417B5D3}"/>
                      </a:ext>
                    </a:extLst>
                  </p:cNvPr>
                  <p:cNvSpPr>
                    <a:spLocks/>
                  </p:cNvSpPr>
                  <p:nvPr/>
                </p:nvSpPr>
                <p:spPr bwMode="auto">
                  <a:xfrm>
                    <a:off x="1343" y="1188"/>
                    <a:ext cx="8" cy="11"/>
                  </a:xfrm>
                  <a:custGeom>
                    <a:avLst/>
                    <a:gdLst>
                      <a:gd name="T0" fmla="*/ 0 w 30"/>
                      <a:gd name="T1" fmla="*/ 0 h 37"/>
                      <a:gd name="T2" fmla="*/ 0 w 30"/>
                      <a:gd name="T3" fmla="*/ 37 h 37"/>
                      <a:gd name="T4" fmla="*/ 11 w 30"/>
                      <a:gd name="T5" fmla="*/ 36 h 37"/>
                      <a:gd name="T6" fmla="*/ 20 w 30"/>
                      <a:gd name="T7" fmla="*/ 34 h 37"/>
                      <a:gd name="T8" fmla="*/ 22 w 30"/>
                      <a:gd name="T9" fmla="*/ 33 h 37"/>
                      <a:gd name="T10" fmla="*/ 26 w 30"/>
                      <a:gd name="T11" fmla="*/ 32 h 37"/>
                      <a:gd name="T12" fmla="*/ 28 w 30"/>
                      <a:gd name="T13" fmla="*/ 30 h 37"/>
                      <a:gd name="T14" fmla="*/ 29 w 30"/>
                      <a:gd name="T15" fmla="*/ 28 h 37"/>
                      <a:gd name="T16" fmla="*/ 30 w 30"/>
                      <a:gd name="T17" fmla="*/ 23 h 37"/>
                      <a:gd name="T18" fmla="*/ 30 w 30"/>
                      <a:gd name="T19" fmla="*/ 16 h 37"/>
                      <a:gd name="T20" fmla="*/ 29 w 30"/>
                      <a:gd name="T21" fmla="*/ 9 h 37"/>
                      <a:gd name="T22" fmla="*/ 27 w 30"/>
                      <a:gd name="T23" fmla="*/ 0 h 37"/>
                      <a:gd name="T24" fmla="*/ 0 w 30"/>
                      <a:gd name="T2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444" name="Freeform 404">
                    <a:extLst>
                      <a:ext uri="{FF2B5EF4-FFF2-40B4-BE49-F238E27FC236}">
                        <a16:creationId xmlns="" xmlns:a16="http://schemas.microsoft.com/office/drawing/2014/main" id="{A457170D-DB8B-41AA-A1B8-D2B0019F5EA4}"/>
                      </a:ext>
                    </a:extLst>
                  </p:cNvPr>
                  <p:cNvSpPr>
                    <a:spLocks/>
                  </p:cNvSpPr>
                  <p:nvPr/>
                </p:nvSpPr>
                <p:spPr bwMode="auto">
                  <a:xfrm>
                    <a:off x="1334" y="1208"/>
                    <a:ext cx="36" cy="16"/>
                  </a:xfrm>
                  <a:custGeom>
                    <a:avLst/>
                    <a:gdLst>
                      <a:gd name="T0" fmla="*/ 33 w 113"/>
                      <a:gd name="T1" fmla="*/ 3 h 46"/>
                      <a:gd name="T2" fmla="*/ 22 w 113"/>
                      <a:gd name="T3" fmla="*/ 3 h 46"/>
                      <a:gd name="T4" fmla="*/ 12 w 113"/>
                      <a:gd name="T5" fmla="*/ 5 h 46"/>
                      <a:gd name="T6" fmla="*/ 7 w 113"/>
                      <a:gd name="T7" fmla="*/ 7 h 46"/>
                      <a:gd name="T8" fmla="*/ 3 w 113"/>
                      <a:gd name="T9" fmla="*/ 11 h 46"/>
                      <a:gd name="T10" fmla="*/ 1 w 113"/>
                      <a:gd name="T11" fmla="*/ 15 h 46"/>
                      <a:gd name="T12" fmla="*/ 0 w 113"/>
                      <a:gd name="T13" fmla="*/ 21 h 46"/>
                      <a:gd name="T14" fmla="*/ 6 w 113"/>
                      <a:gd name="T15" fmla="*/ 27 h 46"/>
                      <a:gd name="T16" fmla="*/ 10 w 113"/>
                      <a:gd name="T17" fmla="*/ 33 h 46"/>
                      <a:gd name="T18" fmla="*/ 16 w 113"/>
                      <a:gd name="T19" fmla="*/ 37 h 46"/>
                      <a:gd name="T20" fmla="*/ 20 w 113"/>
                      <a:gd name="T21" fmla="*/ 41 h 46"/>
                      <a:gd name="T22" fmla="*/ 25 w 113"/>
                      <a:gd name="T23" fmla="*/ 43 h 46"/>
                      <a:gd name="T24" fmla="*/ 30 w 113"/>
                      <a:gd name="T25" fmla="*/ 45 h 46"/>
                      <a:gd name="T26" fmla="*/ 35 w 113"/>
                      <a:gd name="T27" fmla="*/ 46 h 46"/>
                      <a:gd name="T28" fmla="*/ 40 w 113"/>
                      <a:gd name="T29" fmla="*/ 46 h 46"/>
                      <a:gd name="T30" fmla="*/ 56 w 113"/>
                      <a:gd name="T31" fmla="*/ 46 h 46"/>
                      <a:gd name="T32" fmla="*/ 70 w 113"/>
                      <a:gd name="T33" fmla="*/ 43 h 46"/>
                      <a:gd name="T34" fmla="*/ 76 w 113"/>
                      <a:gd name="T35" fmla="*/ 41 h 46"/>
                      <a:gd name="T36" fmla="*/ 81 w 113"/>
                      <a:gd name="T37" fmla="*/ 38 h 46"/>
                      <a:gd name="T38" fmla="*/ 87 w 113"/>
                      <a:gd name="T39" fmla="*/ 36 h 46"/>
                      <a:gd name="T40" fmla="*/ 91 w 113"/>
                      <a:gd name="T41" fmla="*/ 33 h 46"/>
                      <a:gd name="T42" fmla="*/ 99 w 113"/>
                      <a:gd name="T43" fmla="*/ 27 h 46"/>
                      <a:gd name="T44" fmla="*/ 106 w 113"/>
                      <a:gd name="T45" fmla="*/ 20 h 46"/>
                      <a:gd name="T46" fmla="*/ 110 w 113"/>
                      <a:gd name="T47" fmla="*/ 12 h 46"/>
                      <a:gd name="T48" fmla="*/ 113 w 113"/>
                      <a:gd name="T49" fmla="*/ 3 h 46"/>
                      <a:gd name="T50" fmla="*/ 99 w 113"/>
                      <a:gd name="T51" fmla="*/ 1 h 46"/>
                      <a:gd name="T52" fmla="*/ 87 w 113"/>
                      <a:gd name="T53" fmla="*/ 0 h 46"/>
                      <a:gd name="T54" fmla="*/ 76 w 113"/>
                      <a:gd name="T55" fmla="*/ 0 h 46"/>
                      <a:gd name="T56" fmla="*/ 66 w 113"/>
                      <a:gd name="T57" fmla="*/ 1 h 46"/>
                      <a:gd name="T58" fmla="*/ 48 w 113"/>
                      <a:gd name="T59" fmla="*/ 2 h 46"/>
                      <a:gd name="T60" fmla="*/ 33 w 113"/>
                      <a:gd name="T61" fmla="*/ 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445" name="Freeform 405">
                    <a:extLst>
                      <a:ext uri="{FF2B5EF4-FFF2-40B4-BE49-F238E27FC236}">
                        <a16:creationId xmlns="" xmlns:a16="http://schemas.microsoft.com/office/drawing/2014/main" id="{E62E0C91-B002-4050-BA0E-0761E7C92E93}"/>
                      </a:ext>
                    </a:extLst>
                  </p:cNvPr>
                  <p:cNvSpPr>
                    <a:spLocks/>
                  </p:cNvSpPr>
                  <p:nvPr/>
                </p:nvSpPr>
                <p:spPr bwMode="auto">
                  <a:xfrm>
                    <a:off x="1365" y="1201"/>
                    <a:ext cx="49" cy="28"/>
                  </a:xfrm>
                  <a:custGeom>
                    <a:avLst/>
                    <a:gdLst>
                      <a:gd name="T0" fmla="*/ 0 w 153"/>
                      <a:gd name="T1" fmla="*/ 79 h 82"/>
                      <a:gd name="T2" fmla="*/ 2 w 153"/>
                      <a:gd name="T3" fmla="*/ 81 h 82"/>
                      <a:gd name="T4" fmla="*/ 6 w 153"/>
                      <a:gd name="T5" fmla="*/ 82 h 82"/>
                      <a:gd name="T6" fmla="*/ 10 w 153"/>
                      <a:gd name="T7" fmla="*/ 82 h 82"/>
                      <a:gd name="T8" fmla="*/ 14 w 153"/>
                      <a:gd name="T9" fmla="*/ 82 h 82"/>
                      <a:gd name="T10" fmla="*/ 23 w 153"/>
                      <a:gd name="T11" fmla="*/ 80 h 82"/>
                      <a:gd name="T12" fmla="*/ 33 w 153"/>
                      <a:gd name="T13" fmla="*/ 79 h 82"/>
                      <a:gd name="T14" fmla="*/ 40 w 153"/>
                      <a:gd name="T15" fmla="*/ 79 h 82"/>
                      <a:gd name="T16" fmla="*/ 47 w 153"/>
                      <a:gd name="T17" fmla="*/ 78 h 82"/>
                      <a:gd name="T18" fmla="*/ 56 w 153"/>
                      <a:gd name="T19" fmla="*/ 76 h 82"/>
                      <a:gd name="T20" fmla="*/ 65 w 153"/>
                      <a:gd name="T21" fmla="*/ 74 h 82"/>
                      <a:gd name="T22" fmla="*/ 83 w 153"/>
                      <a:gd name="T23" fmla="*/ 68 h 82"/>
                      <a:gd name="T24" fmla="*/ 103 w 153"/>
                      <a:gd name="T25" fmla="*/ 59 h 82"/>
                      <a:gd name="T26" fmla="*/ 112 w 153"/>
                      <a:gd name="T27" fmla="*/ 54 h 82"/>
                      <a:gd name="T28" fmla="*/ 121 w 153"/>
                      <a:gd name="T29" fmla="*/ 49 h 82"/>
                      <a:gd name="T30" fmla="*/ 129 w 153"/>
                      <a:gd name="T31" fmla="*/ 43 h 82"/>
                      <a:gd name="T32" fmla="*/ 136 w 153"/>
                      <a:gd name="T33" fmla="*/ 38 h 82"/>
                      <a:gd name="T34" fmla="*/ 142 w 153"/>
                      <a:gd name="T35" fmla="*/ 32 h 82"/>
                      <a:gd name="T36" fmla="*/ 147 w 153"/>
                      <a:gd name="T37" fmla="*/ 25 h 82"/>
                      <a:gd name="T38" fmla="*/ 150 w 153"/>
                      <a:gd name="T39" fmla="*/ 19 h 82"/>
                      <a:gd name="T40" fmla="*/ 153 w 153"/>
                      <a:gd name="T41" fmla="*/ 12 h 82"/>
                      <a:gd name="T42" fmla="*/ 134 w 153"/>
                      <a:gd name="T43" fmla="*/ 8 h 82"/>
                      <a:gd name="T44" fmla="*/ 115 w 153"/>
                      <a:gd name="T45" fmla="*/ 3 h 82"/>
                      <a:gd name="T46" fmla="*/ 96 w 153"/>
                      <a:gd name="T47" fmla="*/ 1 h 82"/>
                      <a:gd name="T48" fmla="*/ 77 w 153"/>
                      <a:gd name="T49" fmla="*/ 0 h 82"/>
                      <a:gd name="T50" fmla="*/ 68 w 153"/>
                      <a:gd name="T51" fmla="*/ 1 h 82"/>
                      <a:gd name="T52" fmla="*/ 60 w 153"/>
                      <a:gd name="T53" fmla="*/ 1 h 82"/>
                      <a:gd name="T54" fmla="*/ 52 w 153"/>
                      <a:gd name="T55" fmla="*/ 2 h 82"/>
                      <a:gd name="T56" fmla="*/ 45 w 153"/>
                      <a:gd name="T57" fmla="*/ 4 h 82"/>
                      <a:gd name="T58" fmla="*/ 38 w 153"/>
                      <a:gd name="T59" fmla="*/ 7 h 82"/>
                      <a:gd name="T60" fmla="*/ 34 w 153"/>
                      <a:gd name="T61" fmla="*/ 10 h 82"/>
                      <a:gd name="T62" fmla="*/ 30 w 153"/>
                      <a:gd name="T63" fmla="*/ 14 h 82"/>
                      <a:gd name="T64" fmla="*/ 26 w 153"/>
                      <a:gd name="T65" fmla="*/ 18 h 82"/>
                      <a:gd name="T66" fmla="*/ 32 w 153"/>
                      <a:gd name="T67" fmla="*/ 23 h 82"/>
                      <a:gd name="T68" fmla="*/ 36 w 153"/>
                      <a:gd name="T69" fmla="*/ 29 h 82"/>
                      <a:gd name="T70" fmla="*/ 38 w 153"/>
                      <a:gd name="T71" fmla="*/ 32 h 82"/>
                      <a:gd name="T72" fmla="*/ 42 w 153"/>
                      <a:gd name="T73" fmla="*/ 34 h 82"/>
                      <a:gd name="T74" fmla="*/ 44 w 153"/>
                      <a:gd name="T75" fmla="*/ 36 h 82"/>
                      <a:gd name="T76" fmla="*/ 46 w 153"/>
                      <a:gd name="T77" fmla="*/ 36 h 82"/>
                      <a:gd name="T78" fmla="*/ 40 w 153"/>
                      <a:gd name="T79" fmla="*/ 41 h 82"/>
                      <a:gd name="T80" fmla="*/ 33 w 153"/>
                      <a:gd name="T81" fmla="*/ 46 h 82"/>
                      <a:gd name="T82" fmla="*/ 29 w 153"/>
                      <a:gd name="T83" fmla="*/ 52 h 82"/>
                      <a:gd name="T84" fmla="*/ 23 w 153"/>
                      <a:gd name="T85" fmla="*/ 57 h 82"/>
                      <a:gd name="T86" fmla="*/ 18 w 153"/>
                      <a:gd name="T87" fmla="*/ 64 h 82"/>
                      <a:gd name="T88" fmla="*/ 13 w 153"/>
                      <a:gd name="T89" fmla="*/ 69 h 82"/>
                      <a:gd name="T90" fmla="*/ 7 w 153"/>
                      <a:gd name="T91" fmla="*/ 75 h 82"/>
                      <a:gd name="T92" fmla="*/ 0 w 153"/>
                      <a:gd name="T93" fmla="*/ 7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446" name="Freeform 406">
                    <a:extLst>
                      <a:ext uri="{FF2B5EF4-FFF2-40B4-BE49-F238E27FC236}">
                        <a16:creationId xmlns="" xmlns:a16="http://schemas.microsoft.com/office/drawing/2014/main" id="{10DF3895-7994-4414-A127-978F8AB40705}"/>
                      </a:ext>
                    </a:extLst>
                  </p:cNvPr>
                  <p:cNvSpPr>
                    <a:spLocks/>
                  </p:cNvSpPr>
                  <p:nvPr/>
                </p:nvSpPr>
                <p:spPr bwMode="auto">
                  <a:xfrm>
                    <a:off x="1414" y="1217"/>
                    <a:ext cx="29" cy="17"/>
                  </a:xfrm>
                  <a:custGeom>
                    <a:avLst/>
                    <a:gdLst>
                      <a:gd name="T0" fmla="*/ 0 w 86"/>
                      <a:gd name="T1" fmla="*/ 37 h 50"/>
                      <a:gd name="T2" fmla="*/ 5 w 86"/>
                      <a:gd name="T3" fmla="*/ 41 h 50"/>
                      <a:gd name="T4" fmla="*/ 11 w 86"/>
                      <a:gd name="T5" fmla="*/ 44 h 50"/>
                      <a:gd name="T6" fmla="*/ 16 w 86"/>
                      <a:gd name="T7" fmla="*/ 47 h 50"/>
                      <a:gd name="T8" fmla="*/ 23 w 86"/>
                      <a:gd name="T9" fmla="*/ 48 h 50"/>
                      <a:gd name="T10" fmla="*/ 35 w 86"/>
                      <a:gd name="T11" fmla="*/ 49 h 50"/>
                      <a:gd name="T12" fmla="*/ 46 w 86"/>
                      <a:gd name="T13" fmla="*/ 50 h 50"/>
                      <a:gd name="T14" fmla="*/ 58 w 86"/>
                      <a:gd name="T15" fmla="*/ 49 h 50"/>
                      <a:gd name="T16" fmla="*/ 67 w 86"/>
                      <a:gd name="T17" fmla="*/ 48 h 50"/>
                      <a:gd name="T18" fmla="*/ 73 w 86"/>
                      <a:gd name="T19" fmla="*/ 47 h 50"/>
                      <a:gd name="T20" fmla="*/ 79 w 86"/>
                      <a:gd name="T21" fmla="*/ 44 h 50"/>
                      <a:gd name="T22" fmla="*/ 82 w 86"/>
                      <a:gd name="T23" fmla="*/ 41 h 50"/>
                      <a:gd name="T24" fmla="*/ 84 w 86"/>
                      <a:gd name="T25" fmla="*/ 37 h 50"/>
                      <a:gd name="T26" fmla="*/ 85 w 86"/>
                      <a:gd name="T27" fmla="*/ 32 h 50"/>
                      <a:gd name="T28" fmla="*/ 86 w 86"/>
                      <a:gd name="T29" fmla="*/ 25 h 50"/>
                      <a:gd name="T30" fmla="*/ 85 w 86"/>
                      <a:gd name="T31" fmla="*/ 17 h 50"/>
                      <a:gd name="T32" fmla="*/ 84 w 86"/>
                      <a:gd name="T33" fmla="*/ 10 h 50"/>
                      <a:gd name="T34" fmla="*/ 83 w 86"/>
                      <a:gd name="T35" fmla="*/ 7 h 50"/>
                      <a:gd name="T36" fmla="*/ 81 w 86"/>
                      <a:gd name="T37" fmla="*/ 5 h 50"/>
                      <a:gd name="T38" fmla="*/ 77 w 86"/>
                      <a:gd name="T39" fmla="*/ 2 h 50"/>
                      <a:gd name="T40" fmla="*/ 73 w 86"/>
                      <a:gd name="T41" fmla="*/ 0 h 50"/>
                      <a:gd name="T42" fmla="*/ 0 w 86"/>
                      <a:gd name="T43"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447" name="Freeform 407">
                    <a:extLst>
                      <a:ext uri="{FF2B5EF4-FFF2-40B4-BE49-F238E27FC236}">
                        <a16:creationId xmlns="" xmlns:a16="http://schemas.microsoft.com/office/drawing/2014/main" id="{25F68EF6-7202-4F48-B8EF-F1CD9B459202}"/>
                      </a:ext>
                    </a:extLst>
                  </p:cNvPr>
                  <p:cNvSpPr>
                    <a:spLocks/>
                  </p:cNvSpPr>
                  <p:nvPr/>
                </p:nvSpPr>
                <p:spPr bwMode="auto">
                  <a:xfrm>
                    <a:off x="1379" y="1163"/>
                    <a:ext cx="55" cy="25"/>
                  </a:xfrm>
                  <a:custGeom>
                    <a:avLst/>
                    <a:gdLst>
                      <a:gd name="T0" fmla="*/ 119 w 172"/>
                      <a:gd name="T1" fmla="*/ 61 h 74"/>
                      <a:gd name="T2" fmla="*/ 109 w 172"/>
                      <a:gd name="T3" fmla="*/ 61 h 74"/>
                      <a:gd name="T4" fmla="*/ 99 w 172"/>
                      <a:gd name="T5" fmla="*/ 61 h 74"/>
                      <a:gd name="T6" fmla="*/ 90 w 172"/>
                      <a:gd name="T7" fmla="*/ 61 h 74"/>
                      <a:gd name="T8" fmla="*/ 80 w 172"/>
                      <a:gd name="T9" fmla="*/ 61 h 74"/>
                      <a:gd name="T10" fmla="*/ 60 w 172"/>
                      <a:gd name="T11" fmla="*/ 74 h 74"/>
                      <a:gd name="T12" fmla="*/ 33 w 172"/>
                      <a:gd name="T13" fmla="*/ 74 h 74"/>
                      <a:gd name="T14" fmla="*/ 36 w 172"/>
                      <a:gd name="T15" fmla="*/ 61 h 74"/>
                      <a:gd name="T16" fmla="*/ 39 w 172"/>
                      <a:gd name="T17" fmla="*/ 49 h 74"/>
                      <a:gd name="T18" fmla="*/ 30 w 172"/>
                      <a:gd name="T19" fmla="*/ 49 h 74"/>
                      <a:gd name="T20" fmla="*/ 23 w 172"/>
                      <a:gd name="T21" fmla="*/ 48 h 74"/>
                      <a:gd name="T22" fmla="*/ 15 w 172"/>
                      <a:gd name="T23" fmla="*/ 47 h 74"/>
                      <a:gd name="T24" fmla="*/ 9 w 172"/>
                      <a:gd name="T25" fmla="*/ 45 h 74"/>
                      <a:gd name="T26" fmla="*/ 5 w 172"/>
                      <a:gd name="T27" fmla="*/ 42 h 74"/>
                      <a:gd name="T28" fmla="*/ 2 w 172"/>
                      <a:gd name="T29" fmla="*/ 39 h 74"/>
                      <a:gd name="T30" fmla="*/ 1 w 172"/>
                      <a:gd name="T31" fmla="*/ 35 h 74"/>
                      <a:gd name="T32" fmla="*/ 0 w 172"/>
                      <a:gd name="T33" fmla="*/ 31 h 74"/>
                      <a:gd name="T34" fmla="*/ 1 w 172"/>
                      <a:gd name="T35" fmla="*/ 26 h 74"/>
                      <a:gd name="T36" fmla="*/ 2 w 172"/>
                      <a:gd name="T37" fmla="*/ 21 h 74"/>
                      <a:gd name="T38" fmla="*/ 5 w 172"/>
                      <a:gd name="T39" fmla="*/ 17 h 74"/>
                      <a:gd name="T40" fmla="*/ 8 w 172"/>
                      <a:gd name="T41" fmla="*/ 14 h 74"/>
                      <a:gd name="T42" fmla="*/ 13 w 172"/>
                      <a:gd name="T43" fmla="*/ 10 h 74"/>
                      <a:gd name="T44" fmla="*/ 18 w 172"/>
                      <a:gd name="T45" fmla="*/ 7 h 74"/>
                      <a:gd name="T46" fmla="*/ 24 w 172"/>
                      <a:gd name="T47" fmla="*/ 5 h 74"/>
                      <a:gd name="T48" fmla="*/ 29 w 172"/>
                      <a:gd name="T49" fmla="*/ 4 h 74"/>
                      <a:gd name="T50" fmla="*/ 42 w 172"/>
                      <a:gd name="T51" fmla="*/ 1 h 74"/>
                      <a:gd name="T52" fmla="*/ 56 w 172"/>
                      <a:gd name="T53" fmla="*/ 0 h 74"/>
                      <a:gd name="T54" fmla="*/ 69 w 172"/>
                      <a:gd name="T55" fmla="*/ 0 h 74"/>
                      <a:gd name="T56" fmla="*/ 80 w 172"/>
                      <a:gd name="T57" fmla="*/ 0 h 74"/>
                      <a:gd name="T58" fmla="*/ 94 w 172"/>
                      <a:gd name="T59" fmla="*/ 1 h 74"/>
                      <a:gd name="T60" fmla="*/ 106 w 172"/>
                      <a:gd name="T61" fmla="*/ 4 h 74"/>
                      <a:gd name="T62" fmla="*/ 117 w 172"/>
                      <a:gd name="T63" fmla="*/ 7 h 74"/>
                      <a:gd name="T64" fmla="*/ 128 w 172"/>
                      <a:gd name="T65" fmla="*/ 13 h 74"/>
                      <a:gd name="T66" fmla="*/ 139 w 172"/>
                      <a:gd name="T67" fmla="*/ 17 h 74"/>
                      <a:gd name="T68" fmla="*/ 150 w 172"/>
                      <a:gd name="T69" fmla="*/ 21 h 74"/>
                      <a:gd name="T70" fmla="*/ 161 w 172"/>
                      <a:gd name="T71" fmla="*/ 24 h 74"/>
                      <a:gd name="T72" fmla="*/ 172 w 172"/>
                      <a:gd name="T73" fmla="*/ 25 h 74"/>
                      <a:gd name="T74" fmla="*/ 172 w 172"/>
                      <a:gd name="T75" fmla="*/ 43 h 74"/>
                      <a:gd name="T76" fmla="*/ 169 w 172"/>
                      <a:gd name="T77" fmla="*/ 48 h 74"/>
                      <a:gd name="T78" fmla="*/ 165 w 172"/>
                      <a:gd name="T79" fmla="*/ 53 h 74"/>
                      <a:gd name="T80" fmla="*/ 161 w 172"/>
                      <a:gd name="T81" fmla="*/ 57 h 74"/>
                      <a:gd name="T82" fmla="*/ 158 w 172"/>
                      <a:gd name="T83" fmla="*/ 60 h 74"/>
                      <a:gd name="T84" fmla="*/ 153 w 172"/>
                      <a:gd name="T85" fmla="*/ 62 h 74"/>
                      <a:gd name="T86" fmla="*/ 149 w 172"/>
                      <a:gd name="T87" fmla="*/ 63 h 74"/>
                      <a:gd name="T88" fmla="*/ 146 w 172"/>
                      <a:gd name="T89" fmla="*/ 65 h 74"/>
                      <a:gd name="T90" fmla="*/ 141 w 172"/>
                      <a:gd name="T91" fmla="*/ 65 h 74"/>
                      <a:gd name="T92" fmla="*/ 131 w 172"/>
                      <a:gd name="T93" fmla="*/ 65 h 74"/>
                      <a:gd name="T94" fmla="*/ 121 w 172"/>
                      <a:gd name="T95" fmla="*/ 63 h 74"/>
                      <a:gd name="T96" fmla="*/ 112 w 172"/>
                      <a:gd name="T97" fmla="*/ 59 h 74"/>
                      <a:gd name="T98" fmla="*/ 99 w 172"/>
                      <a:gd name="T99" fmla="*/ 55 h 74"/>
                      <a:gd name="T100" fmla="*/ 106 w 172"/>
                      <a:gd name="T101" fmla="*/ 55 h 74"/>
                      <a:gd name="T102" fmla="*/ 119 w 172"/>
                      <a:gd name="T103" fmla="*/ 6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448" name="Freeform 408">
                    <a:extLst>
                      <a:ext uri="{FF2B5EF4-FFF2-40B4-BE49-F238E27FC236}">
                        <a16:creationId xmlns="" xmlns:a16="http://schemas.microsoft.com/office/drawing/2014/main" id="{603A9B8A-DB53-4132-9704-1F5985B38F78}"/>
                      </a:ext>
                    </a:extLst>
                  </p:cNvPr>
                  <p:cNvSpPr>
                    <a:spLocks/>
                  </p:cNvSpPr>
                  <p:nvPr/>
                </p:nvSpPr>
                <p:spPr bwMode="auto">
                  <a:xfrm>
                    <a:off x="1450" y="1171"/>
                    <a:ext cx="38" cy="17"/>
                  </a:xfrm>
                  <a:custGeom>
                    <a:avLst/>
                    <a:gdLst>
                      <a:gd name="T0" fmla="*/ 27 w 120"/>
                      <a:gd name="T1" fmla="*/ 49 h 49"/>
                      <a:gd name="T2" fmla="*/ 47 w 120"/>
                      <a:gd name="T3" fmla="*/ 49 h 49"/>
                      <a:gd name="T4" fmla="*/ 64 w 120"/>
                      <a:gd name="T5" fmla="*/ 48 h 49"/>
                      <a:gd name="T6" fmla="*/ 78 w 120"/>
                      <a:gd name="T7" fmla="*/ 46 h 49"/>
                      <a:gd name="T8" fmla="*/ 90 w 120"/>
                      <a:gd name="T9" fmla="*/ 43 h 49"/>
                      <a:gd name="T10" fmla="*/ 96 w 120"/>
                      <a:gd name="T11" fmla="*/ 39 h 49"/>
                      <a:gd name="T12" fmla="*/ 100 w 120"/>
                      <a:gd name="T13" fmla="*/ 37 h 49"/>
                      <a:gd name="T14" fmla="*/ 104 w 120"/>
                      <a:gd name="T15" fmla="*/ 34 h 49"/>
                      <a:gd name="T16" fmla="*/ 108 w 120"/>
                      <a:gd name="T17" fmla="*/ 31 h 49"/>
                      <a:gd name="T18" fmla="*/ 114 w 120"/>
                      <a:gd name="T19" fmla="*/ 22 h 49"/>
                      <a:gd name="T20" fmla="*/ 120 w 120"/>
                      <a:gd name="T21" fmla="*/ 12 h 49"/>
                      <a:gd name="T22" fmla="*/ 102 w 120"/>
                      <a:gd name="T23" fmla="*/ 6 h 49"/>
                      <a:gd name="T24" fmla="*/ 84 w 120"/>
                      <a:gd name="T25" fmla="*/ 3 h 49"/>
                      <a:gd name="T26" fmla="*/ 66 w 120"/>
                      <a:gd name="T27" fmla="*/ 1 h 49"/>
                      <a:gd name="T28" fmla="*/ 50 w 120"/>
                      <a:gd name="T29" fmla="*/ 0 h 49"/>
                      <a:gd name="T30" fmla="*/ 34 w 120"/>
                      <a:gd name="T31" fmla="*/ 1 h 49"/>
                      <a:gd name="T32" fmla="*/ 20 w 120"/>
                      <a:gd name="T33" fmla="*/ 2 h 49"/>
                      <a:gd name="T34" fmla="*/ 9 w 120"/>
                      <a:gd name="T35" fmla="*/ 4 h 49"/>
                      <a:gd name="T36" fmla="*/ 0 w 120"/>
                      <a:gd name="T37" fmla="*/ 6 h 49"/>
                      <a:gd name="T38" fmla="*/ 0 w 120"/>
                      <a:gd name="T39" fmla="*/ 30 h 49"/>
                      <a:gd name="T40" fmla="*/ 2 w 120"/>
                      <a:gd name="T41" fmla="*/ 35 h 49"/>
                      <a:gd name="T42" fmla="*/ 6 w 120"/>
                      <a:gd name="T43" fmla="*/ 38 h 49"/>
                      <a:gd name="T44" fmla="*/ 9 w 120"/>
                      <a:gd name="T45" fmla="*/ 41 h 49"/>
                      <a:gd name="T46" fmla="*/ 13 w 120"/>
                      <a:gd name="T47" fmla="*/ 45 h 49"/>
                      <a:gd name="T48" fmla="*/ 20 w 120"/>
                      <a:gd name="T49" fmla="*/ 48 h 49"/>
                      <a:gd name="T50" fmla="*/ 27 w 120"/>
                      <a:gd name="T5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449" name="Freeform 409">
                    <a:extLst>
                      <a:ext uri="{FF2B5EF4-FFF2-40B4-BE49-F238E27FC236}">
                        <a16:creationId xmlns="" xmlns:a16="http://schemas.microsoft.com/office/drawing/2014/main" id="{580ED76C-53D4-485B-A218-0BD9021ECEC5}"/>
                      </a:ext>
                    </a:extLst>
                  </p:cNvPr>
                  <p:cNvSpPr>
                    <a:spLocks/>
                  </p:cNvSpPr>
                  <p:nvPr/>
                </p:nvSpPr>
                <p:spPr bwMode="auto">
                  <a:xfrm>
                    <a:off x="1441" y="1194"/>
                    <a:ext cx="26" cy="19"/>
                  </a:xfrm>
                  <a:custGeom>
                    <a:avLst/>
                    <a:gdLst>
                      <a:gd name="T0" fmla="*/ 33 w 85"/>
                      <a:gd name="T1" fmla="*/ 0 h 61"/>
                      <a:gd name="T2" fmla="*/ 22 w 85"/>
                      <a:gd name="T3" fmla="*/ 5 h 61"/>
                      <a:gd name="T4" fmla="*/ 11 w 85"/>
                      <a:gd name="T5" fmla="*/ 12 h 61"/>
                      <a:gd name="T6" fmla="*/ 6 w 85"/>
                      <a:gd name="T7" fmla="*/ 17 h 61"/>
                      <a:gd name="T8" fmla="*/ 3 w 85"/>
                      <a:gd name="T9" fmla="*/ 21 h 61"/>
                      <a:gd name="T10" fmla="*/ 0 w 85"/>
                      <a:gd name="T11" fmla="*/ 25 h 61"/>
                      <a:gd name="T12" fmla="*/ 0 w 85"/>
                      <a:gd name="T13" fmla="*/ 31 h 61"/>
                      <a:gd name="T14" fmla="*/ 0 w 85"/>
                      <a:gd name="T15" fmla="*/ 34 h 61"/>
                      <a:gd name="T16" fmla="*/ 1 w 85"/>
                      <a:gd name="T17" fmla="*/ 37 h 61"/>
                      <a:gd name="T18" fmla="*/ 2 w 85"/>
                      <a:gd name="T19" fmla="*/ 40 h 61"/>
                      <a:gd name="T20" fmla="*/ 5 w 85"/>
                      <a:gd name="T21" fmla="*/ 43 h 61"/>
                      <a:gd name="T22" fmla="*/ 11 w 85"/>
                      <a:gd name="T23" fmla="*/ 48 h 61"/>
                      <a:gd name="T24" fmla="*/ 18 w 85"/>
                      <a:gd name="T25" fmla="*/ 53 h 61"/>
                      <a:gd name="T26" fmla="*/ 27 w 85"/>
                      <a:gd name="T27" fmla="*/ 56 h 61"/>
                      <a:gd name="T28" fmla="*/ 36 w 85"/>
                      <a:gd name="T29" fmla="*/ 59 h 61"/>
                      <a:gd name="T30" fmla="*/ 45 w 85"/>
                      <a:gd name="T31" fmla="*/ 61 h 61"/>
                      <a:gd name="T32" fmla="*/ 53 w 85"/>
                      <a:gd name="T33" fmla="*/ 61 h 61"/>
                      <a:gd name="T34" fmla="*/ 56 w 85"/>
                      <a:gd name="T35" fmla="*/ 61 h 61"/>
                      <a:gd name="T36" fmla="*/ 59 w 85"/>
                      <a:gd name="T37" fmla="*/ 60 h 61"/>
                      <a:gd name="T38" fmla="*/ 62 w 85"/>
                      <a:gd name="T39" fmla="*/ 59 h 61"/>
                      <a:gd name="T40" fmla="*/ 66 w 85"/>
                      <a:gd name="T41" fmla="*/ 57 h 61"/>
                      <a:gd name="T42" fmla="*/ 72 w 85"/>
                      <a:gd name="T43" fmla="*/ 52 h 61"/>
                      <a:gd name="T44" fmla="*/ 77 w 85"/>
                      <a:gd name="T45" fmla="*/ 47 h 61"/>
                      <a:gd name="T46" fmla="*/ 80 w 85"/>
                      <a:gd name="T47" fmla="*/ 40 h 61"/>
                      <a:gd name="T48" fmla="*/ 83 w 85"/>
                      <a:gd name="T49" fmla="*/ 33 h 61"/>
                      <a:gd name="T50" fmla="*/ 85 w 85"/>
                      <a:gd name="T51" fmla="*/ 25 h 61"/>
                      <a:gd name="T52" fmla="*/ 85 w 85"/>
                      <a:gd name="T53" fmla="*/ 18 h 61"/>
                      <a:gd name="T54" fmla="*/ 33 w 85"/>
                      <a:gd name="T5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450" name="Freeform 410">
                    <a:extLst>
                      <a:ext uri="{FF2B5EF4-FFF2-40B4-BE49-F238E27FC236}">
                        <a16:creationId xmlns="" xmlns:a16="http://schemas.microsoft.com/office/drawing/2014/main" id="{04BB4162-6AB5-4296-9C2B-2930E66EE9EA}"/>
                      </a:ext>
                    </a:extLst>
                  </p:cNvPr>
                  <p:cNvSpPr>
                    <a:spLocks/>
                  </p:cNvSpPr>
                  <p:nvPr/>
                </p:nvSpPr>
                <p:spPr bwMode="auto">
                  <a:xfrm>
                    <a:off x="1254" y="1188"/>
                    <a:ext cx="31" cy="6"/>
                  </a:xfrm>
                  <a:custGeom>
                    <a:avLst/>
                    <a:gdLst>
                      <a:gd name="T0" fmla="*/ 0 w 100"/>
                      <a:gd name="T1" fmla="*/ 6 h 19"/>
                      <a:gd name="T2" fmla="*/ 7 w 100"/>
                      <a:gd name="T3" fmla="*/ 11 h 19"/>
                      <a:gd name="T4" fmla="*/ 13 w 100"/>
                      <a:gd name="T5" fmla="*/ 15 h 19"/>
                      <a:gd name="T6" fmla="*/ 21 w 100"/>
                      <a:gd name="T7" fmla="*/ 18 h 19"/>
                      <a:gd name="T8" fmla="*/ 27 w 100"/>
                      <a:gd name="T9" fmla="*/ 19 h 19"/>
                      <a:gd name="T10" fmla="*/ 100 w 100"/>
                      <a:gd name="T11" fmla="*/ 6 h 19"/>
                      <a:gd name="T12" fmla="*/ 73 w 100"/>
                      <a:gd name="T13" fmla="*/ 2 h 19"/>
                      <a:gd name="T14" fmla="*/ 47 w 100"/>
                      <a:gd name="T15" fmla="*/ 0 h 19"/>
                      <a:gd name="T16" fmla="*/ 36 w 100"/>
                      <a:gd name="T17" fmla="*/ 0 h 19"/>
                      <a:gd name="T18" fmla="*/ 24 w 100"/>
                      <a:gd name="T19" fmla="*/ 1 h 19"/>
                      <a:gd name="T20" fmla="*/ 12 w 100"/>
                      <a:gd name="T21" fmla="*/ 3 h 19"/>
                      <a:gd name="T22" fmla="*/ 0 w 100"/>
                      <a:gd name="T23" fmla="*/ 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451" name="Freeform 411">
                    <a:extLst>
                      <a:ext uri="{FF2B5EF4-FFF2-40B4-BE49-F238E27FC236}">
                        <a16:creationId xmlns="" xmlns:a16="http://schemas.microsoft.com/office/drawing/2014/main" id="{66EBB5FA-3790-4A16-92A5-FE59C600F364}"/>
                      </a:ext>
                    </a:extLst>
                  </p:cNvPr>
                  <p:cNvSpPr>
                    <a:spLocks/>
                  </p:cNvSpPr>
                  <p:nvPr/>
                </p:nvSpPr>
                <p:spPr bwMode="auto">
                  <a:xfrm>
                    <a:off x="1272" y="1168"/>
                    <a:ext cx="53" cy="15"/>
                  </a:xfrm>
                  <a:custGeom>
                    <a:avLst/>
                    <a:gdLst>
                      <a:gd name="T0" fmla="*/ 0 w 166"/>
                      <a:gd name="T1" fmla="*/ 27 h 45"/>
                      <a:gd name="T2" fmla="*/ 0 w 166"/>
                      <a:gd name="T3" fmla="*/ 29 h 45"/>
                      <a:gd name="T4" fmla="*/ 3 w 166"/>
                      <a:gd name="T5" fmla="*/ 31 h 45"/>
                      <a:gd name="T6" fmla="*/ 8 w 166"/>
                      <a:gd name="T7" fmla="*/ 33 h 45"/>
                      <a:gd name="T8" fmla="*/ 13 w 166"/>
                      <a:gd name="T9" fmla="*/ 35 h 45"/>
                      <a:gd name="T10" fmla="*/ 27 w 166"/>
                      <a:gd name="T11" fmla="*/ 38 h 45"/>
                      <a:gd name="T12" fmla="*/ 44 w 166"/>
                      <a:gd name="T13" fmla="*/ 41 h 45"/>
                      <a:gd name="T14" fmla="*/ 75 w 166"/>
                      <a:gd name="T15" fmla="*/ 44 h 45"/>
                      <a:gd name="T16" fmla="*/ 92 w 166"/>
                      <a:gd name="T17" fmla="*/ 45 h 45"/>
                      <a:gd name="T18" fmla="*/ 166 w 166"/>
                      <a:gd name="T19" fmla="*/ 27 h 45"/>
                      <a:gd name="T20" fmla="*/ 157 w 166"/>
                      <a:gd name="T21" fmla="*/ 25 h 45"/>
                      <a:gd name="T22" fmla="*/ 137 w 166"/>
                      <a:gd name="T23" fmla="*/ 19 h 45"/>
                      <a:gd name="T24" fmla="*/ 110 w 166"/>
                      <a:gd name="T25" fmla="*/ 11 h 45"/>
                      <a:gd name="T26" fmla="*/ 80 w 166"/>
                      <a:gd name="T27" fmla="*/ 4 h 45"/>
                      <a:gd name="T28" fmla="*/ 65 w 166"/>
                      <a:gd name="T29" fmla="*/ 2 h 45"/>
                      <a:gd name="T30" fmla="*/ 50 w 166"/>
                      <a:gd name="T31" fmla="*/ 1 h 45"/>
                      <a:gd name="T32" fmla="*/ 36 w 166"/>
                      <a:gd name="T33" fmla="*/ 0 h 45"/>
                      <a:gd name="T34" fmla="*/ 24 w 166"/>
                      <a:gd name="T35" fmla="*/ 2 h 45"/>
                      <a:gd name="T36" fmla="*/ 19 w 166"/>
                      <a:gd name="T37" fmla="*/ 3 h 45"/>
                      <a:gd name="T38" fmla="*/ 14 w 166"/>
                      <a:gd name="T39" fmla="*/ 5 h 45"/>
                      <a:gd name="T40" fmla="*/ 10 w 166"/>
                      <a:gd name="T41" fmla="*/ 7 h 45"/>
                      <a:gd name="T42" fmla="*/ 7 w 166"/>
                      <a:gd name="T43" fmla="*/ 10 h 45"/>
                      <a:gd name="T44" fmla="*/ 3 w 166"/>
                      <a:gd name="T45" fmla="*/ 13 h 45"/>
                      <a:gd name="T46" fmla="*/ 1 w 166"/>
                      <a:gd name="T47" fmla="*/ 17 h 45"/>
                      <a:gd name="T48" fmla="*/ 0 w 166"/>
                      <a:gd name="T49" fmla="*/ 22 h 45"/>
                      <a:gd name="T50" fmla="*/ 0 w 166"/>
                      <a:gd name="T51"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452" name="Freeform 412">
                    <a:extLst>
                      <a:ext uri="{FF2B5EF4-FFF2-40B4-BE49-F238E27FC236}">
                        <a16:creationId xmlns="" xmlns:a16="http://schemas.microsoft.com/office/drawing/2014/main" id="{1CB1A1B2-EDC1-433B-8E29-819F3B771BD4}"/>
                      </a:ext>
                    </a:extLst>
                  </p:cNvPr>
                  <p:cNvSpPr>
                    <a:spLocks/>
                  </p:cNvSpPr>
                  <p:nvPr/>
                </p:nvSpPr>
                <p:spPr bwMode="auto">
                  <a:xfrm>
                    <a:off x="1488" y="1422"/>
                    <a:ext cx="11" cy="8"/>
                  </a:xfrm>
                  <a:custGeom>
                    <a:avLst/>
                    <a:gdLst>
                      <a:gd name="T0" fmla="*/ 0 w 33"/>
                      <a:gd name="T1" fmla="*/ 0 h 25"/>
                      <a:gd name="T2" fmla="*/ 0 w 33"/>
                      <a:gd name="T3" fmla="*/ 9 h 25"/>
                      <a:gd name="T4" fmla="*/ 3 w 33"/>
                      <a:gd name="T5" fmla="*/ 15 h 25"/>
                      <a:gd name="T6" fmla="*/ 6 w 33"/>
                      <a:gd name="T7" fmla="*/ 20 h 25"/>
                      <a:gd name="T8" fmla="*/ 11 w 33"/>
                      <a:gd name="T9" fmla="*/ 22 h 25"/>
                      <a:gd name="T10" fmla="*/ 16 w 33"/>
                      <a:gd name="T11" fmla="*/ 24 h 25"/>
                      <a:gd name="T12" fmla="*/ 22 w 33"/>
                      <a:gd name="T13" fmla="*/ 25 h 25"/>
                      <a:gd name="T14" fmla="*/ 27 w 33"/>
                      <a:gd name="T15" fmla="*/ 25 h 25"/>
                      <a:gd name="T16" fmla="*/ 33 w 33"/>
                      <a:gd name="T17" fmla="*/ 25 h 25"/>
                      <a:gd name="T18" fmla="*/ 33 w 33"/>
                      <a:gd name="T19" fmla="*/ 0 h 25"/>
                      <a:gd name="T20" fmla="*/ 24 w 33"/>
                      <a:gd name="T21" fmla="*/ 0 h 25"/>
                      <a:gd name="T22" fmla="*/ 16 w 33"/>
                      <a:gd name="T23" fmla="*/ 0 h 25"/>
                      <a:gd name="T24" fmla="*/ 9 w 33"/>
                      <a:gd name="T25" fmla="*/ 0 h 25"/>
                      <a:gd name="T26" fmla="*/ 0 w 33"/>
                      <a:gd name="T2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453" name="Freeform 413">
                    <a:extLst>
                      <a:ext uri="{FF2B5EF4-FFF2-40B4-BE49-F238E27FC236}">
                        <a16:creationId xmlns="" xmlns:a16="http://schemas.microsoft.com/office/drawing/2014/main" id="{3B97BEC5-B6D8-4B87-A866-8A1706CAEFB8}"/>
                      </a:ext>
                    </a:extLst>
                  </p:cNvPr>
                  <p:cNvSpPr>
                    <a:spLocks/>
                  </p:cNvSpPr>
                  <p:nvPr/>
                </p:nvSpPr>
                <p:spPr bwMode="auto">
                  <a:xfrm>
                    <a:off x="1605" y="1729"/>
                    <a:ext cx="16" cy="20"/>
                  </a:xfrm>
                  <a:custGeom>
                    <a:avLst/>
                    <a:gdLst>
                      <a:gd name="T0" fmla="*/ 0 w 48"/>
                      <a:gd name="T1" fmla="*/ 62 h 62"/>
                      <a:gd name="T2" fmla="*/ 12 w 48"/>
                      <a:gd name="T3" fmla="*/ 56 h 62"/>
                      <a:gd name="T4" fmla="*/ 22 w 48"/>
                      <a:gd name="T5" fmla="*/ 50 h 62"/>
                      <a:gd name="T6" fmla="*/ 30 w 48"/>
                      <a:gd name="T7" fmla="*/ 43 h 62"/>
                      <a:gd name="T8" fmla="*/ 37 w 48"/>
                      <a:gd name="T9" fmla="*/ 36 h 62"/>
                      <a:gd name="T10" fmla="*/ 41 w 48"/>
                      <a:gd name="T11" fmla="*/ 28 h 62"/>
                      <a:gd name="T12" fmla="*/ 44 w 48"/>
                      <a:gd name="T13" fmla="*/ 19 h 62"/>
                      <a:gd name="T14" fmla="*/ 47 w 48"/>
                      <a:gd name="T15" fmla="*/ 9 h 62"/>
                      <a:gd name="T16" fmla="*/ 48 w 48"/>
                      <a:gd name="T17" fmla="*/ 0 h 62"/>
                      <a:gd name="T18" fmla="*/ 40 w 48"/>
                      <a:gd name="T19" fmla="*/ 3 h 62"/>
                      <a:gd name="T20" fmla="*/ 32 w 48"/>
                      <a:gd name="T21" fmla="*/ 6 h 62"/>
                      <a:gd name="T22" fmla="*/ 23 w 48"/>
                      <a:gd name="T23" fmla="*/ 10 h 62"/>
                      <a:gd name="T24" fmla="*/ 17 w 48"/>
                      <a:gd name="T25" fmla="*/ 15 h 62"/>
                      <a:gd name="T26" fmla="*/ 10 w 48"/>
                      <a:gd name="T27" fmla="*/ 21 h 62"/>
                      <a:gd name="T28" fmla="*/ 6 w 48"/>
                      <a:gd name="T29" fmla="*/ 27 h 62"/>
                      <a:gd name="T30" fmla="*/ 4 w 48"/>
                      <a:gd name="T31" fmla="*/ 31 h 62"/>
                      <a:gd name="T32" fmla="*/ 3 w 48"/>
                      <a:gd name="T33" fmla="*/ 35 h 62"/>
                      <a:gd name="T34" fmla="*/ 1 w 48"/>
                      <a:gd name="T35" fmla="*/ 39 h 62"/>
                      <a:gd name="T36" fmla="*/ 0 w 48"/>
                      <a:gd name="T37" fmla="*/ 43 h 62"/>
                      <a:gd name="T38" fmla="*/ 0 w 48"/>
                      <a:gd name="T39" fmla="*/ 52 h 62"/>
                      <a:gd name="T40" fmla="*/ 0 w 48"/>
                      <a:gd name="T4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454" name="Freeform 414">
                    <a:extLst>
                      <a:ext uri="{FF2B5EF4-FFF2-40B4-BE49-F238E27FC236}">
                        <a16:creationId xmlns="" xmlns:a16="http://schemas.microsoft.com/office/drawing/2014/main" id="{8D67F895-ED0B-4B7B-A6FC-788812AEA62A}"/>
                      </a:ext>
                    </a:extLst>
                  </p:cNvPr>
                  <p:cNvSpPr>
                    <a:spLocks/>
                  </p:cNvSpPr>
                  <p:nvPr/>
                </p:nvSpPr>
                <p:spPr bwMode="auto">
                  <a:xfrm>
                    <a:off x="1554" y="1729"/>
                    <a:ext cx="36" cy="20"/>
                  </a:xfrm>
                  <a:custGeom>
                    <a:avLst/>
                    <a:gdLst>
                      <a:gd name="T0" fmla="*/ 47 w 113"/>
                      <a:gd name="T1" fmla="*/ 0 h 62"/>
                      <a:gd name="T2" fmla="*/ 36 w 113"/>
                      <a:gd name="T3" fmla="*/ 7 h 62"/>
                      <a:gd name="T4" fmla="*/ 23 w 113"/>
                      <a:gd name="T5" fmla="*/ 17 h 62"/>
                      <a:gd name="T6" fmla="*/ 11 w 113"/>
                      <a:gd name="T7" fmla="*/ 27 h 62"/>
                      <a:gd name="T8" fmla="*/ 0 w 113"/>
                      <a:gd name="T9" fmla="*/ 37 h 62"/>
                      <a:gd name="T10" fmla="*/ 22 w 113"/>
                      <a:gd name="T11" fmla="*/ 46 h 62"/>
                      <a:gd name="T12" fmla="*/ 41 w 113"/>
                      <a:gd name="T13" fmla="*/ 54 h 62"/>
                      <a:gd name="T14" fmla="*/ 51 w 113"/>
                      <a:gd name="T15" fmla="*/ 57 h 62"/>
                      <a:gd name="T16" fmla="*/ 62 w 113"/>
                      <a:gd name="T17" fmla="*/ 59 h 62"/>
                      <a:gd name="T18" fmla="*/ 73 w 113"/>
                      <a:gd name="T19" fmla="*/ 61 h 62"/>
                      <a:gd name="T20" fmla="*/ 87 w 113"/>
                      <a:gd name="T21" fmla="*/ 62 h 62"/>
                      <a:gd name="T22" fmla="*/ 97 w 113"/>
                      <a:gd name="T23" fmla="*/ 61 h 62"/>
                      <a:gd name="T24" fmla="*/ 106 w 113"/>
                      <a:gd name="T25" fmla="*/ 58 h 62"/>
                      <a:gd name="T26" fmla="*/ 109 w 113"/>
                      <a:gd name="T27" fmla="*/ 56 h 62"/>
                      <a:gd name="T28" fmla="*/ 111 w 113"/>
                      <a:gd name="T29" fmla="*/ 54 h 62"/>
                      <a:gd name="T30" fmla="*/ 113 w 113"/>
                      <a:gd name="T31" fmla="*/ 52 h 62"/>
                      <a:gd name="T32" fmla="*/ 113 w 113"/>
                      <a:gd name="T33" fmla="*/ 49 h 62"/>
                      <a:gd name="T34" fmla="*/ 91 w 113"/>
                      <a:gd name="T35" fmla="*/ 41 h 62"/>
                      <a:gd name="T36" fmla="*/ 70 w 113"/>
                      <a:gd name="T37" fmla="*/ 32 h 62"/>
                      <a:gd name="T38" fmla="*/ 65 w 113"/>
                      <a:gd name="T39" fmla="*/ 29 h 62"/>
                      <a:gd name="T40" fmla="*/ 61 w 113"/>
                      <a:gd name="T41" fmla="*/ 26 h 62"/>
                      <a:gd name="T42" fmla="*/ 57 w 113"/>
                      <a:gd name="T43" fmla="*/ 23 h 62"/>
                      <a:gd name="T44" fmla="*/ 54 w 113"/>
                      <a:gd name="T45" fmla="*/ 20 h 62"/>
                      <a:gd name="T46" fmla="*/ 51 w 113"/>
                      <a:gd name="T47" fmla="*/ 16 h 62"/>
                      <a:gd name="T48" fmla="*/ 48 w 113"/>
                      <a:gd name="T49" fmla="*/ 10 h 62"/>
                      <a:gd name="T50" fmla="*/ 47 w 113"/>
                      <a:gd name="T51" fmla="*/ 5 h 62"/>
                      <a:gd name="T52" fmla="*/ 47 w 113"/>
                      <a:gd name="T5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455" name="Freeform 415">
                    <a:extLst>
                      <a:ext uri="{FF2B5EF4-FFF2-40B4-BE49-F238E27FC236}">
                        <a16:creationId xmlns="" xmlns:a16="http://schemas.microsoft.com/office/drawing/2014/main" id="{24BFF1D1-2111-40B0-B539-CAEB57481895}"/>
                      </a:ext>
                    </a:extLst>
                  </p:cNvPr>
                  <p:cNvSpPr>
                    <a:spLocks/>
                  </p:cNvSpPr>
                  <p:nvPr/>
                </p:nvSpPr>
                <p:spPr bwMode="auto">
                  <a:xfrm>
                    <a:off x="1748" y="1188"/>
                    <a:ext cx="29" cy="15"/>
                  </a:xfrm>
                  <a:custGeom>
                    <a:avLst/>
                    <a:gdLst>
                      <a:gd name="T0" fmla="*/ 0 w 93"/>
                      <a:gd name="T1" fmla="*/ 0 h 50"/>
                      <a:gd name="T2" fmla="*/ 15 w 93"/>
                      <a:gd name="T3" fmla="*/ 0 h 50"/>
                      <a:gd name="T4" fmla="*/ 30 w 93"/>
                      <a:gd name="T5" fmla="*/ 1 h 50"/>
                      <a:gd name="T6" fmla="*/ 45 w 93"/>
                      <a:gd name="T7" fmla="*/ 2 h 50"/>
                      <a:gd name="T8" fmla="*/ 59 w 93"/>
                      <a:gd name="T9" fmla="*/ 5 h 50"/>
                      <a:gd name="T10" fmla="*/ 64 w 93"/>
                      <a:gd name="T11" fmla="*/ 7 h 50"/>
                      <a:gd name="T12" fmla="*/ 71 w 93"/>
                      <a:gd name="T13" fmla="*/ 9 h 50"/>
                      <a:gd name="T14" fmla="*/ 75 w 93"/>
                      <a:gd name="T15" fmla="*/ 12 h 50"/>
                      <a:gd name="T16" fmla="*/ 81 w 93"/>
                      <a:gd name="T17" fmla="*/ 16 h 50"/>
                      <a:gd name="T18" fmla="*/ 85 w 93"/>
                      <a:gd name="T19" fmla="*/ 20 h 50"/>
                      <a:gd name="T20" fmla="*/ 89 w 93"/>
                      <a:gd name="T21" fmla="*/ 25 h 50"/>
                      <a:gd name="T22" fmla="*/ 91 w 93"/>
                      <a:gd name="T23" fmla="*/ 30 h 50"/>
                      <a:gd name="T24" fmla="*/ 93 w 93"/>
                      <a:gd name="T25" fmla="*/ 37 h 50"/>
                      <a:gd name="T26" fmla="*/ 79 w 93"/>
                      <a:gd name="T27" fmla="*/ 37 h 50"/>
                      <a:gd name="T28" fmla="*/ 68 w 93"/>
                      <a:gd name="T29" fmla="*/ 39 h 50"/>
                      <a:gd name="T30" fmla="*/ 60 w 93"/>
                      <a:gd name="T31" fmla="*/ 41 h 50"/>
                      <a:gd name="T32" fmla="*/ 52 w 93"/>
                      <a:gd name="T33" fmla="*/ 43 h 50"/>
                      <a:gd name="T34" fmla="*/ 42 w 93"/>
                      <a:gd name="T35" fmla="*/ 47 h 50"/>
                      <a:gd name="T36" fmla="*/ 33 w 93"/>
                      <a:gd name="T37" fmla="*/ 50 h 50"/>
                      <a:gd name="T38" fmla="*/ 30 w 93"/>
                      <a:gd name="T39" fmla="*/ 50 h 50"/>
                      <a:gd name="T40" fmla="*/ 28 w 93"/>
                      <a:gd name="T41" fmla="*/ 48 h 50"/>
                      <a:gd name="T42" fmla="*/ 26 w 93"/>
                      <a:gd name="T43" fmla="*/ 47 h 50"/>
                      <a:gd name="T44" fmla="*/ 25 w 93"/>
                      <a:gd name="T45" fmla="*/ 45 h 50"/>
                      <a:gd name="T46" fmla="*/ 23 w 93"/>
                      <a:gd name="T47" fmla="*/ 41 h 50"/>
                      <a:gd name="T48" fmla="*/ 22 w 93"/>
                      <a:gd name="T49" fmla="*/ 36 h 50"/>
                      <a:gd name="T50" fmla="*/ 22 w 93"/>
                      <a:gd name="T51" fmla="*/ 31 h 50"/>
                      <a:gd name="T52" fmla="*/ 23 w 93"/>
                      <a:gd name="T53" fmla="*/ 26 h 50"/>
                      <a:gd name="T54" fmla="*/ 24 w 93"/>
                      <a:gd name="T55" fmla="*/ 22 h 50"/>
                      <a:gd name="T56" fmla="*/ 26 w 93"/>
                      <a:gd name="T57" fmla="*/ 19 h 50"/>
                      <a:gd name="T58" fmla="*/ 0 w 93"/>
                      <a:gd name="T59" fmla="*/ 19 h 50"/>
                      <a:gd name="T60" fmla="*/ 0 w 93"/>
                      <a:gd name="T6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456" name="Freeform 416">
                    <a:extLst>
                      <a:ext uri="{FF2B5EF4-FFF2-40B4-BE49-F238E27FC236}">
                        <a16:creationId xmlns="" xmlns:a16="http://schemas.microsoft.com/office/drawing/2014/main" id="{22CB4F61-52DD-4BC1-A512-E059677FBE7A}"/>
                      </a:ext>
                    </a:extLst>
                  </p:cNvPr>
                  <p:cNvSpPr>
                    <a:spLocks/>
                  </p:cNvSpPr>
                  <p:nvPr/>
                </p:nvSpPr>
                <p:spPr bwMode="auto">
                  <a:xfrm>
                    <a:off x="1436" y="1246"/>
                    <a:ext cx="331" cy="198"/>
                  </a:xfrm>
                  <a:custGeom>
                    <a:avLst/>
                    <a:gdLst>
                      <a:gd name="T0" fmla="*/ 20 w 1029"/>
                      <a:gd name="T1" fmla="*/ 112 h 604"/>
                      <a:gd name="T2" fmla="*/ 67 w 1029"/>
                      <a:gd name="T3" fmla="*/ 60 h 604"/>
                      <a:gd name="T4" fmla="*/ 266 w 1029"/>
                      <a:gd name="T5" fmla="*/ 0 h 604"/>
                      <a:gd name="T6" fmla="*/ 205 w 1029"/>
                      <a:gd name="T7" fmla="*/ 47 h 604"/>
                      <a:gd name="T8" fmla="*/ 180 w 1029"/>
                      <a:gd name="T9" fmla="*/ 105 h 604"/>
                      <a:gd name="T10" fmla="*/ 274 w 1029"/>
                      <a:gd name="T11" fmla="*/ 60 h 604"/>
                      <a:gd name="T12" fmla="*/ 397 w 1029"/>
                      <a:gd name="T13" fmla="*/ 14 h 604"/>
                      <a:gd name="T14" fmla="*/ 438 w 1029"/>
                      <a:gd name="T15" fmla="*/ 23 h 604"/>
                      <a:gd name="T16" fmla="*/ 433 w 1029"/>
                      <a:gd name="T17" fmla="*/ 71 h 604"/>
                      <a:gd name="T18" fmla="*/ 581 w 1029"/>
                      <a:gd name="T19" fmla="*/ 80 h 604"/>
                      <a:gd name="T20" fmla="*/ 675 w 1029"/>
                      <a:gd name="T21" fmla="*/ 89 h 604"/>
                      <a:gd name="T22" fmla="*/ 749 w 1029"/>
                      <a:gd name="T23" fmla="*/ 111 h 604"/>
                      <a:gd name="T24" fmla="*/ 749 w 1029"/>
                      <a:gd name="T25" fmla="*/ 134 h 604"/>
                      <a:gd name="T26" fmla="*/ 711 w 1029"/>
                      <a:gd name="T27" fmla="*/ 184 h 604"/>
                      <a:gd name="T28" fmla="*/ 799 w 1029"/>
                      <a:gd name="T29" fmla="*/ 168 h 604"/>
                      <a:gd name="T30" fmla="*/ 866 w 1029"/>
                      <a:gd name="T31" fmla="*/ 191 h 604"/>
                      <a:gd name="T32" fmla="*/ 856 w 1029"/>
                      <a:gd name="T33" fmla="*/ 239 h 604"/>
                      <a:gd name="T34" fmla="*/ 788 w 1029"/>
                      <a:gd name="T35" fmla="*/ 248 h 604"/>
                      <a:gd name="T36" fmla="*/ 859 w 1029"/>
                      <a:gd name="T37" fmla="*/ 284 h 604"/>
                      <a:gd name="T38" fmla="*/ 903 w 1029"/>
                      <a:gd name="T39" fmla="*/ 327 h 604"/>
                      <a:gd name="T40" fmla="*/ 977 w 1029"/>
                      <a:gd name="T41" fmla="*/ 329 h 604"/>
                      <a:gd name="T42" fmla="*/ 1029 w 1029"/>
                      <a:gd name="T43" fmla="*/ 351 h 604"/>
                      <a:gd name="T44" fmla="*/ 939 w 1029"/>
                      <a:gd name="T45" fmla="*/ 409 h 604"/>
                      <a:gd name="T46" fmla="*/ 899 w 1029"/>
                      <a:gd name="T47" fmla="*/ 417 h 604"/>
                      <a:gd name="T48" fmla="*/ 874 w 1029"/>
                      <a:gd name="T49" fmla="*/ 443 h 604"/>
                      <a:gd name="T50" fmla="*/ 830 w 1029"/>
                      <a:gd name="T51" fmla="*/ 414 h 604"/>
                      <a:gd name="T52" fmla="*/ 851 w 1029"/>
                      <a:gd name="T53" fmla="*/ 393 h 604"/>
                      <a:gd name="T54" fmla="*/ 792 w 1029"/>
                      <a:gd name="T55" fmla="*/ 379 h 604"/>
                      <a:gd name="T56" fmla="*/ 759 w 1029"/>
                      <a:gd name="T57" fmla="*/ 364 h 604"/>
                      <a:gd name="T58" fmla="*/ 744 w 1029"/>
                      <a:gd name="T59" fmla="*/ 394 h 604"/>
                      <a:gd name="T60" fmla="*/ 747 w 1029"/>
                      <a:gd name="T61" fmla="*/ 445 h 604"/>
                      <a:gd name="T62" fmla="*/ 795 w 1029"/>
                      <a:gd name="T63" fmla="*/ 523 h 604"/>
                      <a:gd name="T64" fmla="*/ 771 w 1029"/>
                      <a:gd name="T65" fmla="*/ 547 h 604"/>
                      <a:gd name="T66" fmla="*/ 708 w 1029"/>
                      <a:gd name="T67" fmla="*/ 556 h 604"/>
                      <a:gd name="T68" fmla="*/ 618 w 1029"/>
                      <a:gd name="T69" fmla="*/ 517 h 604"/>
                      <a:gd name="T70" fmla="*/ 668 w 1029"/>
                      <a:gd name="T71" fmla="*/ 567 h 604"/>
                      <a:gd name="T72" fmla="*/ 665 w 1029"/>
                      <a:gd name="T73" fmla="*/ 604 h 604"/>
                      <a:gd name="T74" fmla="*/ 518 w 1029"/>
                      <a:gd name="T75" fmla="*/ 570 h 604"/>
                      <a:gd name="T76" fmla="*/ 471 w 1029"/>
                      <a:gd name="T77" fmla="*/ 523 h 604"/>
                      <a:gd name="T78" fmla="*/ 410 w 1029"/>
                      <a:gd name="T79" fmla="*/ 473 h 604"/>
                      <a:gd name="T80" fmla="*/ 367 w 1029"/>
                      <a:gd name="T81" fmla="*/ 453 h 604"/>
                      <a:gd name="T82" fmla="*/ 392 w 1029"/>
                      <a:gd name="T83" fmla="*/ 433 h 604"/>
                      <a:gd name="T84" fmla="*/ 459 w 1029"/>
                      <a:gd name="T85" fmla="*/ 399 h 604"/>
                      <a:gd name="T86" fmla="*/ 500 w 1029"/>
                      <a:gd name="T87" fmla="*/ 378 h 604"/>
                      <a:gd name="T88" fmla="*/ 577 w 1029"/>
                      <a:gd name="T89" fmla="*/ 380 h 604"/>
                      <a:gd name="T90" fmla="*/ 614 w 1029"/>
                      <a:gd name="T91" fmla="*/ 395 h 604"/>
                      <a:gd name="T92" fmla="*/ 687 w 1029"/>
                      <a:gd name="T93" fmla="*/ 387 h 604"/>
                      <a:gd name="T94" fmla="*/ 581 w 1029"/>
                      <a:gd name="T95" fmla="*/ 355 h 604"/>
                      <a:gd name="T96" fmla="*/ 542 w 1029"/>
                      <a:gd name="T97" fmla="*/ 361 h 604"/>
                      <a:gd name="T98" fmla="*/ 539 w 1029"/>
                      <a:gd name="T99" fmla="*/ 350 h 604"/>
                      <a:gd name="T100" fmla="*/ 576 w 1029"/>
                      <a:gd name="T101" fmla="*/ 306 h 604"/>
                      <a:gd name="T102" fmla="*/ 576 w 1029"/>
                      <a:gd name="T103" fmla="*/ 274 h 604"/>
                      <a:gd name="T104" fmla="*/ 524 w 1029"/>
                      <a:gd name="T105" fmla="*/ 254 h 604"/>
                      <a:gd name="T106" fmla="*/ 473 w 1029"/>
                      <a:gd name="T107" fmla="*/ 198 h 604"/>
                      <a:gd name="T108" fmla="*/ 434 w 1029"/>
                      <a:gd name="T109" fmla="*/ 168 h 604"/>
                      <a:gd name="T110" fmla="*/ 408 w 1029"/>
                      <a:gd name="T111" fmla="*/ 163 h 604"/>
                      <a:gd name="T112" fmla="*/ 378 w 1029"/>
                      <a:gd name="T113" fmla="*/ 203 h 604"/>
                      <a:gd name="T114" fmla="*/ 207 w 1029"/>
                      <a:gd name="T115" fmla="*/ 174 h 604"/>
                      <a:gd name="T116" fmla="*/ 114 w 1029"/>
                      <a:gd name="T117" fmla="*/ 189 h 604"/>
                      <a:gd name="T118" fmla="*/ 79 w 1029"/>
                      <a:gd name="T119" fmla="*/ 187 h 604"/>
                      <a:gd name="T120" fmla="*/ 16 w 1029"/>
                      <a:gd name="T121" fmla="*/ 180 h 604"/>
                      <a:gd name="T122" fmla="*/ 9 w 1029"/>
                      <a:gd name="T123" fmla="*/ 158 h 604"/>
                      <a:gd name="T124" fmla="*/ 75 w 1029"/>
                      <a:gd name="T125" fmla="*/ 149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457" name="Freeform 417">
                    <a:extLst>
                      <a:ext uri="{FF2B5EF4-FFF2-40B4-BE49-F238E27FC236}">
                        <a16:creationId xmlns="" xmlns:a16="http://schemas.microsoft.com/office/drawing/2014/main" id="{B15419D9-6B91-49B9-B3F3-18273DA7F065}"/>
                      </a:ext>
                    </a:extLst>
                  </p:cNvPr>
                  <p:cNvSpPr>
                    <a:spLocks/>
                  </p:cNvSpPr>
                  <p:nvPr/>
                </p:nvSpPr>
                <p:spPr bwMode="auto">
                  <a:xfrm>
                    <a:off x="1528" y="1110"/>
                    <a:ext cx="409" cy="105"/>
                  </a:xfrm>
                  <a:custGeom>
                    <a:avLst/>
                    <a:gdLst>
                      <a:gd name="T0" fmla="*/ 797 w 1268"/>
                      <a:gd name="T1" fmla="*/ 38 h 321"/>
                      <a:gd name="T2" fmla="*/ 813 w 1268"/>
                      <a:gd name="T3" fmla="*/ 16 h 321"/>
                      <a:gd name="T4" fmla="*/ 846 w 1268"/>
                      <a:gd name="T5" fmla="*/ 10 h 321"/>
                      <a:gd name="T6" fmla="*/ 865 w 1268"/>
                      <a:gd name="T7" fmla="*/ 25 h 321"/>
                      <a:gd name="T8" fmla="*/ 938 w 1268"/>
                      <a:gd name="T9" fmla="*/ 14 h 321"/>
                      <a:gd name="T10" fmla="*/ 1020 w 1268"/>
                      <a:gd name="T11" fmla="*/ 1 h 321"/>
                      <a:gd name="T12" fmla="*/ 1084 w 1268"/>
                      <a:gd name="T13" fmla="*/ 17 h 321"/>
                      <a:gd name="T14" fmla="*/ 1133 w 1268"/>
                      <a:gd name="T15" fmla="*/ 20 h 321"/>
                      <a:gd name="T16" fmla="*/ 1268 w 1268"/>
                      <a:gd name="T17" fmla="*/ 32 h 321"/>
                      <a:gd name="T18" fmla="*/ 1242 w 1268"/>
                      <a:gd name="T19" fmla="*/ 50 h 321"/>
                      <a:gd name="T20" fmla="*/ 1163 w 1268"/>
                      <a:gd name="T21" fmla="*/ 64 h 321"/>
                      <a:gd name="T22" fmla="*/ 1053 w 1268"/>
                      <a:gd name="T23" fmla="*/ 77 h 321"/>
                      <a:gd name="T24" fmla="*/ 1029 w 1268"/>
                      <a:gd name="T25" fmla="*/ 96 h 321"/>
                      <a:gd name="T26" fmla="*/ 999 w 1268"/>
                      <a:gd name="T27" fmla="*/ 104 h 321"/>
                      <a:gd name="T28" fmla="*/ 942 w 1268"/>
                      <a:gd name="T29" fmla="*/ 102 h 321"/>
                      <a:gd name="T30" fmla="*/ 930 w 1268"/>
                      <a:gd name="T31" fmla="*/ 118 h 321"/>
                      <a:gd name="T32" fmla="*/ 747 w 1268"/>
                      <a:gd name="T33" fmla="*/ 133 h 321"/>
                      <a:gd name="T34" fmla="*/ 666 w 1268"/>
                      <a:gd name="T35" fmla="*/ 156 h 321"/>
                      <a:gd name="T36" fmla="*/ 635 w 1268"/>
                      <a:gd name="T37" fmla="*/ 181 h 321"/>
                      <a:gd name="T38" fmla="*/ 591 w 1268"/>
                      <a:gd name="T39" fmla="*/ 167 h 321"/>
                      <a:gd name="T40" fmla="*/ 570 w 1268"/>
                      <a:gd name="T41" fmla="*/ 181 h 321"/>
                      <a:gd name="T42" fmla="*/ 590 w 1268"/>
                      <a:gd name="T43" fmla="*/ 207 h 321"/>
                      <a:gd name="T44" fmla="*/ 545 w 1268"/>
                      <a:gd name="T45" fmla="*/ 237 h 321"/>
                      <a:gd name="T46" fmla="*/ 483 w 1268"/>
                      <a:gd name="T47" fmla="*/ 236 h 321"/>
                      <a:gd name="T48" fmla="*/ 404 w 1268"/>
                      <a:gd name="T49" fmla="*/ 242 h 321"/>
                      <a:gd name="T50" fmla="*/ 405 w 1268"/>
                      <a:gd name="T51" fmla="*/ 257 h 321"/>
                      <a:gd name="T52" fmla="*/ 392 w 1268"/>
                      <a:gd name="T53" fmla="*/ 293 h 321"/>
                      <a:gd name="T54" fmla="*/ 333 w 1268"/>
                      <a:gd name="T55" fmla="*/ 320 h 321"/>
                      <a:gd name="T56" fmla="*/ 290 w 1268"/>
                      <a:gd name="T57" fmla="*/ 296 h 321"/>
                      <a:gd name="T58" fmla="*/ 253 w 1268"/>
                      <a:gd name="T59" fmla="*/ 285 h 321"/>
                      <a:gd name="T60" fmla="*/ 96 w 1268"/>
                      <a:gd name="T61" fmla="*/ 276 h 321"/>
                      <a:gd name="T62" fmla="*/ 0 w 1268"/>
                      <a:gd name="T63" fmla="*/ 285 h 321"/>
                      <a:gd name="T64" fmla="*/ 10 w 1268"/>
                      <a:gd name="T65" fmla="*/ 266 h 321"/>
                      <a:gd name="T66" fmla="*/ 56 w 1268"/>
                      <a:gd name="T67" fmla="*/ 246 h 321"/>
                      <a:gd name="T68" fmla="*/ 143 w 1268"/>
                      <a:gd name="T69" fmla="*/ 235 h 321"/>
                      <a:gd name="T70" fmla="*/ 170 w 1268"/>
                      <a:gd name="T71" fmla="*/ 225 h 321"/>
                      <a:gd name="T72" fmla="*/ 190 w 1268"/>
                      <a:gd name="T73" fmla="*/ 217 h 321"/>
                      <a:gd name="T74" fmla="*/ 219 w 1268"/>
                      <a:gd name="T75" fmla="*/ 232 h 321"/>
                      <a:gd name="T76" fmla="*/ 247 w 1268"/>
                      <a:gd name="T77" fmla="*/ 247 h 321"/>
                      <a:gd name="T78" fmla="*/ 208 w 1268"/>
                      <a:gd name="T79" fmla="*/ 207 h 321"/>
                      <a:gd name="T80" fmla="*/ 193 w 1268"/>
                      <a:gd name="T81" fmla="*/ 200 h 321"/>
                      <a:gd name="T82" fmla="*/ 197 w 1268"/>
                      <a:gd name="T83" fmla="*/ 181 h 321"/>
                      <a:gd name="T84" fmla="*/ 246 w 1268"/>
                      <a:gd name="T85" fmla="*/ 174 h 321"/>
                      <a:gd name="T86" fmla="*/ 365 w 1268"/>
                      <a:gd name="T87" fmla="*/ 186 h 321"/>
                      <a:gd name="T88" fmla="*/ 418 w 1268"/>
                      <a:gd name="T89" fmla="*/ 174 h 321"/>
                      <a:gd name="T90" fmla="*/ 322 w 1268"/>
                      <a:gd name="T91" fmla="*/ 169 h 321"/>
                      <a:gd name="T92" fmla="*/ 299 w 1268"/>
                      <a:gd name="T93" fmla="*/ 149 h 321"/>
                      <a:gd name="T94" fmla="*/ 378 w 1268"/>
                      <a:gd name="T95" fmla="*/ 137 h 321"/>
                      <a:gd name="T96" fmla="*/ 438 w 1268"/>
                      <a:gd name="T97" fmla="*/ 155 h 321"/>
                      <a:gd name="T98" fmla="*/ 478 w 1268"/>
                      <a:gd name="T99" fmla="*/ 124 h 321"/>
                      <a:gd name="T100" fmla="*/ 664 w 1268"/>
                      <a:gd name="T101" fmla="*/ 87 h 321"/>
                      <a:gd name="T102" fmla="*/ 589 w 1268"/>
                      <a:gd name="T103" fmla="*/ 110 h 321"/>
                      <a:gd name="T104" fmla="*/ 449 w 1268"/>
                      <a:gd name="T105" fmla="*/ 111 h 321"/>
                      <a:gd name="T106" fmla="*/ 312 w 1268"/>
                      <a:gd name="T107" fmla="*/ 116 h 321"/>
                      <a:gd name="T108" fmla="*/ 253 w 1268"/>
                      <a:gd name="T109" fmla="*/ 101 h 321"/>
                      <a:gd name="T110" fmla="*/ 219 w 1268"/>
                      <a:gd name="T111" fmla="*/ 80 h 321"/>
                      <a:gd name="T112" fmla="*/ 253 w 1268"/>
                      <a:gd name="T113" fmla="*/ 71 h 321"/>
                      <a:gd name="T114" fmla="*/ 446 w 1268"/>
                      <a:gd name="T115" fmla="*/ 47 h 321"/>
                      <a:gd name="T116" fmla="*/ 618 w 1268"/>
                      <a:gd name="T117" fmla="*/ 32 h 321"/>
                      <a:gd name="T118" fmla="*/ 674 w 1268"/>
                      <a:gd name="T119" fmla="*/ 20 h 321"/>
                      <a:gd name="T120" fmla="*/ 757 w 1268"/>
                      <a:gd name="T121" fmla="*/ 26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458" name="Freeform 418">
                    <a:extLst>
                      <a:ext uri="{FF2B5EF4-FFF2-40B4-BE49-F238E27FC236}">
                        <a16:creationId xmlns="" xmlns:a16="http://schemas.microsoft.com/office/drawing/2014/main" id="{AA422BCF-BBF6-4315-AE41-D48E29E0CAAA}"/>
                      </a:ext>
                    </a:extLst>
                  </p:cNvPr>
                  <p:cNvSpPr>
                    <a:spLocks/>
                  </p:cNvSpPr>
                  <p:nvPr/>
                </p:nvSpPr>
                <p:spPr bwMode="auto">
                  <a:xfrm>
                    <a:off x="553" y="1660"/>
                    <a:ext cx="51" cy="38"/>
                  </a:xfrm>
                  <a:custGeom>
                    <a:avLst/>
                    <a:gdLst>
                      <a:gd name="T0" fmla="*/ 0 w 160"/>
                      <a:gd name="T1" fmla="*/ 0 h 117"/>
                      <a:gd name="T2" fmla="*/ 1 w 160"/>
                      <a:gd name="T3" fmla="*/ 10 h 117"/>
                      <a:gd name="T4" fmla="*/ 4 w 160"/>
                      <a:gd name="T5" fmla="*/ 19 h 117"/>
                      <a:gd name="T6" fmla="*/ 9 w 160"/>
                      <a:gd name="T7" fmla="*/ 29 h 117"/>
                      <a:gd name="T8" fmla="*/ 15 w 160"/>
                      <a:gd name="T9" fmla="*/ 39 h 117"/>
                      <a:gd name="T10" fmla="*/ 22 w 160"/>
                      <a:gd name="T11" fmla="*/ 48 h 117"/>
                      <a:gd name="T12" fmla="*/ 31 w 160"/>
                      <a:gd name="T13" fmla="*/ 59 h 117"/>
                      <a:gd name="T14" fmla="*/ 41 w 160"/>
                      <a:gd name="T15" fmla="*/ 68 h 117"/>
                      <a:gd name="T16" fmla="*/ 51 w 160"/>
                      <a:gd name="T17" fmla="*/ 77 h 117"/>
                      <a:gd name="T18" fmla="*/ 62 w 160"/>
                      <a:gd name="T19" fmla="*/ 85 h 117"/>
                      <a:gd name="T20" fmla="*/ 73 w 160"/>
                      <a:gd name="T21" fmla="*/ 93 h 117"/>
                      <a:gd name="T22" fmla="*/ 84 w 160"/>
                      <a:gd name="T23" fmla="*/ 99 h 117"/>
                      <a:gd name="T24" fmla="*/ 95 w 160"/>
                      <a:gd name="T25" fmla="*/ 105 h 117"/>
                      <a:gd name="T26" fmla="*/ 106 w 160"/>
                      <a:gd name="T27" fmla="*/ 111 h 117"/>
                      <a:gd name="T28" fmla="*/ 116 w 160"/>
                      <a:gd name="T29" fmla="*/ 114 h 117"/>
                      <a:gd name="T30" fmla="*/ 124 w 160"/>
                      <a:gd name="T31" fmla="*/ 117 h 117"/>
                      <a:gd name="T32" fmla="*/ 133 w 160"/>
                      <a:gd name="T33" fmla="*/ 117 h 117"/>
                      <a:gd name="T34" fmla="*/ 139 w 160"/>
                      <a:gd name="T35" fmla="*/ 116 h 117"/>
                      <a:gd name="T36" fmla="*/ 146 w 160"/>
                      <a:gd name="T37" fmla="*/ 113 h 117"/>
                      <a:gd name="T38" fmla="*/ 153 w 160"/>
                      <a:gd name="T39" fmla="*/ 110 h 117"/>
                      <a:gd name="T40" fmla="*/ 160 w 160"/>
                      <a:gd name="T41" fmla="*/ 104 h 117"/>
                      <a:gd name="T42" fmla="*/ 150 w 160"/>
                      <a:gd name="T43" fmla="*/ 91 h 117"/>
                      <a:gd name="T44" fmla="*/ 141 w 160"/>
                      <a:gd name="T45" fmla="*/ 79 h 117"/>
                      <a:gd name="T46" fmla="*/ 138 w 160"/>
                      <a:gd name="T47" fmla="*/ 73 h 117"/>
                      <a:gd name="T48" fmla="*/ 135 w 160"/>
                      <a:gd name="T49" fmla="*/ 66 h 117"/>
                      <a:gd name="T50" fmla="*/ 133 w 160"/>
                      <a:gd name="T51" fmla="*/ 58 h 117"/>
                      <a:gd name="T52" fmla="*/ 133 w 160"/>
                      <a:gd name="T53" fmla="*/ 49 h 117"/>
                      <a:gd name="T54" fmla="*/ 127 w 160"/>
                      <a:gd name="T55" fmla="*/ 48 h 117"/>
                      <a:gd name="T56" fmla="*/ 118 w 160"/>
                      <a:gd name="T57" fmla="*/ 45 h 117"/>
                      <a:gd name="T58" fmla="*/ 108 w 160"/>
                      <a:gd name="T59" fmla="*/ 40 h 117"/>
                      <a:gd name="T60" fmla="*/ 97 w 160"/>
                      <a:gd name="T61" fmla="*/ 34 h 117"/>
                      <a:gd name="T62" fmla="*/ 87 w 160"/>
                      <a:gd name="T63" fmla="*/ 28 h 117"/>
                      <a:gd name="T64" fmla="*/ 77 w 160"/>
                      <a:gd name="T65" fmla="*/ 21 h 117"/>
                      <a:gd name="T66" fmla="*/ 74 w 160"/>
                      <a:gd name="T67" fmla="*/ 17 h 117"/>
                      <a:gd name="T68" fmla="*/ 71 w 160"/>
                      <a:gd name="T69" fmla="*/ 13 h 117"/>
                      <a:gd name="T70" fmla="*/ 68 w 160"/>
                      <a:gd name="T71" fmla="*/ 10 h 117"/>
                      <a:gd name="T72" fmla="*/ 66 w 160"/>
                      <a:gd name="T73" fmla="*/ 6 h 117"/>
                      <a:gd name="T74" fmla="*/ 60 w 160"/>
                      <a:gd name="T75" fmla="*/ 6 h 117"/>
                      <a:gd name="T76" fmla="*/ 52 w 160"/>
                      <a:gd name="T77" fmla="*/ 6 h 117"/>
                      <a:gd name="T78" fmla="*/ 43 w 160"/>
                      <a:gd name="T79" fmla="*/ 4 h 117"/>
                      <a:gd name="T80" fmla="*/ 33 w 160"/>
                      <a:gd name="T81" fmla="*/ 0 h 117"/>
                      <a:gd name="T82" fmla="*/ 0 w 160"/>
                      <a:gd name="T83"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459" name="Freeform 419">
                    <a:extLst>
                      <a:ext uri="{FF2B5EF4-FFF2-40B4-BE49-F238E27FC236}">
                        <a16:creationId xmlns="" xmlns:a16="http://schemas.microsoft.com/office/drawing/2014/main" id="{78EE4E50-AED6-4EF4-8708-7E0479BCC199}"/>
                      </a:ext>
                    </a:extLst>
                  </p:cNvPr>
                  <p:cNvSpPr>
                    <a:spLocks/>
                  </p:cNvSpPr>
                  <p:nvPr/>
                </p:nvSpPr>
                <p:spPr bwMode="auto">
                  <a:xfrm>
                    <a:off x="527" y="1592"/>
                    <a:ext cx="26" cy="46"/>
                  </a:xfrm>
                  <a:custGeom>
                    <a:avLst/>
                    <a:gdLst>
                      <a:gd name="T0" fmla="*/ 40 w 80"/>
                      <a:gd name="T1" fmla="*/ 123 h 141"/>
                      <a:gd name="T2" fmla="*/ 80 w 80"/>
                      <a:gd name="T3" fmla="*/ 36 h 141"/>
                      <a:gd name="T4" fmla="*/ 80 w 80"/>
                      <a:gd name="T5" fmla="*/ 18 h 141"/>
                      <a:gd name="T6" fmla="*/ 68 w 80"/>
                      <a:gd name="T7" fmla="*/ 17 h 141"/>
                      <a:gd name="T8" fmla="*/ 59 w 80"/>
                      <a:gd name="T9" fmla="*/ 16 h 141"/>
                      <a:gd name="T10" fmla="*/ 53 w 80"/>
                      <a:gd name="T11" fmla="*/ 14 h 141"/>
                      <a:gd name="T12" fmla="*/ 47 w 80"/>
                      <a:gd name="T13" fmla="*/ 11 h 141"/>
                      <a:gd name="T14" fmla="*/ 44 w 80"/>
                      <a:gd name="T15" fmla="*/ 8 h 141"/>
                      <a:gd name="T16" fmla="*/ 42 w 80"/>
                      <a:gd name="T17" fmla="*/ 5 h 141"/>
                      <a:gd name="T18" fmla="*/ 41 w 80"/>
                      <a:gd name="T19" fmla="*/ 2 h 141"/>
                      <a:gd name="T20" fmla="*/ 40 w 80"/>
                      <a:gd name="T21" fmla="*/ 0 h 141"/>
                      <a:gd name="T22" fmla="*/ 0 w 80"/>
                      <a:gd name="T23" fmla="*/ 0 h 141"/>
                      <a:gd name="T24" fmla="*/ 0 w 80"/>
                      <a:gd name="T25" fmla="*/ 23 h 141"/>
                      <a:gd name="T26" fmla="*/ 0 w 80"/>
                      <a:gd name="T27" fmla="*/ 40 h 141"/>
                      <a:gd name="T28" fmla="*/ 0 w 80"/>
                      <a:gd name="T29" fmla="*/ 52 h 141"/>
                      <a:gd name="T30" fmla="*/ 0 w 80"/>
                      <a:gd name="T31" fmla="*/ 61 h 141"/>
                      <a:gd name="T32" fmla="*/ 1 w 80"/>
                      <a:gd name="T33" fmla="*/ 69 h 141"/>
                      <a:gd name="T34" fmla="*/ 3 w 80"/>
                      <a:gd name="T35" fmla="*/ 78 h 141"/>
                      <a:gd name="T36" fmla="*/ 7 w 80"/>
                      <a:gd name="T37" fmla="*/ 88 h 141"/>
                      <a:gd name="T38" fmla="*/ 11 w 80"/>
                      <a:gd name="T39" fmla="*/ 99 h 141"/>
                      <a:gd name="T40" fmla="*/ 20 w 80"/>
                      <a:gd name="T41" fmla="*/ 121 h 141"/>
                      <a:gd name="T42" fmla="*/ 27 w 80"/>
                      <a:gd name="T43" fmla="*/ 141 h 141"/>
                      <a:gd name="T44" fmla="*/ 31 w 80"/>
                      <a:gd name="T45" fmla="*/ 135 h 141"/>
                      <a:gd name="T46" fmla="*/ 33 w 80"/>
                      <a:gd name="T47" fmla="*/ 129 h 141"/>
                      <a:gd name="T48" fmla="*/ 34 w 80"/>
                      <a:gd name="T49" fmla="*/ 127 h 141"/>
                      <a:gd name="T50" fmla="*/ 36 w 80"/>
                      <a:gd name="T51" fmla="*/ 125 h 141"/>
                      <a:gd name="T52" fmla="*/ 38 w 80"/>
                      <a:gd name="T53" fmla="*/ 123 h 141"/>
                      <a:gd name="T54" fmla="*/ 40 w 80"/>
                      <a:gd name="T55" fmla="*/ 12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460" name="Freeform 420">
                    <a:extLst>
                      <a:ext uri="{FF2B5EF4-FFF2-40B4-BE49-F238E27FC236}">
                        <a16:creationId xmlns="" xmlns:a16="http://schemas.microsoft.com/office/drawing/2014/main" id="{14330CD6-1DB9-403D-A66D-5CA270171C9F}"/>
                      </a:ext>
                    </a:extLst>
                  </p:cNvPr>
                  <p:cNvSpPr>
                    <a:spLocks/>
                  </p:cNvSpPr>
                  <p:nvPr/>
                </p:nvSpPr>
                <p:spPr bwMode="auto">
                  <a:xfrm>
                    <a:off x="1379" y="1383"/>
                    <a:ext cx="83" cy="41"/>
                  </a:xfrm>
                  <a:custGeom>
                    <a:avLst/>
                    <a:gdLst>
                      <a:gd name="T0" fmla="*/ 0 w 259"/>
                      <a:gd name="T1" fmla="*/ 93 h 124"/>
                      <a:gd name="T2" fmla="*/ 0 w 259"/>
                      <a:gd name="T3" fmla="*/ 96 h 124"/>
                      <a:gd name="T4" fmla="*/ 2 w 259"/>
                      <a:gd name="T5" fmla="*/ 100 h 124"/>
                      <a:gd name="T6" fmla="*/ 4 w 259"/>
                      <a:gd name="T7" fmla="*/ 103 h 124"/>
                      <a:gd name="T8" fmla="*/ 6 w 259"/>
                      <a:gd name="T9" fmla="*/ 106 h 124"/>
                      <a:gd name="T10" fmla="*/ 14 w 259"/>
                      <a:gd name="T11" fmla="*/ 111 h 124"/>
                      <a:gd name="T12" fmla="*/ 23 w 259"/>
                      <a:gd name="T13" fmla="*/ 115 h 124"/>
                      <a:gd name="T14" fmla="*/ 31 w 259"/>
                      <a:gd name="T15" fmla="*/ 120 h 124"/>
                      <a:gd name="T16" fmla="*/ 41 w 259"/>
                      <a:gd name="T17" fmla="*/ 122 h 124"/>
                      <a:gd name="T18" fmla="*/ 51 w 259"/>
                      <a:gd name="T19" fmla="*/ 124 h 124"/>
                      <a:gd name="T20" fmla="*/ 60 w 259"/>
                      <a:gd name="T21" fmla="*/ 124 h 124"/>
                      <a:gd name="T22" fmla="*/ 68 w 259"/>
                      <a:gd name="T23" fmla="*/ 124 h 124"/>
                      <a:gd name="T24" fmla="*/ 75 w 259"/>
                      <a:gd name="T25" fmla="*/ 123 h 124"/>
                      <a:gd name="T26" fmla="*/ 81 w 259"/>
                      <a:gd name="T27" fmla="*/ 122 h 124"/>
                      <a:gd name="T28" fmla="*/ 87 w 259"/>
                      <a:gd name="T29" fmla="*/ 120 h 124"/>
                      <a:gd name="T30" fmla="*/ 97 w 259"/>
                      <a:gd name="T31" fmla="*/ 114 h 124"/>
                      <a:gd name="T32" fmla="*/ 106 w 259"/>
                      <a:gd name="T33" fmla="*/ 108 h 124"/>
                      <a:gd name="T34" fmla="*/ 115 w 259"/>
                      <a:gd name="T35" fmla="*/ 103 h 124"/>
                      <a:gd name="T36" fmla="*/ 125 w 259"/>
                      <a:gd name="T37" fmla="*/ 98 h 124"/>
                      <a:gd name="T38" fmla="*/ 130 w 259"/>
                      <a:gd name="T39" fmla="*/ 96 h 124"/>
                      <a:gd name="T40" fmla="*/ 137 w 259"/>
                      <a:gd name="T41" fmla="*/ 94 h 124"/>
                      <a:gd name="T42" fmla="*/ 145 w 259"/>
                      <a:gd name="T43" fmla="*/ 93 h 124"/>
                      <a:gd name="T44" fmla="*/ 152 w 259"/>
                      <a:gd name="T45" fmla="*/ 93 h 124"/>
                      <a:gd name="T46" fmla="*/ 162 w 259"/>
                      <a:gd name="T47" fmla="*/ 94 h 124"/>
                      <a:gd name="T48" fmla="*/ 171 w 259"/>
                      <a:gd name="T49" fmla="*/ 96 h 124"/>
                      <a:gd name="T50" fmla="*/ 180 w 259"/>
                      <a:gd name="T51" fmla="*/ 99 h 124"/>
                      <a:gd name="T52" fmla="*/ 188 w 259"/>
                      <a:gd name="T53" fmla="*/ 103 h 124"/>
                      <a:gd name="T54" fmla="*/ 204 w 259"/>
                      <a:gd name="T55" fmla="*/ 111 h 124"/>
                      <a:gd name="T56" fmla="*/ 219 w 259"/>
                      <a:gd name="T57" fmla="*/ 117 h 124"/>
                      <a:gd name="T58" fmla="*/ 259 w 259"/>
                      <a:gd name="T59" fmla="*/ 117 h 124"/>
                      <a:gd name="T60" fmla="*/ 259 w 259"/>
                      <a:gd name="T61" fmla="*/ 99 h 124"/>
                      <a:gd name="T62" fmla="*/ 252 w 259"/>
                      <a:gd name="T63" fmla="*/ 98 h 124"/>
                      <a:gd name="T64" fmla="*/ 244 w 259"/>
                      <a:gd name="T65" fmla="*/ 96 h 124"/>
                      <a:gd name="T66" fmla="*/ 236 w 259"/>
                      <a:gd name="T67" fmla="*/ 94 h 124"/>
                      <a:gd name="T68" fmla="*/ 226 w 259"/>
                      <a:gd name="T69" fmla="*/ 93 h 124"/>
                      <a:gd name="T70" fmla="*/ 230 w 259"/>
                      <a:gd name="T71" fmla="*/ 85 h 124"/>
                      <a:gd name="T72" fmla="*/ 236 w 259"/>
                      <a:gd name="T73" fmla="*/ 79 h 124"/>
                      <a:gd name="T74" fmla="*/ 240 w 259"/>
                      <a:gd name="T75" fmla="*/ 74 h 124"/>
                      <a:gd name="T76" fmla="*/ 246 w 259"/>
                      <a:gd name="T77" fmla="*/ 69 h 124"/>
                      <a:gd name="T78" fmla="*/ 238 w 259"/>
                      <a:gd name="T79" fmla="*/ 61 h 124"/>
                      <a:gd name="T80" fmla="*/ 230 w 259"/>
                      <a:gd name="T81" fmla="*/ 56 h 124"/>
                      <a:gd name="T82" fmla="*/ 222 w 259"/>
                      <a:gd name="T83" fmla="*/ 50 h 124"/>
                      <a:gd name="T84" fmla="*/ 214 w 259"/>
                      <a:gd name="T85" fmla="*/ 46 h 124"/>
                      <a:gd name="T86" fmla="*/ 197 w 259"/>
                      <a:gd name="T87" fmla="*/ 37 h 124"/>
                      <a:gd name="T88" fmla="*/ 182 w 259"/>
                      <a:gd name="T89" fmla="*/ 30 h 124"/>
                      <a:gd name="T90" fmla="*/ 166 w 259"/>
                      <a:gd name="T91" fmla="*/ 23 h 124"/>
                      <a:gd name="T92" fmla="*/ 153 w 259"/>
                      <a:gd name="T93" fmla="*/ 17 h 124"/>
                      <a:gd name="T94" fmla="*/ 147 w 259"/>
                      <a:gd name="T95" fmla="*/ 13 h 124"/>
                      <a:gd name="T96" fmla="*/ 141 w 259"/>
                      <a:gd name="T97" fmla="*/ 10 h 124"/>
                      <a:gd name="T98" fmla="*/ 137 w 259"/>
                      <a:gd name="T99" fmla="*/ 5 h 124"/>
                      <a:gd name="T100" fmla="*/ 132 w 259"/>
                      <a:gd name="T101" fmla="*/ 0 h 124"/>
                      <a:gd name="T102" fmla="*/ 124 w 259"/>
                      <a:gd name="T103" fmla="*/ 3 h 124"/>
                      <a:gd name="T104" fmla="*/ 114 w 259"/>
                      <a:gd name="T105" fmla="*/ 7 h 124"/>
                      <a:gd name="T106" fmla="*/ 105 w 259"/>
                      <a:gd name="T107" fmla="*/ 12 h 124"/>
                      <a:gd name="T108" fmla="*/ 95 w 259"/>
                      <a:gd name="T109" fmla="*/ 17 h 124"/>
                      <a:gd name="T110" fmla="*/ 75 w 259"/>
                      <a:gd name="T111" fmla="*/ 29 h 124"/>
                      <a:gd name="T112" fmla="*/ 57 w 259"/>
                      <a:gd name="T113" fmla="*/ 42 h 124"/>
                      <a:gd name="T114" fmla="*/ 38 w 259"/>
                      <a:gd name="T115" fmla="*/ 56 h 124"/>
                      <a:gd name="T116" fmla="*/ 23 w 259"/>
                      <a:gd name="T117" fmla="*/ 70 h 124"/>
                      <a:gd name="T118" fmla="*/ 9 w 259"/>
                      <a:gd name="T119" fmla="*/ 83 h 124"/>
                      <a:gd name="T120" fmla="*/ 0 w 259"/>
                      <a:gd name="T121" fmla="*/ 93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461" name="Freeform 421">
                    <a:extLst>
                      <a:ext uri="{FF2B5EF4-FFF2-40B4-BE49-F238E27FC236}">
                        <a16:creationId xmlns="" xmlns:a16="http://schemas.microsoft.com/office/drawing/2014/main" id="{F1935273-44F2-4B71-927A-D67B18DE6050}"/>
                      </a:ext>
                    </a:extLst>
                  </p:cNvPr>
                  <p:cNvSpPr>
                    <a:spLocks/>
                  </p:cNvSpPr>
                  <p:nvPr/>
                </p:nvSpPr>
                <p:spPr bwMode="auto">
                  <a:xfrm>
                    <a:off x="1509" y="1389"/>
                    <a:ext cx="38" cy="19"/>
                  </a:xfrm>
                  <a:custGeom>
                    <a:avLst/>
                    <a:gdLst>
                      <a:gd name="T0" fmla="*/ 0 w 119"/>
                      <a:gd name="T1" fmla="*/ 32 h 57"/>
                      <a:gd name="T2" fmla="*/ 7 w 119"/>
                      <a:gd name="T3" fmla="*/ 35 h 57"/>
                      <a:gd name="T4" fmla="*/ 14 w 119"/>
                      <a:gd name="T5" fmla="*/ 38 h 57"/>
                      <a:gd name="T6" fmla="*/ 20 w 119"/>
                      <a:gd name="T7" fmla="*/ 42 h 57"/>
                      <a:gd name="T8" fmla="*/ 26 w 119"/>
                      <a:gd name="T9" fmla="*/ 47 h 57"/>
                      <a:gd name="T10" fmla="*/ 32 w 119"/>
                      <a:gd name="T11" fmla="*/ 51 h 57"/>
                      <a:gd name="T12" fmla="*/ 36 w 119"/>
                      <a:gd name="T13" fmla="*/ 54 h 57"/>
                      <a:gd name="T14" fmla="*/ 41 w 119"/>
                      <a:gd name="T15" fmla="*/ 56 h 57"/>
                      <a:gd name="T16" fmla="*/ 47 w 119"/>
                      <a:gd name="T17" fmla="*/ 57 h 57"/>
                      <a:gd name="T18" fmla="*/ 55 w 119"/>
                      <a:gd name="T19" fmla="*/ 57 h 57"/>
                      <a:gd name="T20" fmla="*/ 62 w 119"/>
                      <a:gd name="T21" fmla="*/ 56 h 57"/>
                      <a:gd name="T22" fmla="*/ 70 w 119"/>
                      <a:gd name="T23" fmla="*/ 55 h 57"/>
                      <a:gd name="T24" fmla="*/ 77 w 119"/>
                      <a:gd name="T25" fmla="*/ 53 h 57"/>
                      <a:gd name="T26" fmla="*/ 83 w 119"/>
                      <a:gd name="T27" fmla="*/ 50 h 57"/>
                      <a:gd name="T28" fmla="*/ 89 w 119"/>
                      <a:gd name="T29" fmla="*/ 48 h 57"/>
                      <a:gd name="T30" fmla="*/ 93 w 119"/>
                      <a:gd name="T31" fmla="*/ 44 h 57"/>
                      <a:gd name="T32" fmla="*/ 97 w 119"/>
                      <a:gd name="T33" fmla="*/ 40 h 57"/>
                      <a:gd name="T34" fmla="*/ 106 w 119"/>
                      <a:gd name="T35" fmla="*/ 32 h 57"/>
                      <a:gd name="T36" fmla="*/ 112 w 119"/>
                      <a:gd name="T37" fmla="*/ 23 h 57"/>
                      <a:gd name="T38" fmla="*/ 116 w 119"/>
                      <a:gd name="T39" fmla="*/ 13 h 57"/>
                      <a:gd name="T40" fmla="*/ 119 w 119"/>
                      <a:gd name="T41" fmla="*/ 1 h 57"/>
                      <a:gd name="T42" fmla="*/ 101 w 119"/>
                      <a:gd name="T43" fmla="*/ 0 h 57"/>
                      <a:gd name="T44" fmla="*/ 82 w 119"/>
                      <a:gd name="T45" fmla="*/ 0 h 57"/>
                      <a:gd name="T46" fmla="*/ 63 w 119"/>
                      <a:gd name="T47" fmla="*/ 2 h 57"/>
                      <a:gd name="T48" fmla="*/ 45 w 119"/>
                      <a:gd name="T49" fmla="*/ 5 h 57"/>
                      <a:gd name="T50" fmla="*/ 36 w 119"/>
                      <a:gd name="T51" fmla="*/ 7 h 57"/>
                      <a:gd name="T52" fmla="*/ 28 w 119"/>
                      <a:gd name="T53" fmla="*/ 10 h 57"/>
                      <a:gd name="T54" fmla="*/ 22 w 119"/>
                      <a:gd name="T55" fmla="*/ 13 h 57"/>
                      <a:gd name="T56" fmla="*/ 15 w 119"/>
                      <a:gd name="T57" fmla="*/ 16 h 57"/>
                      <a:gd name="T58" fmla="*/ 10 w 119"/>
                      <a:gd name="T59" fmla="*/ 19 h 57"/>
                      <a:gd name="T60" fmla="*/ 5 w 119"/>
                      <a:gd name="T61" fmla="*/ 23 h 57"/>
                      <a:gd name="T62" fmla="*/ 2 w 119"/>
                      <a:gd name="T63" fmla="*/ 27 h 57"/>
                      <a:gd name="T64" fmla="*/ 0 w 119"/>
                      <a:gd name="T65" fmla="*/ 3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462" name="Freeform 422">
                    <a:extLst>
                      <a:ext uri="{FF2B5EF4-FFF2-40B4-BE49-F238E27FC236}">
                        <a16:creationId xmlns="" xmlns:a16="http://schemas.microsoft.com/office/drawing/2014/main" id="{A83D53E3-634E-4BA5-A28D-4F91E5B75522}"/>
                      </a:ext>
                    </a:extLst>
                  </p:cNvPr>
                  <p:cNvSpPr>
                    <a:spLocks/>
                  </p:cNvSpPr>
                  <p:nvPr/>
                </p:nvSpPr>
                <p:spPr bwMode="auto">
                  <a:xfrm>
                    <a:off x="1554" y="1335"/>
                    <a:ext cx="34" cy="17"/>
                  </a:xfrm>
                  <a:custGeom>
                    <a:avLst/>
                    <a:gdLst>
                      <a:gd name="T0" fmla="*/ 0 w 107"/>
                      <a:gd name="T1" fmla="*/ 50 h 52"/>
                      <a:gd name="T2" fmla="*/ 6 w 107"/>
                      <a:gd name="T3" fmla="*/ 51 h 52"/>
                      <a:gd name="T4" fmla="*/ 9 w 107"/>
                      <a:gd name="T5" fmla="*/ 52 h 52"/>
                      <a:gd name="T6" fmla="*/ 13 w 107"/>
                      <a:gd name="T7" fmla="*/ 52 h 52"/>
                      <a:gd name="T8" fmla="*/ 17 w 107"/>
                      <a:gd name="T9" fmla="*/ 52 h 52"/>
                      <a:gd name="T10" fmla="*/ 24 w 107"/>
                      <a:gd name="T11" fmla="*/ 50 h 52"/>
                      <a:gd name="T12" fmla="*/ 34 w 107"/>
                      <a:gd name="T13" fmla="*/ 50 h 52"/>
                      <a:gd name="T14" fmla="*/ 43 w 107"/>
                      <a:gd name="T15" fmla="*/ 49 h 52"/>
                      <a:gd name="T16" fmla="*/ 53 w 107"/>
                      <a:gd name="T17" fmla="*/ 48 h 52"/>
                      <a:gd name="T18" fmla="*/ 62 w 107"/>
                      <a:gd name="T19" fmla="*/ 47 h 52"/>
                      <a:gd name="T20" fmla="*/ 70 w 107"/>
                      <a:gd name="T21" fmla="*/ 43 h 52"/>
                      <a:gd name="T22" fmla="*/ 79 w 107"/>
                      <a:gd name="T23" fmla="*/ 40 h 52"/>
                      <a:gd name="T24" fmla="*/ 88 w 107"/>
                      <a:gd name="T25" fmla="*/ 36 h 52"/>
                      <a:gd name="T26" fmla="*/ 97 w 107"/>
                      <a:gd name="T27" fmla="*/ 31 h 52"/>
                      <a:gd name="T28" fmla="*/ 107 w 107"/>
                      <a:gd name="T29" fmla="*/ 24 h 52"/>
                      <a:gd name="T30" fmla="*/ 107 w 107"/>
                      <a:gd name="T31" fmla="*/ 0 h 52"/>
                      <a:gd name="T32" fmla="*/ 98 w 107"/>
                      <a:gd name="T33" fmla="*/ 1 h 52"/>
                      <a:gd name="T34" fmla="*/ 86 w 107"/>
                      <a:gd name="T35" fmla="*/ 3 h 52"/>
                      <a:gd name="T36" fmla="*/ 72 w 107"/>
                      <a:gd name="T37" fmla="*/ 7 h 52"/>
                      <a:gd name="T38" fmla="*/ 56 w 107"/>
                      <a:gd name="T39" fmla="*/ 13 h 52"/>
                      <a:gd name="T40" fmla="*/ 41 w 107"/>
                      <a:gd name="T41" fmla="*/ 20 h 52"/>
                      <a:gd name="T42" fmla="*/ 25 w 107"/>
                      <a:gd name="T43" fmla="*/ 28 h 52"/>
                      <a:gd name="T44" fmla="*/ 19 w 107"/>
                      <a:gd name="T45" fmla="*/ 33 h 52"/>
                      <a:gd name="T46" fmla="*/ 12 w 107"/>
                      <a:gd name="T47" fmla="*/ 38 h 52"/>
                      <a:gd name="T48" fmla="*/ 6 w 107"/>
                      <a:gd name="T49" fmla="*/ 43 h 52"/>
                      <a:gd name="T50" fmla="*/ 0 w 107"/>
                      <a:gd name="T51" fmla="*/ 5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463" name="Freeform 423">
                    <a:extLst>
                      <a:ext uri="{FF2B5EF4-FFF2-40B4-BE49-F238E27FC236}">
                        <a16:creationId xmlns="" xmlns:a16="http://schemas.microsoft.com/office/drawing/2014/main" id="{86572601-4BAF-4D31-851F-89FE93D82BED}"/>
                      </a:ext>
                    </a:extLst>
                  </p:cNvPr>
                  <p:cNvSpPr>
                    <a:spLocks/>
                  </p:cNvSpPr>
                  <p:nvPr/>
                </p:nvSpPr>
                <p:spPr bwMode="auto">
                  <a:xfrm>
                    <a:off x="1381" y="1244"/>
                    <a:ext cx="79" cy="32"/>
                  </a:xfrm>
                  <a:custGeom>
                    <a:avLst/>
                    <a:gdLst>
                      <a:gd name="T0" fmla="*/ 27 w 246"/>
                      <a:gd name="T1" fmla="*/ 99 h 99"/>
                      <a:gd name="T2" fmla="*/ 22 w 246"/>
                      <a:gd name="T3" fmla="*/ 97 h 99"/>
                      <a:gd name="T4" fmla="*/ 17 w 246"/>
                      <a:gd name="T5" fmla="*/ 96 h 99"/>
                      <a:gd name="T6" fmla="*/ 12 w 246"/>
                      <a:gd name="T7" fmla="*/ 93 h 99"/>
                      <a:gd name="T8" fmla="*/ 9 w 246"/>
                      <a:gd name="T9" fmla="*/ 90 h 99"/>
                      <a:gd name="T10" fmla="*/ 6 w 246"/>
                      <a:gd name="T11" fmla="*/ 86 h 99"/>
                      <a:gd name="T12" fmla="*/ 2 w 246"/>
                      <a:gd name="T13" fmla="*/ 82 h 99"/>
                      <a:gd name="T14" fmla="*/ 1 w 246"/>
                      <a:gd name="T15" fmla="*/ 78 h 99"/>
                      <a:gd name="T16" fmla="*/ 0 w 246"/>
                      <a:gd name="T17" fmla="*/ 73 h 99"/>
                      <a:gd name="T18" fmla="*/ 0 w 246"/>
                      <a:gd name="T19" fmla="*/ 69 h 99"/>
                      <a:gd name="T20" fmla="*/ 1 w 246"/>
                      <a:gd name="T21" fmla="*/ 65 h 99"/>
                      <a:gd name="T22" fmla="*/ 3 w 246"/>
                      <a:gd name="T23" fmla="*/ 60 h 99"/>
                      <a:gd name="T24" fmla="*/ 5 w 246"/>
                      <a:gd name="T25" fmla="*/ 56 h 99"/>
                      <a:gd name="T26" fmla="*/ 10 w 246"/>
                      <a:gd name="T27" fmla="*/ 49 h 99"/>
                      <a:gd name="T28" fmla="*/ 18 w 246"/>
                      <a:gd name="T29" fmla="*/ 41 h 99"/>
                      <a:gd name="T30" fmla="*/ 25 w 246"/>
                      <a:gd name="T31" fmla="*/ 34 h 99"/>
                      <a:gd name="T32" fmla="*/ 35 w 246"/>
                      <a:gd name="T33" fmla="*/ 28 h 99"/>
                      <a:gd name="T34" fmla="*/ 46 w 246"/>
                      <a:gd name="T35" fmla="*/ 23 h 99"/>
                      <a:gd name="T36" fmla="*/ 57 w 246"/>
                      <a:gd name="T37" fmla="*/ 18 h 99"/>
                      <a:gd name="T38" fmla="*/ 69 w 246"/>
                      <a:gd name="T39" fmla="*/ 14 h 99"/>
                      <a:gd name="T40" fmla="*/ 81 w 246"/>
                      <a:gd name="T41" fmla="*/ 10 h 99"/>
                      <a:gd name="T42" fmla="*/ 92 w 246"/>
                      <a:gd name="T43" fmla="*/ 7 h 99"/>
                      <a:gd name="T44" fmla="*/ 104 w 246"/>
                      <a:gd name="T45" fmla="*/ 4 h 99"/>
                      <a:gd name="T46" fmla="*/ 124 w 246"/>
                      <a:gd name="T47" fmla="*/ 1 h 99"/>
                      <a:gd name="T48" fmla="*/ 140 w 246"/>
                      <a:gd name="T49" fmla="*/ 0 h 99"/>
                      <a:gd name="T50" fmla="*/ 168 w 246"/>
                      <a:gd name="T51" fmla="*/ 0 h 99"/>
                      <a:gd name="T52" fmla="*/ 193 w 246"/>
                      <a:gd name="T53" fmla="*/ 1 h 99"/>
                      <a:gd name="T54" fmla="*/ 219 w 246"/>
                      <a:gd name="T55" fmla="*/ 2 h 99"/>
                      <a:gd name="T56" fmla="*/ 246 w 246"/>
                      <a:gd name="T57" fmla="*/ 6 h 99"/>
                      <a:gd name="T58" fmla="*/ 244 w 246"/>
                      <a:gd name="T59" fmla="*/ 11 h 99"/>
                      <a:gd name="T60" fmla="*/ 241 w 246"/>
                      <a:gd name="T61" fmla="*/ 15 h 99"/>
                      <a:gd name="T62" fmla="*/ 236 w 246"/>
                      <a:gd name="T63" fmla="*/ 20 h 99"/>
                      <a:gd name="T64" fmla="*/ 231 w 246"/>
                      <a:gd name="T65" fmla="*/ 26 h 99"/>
                      <a:gd name="T66" fmla="*/ 215 w 246"/>
                      <a:gd name="T67" fmla="*/ 36 h 99"/>
                      <a:gd name="T68" fmla="*/ 199 w 246"/>
                      <a:gd name="T69" fmla="*/ 46 h 99"/>
                      <a:gd name="T70" fmla="*/ 180 w 246"/>
                      <a:gd name="T71" fmla="*/ 55 h 99"/>
                      <a:gd name="T72" fmla="*/ 162 w 246"/>
                      <a:gd name="T73" fmla="*/ 61 h 99"/>
                      <a:gd name="T74" fmla="*/ 152 w 246"/>
                      <a:gd name="T75" fmla="*/ 64 h 99"/>
                      <a:gd name="T76" fmla="*/ 143 w 246"/>
                      <a:gd name="T77" fmla="*/ 66 h 99"/>
                      <a:gd name="T78" fmla="*/ 134 w 246"/>
                      <a:gd name="T79" fmla="*/ 67 h 99"/>
                      <a:gd name="T80" fmla="*/ 126 w 246"/>
                      <a:gd name="T81" fmla="*/ 67 h 99"/>
                      <a:gd name="T82" fmla="*/ 120 w 246"/>
                      <a:gd name="T83" fmla="*/ 67 h 99"/>
                      <a:gd name="T84" fmla="*/ 110 w 246"/>
                      <a:gd name="T85" fmla="*/ 67 h 99"/>
                      <a:gd name="T86" fmla="*/ 100 w 246"/>
                      <a:gd name="T87" fmla="*/ 67 h 99"/>
                      <a:gd name="T88" fmla="*/ 93 w 246"/>
                      <a:gd name="T89" fmla="*/ 67 h 99"/>
                      <a:gd name="T90" fmla="*/ 88 w 246"/>
                      <a:gd name="T91" fmla="*/ 69 h 99"/>
                      <a:gd name="T92" fmla="*/ 80 w 246"/>
                      <a:gd name="T93" fmla="*/ 72 h 99"/>
                      <a:gd name="T94" fmla="*/ 72 w 246"/>
                      <a:gd name="T95" fmla="*/ 77 h 99"/>
                      <a:gd name="T96" fmla="*/ 63 w 246"/>
                      <a:gd name="T97" fmla="*/ 83 h 99"/>
                      <a:gd name="T98" fmla="*/ 53 w 246"/>
                      <a:gd name="T99" fmla="*/ 88 h 99"/>
                      <a:gd name="T100" fmla="*/ 44 w 246"/>
                      <a:gd name="T101" fmla="*/ 93 h 99"/>
                      <a:gd name="T102" fmla="*/ 35 w 246"/>
                      <a:gd name="T103" fmla="*/ 96 h 99"/>
                      <a:gd name="T104" fmla="*/ 27 w 246"/>
                      <a:gd name="T10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464" name="Freeform 424">
                    <a:extLst>
                      <a:ext uri="{FF2B5EF4-FFF2-40B4-BE49-F238E27FC236}">
                        <a16:creationId xmlns="" xmlns:a16="http://schemas.microsoft.com/office/drawing/2014/main" id="{D2B2CF08-4C29-4BA0-B786-C78DA2754ACE}"/>
                      </a:ext>
                    </a:extLst>
                  </p:cNvPr>
                  <p:cNvSpPr>
                    <a:spLocks/>
                  </p:cNvSpPr>
                  <p:nvPr/>
                </p:nvSpPr>
                <p:spPr bwMode="auto">
                  <a:xfrm>
                    <a:off x="1294" y="1248"/>
                    <a:ext cx="76" cy="40"/>
                  </a:xfrm>
                  <a:custGeom>
                    <a:avLst/>
                    <a:gdLst>
                      <a:gd name="T0" fmla="*/ 33 w 233"/>
                      <a:gd name="T1" fmla="*/ 88 h 123"/>
                      <a:gd name="T2" fmla="*/ 10 w 233"/>
                      <a:gd name="T3" fmla="*/ 78 h 123"/>
                      <a:gd name="T4" fmla="*/ 0 w 233"/>
                      <a:gd name="T5" fmla="*/ 55 h 123"/>
                      <a:gd name="T6" fmla="*/ 20 w 233"/>
                      <a:gd name="T7" fmla="*/ 37 h 123"/>
                      <a:gd name="T8" fmla="*/ 40 w 233"/>
                      <a:gd name="T9" fmla="*/ 37 h 123"/>
                      <a:gd name="T10" fmla="*/ 61 w 233"/>
                      <a:gd name="T11" fmla="*/ 37 h 123"/>
                      <a:gd name="T12" fmla="*/ 72 w 233"/>
                      <a:gd name="T13" fmla="*/ 36 h 123"/>
                      <a:gd name="T14" fmla="*/ 83 w 233"/>
                      <a:gd name="T15" fmla="*/ 33 h 123"/>
                      <a:gd name="T16" fmla="*/ 104 w 233"/>
                      <a:gd name="T17" fmla="*/ 23 h 123"/>
                      <a:gd name="T18" fmla="*/ 123 w 233"/>
                      <a:gd name="T19" fmla="*/ 11 h 123"/>
                      <a:gd name="T20" fmla="*/ 146 w 233"/>
                      <a:gd name="T21" fmla="*/ 0 h 123"/>
                      <a:gd name="T22" fmla="*/ 161 w 233"/>
                      <a:gd name="T23" fmla="*/ 8 h 123"/>
                      <a:gd name="T24" fmla="*/ 181 w 233"/>
                      <a:gd name="T25" fmla="*/ 12 h 123"/>
                      <a:gd name="T26" fmla="*/ 190 w 233"/>
                      <a:gd name="T27" fmla="*/ 10 h 123"/>
                      <a:gd name="T28" fmla="*/ 201 w 233"/>
                      <a:gd name="T29" fmla="*/ 6 h 123"/>
                      <a:gd name="T30" fmla="*/ 213 w 233"/>
                      <a:gd name="T31" fmla="*/ 0 h 123"/>
                      <a:gd name="T32" fmla="*/ 232 w 233"/>
                      <a:gd name="T33" fmla="*/ 6 h 123"/>
                      <a:gd name="T34" fmla="*/ 228 w 233"/>
                      <a:gd name="T35" fmla="*/ 18 h 123"/>
                      <a:gd name="T36" fmla="*/ 219 w 233"/>
                      <a:gd name="T37" fmla="*/ 25 h 123"/>
                      <a:gd name="T38" fmla="*/ 207 w 233"/>
                      <a:gd name="T39" fmla="*/ 30 h 123"/>
                      <a:gd name="T40" fmla="*/ 201 w 233"/>
                      <a:gd name="T41" fmla="*/ 43 h 123"/>
                      <a:gd name="T42" fmla="*/ 206 w 233"/>
                      <a:gd name="T43" fmla="*/ 62 h 123"/>
                      <a:gd name="T44" fmla="*/ 185 w 233"/>
                      <a:gd name="T45" fmla="*/ 85 h 123"/>
                      <a:gd name="T46" fmla="*/ 157 w 233"/>
                      <a:gd name="T47" fmla="*/ 96 h 123"/>
                      <a:gd name="T48" fmla="*/ 139 w 233"/>
                      <a:gd name="T49" fmla="*/ 98 h 123"/>
                      <a:gd name="T50" fmla="*/ 116 w 233"/>
                      <a:gd name="T51" fmla="*/ 100 h 123"/>
                      <a:gd name="T52" fmla="*/ 96 w 233"/>
                      <a:gd name="T53" fmla="*/ 106 h 123"/>
                      <a:gd name="T54" fmla="*/ 82 w 233"/>
                      <a:gd name="T55" fmla="*/ 115 h 123"/>
                      <a:gd name="T56" fmla="*/ 67 w 233"/>
                      <a:gd name="T57" fmla="*/ 122 h 123"/>
                      <a:gd name="T58" fmla="*/ 58 w 233"/>
                      <a:gd name="T59" fmla="*/ 122 h 123"/>
                      <a:gd name="T60" fmla="*/ 53 w 233"/>
                      <a:gd name="T61" fmla="*/ 115 h 123"/>
                      <a:gd name="T62" fmla="*/ 48 w 233"/>
                      <a:gd name="T63"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465" name="Freeform 425">
                    <a:extLst>
                      <a:ext uri="{FF2B5EF4-FFF2-40B4-BE49-F238E27FC236}">
                        <a16:creationId xmlns="" xmlns:a16="http://schemas.microsoft.com/office/drawing/2014/main" id="{06A46862-D3B1-4379-A3F1-403DA2761F2F}"/>
                      </a:ext>
                    </a:extLst>
                  </p:cNvPr>
                  <p:cNvSpPr>
                    <a:spLocks/>
                  </p:cNvSpPr>
                  <p:nvPr/>
                </p:nvSpPr>
                <p:spPr bwMode="auto">
                  <a:xfrm>
                    <a:off x="983" y="1236"/>
                    <a:ext cx="157" cy="56"/>
                  </a:xfrm>
                  <a:custGeom>
                    <a:avLst/>
                    <a:gdLst>
                      <a:gd name="T0" fmla="*/ 0 w 484"/>
                      <a:gd name="T1" fmla="*/ 147 h 172"/>
                      <a:gd name="T2" fmla="*/ 3 w 484"/>
                      <a:gd name="T3" fmla="*/ 156 h 172"/>
                      <a:gd name="T4" fmla="*/ 9 w 484"/>
                      <a:gd name="T5" fmla="*/ 162 h 172"/>
                      <a:gd name="T6" fmla="*/ 17 w 484"/>
                      <a:gd name="T7" fmla="*/ 167 h 172"/>
                      <a:gd name="T8" fmla="*/ 31 w 484"/>
                      <a:gd name="T9" fmla="*/ 170 h 172"/>
                      <a:gd name="T10" fmla="*/ 51 w 484"/>
                      <a:gd name="T11" fmla="*/ 172 h 172"/>
                      <a:gd name="T12" fmla="*/ 73 w 484"/>
                      <a:gd name="T13" fmla="*/ 172 h 172"/>
                      <a:gd name="T14" fmla="*/ 99 w 484"/>
                      <a:gd name="T15" fmla="*/ 167 h 172"/>
                      <a:gd name="T16" fmla="*/ 139 w 484"/>
                      <a:gd name="T17" fmla="*/ 156 h 172"/>
                      <a:gd name="T18" fmla="*/ 189 w 484"/>
                      <a:gd name="T19" fmla="*/ 135 h 172"/>
                      <a:gd name="T20" fmla="*/ 240 w 484"/>
                      <a:gd name="T21" fmla="*/ 113 h 172"/>
                      <a:gd name="T22" fmla="*/ 287 w 484"/>
                      <a:gd name="T23" fmla="*/ 100 h 172"/>
                      <a:gd name="T24" fmla="*/ 350 w 484"/>
                      <a:gd name="T25" fmla="*/ 87 h 172"/>
                      <a:gd name="T26" fmla="*/ 401 w 484"/>
                      <a:gd name="T27" fmla="*/ 75 h 172"/>
                      <a:gd name="T28" fmla="*/ 434 w 484"/>
                      <a:gd name="T29" fmla="*/ 64 h 172"/>
                      <a:gd name="T30" fmla="*/ 461 w 484"/>
                      <a:gd name="T31" fmla="*/ 52 h 172"/>
                      <a:gd name="T32" fmla="*/ 475 w 484"/>
                      <a:gd name="T33" fmla="*/ 42 h 172"/>
                      <a:gd name="T34" fmla="*/ 482 w 484"/>
                      <a:gd name="T35" fmla="*/ 35 h 172"/>
                      <a:gd name="T36" fmla="*/ 449 w 484"/>
                      <a:gd name="T37" fmla="*/ 26 h 172"/>
                      <a:gd name="T38" fmla="*/ 387 w 484"/>
                      <a:gd name="T39" fmla="*/ 16 h 172"/>
                      <a:gd name="T40" fmla="*/ 331 w 484"/>
                      <a:gd name="T41" fmla="*/ 6 h 172"/>
                      <a:gd name="T42" fmla="*/ 272 w 484"/>
                      <a:gd name="T43" fmla="*/ 0 h 172"/>
                      <a:gd name="T44" fmla="*/ 225 w 484"/>
                      <a:gd name="T45" fmla="*/ 0 h 172"/>
                      <a:gd name="T46" fmla="*/ 203 w 484"/>
                      <a:gd name="T47" fmla="*/ 4 h 172"/>
                      <a:gd name="T48" fmla="*/ 186 w 484"/>
                      <a:gd name="T49" fmla="*/ 8 h 172"/>
                      <a:gd name="T50" fmla="*/ 176 w 484"/>
                      <a:gd name="T51" fmla="*/ 6 h 172"/>
                      <a:gd name="T52" fmla="*/ 169 w 484"/>
                      <a:gd name="T53" fmla="*/ 3 h 172"/>
                      <a:gd name="T54" fmla="*/ 165 w 484"/>
                      <a:gd name="T55" fmla="*/ 8 h 172"/>
                      <a:gd name="T56" fmla="*/ 161 w 484"/>
                      <a:gd name="T57" fmla="*/ 24 h 172"/>
                      <a:gd name="T58" fmla="*/ 154 w 484"/>
                      <a:gd name="T59" fmla="*/ 36 h 172"/>
                      <a:gd name="T60" fmla="*/ 144 w 484"/>
                      <a:gd name="T61" fmla="*/ 46 h 172"/>
                      <a:gd name="T62" fmla="*/ 127 w 484"/>
                      <a:gd name="T63" fmla="*/ 58 h 172"/>
                      <a:gd name="T64" fmla="*/ 97 w 484"/>
                      <a:gd name="T65" fmla="*/ 69 h 172"/>
                      <a:gd name="T66" fmla="*/ 66 w 484"/>
                      <a:gd name="T67" fmla="*/ 78 h 172"/>
                      <a:gd name="T68" fmla="*/ 38 w 484"/>
                      <a:gd name="T69" fmla="*/ 88 h 172"/>
                      <a:gd name="T70" fmla="*/ 19 w 484"/>
                      <a:gd name="T71" fmla="*/ 98 h 172"/>
                      <a:gd name="T72" fmla="*/ 10 w 484"/>
                      <a:gd name="T73" fmla="*/ 107 h 172"/>
                      <a:gd name="T74" fmla="*/ 3 w 484"/>
                      <a:gd name="T75" fmla="*/ 119 h 172"/>
                      <a:gd name="T76" fmla="*/ 0 w 484"/>
                      <a:gd name="T77" fmla="*/ 13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466" name="Freeform 426">
                    <a:extLst>
                      <a:ext uri="{FF2B5EF4-FFF2-40B4-BE49-F238E27FC236}">
                        <a16:creationId xmlns="" xmlns:a16="http://schemas.microsoft.com/office/drawing/2014/main" id="{53E2B1D3-19C3-4494-A574-FC6CF57B4B64}"/>
                      </a:ext>
                    </a:extLst>
                  </p:cNvPr>
                  <p:cNvSpPr>
                    <a:spLocks/>
                  </p:cNvSpPr>
                  <p:nvPr/>
                </p:nvSpPr>
                <p:spPr bwMode="auto">
                  <a:xfrm>
                    <a:off x="1043" y="1255"/>
                    <a:ext cx="221" cy="79"/>
                  </a:xfrm>
                  <a:custGeom>
                    <a:avLst/>
                    <a:gdLst>
                      <a:gd name="T0" fmla="*/ 317 w 684"/>
                      <a:gd name="T1" fmla="*/ 5 h 240"/>
                      <a:gd name="T2" fmla="*/ 304 w 684"/>
                      <a:gd name="T3" fmla="*/ 27 h 240"/>
                      <a:gd name="T4" fmla="*/ 297 w 684"/>
                      <a:gd name="T5" fmla="*/ 41 h 240"/>
                      <a:gd name="T6" fmla="*/ 299 w 684"/>
                      <a:gd name="T7" fmla="*/ 43 h 240"/>
                      <a:gd name="T8" fmla="*/ 337 w 684"/>
                      <a:gd name="T9" fmla="*/ 39 h 240"/>
                      <a:gd name="T10" fmla="*/ 372 w 684"/>
                      <a:gd name="T11" fmla="*/ 19 h 240"/>
                      <a:gd name="T12" fmla="*/ 379 w 684"/>
                      <a:gd name="T13" fmla="*/ 38 h 240"/>
                      <a:gd name="T14" fmla="*/ 377 w 684"/>
                      <a:gd name="T15" fmla="*/ 55 h 240"/>
                      <a:gd name="T16" fmla="*/ 405 w 684"/>
                      <a:gd name="T17" fmla="*/ 69 h 240"/>
                      <a:gd name="T18" fmla="*/ 511 w 684"/>
                      <a:gd name="T19" fmla="*/ 51 h 240"/>
                      <a:gd name="T20" fmla="*/ 514 w 684"/>
                      <a:gd name="T21" fmla="*/ 70 h 240"/>
                      <a:gd name="T22" fmla="*/ 541 w 684"/>
                      <a:gd name="T23" fmla="*/ 63 h 240"/>
                      <a:gd name="T24" fmla="*/ 557 w 684"/>
                      <a:gd name="T25" fmla="*/ 45 h 240"/>
                      <a:gd name="T26" fmla="*/ 558 w 684"/>
                      <a:gd name="T27" fmla="*/ 19 h 240"/>
                      <a:gd name="T28" fmla="*/ 563 w 684"/>
                      <a:gd name="T29" fmla="*/ 8 h 240"/>
                      <a:gd name="T30" fmla="*/ 579 w 684"/>
                      <a:gd name="T31" fmla="*/ 0 h 240"/>
                      <a:gd name="T32" fmla="*/ 624 w 684"/>
                      <a:gd name="T33" fmla="*/ 3 h 240"/>
                      <a:gd name="T34" fmla="*/ 645 w 684"/>
                      <a:gd name="T35" fmla="*/ 0 h 240"/>
                      <a:gd name="T36" fmla="*/ 657 w 684"/>
                      <a:gd name="T37" fmla="*/ 39 h 240"/>
                      <a:gd name="T38" fmla="*/ 653 w 684"/>
                      <a:gd name="T39" fmla="*/ 70 h 240"/>
                      <a:gd name="T40" fmla="*/ 637 w 684"/>
                      <a:gd name="T41" fmla="*/ 101 h 240"/>
                      <a:gd name="T42" fmla="*/ 618 w 684"/>
                      <a:gd name="T43" fmla="*/ 124 h 240"/>
                      <a:gd name="T44" fmla="*/ 648 w 684"/>
                      <a:gd name="T45" fmla="*/ 137 h 240"/>
                      <a:gd name="T46" fmla="*/ 672 w 684"/>
                      <a:gd name="T47" fmla="*/ 145 h 240"/>
                      <a:gd name="T48" fmla="*/ 684 w 684"/>
                      <a:gd name="T49" fmla="*/ 180 h 240"/>
                      <a:gd name="T50" fmla="*/ 639 w 684"/>
                      <a:gd name="T51" fmla="*/ 185 h 240"/>
                      <a:gd name="T52" fmla="*/ 608 w 684"/>
                      <a:gd name="T53" fmla="*/ 181 h 240"/>
                      <a:gd name="T54" fmla="*/ 574 w 684"/>
                      <a:gd name="T55" fmla="*/ 180 h 240"/>
                      <a:gd name="T56" fmla="*/ 564 w 684"/>
                      <a:gd name="T57" fmla="*/ 184 h 240"/>
                      <a:gd name="T58" fmla="*/ 542 w 684"/>
                      <a:gd name="T59" fmla="*/ 200 h 240"/>
                      <a:gd name="T60" fmla="*/ 524 w 684"/>
                      <a:gd name="T61" fmla="*/ 209 h 240"/>
                      <a:gd name="T62" fmla="*/ 493 w 684"/>
                      <a:gd name="T63" fmla="*/ 209 h 240"/>
                      <a:gd name="T64" fmla="*/ 452 w 684"/>
                      <a:gd name="T65" fmla="*/ 204 h 240"/>
                      <a:gd name="T66" fmla="*/ 422 w 684"/>
                      <a:gd name="T67" fmla="*/ 198 h 240"/>
                      <a:gd name="T68" fmla="*/ 337 w 684"/>
                      <a:gd name="T69" fmla="*/ 211 h 240"/>
                      <a:gd name="T70" fmla="*/ 231 w 684"/>
                      <a:gd name="T71" fmla="*/ 230 h 240"/>
                      <a:gd name="T72" fmla="*/ 169 w 684"/>
                      <a:gd name="T73" fmla="*/ 238 h 240"/>
                      <a:gd name="T74" fmla="*/ 124 w 684"/>
                      <a:gd name="T75" fmla="*/ 238 h 240"/>
                      <a:gd name="T76" fmla="*/ 100 w 684"/>
                      <a:gd name="T77" fmla="*/ 228 h 240"/>
                      <a:gd name="T78" fmla="*/ 67 w 684"/>
                      <a:gd name="T79" fmla="*/ 208 h 240"/>
                      <a:gd name="T80" fmla="*/ 29 w 684"/>
                      <a:gd name="T81" fmla="*/ 196 h 240"/>
                      <a:gd name="T82" fmla="*/ 0 w 684"/>
                      <a:gd name="T83" fmla="*/ 173 h 240"/>
                      <a:gd name="T84" fmla="*/ 64 w 684"/>
                      <a:gd name="T85" fmla="*/ 159 h 240"/>
                      <a:gd name="T86" fmla="*/ 100 w 684"/>
                      <a:gd name="T87" fmla="*/ 154 h 240"/>
                      <a:gd name="T88" fmla="*/ 156 w 684"/>
                      <a:gd name="T89" fmla="*/ 160 h 240"/>
                      <a:gd name="T90" fmla="*/ 201 w 684"/>
                      <a:gd name="T91" fmla="*/ 165 h 240"/>
                      <a:gd name="T92" fmla="*/ 224 w 684"/>
                      <a:gd name="T93" fmla="*/ 162 h 240"/>
                      <a:gd name="T94" fmla="*/ 26 w 684"/>
                      <a:gd name="T95" fmla="*/ 136 h 240"/>
                      <a:gd name="T96" fmla="*/ 52 w 684"/>
                      <a:gd name="T97" fmla="*/ 128 h 240"/>
                      <a:gd name="T98" fmla="*/ 109 w 684"/>
                      <a:gd name="T99" fmla="*/ 117 h 240"/>
                      <a:gd name="T100" fmla="*/ 165 w 684"/>
                      <a:gd name="T101" fmla="*/ 108 h 240"/>
                      <a:gd name="T102" fmla="*/ 187 w 684"/>
                      <a:gd name="T103" fmla="*/ 99 h 240"/>
                      <a:gd name="T104" fmla="*/ 166 w 684"/>
                      <a:gd name="T105" fmla="*/ 93 h 240"/>
                      <a:gd name="T106" fmla="*/ 125 w 684"/>
                      <a:gd name="T107" fmla="*/ 98 h 240"/>
                      <a:gd name="T108" fmla="*/ 71 w 684"/>
                      <a:gd name="T109" fmla="*/ 110 h 240"/>
                      <a:gd name="T110" fmla="*/ 52 w 684"/>
                      <a:gd name="T111" fmla="*/ 106 h 240"/>
                      <a:gd name="T112" fmla="*/ 55 w 684"/>
                      <a:gd name="T113" fmla="*/ 90 h 240"/>
                      <a:gd name="T114" fmla="*/ 54 w 684"/>
                      <a:gd name="T115" fmla="*/ 81 h 240"/>
                      <a:gd name="T116" fmla="*/ 59 w 684"/>
                      <a:gd name="T117" fmla="*/ 7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467" name="Freeform 427">
                    <a:extLst>
                      <a:ext uri="{FF2B5EF4-FFF2-40B4-BE49-F238E27FC236}">
                        <a16:creationId xmlns="" xmlns:a16="http://schemas.microsoft.com/office/drawing/2014/main" id="{E719A036-2593-46C5-9B5D-A89F3E79107F}"/>
                      </a:ext>
                    </a:extLst>
                  </p:cNvPr>
                  <p:cNvSpPr>
                    <a:spLocks/>
                  </p:cNvSpPr>
                  <p:nvPr/>
                </p:nvSpPr>
                <p:spPr bwMode="auto">
                  <a:xfrm>
                    <a:off x="1645" y="1643"/>
                    <a:ext cx="108" cy="93"/>
                  </a:xfrm>
                  <a:custGeom>
                    <a:avLst/>
                    <a:gdLst>
                      <a:gd name="T0" fmla="*/ 180 w 332"/>
                      <a:gd name="T1" fmla="*/ 38 h 287"/>
                      <a:gd name="T2" fmla="*/ 202 w 332"/>
                      <a:gd name="T3" fmla="*/ 24 h 287"/>
                      <a:gd name="T4" fmla="*/ 226 w 332"/>
                      <a:gd name="T5" fmla="*/ 7 h 287"/>
                      <a:gd name="T6" fmla="*/ 240 w 332"/>
                      <a:gd name="T7" fmla="*/ 1 h 287"/>
                      <a:gd name="T8" fmla="*/ 246 w 332"/>
                      <a:gd name="T9" fmla="*/ 1 h 287"/>
                      <a:gd name="T10" fmla="*/ 245 w 332"/>
                      <a:gd name="T11" fmla="*/ 12 h 287"/>
                      <a:gd name="T12" fmla="*/ 234 w 332"/>
                      <a:gd name="T13" fmla="*/ 33 h 287"/>
                      <a:gd name="T14" fmla="*/ 217 w 332"/>
                      <a:gd name="T15" fmla="*/ 55 h 287"/>
                      <a:gd name="T16" fmla="*/ 202 w 332"/>
                      <a:gd name="T17" fmla="*/ 67 h 287"/>
                      <a:gd name="T18" fmla="*/ 191 w 332"/>
                      <a:gd name="T19" fmla="*/ 71 h 287"/>
                      <a:gd name="T20" fmla="*/ 191 w 332"/>
                      <a:gd name="T21" fmla="*/ 73 h 287"/>
                      <a:gd name="T22" fmla="*/ 201 w 332"/>
                      <a:gd name="T23" fmla="*/ 74 h 287"/>
                      <a:gd name="T24" fmla="*/ 216 w 332"/>
                      <a:gd name="T25" fmla="*/ 72 h 287"/>
                      <a:gd name="T26" fmla="*/ 224 w 332"/>
                      <a:gd name="T27" fmla="*/ 77 h 287"/>
                      <a:gd name="T28" fmla="*/ 217 w 332"/>
                      <a:gd name="T29" fmla="*/ 88 h 287"/>
                      <a:gd name="T30" fmla="*/ 214 w 332"/>
                      <a:gd name="T31" fmla="*/ 97 h 287"/>
                      <a:gd name="T32" fmla="*/ 217 w 332"/>
                      <a:gd name="T33" fmla="*/ 105 h 287"/>
                      <a:gd name="T34" fmla="*/ 249 w 332"/>
                      <a:gd name="T35" fmla="*/ 113 h 287"/>
                      <a:gd name="T36" fmla="*/ 308 w 332"/>
                      <a:gd name="T37" fmla="*/ 124 h 287"/>
                      <a:gd name="T38" fmla="*/ 322 w 332"/>
                      <a:gd name="T39" fmla="*/ 131 h 287"/>
                      <a:gd name="T40" fmla="*/ 315 w 332"/>
                      <a:gd name="T41" fmla="*/ 140 h 287"/>
                      <a:gd name="T42" fmla="*/ 303 w 332"/>
                      <a:gd name="T43" fmla="*/ 149 h 287"/>
                      <a:gd name="T44" fmla="*/ 299 w 332"/>
                      <a:gd name="T45" fmla="*/ 154 h 287"/>
                      <a:gd name="T46" fmla="*/ 302 w 332"/>
                      <a:gd name="T47" fmla="*/ 160 h 287"/>
                      <a:gd name="T48" fmla="*/ 308 w 332"/>
                      <a:gd name="T49" fmla="*/ 168 h 287"/>
                      <a:gd name="T50" fmla="*/ 319 w 332"/>
                      <a:gd name="T51" fmla="*/ 176 h 287"/>
                      <a:gd name="T52" fmla="*/ 329 w 332"/>
                      <a:gd name="T53" fmla="*/ 184 h 287"/>
                      <a:gd name="T54" fmla="*/ 290 w 332"/>
                      <a:gd name="T55" fmla="*/ 211 h 287"/>
                      <a:gd name="T56" fmla="*/ 241 w 332"/>
                      <a:gd name="T57" fmla="*/ 241 h 287"/>
                      <a:gd name="T58" fmla="*/ 207 w 332"/>
                      <a:gd name="T59" fmla="*/ 268 h 287"/>
                      <a:gd name="T60" fmla="*/ 173 w 332"/>
                      <a:gd name="T61" fmla="*/ 244 h 287"/>
                      <a:gd name="T62" fmla="*/ 182 w 332"/>
                      <a:gd name="T63" fmla="*/ 243 h 287"/>
                      <a:gd name="T64" fmla="*/ 189 w 332"/>
                      <a:gd name="T65" fmla="*/ 240 h 287"/>
                      <a:gd name="T66" fmla="*/ 200 w 332"/>
                      <a:gd name="T67" fmla="*/ 232 h 287"/>
                      <a:gd name="T68" fmla="*/ 149 w 332"/>
                      <a:gd name="T69" fmla="*/ 232 h 287"/>
                      <a:gd name="T70" fmla="*/ 101 w 332"/>
                      <a:gd name="T71" fmla="*/ 232 h 287"/>
                      <a:gd name="T72" fmla="*/ 58 w 332"/>
                      <a:gd name="T73" fmla="*/ 232 h 287"/>
                      <a:gd name="T74" fmla="*/ 27 w 332"/>
                      <a:gd name="T75" fmla="*/ 232 h 287"/>
                      <a:gd name="T76" fmla="*/ 11 w 332"/>
                      <a:gd name="T77" fmla="*/ 227 h 287"/>
                      <a:gd name="T78" fmla="*/ 3 w 332"/>
                      <a:gd name="T79" fmla="*/ 222 h 287"/>
                      <a:gd name="T80" fmla="*/ 0 w 332"/>
                      <a:gd name="T81" fmla="*/ 213 h 287"/>
                      <a:gd name="T82" fmla="*/ 4 w 332"/>
                      <a:gd name="T83" fmla="*/ 205 h 287"/>
                      <a:gd name="T84" fmla="*/ 13 w 332"/>
                      <a:gd name="T85" fmla="*/ 197 h 287"/>
                      <a:gd name="T86" fmla="*/ 41 w 332"/>
                      <a:gd name="T87" fmla="*/ 179 h 287"/>
                      <a:gd name="T88" fmla="*/ 73 w 332"/>
                      <a:gd name="T89" fmla="*/ 162 h 287"/>
                      <a:gd name="T90" fmla="*/ 85 w 332"/>
                      <a:gd name="T91" fmla="*/ 152 h 287"/>
                      <a:gd name="T92" fmla="*/ 93 w 332"/>
                      <a:gd name="T93" fmla="*/ 145 h 287"/>
                      <a:gd name="T94" fmla="*/ 106 w 332"/>
                      <a:gd name="T95" fmla="*/ 130 h 287"/>
                      <a:gd name="T96" fmla="*/ 116 w 332"/>
                      <a:gd name="T97" fmla="*/ 114 h 287"/>
                      <a:gd name="T98" fmla="*/ 130 w 332"/>
                      <a:gd name="T99" fmla="*/ 79 h 287"/>
                      <a:gd name="T100" fmla="*/ 138 w 332"/>
                      <a:gd name="T101" fmla="*/ 64 h 287"/>
                      <a:gd name="T102" fmla="*/ 147 w 332"/>
                      <a:gd name="T103" fmla="*/ 52 h 287"/>
                      <a:gd name="T104" fmla="*/ 158 w 332"/>
                      <a:gd name="T105" fmla="*/ 43 h 287"/>
                      <a:gd name="T106" fmla="*/ 173 w 332"/>
                      <a:gd name="T107" fmla="*/ 4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468" name="Freeform 428">
                    <a:extLst>
                      <a:ext uri="{FF2B5EF4-FFF2-40B4-BE49-F238E27FC236}">
                        <a16:creationId xmlns="" xmlns:a16="http://schemas.microsoft.com/office/drawing/2014/main" id="{F11D3810-B494-43F1-9F1E-A86F998D8D9E}"/>
                      </a:ext>
                    </a:extLst>
                  </p:cNvPr>
                  <p:cNvSpPr>
                    <a:spLocks/>
                  </p:cNvSpPr>
                  <p:nvPr/>
                </p:nvSpPr>
                <p:spPr bwMode="auto">
                  <a:xfrm>
                    <a:off x="1102" y="1190"/>
                    <a:ext cx="111" cy="27"/>
                  </a:xfrm>
                  <a:custGeom>
                    <a:avLst/>
                    <a:gdLst>
                      <a:gd name="T0" fmla="*/ 106 w 345"/>
                      <a:gd name="T1" fmla="*/ 86 h 86"/>
                      <a:gd name="T2" fmla="*/ 119 w 345"/>
                      <a:gd name="T3" fmla="*/ 81 h 86"/>
                      <a:gd name="T4" fmla="*/ 133 w 345"/>
                      <a:gd name="T5" fmla="*/ 76 h 86"/>
                      <a:gd name="T6" fmla="*/ 148 w 345"/>
                      <a:gd name="T7" fmla="*/ 72 h 86"/>
                      <a:gd name="T8" fmla="*/ 164 w 345"/>
                      <a:gd name="T9" fmla="*/ 69 h 86"/>
                      <a:gd name="T10" fmla="*/ 197 w 345"/>
                      <a:gd name="T11" fmla="*/ 63 h 86"/>
                      <a:gd name="T12" fmla="*/ 231 w 345"/>
                      <a:gd name="T13" fmla="*/ 57 h 86"/>
                      <a:gd name="T14" fmla="*/ 247 w 345"/>
                      <a:gd name="T15" fmla="*/ 53 h 86"/>
                      <a:gd name="T16" fmla="*/ 264 w 345"/>
                      <a:gd name="T17" fmla="*/ 50 h 86"/>
                      <a:gd name="T18" fmla="*/ 279 w 345"/>
                      <a:gd name="T19" fmla="*/ 46 h 86"/>
                      <a:gd name="T20" fmla="*/ 294 w 345"/>
                      <a:gd name="T21" fmla="*/ 40 h 86"/>
                      <a:gd name="T22" fmla="*/ 309 w 345"/>
                      <a:gd name="T23" fmla="*/ 35 h 86"/>
                      <a:gd name="T24" fmla="*/ 322 w 345"/>
                      <a:gd name="T25" fmla="*/ 28 h 86"/>
                      <a:gd name="T26" fmla="*/ 334 w 345"/>
                      <a:gd name="T27" fmla="*/ 21 h 86"/>
                      <a:gd name="T28" fmla="*/ 345 w 345"/>
                      <a:gd name="T29" fmla="*/ 13 h 86"/>
                      <a:gd name="T30" fmla="*/ 335 w 345"/>
                      <a:gd name="T31" fmla="*/ 12 h 86"/>
                      <a:gd name="T32" fmla="*/ 326 w 345"/>
                      <a:gd name="T33" fmla="*/ 11 h 86"/>
                      <a:gd name="T34" fmla="*/ 317 w 345"/>
                      <a:gd name="T35" fmla="*/ 9 h 86"/>
                      <a:gd name="T36" fmla="*/ 309 w 345"/>
                      <a:gd name="T37" fmla="*/ 6 h 86"/>
                      <a:gd name="T38" fmla="*/ 300 w 345"/>
                      <a:gd name="T39" fmla="*/ 4 h 86"/>
                      <a:gd name="T40" fmla="*/ 291 w 345"/>
                      <a:gd name="T41" fmla="*/ 2 h 86"/>
                      <a:gd name="T42" fmla="*/ 281 w 345"/>
                      <a:gd name="T43" fmla="*/ 1 h 86"/>
                      <a:gd name="T44" fmla="*/ 272 w 345"/>
                      <a:gd name="T45" fmla="*/ 0 h 86"/>
                      <a:gd name="T46" fmla="*/ 259 w 345"/>
                      <a:gd name="T47" fmla="*/ 1 h 86"/>
                      <a:gd name="T48" fmla="*/ 245 w 345"/>
                      <a:gd name="T49" fmla="*/ 3 h 86"/>
                      <a:gd name="T50" fmla="*/ 227 w 345"/>
                      <a:gd name="T51" fmla="*/ 5 h 86"/>
                      <a:gd name="T52" fmla="*/ 209 w 345"/>
                      <a:gd name="T53" fmla="*/ 9 h 86"/>
                      <a:gd name="T54" fmla="*/ 168 w 345"/>
                      <a:gd name="T55" fmla="*/ 18 h 86"/>
                      <a:gd name="T56" fmla="*/ 126 w 345"/>
                      <a:gd name="T57" fmla="*/ 29 h 86"/>
                      <a:gd name="T58" fmla="*/ 104 w 345"/>
                      <a:gd name="T59" fmla="*/ 36 h 86"/>
                      <a:gd name="T60" fmla="*/ 85 w 345"/>
                      <a:gd name="T61" fmla="*/ 42 h 86"/>
                      <a:gd name="T62" fmla="*/ 66 w 345"/>
                      <a:gd name="T63" fmla="*/ 50 h 86"/>
                      <a:gd name="T64" fmla="*/ 47 w 345"/>
                      <a:gd name="T65" fmla="*/ 58 h 86"/>
                      <a:gd name="T66" fmla="*/ 32 w 345"/>
                      <a:gd name="T67" fmla="*/ 65 h 86"/>
                      <a:gd name="T68" fmla="*/ 19 w 345"/>
                      <a:gd name="T69" fmla="*/ 72 h 86"/>
                      <a:gd name="T70" fmla="*/ 8 w 345"/>
                      <a:gd name="T71" fmla="*/ 79 h 86"/>
                      <a:gd name="T72" fmla="*/ 0 w 345"/>
                      <a:gd name="T73" fmla="*/ 86 h 86"/>
                      <a:gd name="T74" fmla="*/ 106 w 345"/>
                      <a:gd name="T7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469" name="Freeform 429">
                    <a:extLst>
                      <a:ext uri="{FF2B5EF4-FFF2-40B4-BE49-F238E27FC236}">
                        <a16:creationId xmlns="" xmlns:a16="http://schemas.microsoft.com/office/drawing/2014/main" id="{D9AAB3D3-6B4E-4FD8-A02B-0EFA844D9EF4}"/>
                      </a:ext>
                    </a:extLst>
                  </p:cNvPr>
                  <p:cNvSpPr>
                    <a:spLocks/>
                  </p:cNvSpPr>
                  <p:nvPr/>
                </p:nvSpPr>
                <p:spPr bwMode="auto">
                  <a:xfrm>
                    <a:off x="1158" y="1199"/>
                    <a:ext cx="149" cy="43"/>
                  </a:xfrm>
                  <a:custGeom>
                    <a:avLst/>
                    <a:gdLst>
                      <a:gd name="T0" fmla="*/ 19 w 464"/>
                      <a:gd name="T1" fmla="*/ 86 h 130"/>
                      <a:gd name="T2" fmla="*/ 77 w 464"/>
                      <a:gd name="T3" fmla="*/ 81 h 130"/>
                      <a:gd name="T4" fmla="*/ 103 w 464"/>
                      <a:gd name="T5" fmla="*/ 81 h 130"/>
                      <a:gd name="T6" fmla="*/ 92 w 464"/>
                      <a:gd name="T7" fmla="*/ 89 h 130"/>
                      <a:gd name="T8" fmla="*/ 81 w 464"/>
                      <a:gd name="T9" fmla="*/ 100 h 130"/>
                      <a:gd name="T10" fmla="*/ 73 w 464"/>
                      <a:gd name="T11" fmla="*/ 112 h 130"/>
                      <a:gd name="T12" fmla="*/ 73 w 464"/>
                      <a:gd name="T13" fmla="*/ 119 h 130"/>
                      <a:gd name="T14" fmla="*/ 79 w 464"/>
                      <a:gd name="T15" fmla="*/ 124 h 130"/>
                      <a:gd name="T16" fmla="*/ 92 w 464"/>
                      <a:gd name="T17" fmla="*/ 129 h 130"/>
                      <a:gd name="T18" fmla="*/ 109 w 464"/>
                      <a:gd name="T19" fmla="*/ 129 h 130"/>
                      <a:gd name="T20" fmla="*/ 128 w 464"/>
                      <a:gd name="T21" fmla="*/ 127 h 130"/>
                      <a:gd name="T22" fmla="*/ 157 w 464"/>
                      <a:gd name="T23" fmla="*/ 119 h 130"/>
                      <a:gd name="T24" fmla="*/ 196 w 464"/>
                      <a:gd name="T25" fmla="*/ 108 h 130"/>
                      <a:gd name="T26" fmla="*/ 226 w 464"/>
                      <a:gd name="T27" fmla="*/ 101 h 130"/>
                      <a:gd name="T28" fmla="*/ 248 w 464"/>
                      <a:gd name="T29" fmla="*/ 99 h 130"/>
                      <a:gd name="T30" fmla="*/ 266 w 464"/>
                      <a:gd name="T31" fmla="*/ 99 h 130"/>
                      <a:gd name="T32" fmla="*/ 304 w 464"/>
                      <a:gd name="T33" fmla="*/ 99 h 130"/>
                      <a:gd name="T34" fmla="*/ 333 w 464"/>
                      <a:gd name="T35" fmla="*/ 98 h 130"/>
                      <a:gd name="T36" fmla="*/ 376 w 464"/>
                      <a:gd name="T37" fmla="*/ 93 h 130"/>
                      <a:gd name="T38" fmla="*/ 415 w 464"/>
                      <a:gd name="T39" fmla="*/ 83 h 130"/>
                      <a:gd name="T40" fmla="*/ 449 w 464"/>
                      <a:gd name="T41" fmla="*/ 66 h 130"/>
                      <a:gd name="T42" fmla="*/ 455 w 464"/>
                      <a:gd name="T43" fmla="*/ 51 h 130"/>
                      <a:gd name="T44" fmla="*/ 439 w 464"/>
                      <a:gd name="T45" fmla="*/ 48 h 130"/>
                      <a:gd name="T46" fmla="*/ 413 w 464"/>
                      <a:gd name="T47" fmla="*/ 48 h 130"/>
                      <a:gd name="T48" fmla="*/ 396 w 464"/>
                      <a:gd name="T49" fmla="*/ 46 h 130"/>
                      <a:gd name="T50" fmla="*/ 406 w 464"/>
                      <a:gd name="T51" fmla="*/ 36 h 130"/>
                      <a:gd name="T52" fmla="*/ 413 w 464"/>
                      <a:gd name="T53" fmla="*/ 22 h 130"/>
                      <a:gd name="T54" fmla="*/ 418 w 464"/>
                      <a:gd name="T55" fmla="*/ 7 h 130"/>
                      <a:gd name="T56" fmla="*/ 378 w 464"/>
                      <a:gd name="T57" fmla="*/ 0 h 130"/>
                      <a:gd name="T58" fmla="*/ 360 w 464"/>
                      <a:gd name="T59" fmla="*/ 19 h 130"/>
                      <a:gd name="T60" fmla="*/ 343 w 464"/>
                      <a:gd name="T61" fmla="*/ 41 h 130"/>
                      <a:gd name="T62" fmla="*/ 323 w 464"/>
                      <a:gd name="T63" fmla="*/ 59 h 130"/>
                      <a:gd name="T64" fmla="*/ 312 w 464"/>
                      <a:gd name="T65" fmla="*/ 65 h 130"/>
                      <a:gd name="T66" fmla="*/ 298 w 464"/>
                      <a:gd name="T67" fmla="*/ 68 h 130"/>
                      <a:gd name="T68" fmla="*/ 278 w 464"/>
                      <a:gd name="T69" fmla="*/ 66 h 130"/>
                      <a:gd name="T70" fmla="*/ 262 w 464"/>
                      <a:gd name="T71" fmla="*/ 63 h 130"/>
                      <a:gd name="T72" fmla="*/ 239 w 464"/>
                      <a:gd name="T73" fmla="*/ 54 h 130"/>
                      <a:gd name="T74" fmla="*/ 205 w 464"/>
                      <a:gd name="T75" fmla="*/ 31 h 130"/>
                      <a:gd name="T76" fmla="*/ 180 w 464"/>
                      <a:gd name="T77" fmla="*/ 29 h 130"/>
                      <a:gd name="T78" fmla="*/ 150 w 464"/>
                      <a:gd name="T79" fmla="*/ 31 h 130"/>
                      <a:gd name="T80" fmla="*/ 117 w 464"/>
                      <a:gd name="T81" fmla="*/ 37 h 130"/>
                      <a:gd name="T82" fmla="*/ 85 w 464"/>
                      <a:gd name="T83" fmla="*/ 45 h 130"/>
                      <a:gd name="T84" fmla="*/ 54 w 464"/>
                      <a:gd name="T85" fmla="*/ 54 h 130"/>
                      <a:gd name="T86" fmla="*/ 29 w 464"/>
                      <a:gd name="T87" fmla="*/ 65 h 130"/>
                      <a:gd name="T88" fmla="*/ 9 w 464"/>
                      <a:gd name="T89" fmla="*/ 77 h 130"/>
                      <a:gd name="T90" fmla="*/ 0 w 464"/>
                      <a:gd name="T91" fmla="*/ 8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470" name="Freeform 430">
                    <a:extLst>
                      <a:ext uri="{FF2B5EF4-FFF2-40B4-BE49-F238E27FC236}">
                        <a16:creationId xmlns="" xmlns:a16="http://schemas.microsoft.com/office/drawing/2014/main" id="{7B9AA2BD-9916-43EA-B34D-76599A713D94}"/>
                      </a:ext>
                    </a:extLst>
                  </p:cNvPr>
                  <p:cNvSpPr>
                    <a:spLocks/>
                  </p:cNvSpPr>
                  <p:nvPr/>
                </p:nvSpPr>
                <p:spPr bwMode="auto">
                  <a:xfrm>
                    <a:off x="1472" y="1205"/>
                    <a:ext cx="153" cy="31"/>
                  </a:xfrm>
                  <a:custGeom>
                    <a:avLst/>
                    <a:gdLst>
                      <a:gd name="T0" fmla="*/ 63 w 472"/>
                      <a:gd name="T1" fmla="*/ 0 h 92"/>
                      <a:gd name="T2" fmla="*/ 44 w 472"/>
                      <a:gd name="T3" fmla="*/ 0 h 92"/>
                      <a:gd name="T4" fmla="*/ 24 w 472"/>
                      <a:gd name="T5" fmla="*/ 0 h 92"/>
                      <a:gd name="T6" fmla="*/ 12 w 472"/>
                      <a:gd name="T7" fmla="*/ 3 h 92"/>
                      <a:gd name="T8" fmla="*/ 7 w 472"/>
                      <a:gd name="T9" fmla="*/ 8 h 92"/>
                      <a:gd name="T10" fmla="*/ 7 w 472"/>
                      <a:gd name="T11" fmla="*/ 16 h 92"/>
                      <a:gd name="T12" fmla="*/ 10 w 472"/>
                      <a:gd name="T13" fmla="*/ 23 h 92"/>
                      <a:gd name="T14" fmla="*/ 15 w 472"/>
                      <a:gd name="T15" fmla="*/ 32 h 92"/>
                      <a:gd name="T16" fmla="*/ 14 w 472"/>
                      <a:gd name="T17" fmla="*/ 41 h 92"/>
                      <a:gd name="T18" fmla="*/ 4 w 472"/>
                      <a:gd name="T19" fmla="*/ 50 h 92"/>
                      <a:gd name="T20" fmla="*/ 1 w 472"/>
                      <a:gd name="T21" fmla="*/ 57 h 92"/>
                      <a:gd name="T22" fmla="*/ 2 w 472"/>
                      <a:gd name="T23" fmla="*/ 64 h 92"/>
                      <a:gd name="T24" fmla="*/ 14 w 472"/>
                      <a:gd name="T25" fmla="*/ 69 h 92"/>
                      <a:gd name="T26" fmla="*/ 48 w 472"/>
                      <a:gd name="T27" fmla="*/ 76 h 92"/>
                      <a:gd name="T28" fmla="*/ 109 w 472"/>
                      <a:gd name="T29" fmla="*/ 85 h 92"/>
                      <a:gd name="T30" fmla="*/ 167 w 472"/>
                      <a:gd name="T31" fmla="*/ 91 h 92"/>
                      <a:gd name="T32" fmla="*/ 365 w 472"/>
                      <a:gd name="T33" fmla="*/ 92 h 92"/>
                      <a:gd name="T34" fmla="*/ 374 w 472"/>
                      <a:gd name="T35" fmla="*/ 81 h 92"/>
                      <a:gd name="T36" fmla="*/ 385 w 472"/>
                      <a:gd name="T37" fmla="*/ 75 h 92"/>
                      <a:gd name="T38" fmla="*/ 397 w 472"/>
                      <a:gd name="T39" fmla="*/ 73 h 92"/>
                      <a:gd name="T40" fmla="*/ 411 w 472"/>
                      <a:gd name="T41" fmla="*/ 73 h 92"/>
                      <a:gd name="T42" fmla="*/ 441 w 472"/>
                      <a:gd name="T43" fmla="*/ 76 h 92"/>
                      <a:gd name="T44" fmla="*/ 456 w 472"/>
                      <a:gd name="T45" fmla="*/ 76 h 92"/>
                      <a:gd name="T46" fmla="*/ 472 w 472"/>
                      <a:gd name="T47" fmla="*/ 73 h 92"/>
                      <a:gd name="T48" fmla="*/ 465 w 472"/>
                      <a:gd name="T49" fmla="*/ 33 h 92"/>
                      <a:gd name="T50" fmla="*/ 453 w 472"/>
                      <a:gd name="T51" fmla="*/ 26 h 92"/>
                      <a:gd name="T52" fmla="*/ 443 w 472"/>
                      <a:gd name="T53" fmla="*/ 18 h 92"/>
                      <a:gd name="T54" fmla="*/ 432 w 472"/>
                      <a:gd name="T55" fmla="*/ 13 h 92"/>
                      <a:gd name="T56" fmla="*/ 416 w 472"/>
                      <a:gd name="T57" fmla="*/ 12 h 92"/>
                      <a:gd name="T58" fmla="*/ 396 w 472"/>
                      <a:gd name="T59" fmla="*/ 15 h 92"/>
                      <a:gd name="T60" fmla="*/ 367 w 472"/>
                      <a:gd name="T61" fmla="*/ 22 h 92"/>
                      <a:gd name="T62" fmla="*/ 328 w 472"/>
                      <a:gd name="T63" fmla="*/ 33 h 92"/>
                      <a:gd name="T64" fmla="*/ 298 w 472"/>
                      <a:gd name="T65" fmla="*/ 39 h 92"/>
                      <a:gd name="T66" fmla="*/ 276 w 472"/>
                      <a:gd name="T67" fmla="*/ 42 h 92"/>
                      <a:gd name="T68" fmla="*/ 236 w 472"/>
                      <a:gd name="T69" fmla="*/ 42 h 92"/>
                      <a:gd name="T70" fmla="*/ 191 w 472"/>
                      <a:gd name="T71" fmla="*/ 42 h 92"/>
                      <a:gd name="T72" fmla="*/ 156 w 472"/>
                      <a:gd name="T73" fmla="*/ 42 h 92"/>
                      <a:gd name="T74" fmla="*/ 120 w 472"/>
                      <a:gd name="T75" fmla="*/ 42 h 92"/>
                      <a:gd name="T76" fmla="*/ 91 w 472"/>
                      <a:gd name="T77" fmla="*/ 41 h 92"/>
                      <a:gd name="T78" fmla="*/ 78 w 472"/>
                      <a:gd name="T79" fmla="*/ 36 h 92"/>
                      <a:gd name="T80" fmla="*/ 70 w 472"/>
                      <a:gd name="T81" fmla="*/ 27 h 92"/>
                      <a:gd name="T82" fmla="*/ 67 w 472"/>
                      <a:gd name="T83" fmla="*/ 17 h 92"/>
                      <a:gd name="T84" fmla="*/ 69 w 472"/>
                      <a:gd name="T85" fmla="*/ 8 h 92"/>
                      <a:gd name="T86" fmla="*/ 74 w 472"/>
                      <a:gd name="T87" fmla="*/ 2 h 92"/>
                      <a:gd name="T88" fmla="*/ 74 w 472"/>
                      <a:gd name="T8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471" name="Freeform 431">
                    <a:extLst>
                      <a:ext uri="{FF2B5EF4-FFF2-40B4-BE49-F238E27FC236}">
                        <a16:creationId xmlns="" xmlns:a16="http://schemas.microsoft.com/office/drawing/2014/main" id="{211E8205-324D-4042-A645-DCDC7251298C}"/>
                      </a:ext>
                    </a:extLst>
                  </p:cNvPr>
                  <p:cNvSpPr>
                    <a:spLocks/>
                  </p:cNvSpPr>
                  <p:nvPr/>
                </p:nvSpPr>
                <p:spPr bwMode="auto">
                  <a:xfrm>
                    <a:off x="1513" y="1136"/>
                    <a:ext cx="106" cy="45"/>
                  </a:xfrm>
                  <a:custGeom>
                    <a:avLst/>
                    <a:gdLst>
                      <a:gd name="T0" fmla="*/ 145 w 326"/>
                      <a:gd name="T1" fmla="*/ 107 h 135"/>
                      <a:gd name="T2" fmla="*/ 203 w 326"/>
                      <a:gd name="T3" fmla="*/ 97 h 135"/>
                      <a:gd name="T4" fmla="*/ 262 w 326"/>
                      <a:gd name="T5" fmla="*/ 84 h 135"/>
                      <a:gd name="T6" fmla="*/ 300 w 326"/>
                      <a:gd name="T7" fmla="*/ 74 h 135"/>
                      <a:gd name="T8" fmla="*/ 318 w 326"/>
                      <a:gd name="T9" fmla="*/ 66 h 135"/>
                      <a:gd name="T10" fmla="*/ 322 w 326"/>
                      <a:gd name="T11" fmla="*/ 56 h 135"/>
                      <a:gd name="T12" fmla="*/ 312 w 326"/>
                      <a:gd name="T13" fmla="*/ 48 h 135"/>
                      <a:gd name="T14" fmla="*/ 300 w 326"/>
                      <a:gd name="T15" fmla="*/ 41 h 135"/>
                      <a:gd name="T16" fmla="*/ 286 w 326"/>
                      <a:gd name="T17" fmla="*/ 37 h 135"/>
                      <a:gd name="T18" fmla="*/ 263 w 326"/>
                      <a:gd name="T19" fmla="*/ 32 h 135"/>
                      <a:gd name="T20" fmla="*/ 230 w 326"/>
                      <a:gd name="T21" fmla="*/ 30 h 135"/>
                      <a:gd name="T22" fmla="*/ 209 w 326"/>
                      <a:gd name="T23" fmla="*/ 30 h 135"/>
                      <a:gd name="T24" fmla="*/ 202 w 326"/>
                      <a:gd name="T25" fmla="*/ 24 h 135"/>
                      <a:gd name="T26" fmla="*/ 196 w 326"/>
                      <a:gd name="T27" fmla="*/ 17 h 135"/>
                      <a:gd name="T28" fmla="*/ 191 w 326"/>
                      <a:gd name="T29" fmla="*/ 9 h 135"/>
                      <a:gd name="T30" fmla="*/ 180 w 326"/>
                      <a:gd name="T31" fmla="*/ 5 h 135"/>
                      <a:gd name="T32" fmla="*/ 162 w 326"/>
                      <a:gd name="T33" fmla="*/ 1 h 135"/>
                      <a:gd name="T34" fmla="*/ 135 w 326"/>
                      <a:gd name="T35" fmla="*/ 1 h 135"/>
                      <a:gd name="T36" fmla="*/ 87 w 326"/>
                      <a:gd name="T37" fmla="*/ 8 h 135"/>
                      <a:gd name="T38" fmla="*/ 49 w 326"/>
                      <a:gd name="T39" fmla="*/ 17 h 135"/>
                      <a:gd name="T40" fmla="*/ 27 w 326"/>
                      <a:gd name="T41" fmla="*/ 26 h 135"/>
                      <a:gd name="T42" fmla="*/ 11 w 326"/>
                      <a:gd name="T43" fmla="*/ 37 h 135"/>
                      <a:gd name="T44" fmla="*/ 3 w 326"/>
                      <a:gd name="T45" fmla="*/ 46 h 135"/>
                      <a:gd name="T46" fmla="*/ 1 w 326"/>
                      <a:gd name="T47" fmla="*/ 52 h 135"/>
                      <a:gd name="T48" fmla="*/ 34 w 326"/>
                      <a:gd name="T49" fmla="*/ 74 h 135"/>
                      <a:gd name="T50" fmla="*/ 56 w 326"/>
                      <a:gd name="T51" fmla="*/ 81 h 135"/>
                      <a:gd name="T52" fmla="*/ 41 w 326"/>
                      <a:gd name="T53" fmla="*/ 90 h 135"/>
                      <a:gd name="T54" fmla="*/ 38 w 326"/>
                      <a:gd name="T55" fmla="*/ 99 h 135"/>
                      <a:gd name="T56" fmla="*/ 44 w 326"/>
                      <a:gd name="T57" fmla="*/ 114 h 135"/>
                      <a:gd name="T58" fmla="*/ 48 w 326"/>
                      <a:gd name="T59" fmla="*/ 128 h 135"/>
                      <a:gd name="T60" fmla="*/ 55 w 326"/>
                      <a:gd name="T61" fmla="*/ 134 h 135"/>
                      <a:gd name="T62" fmla="*/ 69 w 326"/>
                      <a:gd name="T63" fmla="*/ 135 h 135"/>
                      <a:gd name="T64" fmla="*/ 86 w 326"/>
                      <a:gd name="T65" fmla="*/ 131 h 135"/>
                      <a:gd name="T66" fmla="*/ 101 w 326"/>
                      <a:gd name="T67" fmla="*/ 127 h 135"/>
                      <a:gd name="T68" fmla="*/ 117 w 326"/>
                      <a:gd name="T69" fmla="*/ 124 h 135"/>
                      <a:gd name="T70" fmla="*/ 120 w 326"/>
                      <a:gd name="T71" fmla="*/ 11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472" name="Freeform 432">
                    <a:extLst>
                      <a:ext uri="{FF2B5EF4-FFF2-40B4-BE49-F238E27FC236}">
                        <a16:creationId xmlns="" xmlns:a16="http://schemas.microsoft.com/office/drawing/2014/main" id="{CE53C9BC-CEFF-456B-9F83-2470E78CE1BD}"/>
                      </a:ext>
                    </a:extLst>
                  </p:cNvPr>
                  <p:cNvSpPr>
                    <a:spLocks/>
                  </p:cNvSpPr>
                  <p:nvPr/>
                </p:nvSpPr>
                <p:spPr bwMode="auto">
                  <a:xfrm>
                    <a:off x="1584" y="1245"/>
                    <a:ext cx="51" cy="18"/>
                  </a:xfrm>
                  <a:custGeom>
                    <a:avLst/>
                    <a:gdLst>
                      <a:gd name="T0" fmla="*/ 46 w 159"/>
                      <a:gd name="T1" fmla="*/ 53 h 56"/>
                      <a:gd name="T2" fmla="*/ 40 w 159"/>
                      <a:gd name="T3" fmla="*/ 52 h 56"/>
                      <a:gd name="T4" fmla="*/ 34 w 159"/>
                      <a:gd name="T5" fmla="*/ 49 h 56"/>
                      <a:gd name="T6" fmla="*/ 26 w 159"/>
                      <a:gd name="T7" fmla="*/ 45 h 56"/>
                      <a:gd name="T8" fmla="*/ 18 w 159"/>
                      <a:gd name="T9" fmla="*/ 38 h 56"/>
                      <a:gd name="T10" fmla="*/ 10 w 159"/>
                      <a:gd name="T11" fmla="*/ 31 h 56"/>
                      <a:gd name="T12" fmla="*/ 5 w 159"/>
                      <a:gd name="T13" fmla="*/ 24 h 56"/>
                      <a:gd name="T14" fmla="*/ 3 w 159"/>
                      <a:gd name="T15" fmla="*/ 21 h 56"/>
                      <a:gd name="T16" fmla="*/ 1 w 159"/>
                      <a:gd name="T17" fmla="*/ 17 h 56"/>
                      <a:gd name="T18" fmla="*/ 0 w 159"/>
                      <a:gd name="T19" fmla="*/ 13 h 56"/>
                      <a:gd name="T20" fmla="*/ 0 w 159"/>
                      <a:gd name="T21" fmla="*/ 10 h 56"/>
                      <a:gd name="T22" fmla="*/ 21 w 159"/>
                      <a:gd name="T23" fmla="*/ 10 h 56"/>
                      <a:gd name="T24" fmla="*/ 39 w 159"/>
                      <a:gd name="T25" fmla="*/ 10 h 56"/>
                      <a:gd name="T26" fmla="*/ 52 w 159"/>
                      <a:gd name="T27" fmla="*/ 10 h 56"/>
                      <a:gd name="T28" fmla="*/ 59 w 159"/>
                      <a:gd name="T29" fmla="*/ 10 h 56"/>
                      <a:gd name="T30" fmla="*/ 83 w 159"/>
                      <a:gd name="T31" fmla="*/ 6 h 56"/>
                      <a:gd name="T32" fmla="*/ 117 w 159"/>
                      <a:gd name="T33" fmla="*/ 0 h 56"/>
                      <a:gd name="T34" fmla="*/ 125 w 159"/>
                      <a:gd name="T35" fmla="*/ 0 h 56"/>
                      <a:gd name="T36" fmla="*/ 132 w 159"/>
                      <a:gd name="T37" fmla="*/ 0 h 56"/>
                      <a:gd name="T38" fmla="*/ 140 w 159"/>
                      <a:gd name="T39" fmla="*/ 0 h 56"/>
                      <a:gd name="T40" fmla="*/ 147 w 159"/>
                      <a:gd name="T41" fmla="*/ 2 h 56"/>
                      <a:gd name="T42" fmla="*/ 151 w 159"/>
                      <a:gd name="T43" fmla="*/ 5 h 56"/>
                      <a:gd name="T44" fmla="*/ 155 w 159"/>
                      <a:gd name="T45" fmla="*/ 9 h 56"/>
                      <a:gd name="T46" fmla="*/ 158 w 159"/>
                      <a:gd name="T47" fmla="*/ 15 h 56"/>
                      <a:gd name="T48" fmla="*/ 159 w 159"/>
                      <a:gd name="T49" fmla="*/ 22 h 56"/>
                      <a:gd name="T50" fmla="*/ 158 w 159"/>
                      <a:gd name="T51" fmla="*/ 30 h 56"/>
                      <a:gd name="T52" fmla="*/ 155 w 159"/>
                      <a:gd name="T53" fmla="*/ 37 h 56"/>
                      <a:gd name="T54" fmla="*/ 151 w 159"/>
                      <a:gd name="T55" fmla="*/ 44 h 56"/>
                      <a:gd name="T56" fmla="*/ 146 w 159"/>
                      <a:gd name="T57" fmla="*/ 48 h 56"/>
                      <a:gd name="T58" fmla="*/ 139 w 159"/>
                      <a:gd name="T59" fmla="*/ 52 h 56"/>
                      <a:gd name="T60" fmla="*/ 132 w 159"/>
                      <a:gd name="T61" fmla="*/ 54 h 56"/>
                      <a:gd name="T62" fmla="*/ 124 w 159"/>
                      <a:gd name="T63" fmla="*/ 55 h 56"/>
                      <a:gd name="T64" fmla="*/ 115 w 159"/>
                      <a:gd name="T65" fmla="*/ 56 h 56"/>
                      <a:gd name="T66" fmla="*/ 77 w 159"/>
                      <a:gd name="T67" fmla="*/ 55 h 56"/>
                      <a:gd name="T68" fmla="*/ 46 w 159"/>
                      <a:gd name="T69" fmla="*/ 5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473" name="Freeform 433">
                    <a:extLst>
                      <a:ext uri="{FF2B5EF4-FFF2-40B4-BE49-F238E27FC236}">
                        <a16:creationId xmlns="" xmlns:a16="http://schemas.microsoft.com/office/drawing/2014/main" id="{395C5D09-8236-4CEF-AB8C-DAD85FF61355}"/>
                      </a:ext>
                    </a:extLst>
                  </p:cNvPr>
                  <p:cNvSpPr>
                    <a:spLocks/>
                  </p:cNvSpPr>
                  <p:nvPr/>
                </p:nvSpPr>
                <p:spPr bwMode="auto">
                  <a:xfrm>
                    <a:off x="534" y="1280"/>
                    <a:ext cx="1205" cy="539"/>
                  </a:xfrm>
                  <a:custGeom>
                    <a:avLst/>
                    <a:gdLst>
                      <a:gd name="T0" fmla="*/ 2931 w 3734"/>
                      <a:gd name="T1" fmla="*/ 1362 h 1644"/>
                      <a:gd name="T2" fmla="*/ 2556 w 3734"/>
                      <a:gd name="T3" fmla="*/ 1522 h 1644"/>
                      <a:gd name="T4" fmla="*/ 2312 w 3734"/>
                      <a:gd name="T5" fmla="*/ 1592 h 1644"/>
                      <a:gd name="T6" fmla="*/ 2294 w 3734"/>
                      <a:gd name="T7" fmla="*/ 1634 h 1644"/>
                      <a:gd name="T8" fmla="*/ 2177 w 3734"/>
                      <a:gd name="T9" fmla="*/ 1607 h 1644"/>
                      <a:gd name="T10" fmla="*/ 2279 w 3734"/>
                      <a:gd name="T11" fmla="*/ 1512 h 1644"/>
                      <a:gd name="T12" fmla="*/ 2166 w 3734"/>
                      <a:gd name="T13" fmla="*/ 1416 h 1644"/>
                      <a:gd name="T14" fmla="*/ 2094 w 3734"/>
                      <a:gd name="T15" fmla="*/ 1295 h 1644"/>
                      <a:gd name="T16" fmla="*/ 1947 w 3734"/>
                      <a:gd name="T17" fmla="*/ 1317 h 1644"/>
                      <a:gd name="T18" fmla="*/ 1771 w 3734"/>
                      <a:gd name="T19" fmla="*/ 1281 h 1644"/>
                      <a:gd name="T20" fmla="*/ 261 w 3734"/>
                      <a:gd name="T21" fmla="*/ 1235 h 1644"/>
                      <a:gd name="T22" fmla="*/ 127 w 3734"/>
                      <a:gd name="T23" fmla="*/ 1125 h 1644"/>
                      <a:gd name="T24" fmla="*/ 151 w 3734"/>
                      <a:gd name="T25" fmla="*/ 1040 h 1644"/>
                      <a:gd name="T26" fmla="*/ 147 w 3734"/>
                      <a:gd name="T27" fmla="*/ 927 h 1644"/>
                      <a:gd name="T28" fmla="*/ 259 w 3734"/>
                      <a:gd name="T29" fmla="*/ 859 h 1644"/>
                      <a:gd name="T30" fmla="*/ 250 w 3734"/>
                      <a:gd name="T31" fmla="*/ 747 h 1644"/>
                      <a:gd name="T32" fmla="*/ 128 w 3734"/>
                      <a:gd name="T33" fmla="*/ 665 h 1644"/>
                      <a:gd name="T34" fmla="*/ 602 w 3734"/>
                      <a:gd name="T35" fmla="*/ 114 h 1644"/>
                      <a:gd name="T36" fmla="*/ 1146 w 3734"/>
                      <a:gd name="T37" fmla="*/ 105 h 1644"/>
                      <a:gd name="T38" fmla="*/ 1296 w 3734"/>
                      <a:gd name="T39" fmla="*/ 117 h 1644"/>
                      <a:gd name="T40" fmla="*/ 1641 w 3734"/>
                      <a:gd name="T41" fmla="*/ 166 h 1644"/>
                      <a:gd name="T42" fmla="*/ 1771 w 3734"/>
                      <a:gd name="T43" fmla="*/ 206 h 1644"/>
                      <a:gd name="T44" fmla="*/ 2076 w 3734"/>
                      <a:gd name="T45" fmla="*/ 193 h 1644"/>
                      <a:gd name="T46" fmla="*/ 2286 w 3734"/>
                      <a:gd name="T47" fmla="*/ 216 h 1644"/>
                      <a:gd name="T48" fmla="*/ 2365 w 3734"/>
                      <a:gd name="T49" fmla="*/ 216 h 1644"/>
                      <a:gd name="T50" fmla="*/ 2518 w 3734"/>
                      <a:gd name="T51" fmla="*/ 123 h 1644"/>
                      <a:gd name="T52" fmla="*/ 2587 w 3734"/>
                      <a:gd name="T53" fmla="*/ 2 h 1644"/>
                      <a:gd name="T54" fmla="*/ 2644 w 3734"/>
                      <a:gd name="T55" fmla="*/ 105 h 1644"/>
                      <a:gd name="T56" fmla="*/ 2664 w 3734"/>
                      <a:gd name="T57" fmla="*/ 166 h 1644"/>
                      <a:gd name="T58" fmla="*/ 2716 w 3734"/>
                      <a:gd name="T59" fmla="*/ 196 h 1644"/>
                      <a:gd name="T60" fmla="*/ 2891 w 3734"/>
                      <a:gd name="T61" fmla="*/ 121 h 1644"/>
                      <a:gd name="T62" fmla="*/ 3036 w 3734"/>
                      <a:gd name="T63" fmla="*/ 135 h 1644"/>
                      <a:gd name="T64" fmla="*/ 2883 w 3734"/>
                      <a:gd name="T65" fmla="*/ 271 h 1644"/>
                      <a:gd name="T66" fmla="*/ 2790 w 3734"/>
                      <a:gd name="T67" fmla="*/ 289 h 1644"/>
                      <a:gd name="T68" fmla="*/ 2569 w 3734"/>
                      <a:gd name="T69" fmla="*/ 304 h 1644"/>
                      <a:gd name="T70" fmla="*/ 2501 w 3734"/>
                      <a:gd name="T71" fmla="*/ 402 h 1644"/>
                      <a:gd name="T72" fmla="*/ 2333 w 3734"/>
                      <a:gd name="T73" fmla="*/ 471 h 1644"/>
                      <a:gd name="T74" fmla="*/ 2087 w 3734"/>
                      <a:gd name="T75" fmla="*/ 625 h 1644"/>
                      <a:gd name="T76" fmla="*/ 2106 w 3734"/>
                      <a:gd name="T77" fmla="*/ 793 h 1644"/>
                      <a:gd name="T78" fmla="*/ 2360 w 3734"/>
                      <a:gd name="T79" fmla="*/ 907 h 1644"/>
                      <a:gd name="T80" fmla="*/ 2443 w 3734"/>
                      <a:gd name="T81" fmla="*/ 1059 h 1644"/>
                      <a:gd name="T82" fmla="*/ 2614 w 3734"/>
                      <a:gd name="T83" fmla="*/ 987 h 1644"/>
                      <a:gd name="T84" fmla="*/ 2848 w 3734"/>
                      <a:gd name="T85" fmla="*/ 785 h 1644"/>
                      <a:gd name="T86" fmla="*/ 2896 w 3734"/>
                      <a:gd name="T87" fmla="*/ 597 h 1644"/>
                      <a:gd name="T88" fmla="*/ 3156 w 3734"/>
                      <a:gd name="T89" fmla="*/ 500 h 1644"/>
                      <a:gd name="T90" fmla="*/ 3276 w 3734"/>
                      <a:gd name="T91" fmla="*/ 592 h 1644"/>
                      <a:gd name="T92" fmla="*/ 3226 w 3734"/>
                      <a:gd name="T93" fmla="*/ 736 h 1644"/>
                      <a:gd name="T94" fmla="*/ 3492 w 3734"/>
                      <a:gd name="T95" fmla="*/ 613 h 1644"/>
                      <a:gd name="T96" fmla="*/ 3545 w 3734"/>
                      <a:gd name="T97" fmla="*/ 774 h 1644"/>
                      <a:gd name="T98" fmla="*/ 3662 w 3734"/>
                      <a:gd name="T99" fmla="*/ 924 h 1644"/>
                      <a:gd name="T100" fmla="*/ 3616 w 3734"/>
                      <a:gd name="T101" fmla="*/ 961 h 1644"/>
                      <a:gd name="T102" fmla="*/ 3694 w 3734"/>
                      <a:gd name="T103" fmla="*/ 1028 h 1644"/>
                      <a:gd name="T104" fmla="*/ 3556 w 3734"/>
                      <a:gd name="T105" fmla="*/ 1108 h 1644"/>
                      <a:gd name="T106" fmla="*/ 3151 w 3734"/>
                      <a:gd name="T107" fmla="*/ 1168 h 1644"/>
                      <a:gd name="T108" fmla="*/ 2853 w 3734"/>
                      <a:gd name="T109" fmla="*/ 1335 h 1644"/>
                      <a:gd name="T110" fmla="*/ 2905 w 3734"/>
                      <a:gd name="T111" fmla="*/ 1337 h 1644"/>
                      <a:gd name="T112" fmla="*/ 3216 w 3734"/>
                      <a:gd name="T113" fmla="*/ 1256 h 1644"/>
                      <a:gd name="T114" fmla="*/ 3066 w 3734"/>
                      <a:gd name="T115" fmla="*/ 1298 h 1644"/>
                      <a:gd name="T116" fmla="*/ 3138 w 3734"/>
                      <a:gd name="T117" fmla="*/ 1391 h 1644"/>
                      <a:gd name="T118" fmla="*/ 3248 w 3734"/>
                      <a:gd name="T119" fmla="*/ 1473 h 1644"/>
                      <a:gd name="T120" fmla="*/ 3018 w 3734"/>
                      <a:gd name="T121" fmla="*/ 1564 h 1644"/>
                      <a:gd name="T122" fmla="*/ 3189 w 3734"/>
                      <a:gd name="T123" fmla="*/ 1466 h 1644"/>
                      <a:gd name="T124" fmla="*/ 3016 w 3734"/>
                      <a:gd name="T125" fmla="*/ 1484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31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grpSp>
            <p:sp>
              <p:nvSpPr>
                <p:cNvPr id="288" name="Freeform 434">
                  <a:extLst>
                    <a:ext uri="{FF2B5EF4-FFF2-40B4-BE49-F238E27FC236}">
                      <a16:creationId xmlns="" xmlns:a16="http://schemas.microsoft.com/office/drawing/2014/main" id="{4C8D23BB-A9B9-4DDF-868B-D260C10E0DF0}"/>
                    </a:ext>
                  </a:extLst>
                </p:cNvPr>
                <p:cNvSpPr>
                  <a:spLocks/>
                </p:cNvSpPr>
                <p:nvPr>
                  <p:custDataLst>
                    <p:tags r:id="rId276"/>
                  </p:custDataLst>
                </p:nvPr>
              </p:nvSpPr>
              <p:spPr bwMode="auto">
                <a:xfrm>
                  <a:off x="6505275" y="2895869"/>
                  <a:ext cx="90077" cy="112597"/>
                </a:xfrm>
                <a:custGeom>
                  <a:avLst/>
                  <a:gdLst>
                    <a:gd name="T0" fmla="*/ 265 w 292"/>
                    <a:gd name="T1" fmla="*/ 10 h 308"/>
                    <a:gd name="T2" fmla="*/ 276 w 292"/>
                    <a:gd name="T3" fmla="*/ 37 h 308"/>
                    <a:gd name="T4" fmla="*/ 286 w 292"/>
                    <a:gd name="T5" fmla="*/ 91 h 308"/>
                    <a:gd name="T6" fmla="*/ 292 w 292"/>
                    <a:gd name="T7" fmla="*/ 144 h 308"/>
                    <a:gd name="T8" fmla="*/ 291 w 292"/>
                    <a:gd name="T9" fmla="*/ 161 h 308"/>
                    <a:gd name="T10" fmla="*/ 286 w 292"/>
                    <a:gd name="T11" fmla="*/ 179 h 308"/>
                    <a:gd name="T12" fmla="*/ 269 w 292"/>
                    <a:gd name="T13" fmla="*/ 206 h 308"/>
                    <a:gd name="T14" fmla="*/ 231 w 292"/>
                    <a:gd name="T15" fmla="*/ 185 h 308"/>
                    <a:gd name="T16" fmla="*/ 165 w 292"/>
                    <a:gd name="T17" fmla="*/ 258 h 308"/>
                    <a:gd name="T18" fmla="*/ 132 w 292"/>
                    <a:gd name="T19" fmla="*/ 278 h 308"/>
                    <a:gd name="T20" fmla="*/ 59 w 292"/>
                    <a:gd name="T21" fmla="*/ 296 h 308"/>
                    <a:gd name="T22" fmla="*/ 32 w 292"/>
                    <a:gd name="T23" fmla="*/ 308 h 308"/>
                    <a:gd name="T24" fmla="*/ 6 w 292"/>
                    <a:gd name="T25" fmla="*/ 308 h 308"/>
                    <a:gd name="T26" fmla="*/ 9 w 292"/>
                    <a:gd name="T27" fmla="*/ 297 h 308"/>
                    <a:gd name="T28" fmla="*/ 11 w 292"/>
                    <a:gd name="T29" fmla="*/ 286 h 308"/>
                    <a:gd name="T30" fmla="*/ 7 w 292"/>
                    <a:gd name="T31" fmla="*/ 265 h 308"/>
                    <a:gd name="T32" fmla="*/ 2 w 292"/>
                    <a:gd name="T33" fmla="*/ 246 h 308"/>
                    <a:gd name="T34" fmla="*/ 0 w 292"/>
                    <a:gd name="T35" fmla="*/ 228 h 308"/>
                    <a:gd name="T36" fmla="*/ 3 w 292"/>
                    <a:gd name="T37" fmla="*/ 205 h 308"/>
                    <a:gd name="T38" fmla="*/ 12 w 292"/>
                    <a:gd name="T39" fmla="*/ 188 h 308"/>
                    <a:gd name="T40" fmla="*/ 26 w 292"/>
                    <a:gd name="T41" fmla="*/ 174 h 308"/>
                    <a:gd name="T42" fmla="*/ 42 w 292"/>
                    <a:gd name="T43" fmla="*/ 161 h 308"/>
                    <a:gd name="T44" fmla="*/ 77 w 292"/>
                    <a:gd name="T45" fmla="*/ 135 h 308"/>
                    <a:gd name="T46" fmla="*/ 93 w 292"/>
                    <a:gd name="T47" fmla="*/ 119 h 308"/>
                    <a:gd name="T48" fmla="*/ 105 w 292"/>
                    <a:gd name="T49" fmla="*/ 98 h 308"/>
                    <a:gd name="T50" fmla="*/ 98 w 292"/>
                    <a:gd name="T51" fmla="*/ 96 h 308"/>
                    <a:gd name="T52" fmla="*/ 92 w 292"/>
                    <a:gd name="T53" fmla="*/ 91 h 308"/>
                    <a:gd name="T54" fmla="*/ 82 w 292"/>
                    <a:gd name="T55" fmla="*/ 73 h 308"/>
                    <a:gd name="T56" fmla="*/ 74 w 292"/>
                    <a:gd name="T57" fmla="*/ 50 h 308"/>
                    <a:gd name="T58" fmla="*/ 72 w 292"/>
                    <a:gd name="T59" fmla="*/ 24 h 308"/>
                    <a:gd name="T60" fmla="*/ 90 w 292"/>
                    <a:gd name="T61" fmla="*/ 19 h 308"/>
                    <a:gd name="T62" fmla="*/ 105 w 292"/>
                    <a:gd name="T63" fmla="*/ 20 h 308"/>
                    <a:gd name="T64" fmla="*/ 132 w 292"/>
                    <a:gd name="T65" fmla="*/ 24 h 308"/>
                    <a:gd name="T66" fmla="*/ 169 w 292"/>
                    <a:gd name="T67" fmla="*/ 21 h 308"/>
                    <a:gd name="T68" fmla="*/ 210 w 292"/>
                    <a:gd name="T69" fmla="*/ 12 h 308"/>
                    <a:gd name="T70" fmla="*/ 259 w 292"/>
                    <a:gd name="T71"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289" name="Freeform 435">
                  <a:extLst>
                    <a:ext uri="{FF2B5EF4-FFF2-40B4-BE49-F238E27FC236}">
                      <a16:creationId xmlns="" xmlns:a16="http://schemas.microsoft.com/office/drawing/2014/main" id="{F168BE08-FE3C-43E8-9FE9-811236CB5627}"/>
                    </a:ext>
                  </a:extLst>
                </p:cNvPr>
                <p:cNvSpPr>
                  <a:spLocks/>
                </p:cNvSpPr>
                <p:nvPr>
                  <p:custDataLst>
                    <p:tags r:id="rId277"/>
                  </p:custDataLst>
                </p:nvPr>
              </p:nvSpPr>
              <p:spPr bwMode="auto">
                <a:xfrm>
                  <a:off x="6580714" y="3002835"/>
                  <a:ext cx="4504" cy="40535"/>
                </a:xfrm>
                <a:custGeom>
                  <a:avLst/>
                  <a:gdLst>
                    <a:gd name="T0" fmla="*/ 11 w 14"/>
                    <a:gd name="T1" fmla="*/ 0 h 7"/>
                    <a:gd name="T2" fmla="*/ 13 w 14"/>
                    <a:gd name="T3" fmla="*/ 3 h 7"/>
                    <a:gd name="T4" fmla="*/ 14 w 14"/>
                    <a:gd name="T5" fmla="*/ 7 h 7"/>
                    <a:gd name="T6" fmla="*/ 0 w 14"/>
                    <a:gd name="T7" fmla="*/ 7 h 7"/>
                    <a:gd name="T8" fmla="*/ 11 w 14"/>
                    <a:gd name="T9" fmla="*/ 0 h 7"/>
                  </a:gdLst>
                  <a:ahLst/>
                  <a:cxnLst>
                    <a:cxn ang="0">
                      <a:pos x="T0" y="T1"/>
                    </a:cxn>
                    <a:cxn ang="0">
                      <a:pos x="T2" y="T3"/>
                    </a:cxn>
                    <a:cxn ang="0">
                      <a:pos x="T4" y="T5"/>
                    </a:cxn>
                    <a:cxn ang="0">
                      <a:pos x="T6" y="T7"/>
                    </a:cxn>
                    <a:cxn ang="0">
                      <a:pos x="T8" y="T9"/>
                    </a:cxn>
                  </a:cxnLst>
                  <a:rect l="0" t="0" r="r" b="b"/>
                  <a:pathLst>
                    <a:path w="14" h="7">
                      <a:moveTo>
                        <a:pt x="11" y="0"/>
                      </a:moveTo>
                      <a:lnTo>
                        <a:pt x="13" y="3"/>
                      </a:lnTo>
                      <a:lnTo>
                        <a:pt x="14" y="7"/>
                      </a:lnTo>
                      <a:lnTo>
                        <a:pt x="0" y="7"/>
                      </a:lnTo>
                      <a:lnTo>
                        <a:pt x="11"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290" name="Freeform 436">
                  <a:extLst>
                    <a:ext uri="{FF2B5EF4-FFF2-40B4-BE49-F238E27FC236}">
                      <a16:creationId xmlns="" xmlns:a16="http://schemas.microsoft.com/office/drawing/2014/main" id="{B967DA2D-3A5B-47AD-A74B-882FBB9BCF35}"/>
                    </a:ext>
                  </a:extLst>
                </p:cNvPr>
                <p:cNvSpPr>
                  <a:spLocks/>
                </p:cNvSpPr>
                <p:nvPr>
                  <p:custDataLst>
                    <p:tags r:id="rId278"/>
                  </p:custDataLst>
                </p:nvPr>
              </p:nvSpPr>
              <p:spPr bwMode="auto">
                <a:xfrm>
                  <a:off x="6219279" y="2461246"/>
                  <a:ext cx="176776" cy="354679"/>
                </a:xfrm>
                <a:custGeom>
                  <a:avLst/>
                  <a:gdLst>
                    <a:gd name="T0" fmla="*/ 81 w 581"/>
                    <a:gd name="T1" fmla="*/ 115 h 955"/>
                    <a:gd name="T2" fmla="*/ 104 w 581"/>
                    <a:gd name="T3" fmla="*/ 152 h 955"/>
                    <a:gd name="T4" fmla="*/ 111 w 581"/>
                    <a:gd name="T5" fmla="*/ 180 h 955"/>
                    <a:gd name="T6" fmla="*/ 95 w 581"/>
                    <a:gd name="T7" fmla="*/ 234 h 955"/>
                    <a:gd name="T8" fmla="*/ 96 w 581"/>
                    <a:gd name="T9" fmla="*/ 325 h 955"/>
                    <a:gd name="T10" fmla="*/ 93 w 581"/>
                    <a:gd name="T11" fmla="*/ 363 h 955"/>
                    <a:gd name="T12" fmla="*/ 82 w 581"/>
                    <a:gd name="T13" fmla="*/ 396 h 955"/>
                    <a:gd name="T14" fmla="*/ 59 w 581"/>
                    <a:gd name="T15" fmla="*/ 429 h 955"/>
                    <a:gd name="T16" fmla="*/ 31 w 581"/>
                    <a:gd name="T17" fmla="*/ 461 h 955"/>
                    <a:gd name="T18" fmla="*/ 17 w 581"/>
                    <a:gd name="T19" fmla="*/ 481 h 955"/>
                    <a:gd name="T20" fmla="*/ 2 w 581"/>
                    <a:gd name="T21" fmla="*/ 542 h 955"/>
                    <a:gd name="T22" fmla="*/ 69 w 581"/>
                    <a:gd name="T23" fmla="*/ 616 h 955"/>
                    <a:gd name="T24" fmla="*/ 69 w 581"/>
                    <a:gd name="T25" fmla="*/ 634 h 955"/>
                    <a:gd name="T26" fmla="*/ 74 w 581"/>
                    <a:gd name="T27" fmla="*/ 665 h 955"/>
                    <a:gd name="T28" fmla="*/ 74 w 581"/>
                    <a:gd name="T29" fmla="*/ 696 h 955"/>
                    <a:gd name="T30" fmla="*/ 78 w 581"/>
                    <a:gd name="T31" fmla="*/ 733 h 955"/>
                    <a:gd name="T32" fmla="*/ 94 w 581"/>
                    <a:gd name="T33" fmla="*/ 778 h 955"/>
                    <a:gd name="T34" fmla="*/ 105 w 581"/>
                    <a:gd name="T35" fmla="*/ 792 h 955"/>
                    <a:gd name="T36" fmla="*/ 68 w 581"/>
                    <a:gd name="T37" fmla="*/ 794 h 955"/>
                    <a:gd name="T38" fmla="*/ 42 w 581"/>
                    <a:gd name="T39" fmla="*/ 802 h 955"/>
                    <a:gd name="T40" fmla="*/ 36 w 581"/>
                    <a:gd name="T41" fmla="*/ 812 h 955"/>
                    <a:gd name="T42" fmla="*/ 42 w 581"/>
                    <a:gd name="T43" fmla="*/ 842 h 955"/>
                    <a:gd name="T44" fmla="*/ 69 w 581"/>
                    <a:gd name="T45" fmla="*/ 876 h 955"/>
                    <a:gd name="T46" fmla="*/ 87 w 581"/>
                    <a:gd name="T47" fmla="*/ 899 h 955"/>
                    <a:gd name="T48" fmla="*/ 100 w 581"/>
                    <a:gd name="T49" fmla="*/ 927 h 955"/>
                    <a:gd name="T50" fmla="*/ 156 w 581"/>
                    <a:gd name="T51" fmla="*/ 955 h 955"/>
                    <a:gd name="T52" fmla="*/ 189 w 581"/>
                    <a:gd name="T53" fmla="*/ 942 h 955"/>
                    <a:gd name="T54" fmla="*/ 248 w 581"/>
                    <a:gd name="T55" fmla="*/ 929 h 955"/>
                    <a:gd name="T56" fmla="*/ 279 w 581"/>
                    <a:gd name="T57" fmla="*/ 921 h 955"/>
                    <a:gd name="T58" fmla="*/ 297 w 581"/>
                    <a:gd name="T59" fmla="*/ 904 h 955"/>
                    <a:gd name="T60" fmla="*/ 302 w 581"/>
                    <a:gd name="T61" fmla="*/ 892 h 955"/>
                    <a:gd name="T62" fmla="*/ 302 w 581"/>
                    <a:gd name="T63" fmla="*/ 868 h 955"/>
                    <a:gd name="T64" fmla="*/ 338 w 581"/>
                    <a:gd name="T65" fmla="*/ 871 h 955"/>
                    <a:gd name="T66" fmla="*/ 367 w 581"/>
                    <a:gd name="T67" fmla="*/ 866 h 955"/>
                    <a:gd name="T68" fmla="*/ 389 w 581"/>
                    <a:gd name="T69" fmla="*/ 856 h 955"/>
                    <a:gd name="T70" fmla="*/ 405 w 581"/>
                    <a:gd name="T71" fmla="*/ 842 h 955"/>
                    <a:gd name="T72" fmla="*/ 432 w 581"/>
                    <a:gd name="T73" fmla="*/ 807 h 955"/>
                    <a:gd name="T74" fmla="*/ 460 w 581"/>
                    <a:gd name="T75" fmla="*/ 773 h 955"/>
                    <a:gd name="T76" fmla="*/ 477 w 581"/>
                    <a:gd name="T77" fmla="*/ 760 h 955"/>
                    <a:gd name="T78" fmla="*/ 502 w 581"/>
                    <a:gd name="T79" fmla="*/ 752 h 955"/>
                    <a:gd name="T80" fmla="*/ 521 w 581"/>
                    <a:gd name="T81" fmla="*/ 745 h 955"/>
                    <a:gd name="T82" fmla="*/ 499 w 581"/>
                    <a:gd name="T83" fmla="*/ 697 h 955"/>
                    <a:gd name="T84" fmla="*/ 484 w 581"/>
                    <a:gd name="T85" fmla="*/ 653 h 955"/>
                    <a:gd name="T86" fmla="*/ 472 w 581"/>
                    <a:gd name="T87" fmla="*/ 623 h 955"/>
                    <a:gd name="T88" fmla="*/ 481 w 581"/>
                    <a:gd name="T89" fmla="*/ 610 h 955"/>
                    <a:gd name="T90" fmla="*/ 487 w 581"/>
                    <a:gd name="T91" fmla="*/ 579 h 955"/>
                    <a:gd name="T92" fmla="*/ 494 w 581"/>
                    <a:gd name="T93" fmla="*/ 541 h 955"/>
                    <a:gd name="T94" fmla="*/ 505 w 581"/>
                    <a:gd name="T95" fmla="*/ 519 h 955"/>
                    <a:gd name="T96" fmla="*/ 532 w 581"/>
                    <a:gd name="T97" fmla="*/ 486 h 955"/>
                    <a:gd name="T98" fmla="*/ 570 w 581"/>
                    <a:gd name="T99" fmla="*/ 461 h 955"/>
                    <a:gd name="T100" fmla="*/ 129 w 581"/>
                    <a:gd name="T101" fmla="*/ 0 h 955"/>
                    <a:gd name="T102" fmla="*/ 98 w 581"/>
                    <a:gd name="T103" fmla="*/ 5 h 955"/>
                    <a:gd name="T104" fmla="*/ 69 w 581"/>
                    <a:gd name="T105" fmla="*/ 24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291" name="Freeform 437">
                  <a:extLst>
                    <a:ext uri="{FF2B5EF4-FFF2-40B4-BE49-F238E27FC236}">
                      <a16:creationId xmlns="" xmlns:a16="http://schemas.microsoft.com/office/drawing/2014/main" id="{263FE60A-A8D4-48C2-9EBE-C1BC46CFBD87}"/>
                    </a:ext>
                  </a:extLst>
                </p:cNvPr>
                <p:cNvSpPr>
                  <a:spLocks/>
                </p:cNvSpPr>
                <p:nvPr>
                  <p:custDataLst>
                    <p:tags r:id="rId279"/>
                  </p:custDataLst>
                </p:nvPr>
              </p:nvSpPr>
              <p:spPr bwMode="auto">
                <a:xfrm>
                  <a:off x="5989581" y="2023244"/>
                  <a:ext cx="11260" cy="40535"/>
                </a:xfrm>
                <a:custGeom>
                  <a:avLst/>
                  <a:gdLst>
                    <a:gd name="T0" fmla="*/ 26 w 45"/>
                    <a:gd name="T1" fmla="*/ 0 h 36"/>
                    <a:gd name="T2" fmla="*/ 0 w 45"/>
                    <a:gd name="T3" fmla="*/ 18 h 36"/>
                    <a:gd name="T4" fmla="*/ 23 w 45"/>
                    <a:gd name="T5" fmla="*/ 36 h 36"/>
                    <a:gd name="T6" fmla="*/ 45 w 45"/>
                    <a:gd name="T7" fmla="*/ 15 h 36"/>
                    <a:gd name="T8" fmla="*/ 26 w 45"/>
                    <a:gd name="T9" fmla="*/ 0 h 36"/>
                  </a:gdLst>
                  <a:ahLst/>
                  <a:cxnLst>
                    <a:cxn ang="0">
                      <a:pos x="T0" y="T1"/>
                    </a:cxn>
                    <a:cxn ang="0">
                      <a:pos x="T2" y="T3"/>
                    </a:cxn>
                    <a:cxn ang="0">
                      <a:pos x="T4" y="T5"/>
                    </a:cxn>
                    <a:cxn ang="0">
                      <a:pos x="T6" y="T7"/>
                    </a:cxn>
                    <a:cxn ang="0">
                      <a:pos x="T8" y="T9"/>
                    </a:cxn>
                  </a:cxnLst>
                  <a:rect l="0" t="0" r="r" b="b"/>
                  <a:pathLst>
                    <a:path w="45" h="36">
                      <a:moveTo>
                        <a:pt x="26" y="0"/>
                      </a:moveTo>
                      <a:lnTo>
                        <a:pt x="0" y="18"/>
                      </a:lnTo>
                      <a:lnTo>
                        <a:pt x="23" y="36"/>
                      </a:lnTo>
                      <a:lnTo>
                        <a:pt x="45" y="15"/>
                      </a:lnTo>
                      <a:lnTo>
                        <a:pt x="26" y="0"/>
                      </a:lnTo>
                      <a:close/>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292" name="Freeform 442">
                  <a:extLst>
                    <a:ext uri="{FF2B5EF4-FFF2-40B4-BE49-F238E27FC236}">
                      <a16:creationId xmlns="" xmlns:a16="http://schemas.microsoft.com/office/drawing/2014/main" id="{26F98527-9DB7-466D-821F-EB1CE5FE2B91}"/>
                    </a:ext>
                  </a:extLst>
                </p:cNvPr>
                <p:cNvSpPr>
                  <a:spLocks/>
                </p:cNvSpPr>
                <p:nvPr>
                  <p:custDataLst>
                    <p:tags r:id="rId280"/>
                  </p:custDataLst>
                </p:nvPr>
              </p:nvSpPr>
              <p:spPr bwMode="auto">
                <a:xfrm>
                  <a:off x="6705697" y="2032252"/>
                  <a:ext cx="87826" cy="77692"/>
                </a:xfrm>
                <a:custGeom>
                  <a:avLst/>
                  <a:gdLst>
                    <a:gd name="T0" fmla="*/ 33 w 279"/>
                    <a:gd name="T1" fmla="*/ 87 h 204"/>
                    <a:gd name="T2" fmla="*/ 59 w 279"/>
                    <a:gd name="T3" fmla="*/ 142 h 204"/>
                    <a:gd name="T4" fmla="*/ 59 w 279"/>
                    <a:gd name="T5" fmla="*/ 179 h 204"/>
                    <a:gd name="T6" fmla="*/ 102 w 279"/>
                    <a:gd name="T7" fmla="*/ 196 h 204"/>
                    <a:gd name="T8" fmla="*/ 122 w 279"/>
                    <a:gd name="T9" fmla="*/ 202 h 204"/>
                    <a:gd name="T10" fmla="*/ 139 w 279"/>
                    <a:gd name="T11" fmla="*/ 204 h 204"/>
                    <a:gd name="T12" fmla="*/ 146 w 279"/>
                    <a:gd name="T13" fmla="*/ 201 h 204"/>
                    <a:gd name="T14" fmla="*/ 151 w 279"/>
                    <a:gd name="T15" fmla="*/ 194 h 204"/>
                    <a:gd name="T16" fmla="*/ 160 w 279"/>
                    <a:gd name="T17" fmla="*/ 172 h 204"/>
                    <a:gd name="T18" fmla="*/ 172 w 279"/>
                    <a:gd name="T19" fmla="*/ 149 h 204"/>
                    <a:gd name="T20" fmla="*/ 181 w 279"/>
                    <a:gd name="T21" fmla="*/ 141 h 204"/>
                    <a:gd name="T22" fmla="*/ 192 w 279"/>
                    <a:gd name="T23" fmla="*/ 136 h 204"/>
                    <a:gd name="T24" fmla="*/ 209 w 279"/>
                    <a:gd name="T25" fmla="*/ 138 h 204"/>
                    <a:gd name="T26" fmla="*/ 220 w 279"/>
                    <a:gd name="T27" fmla="*/ 142 h 204"/>
                    <a:gd name="T28" fmla="*/ 228 w 279"/>
                    <a:gd name="T29" fmla="*/ 148 h 204"/>
                    <a:gd name="T30" fmla="*/ 231 w 279"/>
                    <a:gd name="T31" fmla="*/ 154 h 204"/>
                    <a:gd name="T32" fmla="*/ 234 w 279"/>
                    <a:gd name="T33" fmla="*/ 164 h 204"/>
                    <a:gd name="T34" fmla="*/ 231 w 279"/>
                    <a:gd name="T35" fmla="*/ 167 h 204"/>
                    <a:gd name="T36" fmla="*/ 234 w 279"/>
                    <a:gd name="T37" fmla="*/ 153 h 204"/>
                    <a:gd name="T38" fmla="*/ 238 w 279"/>
                    <a:gd name="T39" fmla="*/ 140 h 204"/>
                    <a:gd name="T40" fmla="*/ 245 w 279"/>
                    <a:gd name="T41" fmla="*/ 117 h 204"/>
                    <a:gd name="T42" fmla="*/ 254 w 279"/>
                    <a:gd name="T43" fmla="*/ 115 h 204"/>
                    <a:gd name="T44" fmla="*/ 264 w 279"/>
                    <a:gd name="T45" fmla="*/ 110 h 204"/>
                    <a:gd name="T46" fmla="*/ 279 w 279"/>
                    <a:gd name="T47" fmla="*/ 99 h 204"/>
                    <a:gd name="T48" fmla="*/ 252 w 279"/>
                    <a:gd name="T49" fmla="*/ 75 h 204"/>
                    <a:gd name="T50" fmla="*/ 227 w 279"/>
                    <a:gd name="T51" fmla="*/ 58 h 204"/>
                    <a:gd name="T52" fmla="*/ 204 w 279"/>
                    <a:gd name="T53" fmla="*/ 44 h 204"/>
                    <a:gd name="T54" fmla="*/ 185 w 279"/>
                    <a:gd name="T55" fmla="*/ 31 h 204"/>
                    <a:gd name="T56" fmla="*/ 146 w 279"/>
                    <a:gd name="T57" fmla="*/ 68 h 204"/>
                    <a:gd name="T58" fmla="*/ 79 w 279"/>
                    <a:gd name="T59" fmla="*/ 25 h 204"/>
                    <a:gd name="T60" fmla="*/ 52 w 279"/>
                    <a:gd name="T61" fmla="*/ 12 h 204"/>
                    <a:gd name="T62" fmla="*/ 46 w 279"/>
                    <a:gd name="T63" fmla="*/ 62 h 204"/>
                    <a:gd name="T64" fmla="*/ 0 w 279"/>
                    <a:gd name="T65" fmla="*/ 5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293" name="Freeform 443">
                  <a:extLst>
                    <a:ext uri="{FF2B5EF4-FFF2-40B4-BE49-F238E27FC236}">
                      <a16:creationId xmlns="" xmlns:a16="http://schemas.microsoft.com/office/drawing/2014/main" id="{14420320-23DA-49BC-8CCC-C1F6B2E91D40}"/>
                    </a:ext>
                  </a:extLst>
                </p:cNvPr>
                <p:cNvSpPr>
                  <a:spLocks/>
                </p:cNvSpPr>
                <p:nvPr>
                  <p:custDataLst>
                    <p:tags r:id="rId281"/>
                  </p:custDataLst>
                </p:nvPr>
              </p:nvSpPr>
              <p:spPr bwMode="auto">
                <a:xfrm>
                  <a:off x="6327372" y="1729367"/>
                  <a:ext cx="148627" cy="106966"/>
                </a:xfrm>
                <a:custGeom>
                  <a:avLst/>
                  <a:gdLst>
                    <a:gd name="T0" fmla="*/ 252 w 485"/>
                    <a:gd name="T1" fmla="*/ 20 h 291"/>
                    <a:gd name="T2" fmla="*/ 300 w 485"/>
                    <a:gd name="T3" fmla="*/ 44 h 291"/>
                    <a:gd name="T4" fmla="*/ 372 w 485"/>
                    <a:gd name="T5" fmla="*/ 44 h 291"/>
                    <a:gd name="T6" fmla="*/ 425 w 485"/>
                    <a:gd name="T7" fmla="*/ 131 h 291"/>
                    <a:gd name="T8" fmla="*/ 485 w 485"/>
                    <a:gd name="T9" fmla="*/ 167 h 291"/>
                    <a:gd name="T10" fmla="*/ 412 w 485"/>
                    <a:gd name="T11" fmla="*/ 173 h 291"/>
                    <a:gd name="T12" fmla="*/ 433 w 485"/>
                    <a:gd name="T13" fmla="*/ 210 h 291"/>
                    <a:gd name="T14" fmla="*/ 392 w 485"/>
                    <a:gd name="T15" fmla="*/ 241 h 291"/>
                    <a:gd name="T16" fmla="*/ 385 w 485"/>
                    <a:gd name="T17" fmla="*/ 291 h 291"/>
                    <a:gd name="T18" fmla="*/ 285 w 485"/>
                    <a:gd name="T19" fmla="*/ 266 h 291"/>
                    <a:gd name="T20" fmla="*/ 173 w 485"/>
                    <a:gd name="T21" fmla="*/ 254 h 291"/>
                    <a:gd name="T22" fmla="*/ 60 w 485"/>
                    <a:gd name="T23" fmla="*/ 266 h 291"/>
                    <a:gd name="T24" fmla="*/ 15 w 485"/>
                    <a:gd name="T25" fmla="*/ 271 h 291"/>
                    <a:gd name="T26" fmla="*/ 8 w 485"/>
                    <a:gd name="T27" fmla="*/ 257 h 291"/>
                    <a:gd name="T28" fmla="*/ 3 w 485"/>
                    <a:gd name="T29" fmla="*/ 244 h 291"/>
                    <a:gd name="T30" fmla="*/ 0 w 485"/>
                    <a:gd name="T31" fmla="*/ 229 h 291"/>
                    <a:gd name="T32" fmla="*/ 5 w 485"/>
                    <a:gd name="T33" fmla="*/ 219 h 291"/>
                    <a:gd name="T34" fmla="*/ 14 w 485"/>
                    <a:gd name="T35" fmla="*/ 207 h 291"/>
                    <a:gd name="T36" fmla="*/ 23 w 485"/>
                    <a:gd name="T37" fmla="*/ 189 h 291"/>
                    <a:gd name="T38" fmla="*/ 31 w 485"/>
                    <a:gd name="T39" fmla="*/ 166 h 291"/>
                    <a:gd name="T40" fmla="*/ 41 w 485"/>
                    <a:gd name="T41" fmla="*/ 137 h 291"/>
                    <a:gd name="T42" fmla="*/ 48 w 485"/>
                    <a:gd name="T43" fmla="*/ 126 h 291"/>
                    <a:gd name="T44" fmla="*/ 60 w 485"/>
                    <a:gd name="T45" fmla="*/ 119 h 291"/>
                    <a:gd name="T46" fmla="*/ 87 w 485"/>
                    <a:gd name="T47" fmla="*/ 111 h 291"/>
                    <a:gd name="T48" fmla="*/ 89 w 485"/>
                    <a:gd name="T49" fmla="*/ 106 h 291"/>
                    <a:gd name="T50" fmla="*/ 94 w 485"/>
                    <a:gd name="T51" fmla="*/ 100 h 291"/>
                    <a:gd name="T52" fmla="*/ 101 w 485"/>
                    <a:gd name="T53" fmla="*/ 95 h 291"/>
                    <a:gd name="T54" fmla="*/ 106 w 485"/>
                    <a:gd name="T55" fmla="*/ 93 h 291"/>
                    <a:gd name="T56" fmla="*/ 106 w 485"/>
                    <a:gd name="T57" fmla="*/ 76 h 291"/>
                    <a:gd name="T58" fmla="*/ 109 w 485"/>
                    <a:gd name="T59" fmla="*/ 70 h 291"/>
                    <a:gd name="T60" fmla="*/ 113 w 485"/>
                    <a:gd name="T61" fmla="*/ 67 h 291"/>
                    <a:gd name="T62" fmla="*/ 122 w 485"/>
                    <a:gd name="T63" fmla="*/ 69 h 291"/>
                    <a:gd name="T64" fmla="*/ 128 w 485"/>
                    <a:gd name="T65" fmla="*/ 69 h 291"/>
                    <a:gd name="T66" fmla="*/ 132 w 485"/>
                    <a:gd name="T67" fmla="*/ 66 h 291"/>
                    <a:gd name="T68" fmla="*/ 134 w 485"/>
                    <a:gd name="T69" fmla="*/ 56 h 291"/>
                    <a:gd name="T70" fmla="*/ 139 w 485"/>
                    <a:gd name="T71" fmla="*/ 44 h 291"/>
                    <a:gd name="T72" fmla="*/ 144 w 485"/>
                    <a:gd name="T73" fmla="*/ 39 h 291"/>
                    <a:gd name="T74" fmla="*/ 213 w 485"/>
                    <a:gd name="T75" fmla="*/ 0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294" name="Freeform 444">
                  <a:extLst>
                    <a:ext uri="{FF2B5EF4-FFF2-40B4-BE49-F238E27FC236}">
                      <a16:creationId xmlns="" xmlns:a16="http://schemas.microsoft.com/office/drawing/2014/main" id="{B0094BB4-F1D3-48BB-962E-2D4ADE6E27F1}"/>
                    </a:ext>
                  </a:extLst>
                </p:cNvPr>
                <p:cNvSpPr>
                  <a:spLocks/>
                </p:cNvSpPr>
                <p:nvPr>
                  <p:custDataLst>
                    <p:tags r:id="rId282"/>
                  </p:custDataLst>
                </p:nvPr>
              </p:nvSpPr>
              <p:spPr bwMode="auto">
                <a:xfrm>
                  <a:off x="6226035" y="1964694"/>
                  <a:ext cx="58550" cy="61929"/>
                </a:xfrm>
                <a:custGeom>
                  <a:avLst/>
                  <a:gdLst>
                    <a:gd name="T0" fmla="*/ 86 w 186"/>
                    <a:gd name="T1" fmla="*/ 147 h 166"/>
                    <a:gd name="T2" fmla="*/ 83 w 186"/>
                    <a:gd name="T3" fmla="*/ 136 h 166"/>
                    <a:gd name="T4" fmla="*/ 78 w 186"/>
                    <a:gd name="T5" fmla="*/ 127 h 166"/>
                    <a:gd name="T6" fmla="*/ 74 w 186"/>
                    <a:gd name="T7" fmla="*/ 118 h 166"/>
                    <a:gd name="T8" fmla="*/ 70 w 186"/>
                    <a:gd name="T9" fmla="*/ 110 h 166"/>
                    <a:gd name="T10" fmla="*/ 60 w 186"/>
                    <a:gd name="T11" fmla="*/ 95 h 166"/>
                    <a:gd name="T12" fmla="*/ 49 w 186"/>
                    <a:gd name="T13" fmla="*/ 82 h 166"/>
                    <a:gd name="T14" fmla="*/ 37 w 186"/>
                    <a:gd name="T15" fmla="*/ 70 h 166"/>
                    <a:gd name="T16" fmla="*/ 25 w 186"/>
                    <a:gd name="T17" fmla="*/ 56 h 166"/>
                    <a:gd name="T18" fmla="*/ 13 w 186"/>
                    <a:gd name="T19" fmla="*/ 38 h 166"/>
                    <a:gd name="T20" fmla="*/ 0 w 186"/>
                    <a:gd name="T21" fmla="*/ 18 h 166"/>
                    <a:gd name="T22" fmla="*/ 0 w 186"/>
                    <a:gd name="T23" fmla="*/ 0 h 166"/>
                    <a:gd name="T24" fmla="*/ 7 w 186"/>
                    <a:gd name="T25" fmla="*/ 2 h 166"/>
                    <a:gd name="T26" fmla="*/ 14 w 186"/>
                    <a:gd name="T27" fmla="*/ 3 h 166"/>
                    <a:gd name="T28" fmla="*/ 20 w 186"/>
                    <a:gd name="T29" fmla="*/ 4 h 166"/>
                    <a:gd name="T30" fmla="*/ 27 w 186"/>
                    <a:gd name="T31" fmla="*/ 4 h 166"/>
                    <a:gd name="T32" fmla="*/ 33 w 186"/>
                    <a:gd name="T33" fmla="*/ 4 h 166"/>
                    <a:gd name="T34" fmla="*/ 40 w 186"/>
                    <a:gd name="T35" fmla="*/ 3 h 166"/>
                    <a:gd name="T36" fmla="*/ 47 w 186"/>
                    <a:gd name="T37" fmla="*/ 2 h 166"/>
                    <a:gd name="T38" fmla="*/ 53 w 186"/>
                    <a:gd name="T39" fmla="*/ 0 h 166"/>
                    <a:gd name="T40" fmla="*/ 140 w 186"/>
                    <a:gd name="T41" fmla="*/ 12 h 166"/>
                    <a:gd name="T42" fmla="*/ 186 w 186"/>
                    <a:gd name="T43" fmla="*/ 91 h 166"/>
                    <a:gd name="T44" fmla="*/ 171 w 186"/>
                    <a:gd name="T45" fmla="*/ 112 h 166"/>
                    <a:gd name="T46" fmla="*/ 155 w 186"/>
                    <a:gd name="T47" fmla="*/ 129 h 166"/>
                    <a:gd name="T48" fmla="*/ 149 w 186"/>
                    <a:gd name="T49" fmla="*/ 137 h 166"/>
                    <a:gd name="T50" fmla="*/ 144 w 186"/>
                    <a:gd name="T51" fmla="*/ 145 h 166"/>
                    <a:gd name="T52" fmla="*/ 142 w 186"/>
                    <a:gd name="T53" fmla="*/ 150 h 166"/>
                    <a:gd name="T54" fmla="*/ 141 w 186"/>
                    <a:gd name="T55" fmla="*/ 156 h 166"/>
                    <a:gd name="T56" fmla="*/ 140 w 186"/>
                    <a:gd name="T57" fmla="*/ 161 h 166"/>
                    <a:gd name="T58" fmla="*/ 140 w 186"/>
                    <a:gd name="T59" fmla="*/ 166 h 166"/>
                    <a:gd name="T60" fmla="*/ 86 w 186"/>
                    <a:gd name="T61" fmla="*/ 14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295" name="Freeform 445">
                  <a:extLst>
                    <a:ext uri="{FF2B5EF4-FFF2-40B4-BE49-F238E27FC236}">
                      <a16:creationId xmlns="" xmlns:a16="http://schemas.microsoft.com/office/drawing/2014/main" id="{B2E078E0-0D20-4145-8F50-76A94EBAC60B}"/>
                    </a:ext>
                  </a:extLst>
                </p:cNvPr>
                <p:cNvSpPr>
                  <a:spLocks/>
                </p:cNvSpPr>
                <p:nvPr>
                  <p:custDataLst>
                    <p:tags r:id="rId283"/>
                  </p:custDataLst>
                </p:nvPr>
              </p:nvSpPr>
              <p:spPr bwMode="auto">
                <a:xfrm>
                  <a:off x="5066289" y="2983694"/>
                  <a:ext cx="58550" cy="40535"/>
                </a:xfrm>
                <a:custGeom>
                  <a:avLst/>
                  <a:gdLst>
                    <a:gd name="T0" fmla="*/ 153 w 186"/>
                    <a:gd name="T1" fmla="*/ 21 h 104"/>
                    <a:gd name="T2" fmla="*/ 146 w 186"/>
                    <a:gd name="T3" fmla="*/ 21 h 104"/>
                    <a:gd name="T4" fmla="*/ 141 w 186"/>
                    <a:gd name="T5" fmla="*/ 20 h 104"/>
                    <a:gd name="T6" fmla="*/ 136 w 186"/>
                    <a:gd name="T7" fmla="*/ 18 h 104"/>
                    <a:gd name="T8" fmla="*/ 133 w 186"/>
                    <a:gd name="T9" fmla="*/ 15 h 104"/>
                    <a:gd name="T10" fmla="*/ 130 w 186"/>
                    <a:gd name="T11" fmla="*/ 13 h 104"/>
                    <a:gd name="T12" fmla="*/ 125 w 186"/>
                    <a:gd name="T13" fmla="*/ 11 h 104"/>
                    <a:gd name="T14" fmla="*/ 120 w 186"/>
                    <a:gd name="T15" fmla="*/ 10 h 104"/>
                    <a:gd name="T16" fmla="*/ 113 w 186"/>
                    <a:gd name="T17" fmla="*/ 9 h 104"/>
                    <a:gd name="T18" fmla="*/ 100 w 186"/>
                    <a:gd name="T19" fmla="*/ 8 h 104"/>
                    <a:gd name="T20" fmla="*/ 88 w 186"/>
                    <a:gd name="T21" fmla="*/ 6 h 104"/>
                    <a:gd name="T22" fmla="*/ 75 w 186"/>
                    <a:gd name="T23" fmla="*/ 3 h 104"/>
                    <a:gd name="T24" fmla="*/ 64 w 186"/>
                    <a:gd name="T25" fmla="*/ 1 h 104"/>
                    <a:gd name="T26" fmla="*/ 60 w 186"/>
                    <a:gd name="T27" fmla="*/ 0 h 104"/>
                    <a:gd name="T28" fmla="*/ 54 w 186"/>
                    <a:gd name="T29" fmla="*/ 0 h 104"/>
                    <a:gd name="T30" fmla="*/ 51 w 186"/>
                    <a:gd name="T31" fmla="*/ 1 h 104"/>
                    <a:gd name="T32" fmla="*/ 46 w 186"/>
                    <a:gd name="T33" fmla="*/ 2 h 104"/>
                    <a:gd name="T34" fmla="*/ 44 w 186"/>
                    <a:gd name="T35" fmla="*/ 4 h 104"/>
                    <a:gd name="T36" fmla="*/ 42 w 186"/>
                    <a:gd name="T37" fmla="*/ 6 h 104"/>
                    <a:gd name="T38" fmla="*/ 41 w 186"/>
                    <a:gd name="T39" fmla="*/ 10 h 104"/>
                    <a:gd name="T40" fmla="*/ 40 w 186"/>
                    <a:gd name="T41" fmla="*/ 15 h 104"/>
                    <a:gd name="T42" fmla="*/ 34 w 186"/>
                    <a:gd name="T43" fmla="*/ 27 h 104"/>
                    <a:gd name="T44" fmla="*/ 20 w 186"/>
                    <a:gd name="T45" fmla="*/ 47 h 104"/>
                    <a:gd name="T46" fmla="*/ 7 w 186"/>
                    <a:gd name="T47" fmla="*/ 66 h 104"/>
                    <a:gd name="T48" fmla="*/ 0 w 186"/>
                    <a:gd name="T49" fmla="*/ 77 h 104"/>
                    <a:gd name="T50" fmla="*/ 8 w 186"/>
                    <a:gd name="T51" fmla="*/ 77 h 104"/>
                    <a:gd name="T52" fmla="*/ 16 w 186"/>
                    <a:gd name="T53" fmla="*/ 78 h 104"/>
                    <a:gd name="T54" fmla="*/ 21 w 186"/>
                    <a:gd name="T55" fmla="*/ 79 h 104"/>
                    <a:gd name="T56" fmla="*/ 25 w 186"/>
                    <a:gd name="T57" fmla="*/ 81 h 104"/>
                    <a:gd name="T58" fmla="*/ 33 w 186"/>
                    <a:gd name="T59" fmla="*/ 85 h 104"/>
                    <a:gd name="T60" fmla="*/ 40 w 186"/>
                    <a:gd name="T61" fmla="*/ 89 h 104"/>
                    <a:gd name="T62" fmla="*/ 45 w 186"/>
                    <a:gd name="T63" fmla="*/ 94 h 104"/>
                    <a:gd name="T64" fmla="*/ 52 w 186"/>
                    <a:gd name="T65" fmla="*/ 98 h 104"/>
                    <a:gd name="T66" fmla="*/ 56 w 186"/>
                    <a:gd name="T67" fmla="*/ 100 h 104"/>
                    <a:gd name="T68" fmla="*/ 61 w 186"/>
                    <a:gd name="T69" fmla="*/ 101 h 104"/>
                    <a:gd name="T70" fmla="*/ 66 w 186"/>
                    <a:gd name="T71" fmla="*/ 102 h 104"/>
                    <a:gd name="T72" fmla="*/ 74 w 186"/>
                    <a:gd name="T73" fmla="*/ 102 h 104"/>
                    <a:gd name="T74" fmla="*/ 107 w 186"/>
                    <a:gd name="T75" fmla="*/ 103 h 104"/>
                    <a:gd name="T76" fmla="*/ 131 w 186"/>
                    <a:gd name="T77" fmla="*/ 104 h 104"/>
                    <a:gd name="T78" fmla="*/ 135 w 186"/>
                    <a:gd name="T79" fmla="*/ 103 h 104"/>
                    <a:gd name="T80" fmla="*/ 139 w 186"/>
                    <a:gd name="T81" fmla="*/ 102 h 104"/>
                    <a:gd name="T82" fmla="*/ 142 w 186"/>
                    <a:gd name="T83" fmla="*/ 100 h 104"/>
                    <a:gd name="T84" fmla="*/ 145 w 186"/>
                    <a:gd name="T85" fmla="*/ 97 h 104"/>
                    <a:gd name="T86" fmla="*/ 147 w 186"/>
                    <a:gd name="T87" fmla="*/ 94 h 104"/>
                    <a:gd name="T88" fmla="*/ 150 w 186"/>
                    <a:gd name="T89" fmla="*/ 88 h 104"/>
                    <a:gd name="T90" fmla="*/ 152 w 186"/>
                    <a:gd name="T91" fmla="*/ 83 h 104"/>
                    <a:gd name="T92" fmla="*/ 153 w 186"/>
                    <a:gd name="T93" fmla="*/ 77 h 104"/>
                    <a:gd name="T94" fmla="*/ 186 w 186"/>
                    <a:gd name="T95" fmla="*/ 27 h 104"/>
                    <a:gd name="T96" fmla="*/ 153 w 186"/>
                    <a:gd name="T97" fmla="*/ 2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296" name="Freeform 446">
                  <a:extLst>
                    <a:ext uri="{FF2B5EF4-FFF2-40B4-BE49-F238E27FC236}">
                      <a16:creationId xmlns="" xmlns:a16="http://schemas.microsoft.com/office/drawing/2014/main" id="{EA9B8BB5-A00D-43AA-A704-5B26ACAC2C37}"/>
                    </a:ext>
                  </a:extLst>
                </p:cNvPr>
                <p:cNvSpPr>
                  <a:spLocks/>
                </p:cNvSpPr>
                <p:nvPr>
                  <p:custDataLst>
                    <p:tags r:id="rId284"/>
                  </p:custDataLst>
                </p:nvPr>
              </p:nvSpPr>
              <p:spPr bwMode="auto">
                <a:xfrm>
                  <a:off x="6338631" y="1989465"/>
                  <a:ext cx="94581" cy="68684"/>
                </a:xfrm>
                <a:custGeom>
                  <a:avLst/>
                  <a:gdLst>
                    <a:gd name="T0" fmla="*/ 79 w 311"/>
                    <a:gd name="T1" fmla="*/ 38 h 179"/>
                    <a:gd name="T2" fmla="*/ 115 w 311"/>
                    <a:gd name="T3" fmla="*/ 26 h 179"/>
                    <a:gd name="T4" fmla="*/ 148 w 311"/>
                    <a:gd name="T5" fmla="*/ 14 h 179"/>
                    <a:gd name="T6" fmla="*/ 178 w 311"/>
                    <a:gd name="T7" fmla="*/ 4 h 179"/>
                    <a:gd name="T8" fmla="*/ 211 w 311"/>
                    <a:gd name="T9" fmla="*/ 0 h 179"/>
                    <a:gd name="T10" fmla="*/ 236 w 311"/>
                    <a:gd name="T11" fmla="*/ 2 h 179"/>
                    <a:gd name="T12" fmla="*/ 256 w 311"/>
                    <a:gd name="T13" fmla="*/ 6 h 179"/>
                    <a:gd name="T14" fmla="*/ 292 w 311"/>
                    <a:gd name="T15" fmla="*/ 12 h 179"/>
                    <a:gd name="T16" fmla="*/ 287 w 311"/>
                    <a:gd name="T17" fmla="*/ 28 h 179"/>
                    <a:gd name="T18" fmla="*/ 278 w 311"/>
                    <a:gd name="T19" fmla="*/ 42 h 179"/>
                    <a:gd name="T20" fmla="*/ 269 w 311"/>
                    <a:gd name="T21" fmla="*/ 53 h 179"/>
                    <a:gd name="T22" fmla="*/ 265 w 311"/>
                    <a:gd name="T23" fmla="*/ 62 h 179"/>
                    <a:gd name="T24" fmla="*/ 266 w 311"/>
                    <a:gd name="T25" fmla="*/ 66 h 179"/>
                    <a:gd name="T26" fmla="*/ 271 w 311"/>
                    <a:gd name="T27" fmla="*/ 71 h 179"/>
                    <a:gd name="T28" fmla="*/ 285 w 311"/>
                    <a:gd name="T29" fmla="*/ 79 h 179"/>
                    <a:gd name="T30" fmla="*/ 311 w 311"/>
                    <a:gd name="T31" fmla="*/ 93 h 179"/>
                    <a:gd name="T32" fmla="*/ 287 w 311"/>
                    <a:gd name="T33" fmla="*/ 107 h 179"/>
                    <a:gd name="T34" fmla="*/ 281 w 311"/>
                    <a:gd name="T35" fmla="*/ 115 h 179"/>
                    <a:gd name="T36" fmla="*/ 278 w 311"/>
                    <a:gd name="T37" fmla="*/ 129 h 179"/>
                    <a:gd name="T38" fmla="*/ 252 w 311"/>
                    <a:gd name="T39" fmla="*/ 136 h 179"/>
                    <a:gd name="T40" fmla="*/ 211 w 311"/>
                    <a:gd name="T41" fmla="*/ 148 h 179"/>
                    <a:gd name="T42" fmla="*/ 191 w 311"/>
                    <a:gd name="T43" fmla="*/ 168 h 179"/>
                    <a:gd name="T44" fmla="*/ 178 w 311"/>
                    <a:gd name="T45" fmla="*/ 176 h 179"/>
                    <a:gd name="T46" fmla="*/ 165 w 311"/>
                    <a:gd name="T47" fmla="*/ 179 h 179"/>
                    <a:gd name="T48" fmla="*/ 151 w 311"/>
                    <a:gd name="T49" fmla="*/ 175 h 179"/>
                    <a:gd name="T50" fmla="*/ 137 w 311"/>
                    <a:gd name="T51" fmla="*/ 167 h 179"/>
                    <a:gd name="T52" fmla="*/ 120 w 311"/>
                    <a:gd name="T53" fmla="*/ 158 h 179"/>
                    <a:gd name="T54" fmla="*/ 98 w 311"/>
                    <a:gd name="T55" fmla="*/ 155 h 179"/>
                    <a:gd name="T56" fmla="*/ 66 w 311"/>
                    <a:gd name="T57" fmla="*/ 155 h 179"/>
                    <a:gd name="T58" fmla="*/ 51 w 311"/>
                    <a:gd name="T59" fmla="*/ 157 h 179"/>
                    <a:gd name="T60" fmla="*/ 39 w 311"/>
                    <a:gd name="T61" fmla="*/ 161 h 179"/>
                    <a:gd name="T62" fmla="*/ 36 w 311"/>
                    <a:gd name="T63" fmla="*/ 142 h 179"/>
                    <a:gd name="T64" fmla="*/ 32 w 311"/>
                    <a:gd name="T65" fmla="*/ 123 h 179"/>
                    <a:gd name="T66" fmla="*/ 21 w 311"/>
                    <a:gd name="T67" fmla="*/ 128 h 179"/>
                    <a:gd name="T68" fmla="*/ 13 w 311"/>
                    <a:gd name="T69" fmla="*/ 129 h 179"/>
                    <a:gd name="T70" fmla="*/ 7 w 311"/>
                    <a:gd name="T71" fmla="*/ 126 h 179"/>
                    <a:gd name="T72" fmla="*/ 3 w 311"/>
                    <a:gd name="T73" fmla="*/ 121 h 179"/>
                    <a:gd name="T74" fmla="*/ 0 w 311"/>
                    <a:gd name="T75" fmla="*/ 105 h 179"/>
                    <a:gd name="T76" fmla="*/ 0 w 311"/>
                    <a:gd name="T77" fmla="*/ 87 h 179"/>
                    <a:gd name="T78" fmla="*/ 3 w 311"/>
                    <a:gd name="T79" fmla="*/ 82 h 179"/>
                    <a:gd name="T80" fmla="*/ 13 w 311"/>
                    <a:gd name="T81" fmla="*/ 78 h 179"/>
                    <a:gd name="T82" fmla="*/ 21 w 311"/>
                    <a:gd name="T83" fmla="*/ 72 h 179"/>
                    <a:gd name="T84" fmla="*/ 25 w 311"/>
                    <a:gd name="T85" fmla="*/ 68 h 179"/>
                    <a:gd name="T86" fmla="*/ 26 w 311"/>
                    <a:gd name="T87" fmla="*/ 62 h 179"/>
                    <a:gd name="T88" fmla="*/ 24 w 311"/>
                    <a:gd name="T89" fmla="*/ 51 h 179"/>
                    <a:gd name="T90" fmla="*/ 19 w 311"/>
                    <a:gd name="T91" fmla="*/ 43 h 179"/>
                    <a:gd name="T92" fmla="*/ 8 w 311"/>
                    <a:gd name="T93" fmla="*/ 29 h 179"/>
                    <a:gd name="T94" fmla="*/ 1 w 311"/>
                    <a:gd name="T95" fmla="*/ 18 h 179"/>
                    <a:gd name="T96" fmla="*/ 1 w 311"/>
                    <a:gd name="T97" fmla="*/ 13 h 179"/>
                    <a:gd name="T98" fmla="*/ 6 w 311"/>
                    <a:gd name="T99" fmla="*/ 6 h 179"/>
                    <a:gd name="T100" fmla="*/ 0 w 311"/>
                    <a:gd name="T101" fmla="*/ 6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297" name="Freeform 447">
                  <a:extLst>
                    <a:ext uri="{FF2B5EF4-FFF2-40B4-BE49-F238E27FC236}">
                      <a16:creationId xmlns="" xmlns:a16="http://schemas.microsoft.com/office/drawing/2014/main" id="{F7E264EE-ECBA-4006-8DD3-E9C73A9832BB}"/>
                    </a:ext>
                  </a:extLst>
                </p:cNvPr>
                <p:cNvSpPr>
                  <a:spLocks/>
                </p:cNvSpPr>
                <p:nvPr>
                  <p:custDataLst>
                    <p:tags r:id="rId285"/>
                  </p:custDataLst>
                </p:nvPr>
              </p:nvSpPr>
              <p:spPr bwMode="auto">
                <a:xfrm>
                  <a:off x="5881489" y="2647030"/>
                  <a:ext cx="126109" cy="117101"/>
                </a:xfrm>
                <a:custGeom>
                  <a:avLst/>
                  <a:gdLst>
                    <a:gd name="T0" fmla="*/ 6 w 405"/>
                    <a:gd name="T1" fmla="*/ 260 h 314"/>
                    <a:gd name="T2" fmla="*/ 13 w 405"/>
                    <a:gd name="T3" fmla="*/ 237 h 314"/>
                    <a:gd name="T4" fmla="*/ 17 w 405"/>
                    <a:gd name="T5" fmla="*/ 202 h 314"/>
                    <a:gd name="T6" fmla="*/ 23 w 405"/>
                    <a:gd name="T7" fmla="*/ 173 h 314"/>
                    <a:gd name="T8" fmla="*/ 32 w 405"/>
                    <a:gd name="T9" fmla="*/ 162 h 314"/>
                    <a:gd name="T10" fmla="*/ 48 w 405"/>
                    <a:gd name="T11" fmla="*/ 150 h 314"/>
                    <a:gd name="T12" fmla="*/ 72 w 405"/>
                    <a:gd name="T13" fmla="*/ 141 h 314"/>
                    <a:gd name="T14" fmla="*/ 93 w 405"/>
                    <a:gd name="T15" fmla="*/ 134 h 314"/>
                    <a:gd name="T16" fmla="*/ 104 w 405"/>
                    <a:gd name="T17" fmla="*/ 125 h 314"/>
                    <a:gd name="T18" fmla="*/ 113 w 405"/>
                    <a:gd name="T19" fmla="*/ 114 h 314"/>
                    <a:gd name="T20" fmla="*/ 123 w 405"/>
                    <a:gd name="T21" fmla="*/ 93 h 314"/>
                    <a:gd name="T22" fmla="*/ 136 w 405"/>
                    <a:gd name="T23" fmla="*/ 69 h 314"/>
                    <a:gd name="T24" fmla="*/ 147 w 405"/>
                    <a:gd name="T25" fmla="*/ 55 h 314"/>
                    <a:gd name="T26" fmla="*/ 155 w 405"/>
                    <a:gd name="T27" fmla="*/ 51 h 314"/>
                    <a:gd name="T28" fmla="*/ 170 w 405"/>
                    <a:gd name="T29" fmla="*/ 51 h 314"/>
                    <a:gd name="T30" fmla="*/ 189 w 405"/>
                    <a:gd name="T31" fmla="*/ 48 h 314"/>
                    <a:gd name="T32" fmla="*/ 213 w 405"/>
                    <a:gd name="T33" fmla="*/ 35 h 314"/>
                    <a:gd name="T34" fmla="*/ 237 w 405"/>
                    <a:gd name="T35" fmla="*/ 20 h 314"/>
                    <a:gd name="T36" fmla="*/ 257 w 405"/>
                    <a:gd name="T37" fmla="*/ 11 h 314"/>
                    <a:gd name="T38" fmla="*/ 282 w 405"/>
                    <a:gd name="T39" fmla="*/ 4 h 314"/>
                    <a:gd name="T40" fmla="*/ 314 w 405"/>
                    <a:gd name="T41" fmla="*/ 0 h 314"/>
                    <a:gd name="T42" fmla="*/ 332 w 405"/>
                    <a:gd name="T43" fmla="*/ 14 h 314"/>
                    <a:gd name="T44" fmla="*/ 337 w 405"/>
                    <a:gd name="T45" fmla="*/ 34 h 314"/>
                    <a:gd name="T46" fmla="*/ 343 w 405"/>
                    <a:gd name="T47" fmla="*/ 50 h 314"/>
                    <a:gd name="T48" fmla="*/ 352 w 405"/>
                    <a:gd name="T49" fmla="*/ 62 h 314"/>
                    <a:gd name="T50" fmla="*/ 368 w 405"/>
                    <a:gd name="T51" fmla="*/ 74 h 314"/>
                    <a:gd name="T52" fmla="*/ 382 w 405"/>
                    <a:gd name="T53" fmla="*/ 85 h 314"/>
                    <a:gd name="T54" fmla="*/ 390 w 405"/>
                    <a:gd name="T55" fmla="*/ 93 h 314"/>
                    <a:gd name="T56" fmla="*/ 396 w 405"/>
                    <a:gd name="T57" fmla="*/ 115 h 314"/>
                    <a:gd name="T58" fmla="*/ 398 w 405"/>
                    <a:gd name="T59" fmla="*/ 143 h 314"/>
                    <a:gd name="T60" fmla="*/ 398 w 405"/>
                    <a:gd name="T61" fmla="*/ 170 h 314"/>
                    <a:gd name="T62" fmla="*/ 402 w 405"/>
                    <a:gd name="T63" fmla="*/ 196 h 314"/>
                    <a:gd name="T64" fmla="*/ 398 w 405"/>
                    <a:gd name="T65" fmla="*/ 217 h 314"/>
                    <a:gd name="T66" fmla="*/ 382 w 405"/>
                    <a:gd name="T67" fmla="*/ 226 h 314"/>
                    <a:gd name="T68" fmla="*/ 365 w 405"/>
                    <a:gd name="T69" fmla="*/ 241 h 314"/>
                    <a:gd name="T70" fmla="*/ 363 w 405"/>
                    <a:gd name="T71" fmla="*/ 237 h 314"/>
                    <a:gd name="T72" fmla="*/ 358 w 405"/>
                    <a:gd name="T73" fmla="*/ 233 h 314"/>
                    <a:gd name="T74" fmla="*/ 342 w 405"/>
                    <a:gd name="T75" fmla="*/ 227 h 314"/>
                    <a:gd name="T76" fmla="*/ 319 w 405"/>
                    <a:gd name="T77" fmla="*/ 223 h 314"/>
                    <a:gd name="T78" fmla="*/ 152 w 405"/>
                    <a:gd name="T79" fmla="*/ 241 h 314"/>
                    <a:gd name="T80" fmla="*/ 150 w 405"/>
                    <a:gd name="T81" fmla="*/ 257 h 314"/>
                    <a:gd name="T82" fmla="*/ 150 w 405"/>
                    <a:gd name="T83" fmla="*/ 274 h 314"/>
                    <a:gd name="T84" fmla="*/ 152 w 405"/>
                    <a:gd name="T85" fmla="*/ 314 h 314"/>
                    <a:gd name="T86" fmla="*/ 139 w 405"/>
                    <a:gd name="T87" fmla="*/ 312 h 314"/>
                    <a:gd name="T88" fmla="*/ 126 w 405"/>
                    <a:gd name="T89" fmla="*/ 305 h 314"/>
                    <a:gd name="T90" fmla="*/ 100 w 405"/>
                    <a:gd name="T91" fmla="*/ 290 h 314"/>
                    <a:gd name="T92" fmla="*/ 89 w 405"/>
                    <a:gd name="T93" fmla="*/ 307 h 314"/>
                    <a:gd name="T94" fmla="*/ 82 w 405"/>
                    <a:gd name="T95" fmla="*/ 312 h 314"/>
                    <a:gd name="T96" fmla="*/ 73 w 405"/>
                    <a:gd name="T97" fmla="*/ 314 h 314"/>
                    <a:gd name="T98" fmla="*/ 60 w 405"/>
                    <a:gd name="T99" fmla="*/ 311 h 314"/>
                    <a:gd name="T100" fmla="*/ 47 w 405"/>
                    <a:gd name="T101" fmla="*/ 302 h 314"/>
                    <a:gd name="T102" fmla="*/ 28 w 405"/>
                    <a:gd name="T103" fmla="*/ 291 h 314"/>
                    <a:gd name="T104" fmla="*/ 0 w 405"/>
                    <a:gd name="T105" fmla="*/ 28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298" name="Freeform 448">
                  <a:extLst>
                    <a:ext uri="{FF2B5EF4-FFF2-40B4-BE49-F238E27FC236}">
                      <a16:creationId xmlns="" xmlns:a16="http://schemas.microsoft.com/office/drawing/2014/main" id="{99388E41-DD31-4CC5-ABC4-F685D47AD4A6}"/>
                    </a:ext>
                  </a:extLst>
                </p:cNvPr>
                <p:cNvSpPr>
                  <a:spLocks/>
                </p:cNvSpPr>
                <p:nvPr>
                  <p:custDataLst>
                    <p:tags r:id="rId286"/>
                  </p:custDataLst>
                </p:nvPr>
              </p:nvSpPr>
              <p:spPr bwMode="auto">
                <a:xfrm>
                  <a:off x="6128075" y="2695447"/>
                  <a:ext cx="137368" cy="247713"/>
                </a:xfrm>
                <a:custGeom>
                  <a:avLst/>
                  <a:gdLst>
                    <a:gd name="T0" fmla="*/ 335 w 453"/>
                    <a:gd name="T1" fmla="*/ 36 h 661"/>
                    <a:gd name="T2" fmla="*/ 321 w 453"/>
                    <a:gd name="T3" fmla="*/ 98 h 661"/>
                    <a:gd name="T4" fmla="*/ 277 w 453"/>
                    <a:gd name="T5" fmla="*/ 162 h 661"/>
                    <a:gd name="T6" fmla="*/ 253 w 453"/>
                    <a:gd name="T7" fmla="*/ 219 h 661"/>
                    <a:gd name="T8" fmla="*/ 232 w 453"/>
                    <a:gd name="T9" fmla="*/ 272 h 661"/>
                    <a:gd name="T10" fmla="*/ 209 w 453"/>
                    <a:gd name="T11" fmla="*/ 329 h 661"/>
                    <a:gd name="T12" fmla="*/ 196 w 453"/>
                    <a:gd name="T13" fmla="*/ 362 h 661"/>
                    <a:gd name="T14" fmla="*/ 180 w 453"/>
                    <a:gd name="T15" fmla="*/ 380 h 661"/>
                    <a:gd name="T16" fmla="*/ 167 w 453"/>
                    <a:gd name="T17" fmla="*/ 390 h 661"/>
                    <a:gd name="T18" fmla="*/ 141 w 453"/>
                    <a:gd name="T19" fmla="*/ 382 h 661"/>
                    <a:gd name="T20" fmla="*/ 121 w 453"/>
                    <a:gd name="T21" fmla="*/ 370 h 661"/>
                    <a:gd name="T22" fmla="*/ 94 w 453"/>
                    <a:gd name="T23" fmla="*/ 367 h 661"/>
                    <a:gd name="T24" fmla="*/ 64 w 453"/>
                    <a:gd name="T25" fmla="*/ 380 h 661"/>
                    <a:gd name="T26" fmla="*/ 44 w 453"/>
                    <a:gd name="T27" fmla="*/ 403 h 661"/>
                    <a:gd name="T28" fmla="*/ 21 w 453"/>
                    <a:gd name="T29" fmla="*/ 454 h 661"/>
                    <a:gd name="T30" fmla="*/ 7 w 453"/>
                    <a:gd name="T31" fmla="*/ 482 h 661"/>
                    <a:gd name="T32" fmla="*/ 1 w 453"/>
                    <a:gd name="T33" fmla="*/ 500 h 661"/>
                    <a:gd name="T34" fmla="*/ 8 w 453"/>
                    <a:gd name="T35" fmla="*/ 517 h 661"/>
                    <a:gd name="T36" fmla="*/ 20 w 453"/>
                    <a:gd name="T37" fmla="*/ 526 h 661"/>
                    <a:gd name="T38" fmla="*/ 55 w 453"/>
                    <a:gd name="T39" fmla="*/ 526 h 661"/>
                    <a:gd name="T40" fmla="*/ 71 w 453"/>
                    <a:gd name="T41" fmla="*/ 548 h 661"/>
                    <a:gd name="T42" fmla="*/ 73 w 453"/>
                    <a:gd name="T43" fmla="*/ 590 h 661"/>
                    <a:gd name="T44" fmla="*/ 67 w 453"/>
                    <a:gd name="T45" fmla="*/ 630 h 661"/>
                    <a:gd name="T46" fmla="*/ 433 w 453"/>
                    <a:gd name="T47" fmla="*/ 661 h 661"/>
                    <a:gd name="T48" fmla="*/ 442 w 453"/>
                    <a:gd name="T49" fmla="*/ 582 h 661"/>
                    <a:gd name="T50" fmla="*/ 415 w 453"/>
                    <a:gd name="T51" fmla="*/ 568 h 661"/>
                    <a:gd name="T52" fmla="*/ 373 w 453"/>
                    <a:gd name="T53" fmla="*/ 557 h 661"/>
                    <a:gd name="T54" fmla="*/ 353 w 453"/>
                    <a:gd name="T55" fmla="*/ 549 h 661"/>
                    <a:gd name="T56" fmla="*/ 340 w 453"/>
                    <a:gd name="T57" fmla="*/ 537 h 661"/>
                    <a:gd name="T58" fmla="*/ 333 w 453"/>
                    <a:gd name="T59" fmla="*/ 515 h 661"/>
                    <a:gd name="T60" fmla="*/ 333 w 453"/>
                    <a:gd name="T61" fmla="*/ 464 h 661"/>
                    <a:gd name="T62" fmla="*/ 337 w 453"/>
                    <a:gd name="T63" fmla="*/ 428 h 661"/>
                    <a:gd name="T64" fmla="*/ 351 w 453"/>
                    <a:gd name="T65" fmla="*/ 397 h 661"/>
                    <a:gd name="T66" fmla="*/ 373 w 453"/>
                    <a:gd name="T67" fmla="*/ 364 h 661"/>
                    <a:gd name="T68" fmla="*/ 392 w 453"/>
                    <a:gd name="T69" fmla="*/ 330 h 661"/>
                    <a:gd name="T70" fmla="*/ 399 w 453"/>
                    <a:gd name="T71" fmla="*/ 297 h 661"/>
                    <a:gd name="T72" fmla="*/ 389 w 453"/>
                    <a:gd name="T73" fmla="*/ 267 h 661"/>
                    <a:gd name="T74" fmla="*/ 373 w 453"/>
                    <a:gd name="T75" fmla="*/ 246 h 661"/>
                    <a:gd name="T76" fmla="*/ 343 w 453"/>
                    <a:gd name="T77" fmla="*/ 217 h 661"/>
                    <a:gd name="T78" fmla="*/ 333 w 453"/>
                    <a:gd name="T79" fmla="*/ 192 h 661"/>
                    <a:gd name="T80" fmla="*/ 335 w 453"/>
                    <a:gd name="T81" fmla="*/ 173 h 661"/>
                    <a:gd name="T82" fmla="*/ 353 w 453"/>
                    <a:gd name="T83" fmla="*/ 164 h 661"/>
                    <a:gd name="T84" fmla="*/ 406 w 453"/>
                    <a:gd name="T85" fmla="*/ 162 h 661"/>
                    <a:gd name="T86" fmla="*/ 395 w 453"/>
                    <a:gd name="T87" fmla="*/ 151 h 661"/>
                    <a:gd name="T88" fmla="*/ 379 w 453"/>
                    <a:gd name="T89" fmla="*/ 117 h 661"/>
                    <a:gd name="T90" fmla="*/ 371 w 453"/>
                    <a:gd name="T91" fmla="*/ 73 h 661"/>
                    <a:gd name="T92" fmla="*/ 373 w 453"/>
                    <a:gd name="T93" fmla="*/ 45 h 661"/>
                    <a:gd name="T94" fmla="*/ 367 w 453"/>
                    <a:gd name="T95" fmla="*/ 11 h 661"/>
                    <a:gd name="T96" fmla="*/ 347 w 453"/>
                    <a:gd name="T97" fmla="*/ 0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299" name="Freeform 449">
                  <a:extLst>
                    <a:ext uri="{FF2B5EF4-FFF2-40B4-BE49-F238E27FC236}">
                      <a16:creationId xmlns="" xmlns:a16="http://schemas.microsoft.com/office/drawing/2014/main" id="{5569E603-9837-47F5-AD8C-DE5822B23694}"/>
                    </a:ext>
                  </a:extLst>
                </p:cNvPr>
                <p:cNvSpPr>
                  <a:spLocks/>
                </p:cNvSpPr>
                <p:nvPr>
                  <p:custDataLst>
                    <p:tags r:id="rId287"/>
                  </p:custDataLst>
                </p:nvPr>
              </p:nvSpPr>
              <p:spPr bwMode="auto">
                <a:xfrm>
                  <a:off x="7866569" y="2524300"/>
                  <a:ext cx="39409" cy="40535"/>
                </a:xfrm>
                <a:custGeom>
                  <a:avLst/>
                  <a:gdLst>
                    <a:gd name="T0" fmla="*/ 0 w 126"/>
                    <a:gd name="T1" fmla="*/ 56 h 105"/>
                    <a:gd name="T2" fmla="*/ 4 w 126"/>
                    <a:gd name="T3" fmla="*/ 49 h 105"/>
                    <a:gd name="T4" fmla="*/ 10 w 126"/>
                    <a:gd name="T5" fmla="*/ 41 h 105"/>
                    <a:gd name="T6" fmla="*/ 16 w 126"/>
                    <a:gd name="T7" fmla="*/ 33 h 105"/>
                    <a:gd name="T8" fmla="*/ 24 w 126"/>
                    <a:gd name="T9" fmla="*/ 25 h 105"/>
                    <a:gd name="T10" fmla="*/ 37 w 126"/>
                    <a:gd name="T11" fmla="*/ 11 h 105"/>
                    <a:gd name="T12" fmla="*/ 47 w 126"/>
                    <a:gd name="T13" fmla="*/ 0 h 105"/>
                    <a:gd name="T14" fmla="*/ 113 w 126"/>
                    <a:gd name="T15" fmla="*/ 0 h 105"/>
                    <a:gd name="T16" fmla="*/ 114 w 126"/>
                    <a:gd name="T17" fmla="*/ 4 h 105"/>
                    <a:gd name="T18" fmla="*/ 115 w 126"/>
                    <a:gd name="T19" fmla="*/ 8 h 105"/>
                    <a:gd name="T20" fmla="*/ 117 w 126"/>
                    <a:gd name="T21" fmla="*/ 12 h 105"/>
                    <a:gd name="T22" fmla="*/ 119 w 126"/>
                    <a:gd name="T23" fmla="*/ 14 h 105"/>
                    <a:gd name="T24" fmla="*/ 124 w 126"/>
                    <a:gd name="T25" fmla="*/ 20 h 105"/>
                    <a:gd name="T26" fmla="*/ 126 w 126"/>
                    <a:gd name="T27" fmla="*/ 24 h 105"/>
                    <a:gd name="T28" fmla="*/ 126 w 126"/>
                    <a:gd name="T29" fmla="*/ 32 h 105"/>
                    <a:gd name="T30" fmla="*/ 125 w 126"/>
                    <a:gd name="T31" fmla="*/ 41 h 105"/>
                    <a:gd name="T32" fmla="*/ 124 w 126"/>
                    <a:gd name="T33" fmla="*/ 48 h 105"/>
                    <a:gd name="T34" fmla="*/ 122 w 126"/>
                    <a:gd name="T35" fmla="*/ 55 h 105"/>
                    <a:gd name="T36" fmla="*/ 119 w 126"/>
                    <a:gd name="T37" fmla="*/ 62 h 105"/>
                    <a:gd name="T38" fmla="*/ 116 w 126"/>
                    <a:gd name="T39" fmla="*/ 69 h 105"/>
                    <a:gd name="T40" fmla="*/ 112 w 126"/>
                    <a:gd name="T41" fmla="*/ 75 h 105"/>
                    <a:gd name="T42" fmla="*/ 108 w 126"/>
                    <a:gd name="T43" fmla="*/ 81 h 105"/>
                    <a:gd name="T44" fmla="*/ 104 w 126"/>
                    <a:gd name="T45" fmla="*/ 86 h 105"/>
                    <a:gd name="T46" fmla="*/ 99 w 126"/>
                    <a:gd name="T47" fmla="*/ 90 h 105"/>
                    <a:gd name="T48" fmla="*/ 93 w 126"/>
                    <a:gd name="T49" fmla="*/ 94 h 105"/>
                    <a:gd name="T50" fmla="*/ 88 w 126"/>
                    <a:gd name="T51" fmla="*/ 99 h 105"/>
                    <a:gd name="T52" fmla="*/ 81 w 126"/>
                    <a:gd name="T53" fmla="*/ 101 h 105"/>
                    <a:gd name="T54" fmla="*/ 74 w 126"/>
                    <a:gd name="T55" fmla="*/ 103 h 105"/>
                    <a:gd name="T56" fmla="*/ 67 w 126"/>
                    <a:gd name="T57" fmla="*/ 105 h 105"/>
                    <a:gd name="T58" fmla="*/ 60 w 126"/>
                    <a:gd name="T59" fmla="*/ 105 h 105"/>
                    <a:gd name="T60" fmla="*/ 48 w 126"/>
                    <a:gd name="T61" fmla="*/ 104 h 105"/>
                    <a:gd name="T62" fmla="*/ 38 w 126"/>
                    <a:gd name="T63" fmla="*/ 102 h 105"/>
                    <a:gd name="T64" fmla="*/ 31 w 126"/>
                    <a:gd name="T65" fmla="*/ 98 h 105"/>
                    <a:gd name="T66" fmla="*/ 24 w 126"/>
                    <a:gd name="T67" fmla="*/ 92 h 105"/>
                    <a:gd name="T68" fmla="*/ 20 w 126"/>
                    <a:gd name="T69" fmla="*/ 86 h 105"/>
                    <a:gd name="T70" fmla="*/ 16 w 126"/>
                    <a:gd name="T71" fmla="*/ 78 h 105"/>
                    <a:gd name="T72" fmla="*/ 14 w 126"/>
                    <a:gd name="T73" fmla="*/ 70 h 105"/>
                    <a:gd name="T74" fmla="*/ 13 w 126"/>
                    <a:gd name="T75" fmla="*/ 62 h 105"/>
                    <a:gd name="T76" fmla="*/ 0 w 126"/>
                    <a:gd name="T77" fmla="*/ 5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300" name="Freeform 450">
                  <a:extLst>
                    <a:ext uri="{FF2B5EF4-FFF2-40B4-BE49-F238E27FC236}">
                      <a16:creationId xmlns="" xmlns:a16="http://schemas.microsoft.com/office/drawing/2014/main" id="{F1FD7A1A-9B65-4BE7-AFF7-5517C7785B62}"/>
                    </a:ext>
                  </a:extLst>
                </p:cNvPr>
                <p:cNvSpPr>
                  <a:spLocks/>
                </p:cNvSpPr>
                <p:nvPr>
                  <p:custDataLst>
                    <p:tags r:id="rId288"/>
                  </p:custDataLst>
                </p:nvPr>
              </p:nvSpPr>
              <p:spPr bwMode="auto">
                <a:xfrm>
                  <a:off x="4571989" y="2711210"/>
                  <a:ext cx="211682" cy="371569"/>
                </a:xfrm>
                <a:custGeom>
                  <a:avLst/>
                  <a:gdLst>
                    <a:gd name="T0" fmla="*/ 671 w 684"/>
                    <a:gd name="T1" fmla="*/ 573 h 998"/>
                    <a:gd name="T2" fmla="*/ 680 w 684"/>
                    <a:gd name="T3" fmla="*/ 550 h 998"/>
                    <a:gd name="T4" fmla="*/ 671 w 684"/>
                    <a:gd name="T5" fmla="*/ 491 h 998"/>
                    <a:gd name="T6" fmla="*/ 659 w 684"/>
                    <a:gd name="T7" fmla="*/ 423 h 998"/>
                    <a:gd name="T8" fmla="*/ 678 w 684"/>
                    <a:gd name="T9" fmla="*/ 389 h 998"/>
                    <a:gd name="T10" fmla="*/ 557 w 684"/>
                    <a:gd name="T11" fmla="*/ 361 h 998"/>
                    <a:gd name="T12" fmla="*/ 533 w 684"/>
                    <a:gd name="T13" fmla="*/ 326 h 998"/>
                    <a:gd name="T14" fmla="*/ 462 w 684"/>
                    <a:gd name="T15" fmla="*/ 310 h 998"/>
                    <a:gd name="T16" fmla="*/ 402 w 684"/>
                    <a:gd name="T17" fmla="*/ 270 h 998"/>
                    <a:gd name="T18" fmla="*/ 375 w 684"/>
                    <a:gd name="T19" fmla="*/ 201 h 998"/>
                    <a:gd name="T20" fmla="*/ 375 w 684"/>
                    <a:gd name="T21" fmla="*/ 133 h 998"/>
                    <a:gd name="T22" fmla="*/ 395 w 684"/>
                    <a:gd name="T23" fmla="*/ 84 h 998"/>
                    <a:gd name="T24" fmla="*/ 435 w 684"/>
                    <a:gd name="T25" fmla="*/ 48 h 998"/>
                    <a:gd name="T26" fmla="*/ 463 w 684"/>
                    <a:gd name="T27" fmla="*/ 11 h 998"/>
                    <a:gd name="T28" fmla="*/ 389 w 684"/>
                    <a:gd name="T29" fmla="*/ 39 h 998"/>
                    <a:gd name="T30" fmla="*/ 335 w 684"/>
                    <a:gd name="T31" fmla="*/ 68 h 998"/>
                    <a:gd name="T32" fmla="*/ 304 w 684"/>
                    <a:gd name="T33" fmla="*/ 78 h 998"/>
                    <a:gd name="T34" fmla="*/ 278 w 684"/>
                    <a:gd name="T35" fmla="*/ 84 h 998"/>
                    <a:gd name="T36" fmla="*/ 241 w 684"/>
                    <a:gd name="T37" fmla="*/ 81 h 998"/>
                    <a:gd name="T38" fmla="*/ 217 w 684"/>
                    <a:gd name="T39" fmla="*/ 108 h 998"/>
                    <a:gd name="T40" fmla="*/ 196 w 684"/>
                    <a:gd name="T41" fmla="*/ 175 h 998"/>
                    <a:gd name="T42" fmla="*/ 157 w 684"/>
                    <a:gd name="T43" fmla="*/ 227 h 998"/>
                    <a:gd name="T44" fmla="*/ 107 w 684"/>
                    <a:gd name="T45" fmla="*/ 284 h 998"/>
                    <a:gd name="T46" fmla="*/ 90 w 684"/>
                    <a:gd name="T47" fmla="*/ 317 h 998"/>
                    <a:gd name="T48" fmla="*/ 86 w 684"/>
                    <a:gd name="T49" fmla="*/ 356 h 998"/>
                    <a:gd name="T50" fmla="*/ 97 w 684"/>
                    <a:gd name="T51" fmla="*/ 382 h 998"/>
                    <a:gd name="T52" fmla="*/ 97 w 684"/>
                    <a:gd name="T53" fmla="*/ 451 h 998"/>
                    <a:gd name="T54" fmla="*/ 95 w 684"/>
                    <a:gd name="T55" fmla="*/ 525 h 998"/>
                    <a:gd name="T56" fmla="*/ 72 w 684"/>
                    <a:gd name="T57" fmla="*/ 563 h 998"/>
                    <a:gd name="T58" fmla="*/ 37 w 684"/>
                    <a:gd name="T59" fmla="*/ 592 h 998"/>
                    <a:gd name="T60" fmla="*/ 11 w 684"/>
                    <a:gd name="T61" fmla="*/ 612 h 998"/>
                    <a:gd name="T62" fmla="*/ 30 w 684"/>
                    <a:gd name="T63" fmla="*/ 668 h 998"/>
                    <a:gd name="T64" fmla="*/ 123 w 684"/>
                    <a:gd name="T65" fmla="*/ 725 h 998"/>
                    <a:gd name="T66" fmla="*/ 175 w 684"/>
                    <a:gd name="T67" fmla="*/ 728 h 998"/>
                    <a:gd name="T68" fmla="*/ 234 w 684"/>
                    <a:gd name="T69" fmla="*/ 746 h 998"/>
                    <a:gd name="T70" fmla="*/ 299 w 684"/>
                    <a:gd name="T71" fmla="*/ 795 h 998"/>
                    <a:gd name="T72" fmla="*/ 337 w 684"/>
                    <a:gd name="T73" fmla="*/ 850 h 998"/>
                    <a:gd name="T74" fmla="*/ 367 w 684"/>
                    <a:gd name="T75" fmla="*/ 881 h 998"/>
                    <a:gd name="T76" fmla="*/ 412 w 684"/>
                    <a:gd name="T77" fmla="*/ 886 h 998"/>
                    <a:gd name="T78" fmla="*/ 462 w 684"/>
                    <a:gd name="T79" fmla="*/ 876 h 998"/>
                    <a:gd name="T80" fmla="*/ 492 w 684"/>
                    <a:gd name="T81" fmla="*/ 878 h 998"/>
                    <a:gd name="T82" fmla="*/ 515 w 684"/>
                    <a:gd name="T83" fmla="*/ 904 h 998"/>
                    <a:gd name="T84" fmla="*/ 513 w 684"/>
                    <a:gd name="T85" fmla="*/ 922 h 998"/>
                    <a:gd name="T86" fmla="*/ 488 w 684"/>
                    <a:gd name="T87" fmla="*/ 937 h 998"/>
                    <a:gd name="T88" fmla="*/ 488 w 684"/>
                    <a:gd name="T89" fmla="*/ 963 h 998"/>
                    <a:gd name="T90" fmla="*/ 511 w 684"/>
                    <a:gd name="T91" fmla="*/ 994 h 998"/>
                    <a:gd name="T92" fmla="*/ 542 w 684"/>
                    <a:gd name="T93" fmla="*/ 962 h 998"/>
                    <a:gd name="T94" fmla="*/ 566 w 684"/>
                    <a:gd name="T95" fmla="*/ 861 h 998"/>
                    <a:gd name="T96" fmla="*/ 571 w 684"/>
                    <a:gd name="T97" fmla="*/ 803 h 998"/>
                    <a:gd name="T98" fmla="*/ 555 w 684"/>
                    <a:gd name="T99" fmla="*/ 771 h 998"/>
                    <a:gd name="T100" fmla="*/ 523 w 684"/>
                    <a:gd name="T101" fmla="*/ 749 h 998"/>
                    <a:gd name="T102" fmla="*/ 521 w 684"/>
                    <a:gd name="T103" fmla="*/ 723 h 998"/>
                    <a:gd name="T104" fmla="*/ 566 w 684"/>
                    <a:gd name="T105" fmla="*/ 700 h 998"/>
                    <a:gd name="T106" fmla="*/ 556 w 684"/>
                    <a:gd name="T107" fmla="*/ 665 h 998"/>
                    <a:gd name="T108" fmla="*/ 556 w 684"/>
                    <a:gd name="T109" fmla="*/ 649 h 998"/>
                    <a:gd name="T110" fmla="*/ 655 w 684"/>
                    <a:gd name="T111" fmla="*/ 628 h 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chemeClr val="accent1"/>
                </a:solidFill>
                <a:ln w="3175" cap="flat" cmpd="sng">
                  <a:solidFill>
                    <a:srgbClr val="FFFFFF"/>
                  </a:solidFill>
                  <a:prstDash val="solid"/>
                  <a:round/>
                  <a:headEnd type="none" w="med" len="med"/>
                  <a:tailEnd type="none" w="med" len="med"/>
                </a:ln>
                <a:effectLst/>
              </p:spPr>
              <p:txBody>
                <a:bodyPr/>
                <a:lstStyle/>
                <a:p>
                  <a:pPr defTabSz="913137">
                    <a:defRPr/>
                  </a:pPr>
                  <a:endParaRPr lang="en-US" kern="0">
                    <a:solidFill>
                      <a:sysClr val="windowText" lastClr="000000"/>
                    </a:solidFill>
                    <a:cs typeface="Calibri" panose="020F0502020204030204" pitchFamily="34" charset="0"/>
                  </a:endParaRPr>
                </a:p>
              </p:txBody>
            </p:sp>
            <p:sp>
              <p:nvSpPr>
                <p:cNvPr id="301" name="Freeform 451">
                  <a:extLst>
                    <a:ext uri="{FF2B5EF4-FFF2-40B4-BE49-F238E27FC236}">
                      <a16:creationId xmlns="" xmlns:a16="http://schemas.microsoft.com/office/drawing/2014/main" id="{C75F8077-A0F2-4892-8982-17C2E227196F}"/>
                    </a:ext>
                  </a:extLst>
                </p:cNvPr>
                <p:cNvSpPr>
                  <a:spLocks/>
                </p:cNvSpPr>
                <p:nvPr>
                  <p:custDataLst>
                    <p:tags r:id="rId289"/>
                  </p:custDataLst>
                </p:nvPr>
              </p:nvSpPr>
              <p:spPr bwMode="auto">
                <a:xfrm>
                  <a:off x="6169736" y="2901499"/>
                  <a:ext cx="132864" cy="194793"/>
                </a:xfrm>
                <a:custGeom>
                  <a:avLst/>
                  <a:gdLst>
                    <a:gd name="T0" fmla="*/ 429 w 429"/>
                    <a:gd name="T1" fmla="*/ 22 h 524"/>
                    <a:gd name="T2" fmla="*/ 428 w 429"/>
                    <a:gd name="T3" fmla="*/ 43 h 524"/>
                    <a:gd name="T4" fmla="*/ 424 w 429"/>
                    <a:gd name="T5" fmla="*/ 54 h 524"/>
                    <a:gd name="T6" fmla="*/ 415 w 429"/>
                    <a:gd name="T7" fmla="*/ 67 h 524"/>
                    <a:gd name="T8" fmla="*/ 413 w 429"/>
                    <a:gd name="T9" fmla="*/ 81 h 524"/>
                    <a:gd name="T10" fmla="*/ 414 w 429"/>
                    <a:gd name="T11" fmla="*/ 160 h 524"/>
                    <a:gd name="T12" fmla="*/ 408 w 429"/>
                    <a:gd name="T13" fmla="*/ 207 h 524"/>
                    <a:gd name="T14" fmla="*/ 396 w 429"/>
                    <a:gd name="T15" fmla="*/ 241 h 524"/>
                    <a:gd name="T16" fmla="*/ 372 w 429"/>
                    <a:gd name="T17" fmla="*/ 278 h 524"/>
                    <a:gd name="T18" fmla="*/ 338 w 429"/>
                    <a:gd name="T19" fmla="*/ 309 h 524"/>
                    <a:gd name="T20" fmla="*/ 319 w 429"/>
                    <a:gd name="T21" fmla="*/ 333 h 524"/>
                    <a:gd name="T22" fmla="*/ 312 w 429"/>
                    <a:gd name="T23" fmla="*/ 412 h 524"/>
                    <a:gd name="T24" fmla="*/ 304 w 429"/>
                    <a:gd name="T25" fmla="*/ 439 h 524"/>
                    <a:gd name="T26" fmla="*/ 290 w 429"/>
                    <a:gd name="T27" fmla="*/ 448 h 524"/>
                    <a:gd name="T28" fmla="*/ 269 w 429"/>
                    <a:gd name="T29" fmla="*/ 455 h 524"/>
                    <a:gd name="T30" fmla="*/ 253 w 429"/>
                    <a:gd name="T31" fmla="*/ 472 h 524"/>
                    <a:gd name="T32" fmla="*/ 234 w 429"/>
                    <a:gd name="T33" fmla="*/ 500 h 524"/>
                    <a:gd name="T34" fmla="*/ 223 w 429"/>
                    <a:gd name="T35" fmla="*/ 505 h 524"/>
                    <a:gd name="T36" fmla="*/ 201 w 429"/>
                    <a:gd name="T37" fmla="*/ 504 h 524"/>
                    <a:gd name="T38" fmla="*/ 189 w 429"/>
                    <a:gd name="T39" fmla="*/ 498 h 524"/>
                    <a:gd name="T40" fmla="*/ 145 w 429"/>
                    <a:gd name="T41" fmla="*/ 500 h 524"/>
                    <a:gd name="T42" fmla="*/ 123 w 429"/>
                    <a:gd name="T43" fmla="*/ 500 h 524"/>
                    <a:gd name="T44" fmla="*/ 113 w 429"/>
                    <a:gd name="T45" fmla="*/ 494 h 524"/>
                    <a:gd name="T46" fmla="*/ 95 w 429"/>
                    <a:gd name="T47" fmla="*/ 493 h 524"/>
                    <a:gd name="T48" fmla="*/ 78 w 429"/>
                    <a:gd name="T49" fmla="*/ 502 h 524"/>
                    <a:gd name="T50" fmla="*/ 62 w 429"/>
                    <a:gd name="T51" fmla="*/ 519 h 524"/>
                    <a:gd name="T52" fmla="*/ 27 w 429"/>
                    <a:gd name="T53" fmla="*/ 491 h 524"/>
                    <a:gd name="T54" fmla="*/ 6 w 429"/>
                    <a:gd name="T55" fmla="*/ 447 h 524"/>
                    <a:gd name="T56" fmla="*/ 25 w 429"/>
                    <a:gd name="T57" fmla="*/ 430 h 524"/>
                    <a:gd name="T58" fmla="*/ 42 w 429"/>
                    <a:gd name="T59" fmla="*/ 424 h 524"/>
                    <a:gd name="T60" fmla="*/ 61 w 429"/>
                    <a:gd name="T61" fmla="*/ 428 h 524"/>
                    <a:gd name="T62" fmla="*/ 58 w 429"/>
                    <a:gd name="T63" fmla="*/ 418 h 524"/>
                    <a:gd name="T64" fmla="*/ 45 w 429"/>
                    <a:gd name="T65" fmla="*/ 386 h 524"/>
                    <a:gd name="T66" fmla="*/ 47 w 429"/>
                    <a:gd name="T67" fmla="*/ 366 h 524"/>
                    <a:gd name="T68" fmla="*/ 57 w 429"/>
                    <a:gd name="T69" fmla="*/ 356 h 524"/>
                    <a:gd name="T70" fmla="*/ 71 w 429"/>
                    <a:gd name="T71" fmla="*/ 352 h 524"/>
                    <a:gd name="T72" fmla="*/ 89 w 429"/>
                    <a:gd name="T73" fmla="*/ 337 h 524"/>
                    <a:gd name="T74" fmla="*/ 104 w 429"/>
                    <a:gd name="T75" fmla="*/ 333 h 524"/>
                    <a:gd name="T76" fmla="*/ 115 w 429"/>
                    <a:gd name="T77" fmla="*/ 342 h 524"/>
                    <a:gd name="T78" fmla="*/ 135 w 429"/>
                    <a:gd name="T79" fmla="*/ 359 h 524"/>
                    <a:gd name="T80" fmla="*/ 154 w 429"/>
                    <a:gd name="T81" fmla="*/ 351 h 524"/>
                    <a:gd name="T82" fmla="*/ 181 w 429"/>
                    <a:gd name="T83" fmla="*/ 353 h 524"/>
                    <a:gd name="T84" fmla="*/ 199 w 429"/>
                    <a:gd name="T85" fmla="*/ 340 h 524"/>
                    <a:gd name="T86" fmla="*/ 210 w 429"/>
                    <a:gd name="T87" fmla="*/ 315 h 524"/>
                    <a:gd name="T88" fmla="*/ 213 w 429"/>
                    <a:gd name="T89" fmla="*/ 290 h 524"/>
                    <a:gd name="T90" fmla="*/ 215 w 429"/>
                    <a:gd name="T91" fmla="*/ 269 h 524"/>
                    <a:gd name="T92" fmla="*/ 201 w 429"/>
                    <a:gd name="T93" fmla="*/ 236 h 524"/>
                    <a:gd name="T94" fmla="*/ 188 w 429"/>
                    <a:gd name="T95" fmla="*/ 203 h 524"/>
                    <a:gd name="T96" fmla="*/ 207 w 429"/>
                    <a:gd name="T97" fmla="*/ 177 h 524"/>
                    <a:gd name="T98" fmla="*/ 210 w 429"/>
                    <a:gd name="T99" fmla="*/ 164 h 524"/>
                    <a:gd name="T100" fmla="*/ 200 w 429"/>
                    <a:gd name="T101" fmla="*/ 155 h 524"/>
                    <a:gd name="T102" fmla="*/ 197 w 429"/>
                    <a:gd name="T103" fmla="*/ 137 h 524"/>
                    <a:gd name="T104" fmla="*/ 188 w 429"/>
                    <a:gd name="T105" fmla="*/ 129 h 524"/>
                    <a:gd name="T106" fmla="*/ 161 w 429"/>
                    <a:gd name="T107" fmla="*/ 132 h 524"/>
                    <a:gd name="T108" fmla="*/ 137 w 429"/>
                    <a:gd name="T109" fmla="*/ 131 h 524"/>
                    <a:gd name="T110" fmla="*/ 125 w 429"/>
                    <a:gd name="T111" fmla="*/ 119 h 524"/>
                    <a:gd name="T112" fmla="*/ 123 w 429"/>
                    <a:gd name="T113" fmla="*/ 103 h 524"/>
                    <a:gd name="T114" fmla="*/ 132 w 429"/>
                    <a:gd name="T115" fmla="*/ 76 h 524"/>
                    <a:gd name="T116" fmla="*/ 306 w 429"/>
                    <a:gd name="T117" fmla="*/ 38 h 524"/>
                    <a:gd name="T118" fmla="*/ 323 w 429"/>
                    <a:gd name="T119" fmla="*/ 17 h 524"/>
                    <a:gd name="T120" fmla="*/ 343 w 429"/>
                    <a:gd name="T121" fmla="*/ 7 h 524"/>
                    <a:gd name="T122" fmla="*/ 374 w 429"/>
                    <a:gd name="T123" fmla="*/ 5 h 524"/>
                    <a:gd name="T124" fmla="*/ 408 w 429"/>
                    <a:gd name="T125" fmla="*/ 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302" name="Freeform 452">
                  <a:extLst>
                    <a:ext uri="{FF2B5EF4-FFF2-40B4-BE49-F238E27FC236}">
                      <a16:creationId xmlns="" xmlns:a16="http://schemas.microsoft.com/office/drawing/2014/main" id="{98379A98-70D2-42E5-A11F-C836ADE21F14}"/>
                    </a:ext>
                  </a:extLst>
                </p:cNvPr>
                <p:cNvSpPr>
                  <a:spLocks/>
                </p:cNvSpPr>
                <p:nvPr>
                  <p:custDataLst>
                    <p:tags r:id="rId290"/>
                  </p:custDataLst>
                </p:nvPr>
              </p:nvSpPr>
              <p:spPr bwMode="auto">
                <a:xfrm>
                  <a:off x="6192256" y="1938797"/>
                  <a:ext cx="90077" cy="81070"/>
                </a:xfrm>
                <a:custGeom>
                  <a:avLst/>
                  <a:gdLst>
                    <a:gd name="T0" fmla="*/ 259 w 292"/>
                    <a:gd name="T1" fmla="*/ 93 h 223"/>
                    <a:gd name="T2" fmla="*/ 166 w 292"/>
                    <a:gd name="T3" fmla="*/ 77 h 223"/>
                    <a:gd name="T4" fmla="*/ 152 w 292"/>
                    <a:gd name="T5" fmla="*/ 79 h 223"/>
                    <a:gd name="T6" fmla="*/ 139 w 292"/>
                    <a:gd name="T7" fmla="*/ 79 h 223"/>
                    <a:gd name="T8" fmla="*/ 126 w 292"/>
                    <a:gd name="T9" fmla="*/ 77 h 223"/>
                    <a:gd name="T10" fmla="*/ 119 w 292"/>
                    <a:gd name="T11" fmla="*/ 93 h 223"/>
                    <a:gd name="T12" fmla="*/ 144 w 292"/>
                    <a:gd name="T13" fmla="*/ 131 h 223"/>
                    <a:gd name="T14" fmla="*/ 168 w 292"/>
                    <a:gd name="T15" fmla="*/ 157 h 223"/>
                    <a:gd name="T16" fmla="*/ 189 w 292"/>
                    <a:gd name="T17" fmla="*/ 185 h 223"/>
                    <a:gd name="T18" fmla="*/ 197 w 292"/>
                    <a:gd name="T19" fmla="*/ 202 h 223"/>
                    <a:gd name="T20" fmla="*/ 205 w 292"/>
                    <a:gd name="T21" fmla="*/ 222 h 223"/>
                    <a:gd name="T22" fmla="*/ 175 w 292"/>
                    <a:gd name="T23" fmla="*/ 223 h 223"/>
                    <a:gd name="T24" fmla="*/ 161 w 292"/>
                    <a:gd name="T25" fmla="*/ 222 h 223"/>
                    <a:gd name="T26" fmla="*/ 146 w 292"/>
                    <a:gd name="T27" fmla="*/ 216 h 223"/>
                    <a:gd name="T28" fmla="*/ 134 w 292"/>
                    <a:gd name="T29" fmla="*/ 209 h 223"/>
                    <a:gd name="T30" fmla="*/ 127 w 292"/>
                    <a:gd name="T31" fmla="*/ 198 h 223"/>
                    <a:gd name="T32" fmla="*/ 121 w 292"/>
                    <a:gd name="T33" fmla="*/ 187 h 223"/>
                    <a:gd name="T34" fmla="*/ 113 w 292"/>
                    <a:gd name="T35" fmla="*/ 180 h 223"/>
                    <a:gd name="T36" fmla="*/ 91 w 292"/>
                    <a:gd name="T37" fmla="*/ 145 h 223"/>
                    <a:gd name="T38" fmla="*/ 68 w 292"/>
                    <a:gd name="T39" fmla="*/ 113 h 223"/>
                    <a:gd name="T40" fmla="*/ 55 w 292"/>
                    <a:gd name="T41" fmla="*/ 99 h 223"/>
                    <a:gd name="T42" fmla="*/ 42 w 292"/>
                    <a:gd name="T43" fmla="*/ 87 h 223"/>
                    <a:gd name="T44" fmla="*/ 27 w 292"/>
                    <a:gd name="T45" fmla="*/ 79 h 223"/>
                    <a:gd name="T46" fmla="*/ 13 w 292"/>
                    <a:gd name="T47" fmla="*/ 75 h 223"/>
                    <a:gd name="T48" fmla="*/ 4 w 292"/>
                    <a:gd name="T49" fmla="*/ 65 h 223"/>
                    <a:gd name="T50" fmla="*/ 1 w 292"/>
                    <a:gd name="T51" fmla="*/ 58 h 223"/>
                    <a:gd name="T52" fmla="*/ 0 w 292"/>
                    <a:gd name="T53" fmla="*/ 49 h 223"/>
                    <a:gd name="T54" fmla="*/ 40 w 292"/>
                    <a:gd name="T55" fmla="*/ 55 h 223"/>
                    <a:gd name="T56" fmla="*/ 70 w 292"/>
                    <a:gd name="T57" fmla="*/ 55 h 223"/>
                    <a:gd name="T58" fmla="*/ 91 w 292"/>
                    <a:gd name="T59" fmla="*/ 50 h 223"/>
                    <a:gd name="T60" fmla="*/ 106 w 292"/>
                    <a:gd name="T61" fmla="*/ 41 h 223"/>
                    <a:gd name="T62" fmla="*/ 127 w 292"/>
                    <a:gd name="T63" fmla="*/ 20 h 223"/>
                    <a:gd name="T64" fmla="*/ 138 w 292"/>
                    <a:gd name="T65" fmla="*/ 9 h 223"/>
                    <a:gd name="T66" fmla="*/ 152 w 292"/>
                    <a:gd name="T67" fmla="*/ 0 h 223"/>
                    <a:gd name="T68" fmla="*/ 172 w 292"/>
                    <a:gd name="T69" fmla="*/ 14 h 223"/>
                    <a:gd name="T70" fmla="*/ 194 w 292"/>
                    <a:gd name="T71" fmla="*/ 26 h 223"/>
                    <a:gd name="T72" fmla="*/ 218 w 292"/>
                    <a:gd name="T73" fmla="*/ 34 h 223"/>
                    <a:gd name="T74" fmla="*/ 246 w 292"/>
                    <a:gd name="T75" fmla="*/ 37 h 223"/>
                    <a:gd name="T76" fmla="*/ 262 w 292"/>
                    <a:gd name="T77" fmla="*/ 34 h 223"/>
                    <a:gd name="T78" fmla="*/ 279 w 292"/>
                    <a:gd name="T79" fmla="*/ 31 h 223"/>
                    <a:gd name="T80" fmla="*/ 285 w 292"/>
                    <a:gd name="T81" fmla="*/ 47 h 223"/>
                    <a:gd name="T82" fmla="*/ 287 w 292"/>
                    <a:gd name="T83" fmla="*/ 49 h 223"/>
                    <a:gd name="T84" fmla="*/ 292 w 292"/>
                    <a:gd name="T85" fmla="*/ 69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7" y="49"/>
                      </a:lnTo>
                      <a:lnTo>
                        <a:pt x="289" y="52"/>
                      </a:lnTo>
                      <a:lnTo>
                        <a:pt x="292" y="69"/>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03" name="Freeform 453">
                  <a:extLst>
                    <a:ext uri="{FF2B5EF4-FFF2-40B4-BE49-F238E27FC236}">
                      <a16:creationId xmlns="" xmlns:a16="http://schemas.microsoft.com/office/drawing/2014/main" id="{AC7AA05D-9233-43AE-9F43-31A8AE8A94AA}"/>
                    </a:ext>
                  </a:extLst>
                </p:cNvPr>
                <p:cNvSpPr>
                  <a:spLocks/>
                </p:cNvSpPr>
                <p:nvPr>
                  <p:custDataLst>
                    <p:tags r:id="rId291"/>
                  </p:custDataLst>
                </p:nvPr>
              </p:nvSpPr>
              <p:spPr bwMode="auto">
                <a:xfrm>
                  <a:off x="6157350" y="1838585"/>
                  <a:ext cx="119352" cy="55173"/>
                </a:xfrm>
                <a:custGeom>
                  <a:avLst/>
                  <a:gdLst>
                    <a:gd name="T0" fmla="*/ 375 w 379"/>
                    <a:gd name="T1" fmla="*/ 94 h 147"/>
                    <a:gd name="T2" fmla="*/ 360 w 379"/>
                    <a:gd name="T3" fmla="*/ 101 h 147"/>
                    <a:gd name="T4" fmla="*/ 354 w 379"/>
                    <a:gd name="T5" fmla="*/ 108 h 147"/>
                    <a:gd name="T6" fmla="*/ 347 w 379"/>
                    <a:gd name="T7" fmla="*/ 117 h 147"/>
                    <a:gd name="T8" fmla="*/ 333 w 379"/>
                    <a:gd name="T9" fmla="*/ 127 h 147"/>
                    <a:gd name="T10" fmla="*/ 320 w 379"/>
                    <a:gd name="T11" fmla="*/ 131 h 147"/>
                    <a:gd name="T12" fmla="*/ 311 w 379"/>
                    <a:gd name="T13" fmla="*/ 132 h 147"/>
                    <a:gd name="T14" fmla="*/ 301 w 379"/>
                    <a:gd name="T15" fmla="*/ 130 h 147"/>
                    <a:gd name="T16" fmla="*/ 291 w 379"/>
                    <a:gd name="T17" fmla="*/ 126 h 147"/>
                    <a:gd name="T18" fmla="*/ 281 w 379"/>
                    <a:gd name="T19" fmla="*/ 119 h 147"/>
                    <a:gd name="T20" fmla="*/ 275 w 379"/>
                    <a:gd name="T21" fmla="*/ 116 h 147"/>
                    <a:gd name="T22" fmla="*/ 269 w 379"/>
                    <a:gd name="T23" fmla="*/ 118 h 147"/>
                    <a:gd name="T24" fmla="*/ 267 w 379"/>
                    <a:gd name="T25" fmla="*/ 123 h 147"/>
                    <a:gd name="T26" fmla="*/ 266 w 379"/>
                    <a:gd name="T27" fmla="*/ 140 h 147"/>
                    <a:gd name="T28" fmla="*/ 257 w 379"/>
                    <a:gd name="T29" fmla="*/ 145 h 147"/>
                    <a:gd name="T30" fmla="*/ 244 w 379"/>
                    <a:gd name="T31" fmla="*/ 140 h 147"/>
                    <a:gd name="T32" fmla="*/ 229 w 379"/>
                    <a:gd name="T33" fmla="*/ 131 h 147"/>
                    <a:gd name="T34" fmla="*/ 113 w 379"/>
                    <a:gd name="T35" fmla="*/ 141 h 147"/>
                    <a:gd name="T36" fmla="*/ 80 w 379"/>
                    <a:gd name="T37" fmla="*/ 124 h 147"/>
                    <a:gd name="T38" fmla="*/ 58 w 379"/>
                    <a:gd name="T39" fmla="*/ 109 h 147"/>
                    <a:gd name="T40" fmla="*/ 45 w 379"/>
                    <a:gd name="T41" fmla="*/ 94 h 147"/>
                    <a:gd name="T42" fmla="*/ 37 w 379"/>
                    <a:gd name="T43" fmla="*/ 82 h 147"/>
                    <a:gd name="T44" fmla="*/ 26 w 379"/>
                    <a:gd name="T45" fmla="*/ 59 h 147"/>
                    <a:gd name="T46" fmla="*/ 16 w 379"/>
                    <a:gd name="T47" fmla="*/ 48 h 147"/>
                    <a:gd name="T48" fmla="*/ 0 w 379"/>
                    <a:gd name="T49" fmla="*/ 36 h 147"/>
                    <a:gd name="T50" fmla="*/ 29 w 379"/>
                    <a:gd name="T51" fmla="*/ 40 h 147"/>
                    <a:gd name="T52" fmla="*/ 52 w 379"/>
                    <a:gd name="T53" fmla="*/ 38 h 147"/>
                    <a:gd name="T54" fmla="*/ 72 w 379"/>
                    <a:gd name="T55" fmla="*/ 33 h 147"/>
                    <a:gd name="T56" fmla="*/ 87 w 379"/>
                    <a:gd name="T57" fmla="*/ 25 h 147"/>
                    <a:gd name="T58" fmla="*/ 119 w 379"/>
                    <a:gd name="T59" fmla="*/ 8 h 147"/>
                    <a:gd name="T60" fmla="*/ 138 w 379"/>
                    <a:gd name="T61" fmla="*/ 2 h 147"/>
                    <a:gd name="T62" fmla="*/ 159 w 379"/>
                    <a:gd name="T63" fmla="*/ 0 h 147"/>
                    <a:gd name="T64" fmla="*/ 200 w 379"/>
                    <a:gd name="T65" fmla="*/ 23 h 147"/>
                    <a:gd name="T66" fmla="*/ 244 w 379"/>
                    <a:gd name="T67" fmla="*/ 45 h 147"/>
                    <a:gd name="T68" fmla="*/ 292 w 379"/>
                    <a:gd name="T69" fmla="*/ 67 h 147"/>
                    <a:gd name="T70" fmla="*/ 333 w 379"/>
                    <a:gd name="T71" fmla="*/ 80 h 147"/>
                    <a:gd name="T72" fmla="*/ 354 w 379"/>
                    <a:gd name="T73" fmla="*/ 86 h 147"/>
                    <a:gd name="T74" fmla="*/ 379 w 379"/>
                    <a:gd name="T75" fmla="*/ 9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04" name="Freeform 454">
                  <a:extLst>
                    <a:ext uri="{FF2B5EF4-FFF2-40B4-BE49-F238E27FC236}">
                      <a16:creationId xmlns="" xmlns:a16="http://schemas.microsoft.com/office/drawing/2014/main" id="{6EB69E82-7F4F-4BD9-B3C5-CD9E4A1769D3}"/>
                    </a:ext>
                  </a:extLst>
                </p:cNvPr>
                <p:cNvSpPr>
                  <a:spLocks/>
                </p:cNvSpPr>
                <p:nvPr>
                  <p:custDataLst>
                    <p:tags r:id="rId292"/>
                  </p:custDataLst>
                </p:nvPr>
              </p:nvSpPr>
              <p:spPr bwMode="auto">
                <a:xfrm>
                  <a:off x="6131453" y="1736123"/>
                  <a:ext cx="21393" cy="42787"/>
                </a:xfrm>
                <a:custGeom>
                  <a:avLst/>
                  <a:gdLst>
                    <a:gd name="T0" fmla="*/ 0 w 61"/>
                    <a:gd name="T1" fmla="*/ 0 h 67"/>
                    <a:gd name="T2" fmla="*/ 0 w 61"/>
                    <a:gd name="T3" fmla="*/ 9 h 67"/>
                    <a:gd name="T4" fmla="*/ 0 w 61"/>
                    <a:gd name="T5" fmla="*/ 18 h 67"/>
                    <a:gd name="T6" fmla="*/ 1 w 61"/>
                    <a:gd name="T7" fmla="*/ 24 h 67"/>
                    <a:gd name="T8" fmla="*/ 2 w 61"/>
                    <a:gd name="T9" fmla="*/ 30 h 67"/>
                    <a:gd name="T10" fmla="*/ 3 w 61"/>
                    <a:gd name="T11" fmla="*/ 36 h 67"/>
                    <a:gd name="T12" fmla="*/ 6 w 61"/>
                    <a:gd name="T13" fmla="*/ 42 h 67"/>
                    <a:gd name="T14" fmla="*/ 12 w 61"/>
                    <a:gd name="T15" fmla="*/ 55 h 67"/>
                    <a:gd name="T16" fmla="*/ 21 w 61"/>
                    <a:gd name="T17" fmla="*/ 67 h 67"/>
                    <a:gd name="T18" fmla="*/ 28 w 61"/>
                    <a:gd name="T19" fmla="*/ 65 h 67"/>
                    <a:gd name="T20" fmla="*/ 35 w 61"/>
                    <a:gd name="T21" fmla="*/ 61 h 67"/>
                    <a:gd name="T22" fmla="*/ 42 w 61"/>
                    <a:gd name="T23" fmla="*/ 58 h 67"/>
                    <a:gd name="T24" fmla="*/ 48 w 61"/>
                    <a:gd name="T25" fmla="*/ 53 h 67"/>
                    <a:gd name="T26" fmla="*/ 53 w 61"/>
                    <a:gd name="T27" fmla="*/ 47 h 67"/>
                    <a:gd name="T28" fmla="*/ 57 w 61"/>
                    <a:gd name="T29" fmla="*/ 40 h 67"/>
                    <a:gd name="T30" fmla="*/ 59 w 61"/>
                    <a:gd name="T31" fmla="*/ 32 h 67"/>
                    <a:gd name="T32" fmla="*/ 61 w 61"/>
                    <a:gd name="T33" fmla="*/ 24 h 67"/>
                    <a:gd name="T34" fmla="*/ 53 w 61"/>
                    <a:gd name="T35" fmla="*/ 14 h 67"/>
                    <a:gd name="T36" fmla="*/ 41 w 61"/>
                    <a:gd name="T37" fmla="*/ 0 h 67"/>
                    <a:gd name="T38" fmla="*/ 28 w 61"/>
                    <a:gd name="T39" fmla="*/ 3 h 67"/>
                    <a:gd name="T40" fmla="*/ 18 w 61"/>
                    <a:gd name="T41" fmla="*/ 4 h 67"/>
                    <a:gd name="T42" fmla="*/ 13 w 61"/>
                    <a:gd name="T43" fmla="*/ 4 h 67"/>
                    <a:gd name="T44" fmla="*/ 10 w 61"/>
                    <a:gd name="T45" fmla="*/ 3 h 67"/>
                    <a:gd name="T46" fmla="*/ 6 w 61"/>
                    <a:gd name="T47" fmla="*/ 2 h 67"/>
                    <a:gd name="T48" fmla="*/ 0 w 61"/>
                    <a:gd name="T49"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05" name="Freeform 455">
                  <a:extLst>
                    <a:ext uri="{FF2B5EF4-FFF2-40B4-BE49-F238E27FC236}">
                      <a16:creationId xmlns="" xmlns:a16="http://schemas.microsoft.com/office/drawing/2014/main" id="{037F9D34-6E7C-4A91-9AA0-AC15E826121E}"/>
                    </a:ext>
                  </a:extLst>
                </p:cNvPr>
                <p:cNvSpPr>
                  <a:spLocks/>
                </p:cNvSpPr>
                <p:nvPr>
                  <p:custDataLst>
                    <p:tags r:id="rId293"/>
                  </p:custDataLst>
                </p:nvPr>
              </p:nvSpPr>
              <p:spPr bwMode="auto">
                <a:xfrm>
                  <a:off x="6111186" y="1739500"/>
                  <a:ext cx="18015" cy="41661"/>
                </a:xfrm>
                <a:custGeom>
                  <a:avLst/>
                  <a:gdLst>
                    <a:gd name="T0" fmla="*/ 0 w 60"/>
                    <a:gd name="T1" fmla="*/ 6 h 55"/>
                    <a:gd name="T2" fmla="*/ 0 w 60"/>
                    <a:gd name="T3" fmla="*/ 24 h 55"/>
                    <a:gd name="T4" fmla="*/ 5 w 60"/>
                    <a:gd name="T5" fmla="*/ 32 h 55"/>
                    <a:gd name="T6" fmla="*/ 10 w 60"/>
                    <a:gd name="T7" fmla="*/ 40 h 55"/>
                    <a:gd name="T8" fmla="*/ 16 w 60"/>
                    <a:gd name="T9" fmla="*/ 45 h 55"/>
                    <a:gd name="T10" fmla="*/ 21 w 60"/>
                    <a:gd name="T11" fmla="*/ 49 h 55"/>
                    <a:gd name="T12" fmla="*/ 27 w 60"/>
                    <a:gd name="T13" fmla="*/ 52 h 55"/>
                    <a:gd name="T14" fmla="*/ 33 w 60"/>
                    <a:gd name="T15" fmla="*/ 54 h 55"/>
                    <a:gd name="T16" fmla="*/ 40 w 60"/>
                    <a:gd name="T17" fmla="*/ 55 h 55"/>
                    <a:gd name="T18" fmla="*/ 46 w 60"/>
                    <a:gd name="T19" fmla="*/ 55 h 55"/>
                    <a:gd name="T20" fmla="*/ 53 w 60"/>
                    <a:gd name="T21" fmla="*/ 52 h 55"/>
                    <a:gd name="T22" fmla="*/ 60 w 60"/>
                    <a:gd name="T23" fmla="*/ 49 h 55"/>
                    <a:gd name="T24" fmla="*/ 50 w 60"/>
                    <a:gd name="T25" fmla="*/ 34 h 55"/>
                    <a:gd name="T26" fmla="*/ 42 w 60"/>
                    <a:gd name="T27" fmla="*/ 22 h 55"/>
                    <a:gd name="T28" fmla="*/ 39 w 60"/>
                    <a:gd name="T29" fmla="*/ 17 h 55"/>
                    <a:gd name="T30" fmla="*/ 35 w 60"/>
                    <a:gd name="T31" fmla="*/ 12 h 55"/>
                    <a:gd name="T32" fmla="*/ 34 w 60"/>
                    <a:gd name="T33" fmla="*/ 6 h 55"/>
                    <a:gd name="T34" fmla="*/ 33 w 60"/>
                    <a:gd name="T35" fmla="*/ 0 h 55"/>
                    <a:gd name="T36" fmla="*/ 23 w 60"/>
                    <a:gd name="T37" fmla="*/ 1 h 55"/>
                    <a:gd name="T38" fmla="*/ 15 w 60"/>
                    <a:gd name="T39" fmla="*/ 3 h 55"/>
                    <a:gd name="T40" fmla="*/ 7 w 60"/>
                    <a:gd name="T41" fmla="*/ 5 h 55"/>
                    <a:gd name="T42" fmla="*/ 0 w 60"/>
                    <a:gd name="T43" fmla="*/ 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306" name="Freeform 456">
                  <a:extLst>
                    <a:ext uri="{FF2B5EF4-FFF2-40B4-BE49-F238E27FC236}">
                      <a16:creationId xmlns="" xmlns:a16="http://schemas.microsoft.com/office/drawing/2014/main" id="{2857341C-A529-43CB-B5CD-4BF13B59FC39}"/>
                    </a:ext>
                  </a:extLst>
                </p:cNvPr>
                <p:cNvSpPr>
                  <a:spLocks/>
                </p:cNvSpPr>
                <p:nvPr>
                  <p:custDataLst>
                    <p:tags r:id="rId294"/>
                  </p:custDataLst>
                </p:nvPr>
              </p:nvSpPr>
              <p:spPr bwMode="auto">
                <a:xfrm>
                  <a:off x="6089792" y="1701217"/>
                  <a:ext cx="37157" cy="55173"/>
                </a:xfrm>
                <a:custGeom>
                  <a:avLst/>
                  <a:gdLst>
                    <a:gd name="T0" fmla="*/ 74 w 120"/>
                    <a:gd name="T1" fmla="*/ 129 h 148"/>
                    <a:gd name="T2" fmla="*/ 70 w 120"/>
                    <a:gd name="T3" fmla="*/ 131 h 148"/>
                    <a:gd name="T4" fmla="*/ 67 w 120"/>
                    <a:gd name="T5" fmla="*/ 132 h 148"/>
                    <a:gd name="T6" fmla="*/ 64 w 120"/>
                    <a:gd name="T7" fmla="*/ 133 h 148"/>
                    <a:gd name="T8" fmla="*/ 60 w 120"/>
                    <a:gd name="T9" fmla="*/ 133 h 148"/>
                    <a:gd name="T10" fmla="*/ 56 w 120"/>
                    <a:gd name="T11" fmla="*/ 133 h 148"/>
                    <a:gd name="T12" fmla="*/ 53 w 120"/>
                    <a:gd name="T13" fmla="*/ 132 h 148"/>
                    <a:gd name="T14" fmla="*/ 50 w 120"/>
                    <a:gd name="T15" fmla="*/ 131 h 148"/>
                    <a:gd name="T16" fmla="*/ 47 w 120"/>
                    <a:gd name="T17" fmla="*/ 129 h 148"/>
                    <a:gd name="T18" fmla="*/ 41 w 120"/>
                    <a:gd name="T19" fmla="*/ 128 h 148"/>
                    <a:gd name="T20" fmla="*/ 34 w 120"/>
                    <a:gd name="T21" fmla="*/ 125 h 148"/>
                    <a:gd name="T22" fmla="*/ 26 w 120"/>
                    <a:gd name="T23" fmla="*/ 120 h 148"/>
                    <a:gd name="T24" fmla="*/ 19 w 120"/>
                    <a:gd name="T25" fmla="*/ 115 h 148"/>
                    <a:gd name="T26" fmla="*/ 11 w 120"/>
                    <a:gd name="T27" fmla="*/ 108 h 148"/>
                    <a:gd name="T28" fmla="*/ 6 w 120"/>
                    <a:gd name="T29" fmla="*/ 101 h 148"/>
                    <a:gd name="T30" fmla="*/ 3 w 120"/>
                    <a:gd name="T31" fmla="*/ 97 h 148"/>
                    <a:gd name="T32" fmla="*/ 2 w 120"/>
                    <a:gd name="T33" fmla="*/ 94 h 148"/>
                    <a:gd name="T34" fmla="*/ 1 w 120"/>
                    <a:gd name="T35" fmla="*/ 90 h 148"/>
                    <a:gd name="T36" fmla="*/ 0 w 120"/>
                    <a:gd name="T37" fmla="*/ 87 h 148"/>
                    <a:gd name="T38" fmla="*/ 2 w 120"/>
                    <a:gd name="T39" fmla="*/ 73 h 148"/>
                    <a:gd name="T40" fmla="*/ 8 w 120"/>
                    <a:gd name="T41" fmla="*/ 55 h 148"/>
                    <a:gd name="T42" fmla="*/ 14 w 120"/>
                    <a:gd name="T43" fmla="*/ 35 h 148"/>
                    <a:gd name="T44" fmla="*/ 20 w 120"/>
                    <a:gd name="T45" fmla="*/ 18 h 148"/>
                    <a:gd name="T46" fmla="*/ 32 w 120"/>
                    <a:gd name="T47" fmla="*/ 17 h 148"/>
                    <a:gd name="T48" fmla="*/ 42 w 120"/>
                    <a:gd name="T49" fmla="*/ 16 h 148"/>
                    <a:gd name="T50" fmla="*/ 51 w 120"/>
                    <a:gd name="T51" fmla="*/ 14 h 148"/>
                    <a:gd name="T52" fmla="*/ 58 w 120"/>
                    <a:gd name="T53" fmla="*/ 11 h 148"/>
                    <a:gd name="T54" fmla="*/ 70 w 120"/>
                    <a:gd name="T55" fmla="*/ 5 h 148"/>
                    <a:gd name="T56" fmla="*/ 80 w 120"/>
                    <a:gd name="T57" fmla="*/ 0 h 148"/>
                    <a:gd name="T58" fmla="*/ 85 w 120"/>
                    <a:gd name="T59" fmla="*/ 2 h 148"/>
                    <a:gd name="T60" fmla="*/ 93 w 120"/>
                    <a:gd name="T61" fmla="*/ 7 h 148"/>
                    <a:gd name="T62" fmla="*/ 98 w 120"/>
                    <a:gd name="T63" fmla="*/ 10 h 148"/>
                    <a:gd name="T64" fmla="*/ 102 w 120"/>
                    <a:gd name="T65" fmla="*/ 13 h 148"/>
                    <a:gd name="T66" fmla="*/ 106 w 120"/>
                    <a:gd name="T67" fmla="*/ 16 h 148"/>
                    <a:gd name="T68" fmla="*/ 107 w 120"/>
                    <a:gd name="T69" fmla="*/ 18 h 148"/>
                    <a:gd name="T70" fmla="*/ 100 w 120"/>
                    <a:gd name="T71" fmla="*/ 28 h 148"/>
                    <a:gd name="T72" fmla="*/ 93 w 120"/>
                    <a:gd name="T73" fmla="*/ 37 h 148"/>
                    <a:gd name="T74" fmla="*/ 95 w 120"/>
                    <a:gd name="T75" fmla="*/ 42 h 148"/>
                    <a:gd name="T76" fmla="*/ 98 w 120"/>
                    <a:gd name="T77" fmla="*/ 49 h 148"/>
                    <a:gd name="T78" fmla="*/ 102 w 120"/>
                    <a:gd name="T79" fmla="*/ 56 h 148"/>
                    <a:gd name="T80" fmla="*/ 107 w 120"/>
                    <a:gd name="T81" fmla="*/ 63 h 148"/>
                    <a:gd name="T82" fmla="*/ 115 w 120"/>
                    <a:gd name="T83" fmla="*/ 75 h 148"/>
                    <a:gd name="T84" fmla="*/ 120 w 120"/>
                    <a:gd name="T85" fmla="*/ 79 h 148"/>
                    <a:gd name="T86" fmla="*/ 113 w 120"/>
                    <a:gd name="T87" fmla="*/ 81 h 148"/>
                    <a:gd name="T88" fmla="*/ 107 w 120"/>
                    <a:gd name="T89" fmla="*/ 84 h 148"/>
                    <a:gd name="T90" fmla="*/ 100 w 120"/>
                    <a:gd name="T91" fmla="*/ 87 h 148"/>
                    <a:gd name="T92" fmla="*/ 96 w 120"/>
                    <a:gd name="T93" fmla="*/ 91 h 148"/>
                    <a:gd name="T94" fmla="*/ 90 w 120"/>
                    <a:gd name="T95" fmla="*/ 95 h 148"/>
                    <a:gd name="T96" fmla="*/ 87 w 120"/>
                    <a:gd name="T97" fmla="*/ 99 h 148"/>
                    <a:gd name="T98" fmla="*/ 82 w 120"/>
                    <a:gd name="T99" fmla="*/ 104 h 148"/>
                    <a:gd name="T100" fmla="*/ 80 w 120"/>
                    <a:gd name="T101" fmla="*/ 109 h 148"/>
                    <a:gd name="T102" fmla="*/ 78 w 120"/>
                    <a:gd name="T103" fmla="*/ 114 h 148"/>
                    <a:gd name="T104" fmla="*/ 77 w 120"/>
                    <a:gd name="T105" fmla="*/ 120 h 148"/>
                    <a:gd name="T106" fmla="*/ 76 w 120"/>
                    <a:gd name="T107" fmla="*/ 125 h 148"/>
                    <a:gd name="T108" fmla="*/ 75 w 120"/>
                    <a:gd name="T109" fmla="*/ 130 h 148"/>
                    <a:gd name="T110" fmla="*/ 76 w 120"/>
                    <a:gd name="T111" fmla="*/ 135 h 148"/>
                    <a:gd name="T112" fmla="*/ 77 w 120"/>
                    <a:gd name="T113" fmla="*/ 140 h 148"/>
                    <a:gd name="T114" fmla="*/ 78 w 120"/>
                    <a:gd name="T115" fmla="*/ 144 h 148"/>
                    <a:gd name="T116" fmla="*/ 80 w 120"/>
                    <a:gd name="T117" fmla="*/ 148 h 148"/>
                    <a:gd name="T118" fmla="*/ 74 w 120"/>
                    <a:gd name="T119" fmla="*/ 129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07" name="Freeform 457">
                  <a:extLst>
                    <a:ext uri="{FF2B5EF4-FFF2-40B4-BE49-F238E27FC236}">
                      <a16:creationId xmlns="" xmlns:a16="http://schemas.microsoft.com/office/drawing/2014/main" id="{30C982B5-4355-4F84-9958-1851BBD8F6A5}"/>
                    </a:ext>
                  </a:extLst>
                </p:cNvPr>
                <p:cNvSpPr>
                  <a:spLocks/>
                </p:cNvSpPr>
                <p:nvPr>
                  <p:custDataLst>
                    <p:tags r:id="rId295"/>
                  </p:custDataLst>
                </p:nvPr>
              </p:nvSpPr>
              <p:spPr bwMode="auto">
                <a:xfrm>
                  <a:off x="6396055" y="2272083"/>
                  <a:ext cx="193667" cy="218438"/>
                </a:xfrm>
                <a:custGeom>
                  <a:avLst/>
                  <a:gdLst>
                    <a:gd name="T0" fmla="*/ 21 w 631"/>
                    <a:gd name="T1" fmla="*/ 2 h 592"/>
                    <a:gd name="T2" fmla="*/ 32 w 631"/>
                    <a:gd name="T3" fmla="*/ 4 h 592"/>
                    <a:gd name="T4" fmla="*/ 54 w 631"/>
                    <a:gd name="T5" fmla="*/ 8 h 592"/>
                    <a:gd name="T6" fmla="*/ 78 w 631"/>
                    <a:gd name="T7" fmla="*/ 11 h 592"/>
                    <a:gd name="T8" fmla="*/ 104 w 631"/>
                    <a:gd name="T9" fmla="*/ 19 h 592"/>
                    <a:gd name="T10" fmla="*/ 130 w 631"/>
                    <a:gd name="T11" fmla="*/ 32 h 592"/>
                    <a:gd name="T12" fmla="*/ 146 w 631"/>
                    <a:gd name="T13" fmla="*/ 40 h 592"/>
                    <a:gd name="T14" fmla="*/ 159 w 631"/>
                    <a:gd name="T15" fmla="*/ 43 h 592"/>
                    <a:gd name="T16" fmla="*/ 189 w 631"/>
                    <a:gd name="T17" fmla="*/ 43 h 592"/>
                    <a:gd name="T18" fmla="*/ 227 w 631"/>
                    <a:gd name="T19" fmla="*/ 37 h 592"/>
                    <a:gd name="T20" fmla="*/ 277 w 631"/>
                    <a:gd name="T21" fmla="*/ 23 h 592"/>
                    <a:gd name="T22" fmla="*/ 399 w 631"/>
                    <a:gd name="T23" fmla="*/ 38 h 592"/>
                    <a:gd name="T24" fmla="*/ 403 w 631"/>
                    <a:gd name="T25" fmla="*/ 69 h 592"/>
                    <a:gd name="T26" fmla="*/ 410 w 631"/>
                    <a:gd name="T27" fmla="*/ 95 h 592"/>
                    <a:gd name="T28" fmla="*/ 417 w 631"/>
                    <a:gd name="T29" fmla="*/ 119 h 592"/>
                    <a:gd name="T30" fmla="*/ 427 w 631"/>
                    <a:gd name="T31" fmla="*/ 140 h 592"/>
                    <a:gd name="T32" fmla="*/ 450 w 631"/>
                    <a:gd name="T33" fmla="*/ 175 h 592"/>
                    <a:gd name="T34" fmla="*/ 472 w 631"/>
                    <a:gd name="T35" fmla="*/ 204 h 592"/>
                    <a:gd name="T36" fmla="*/ 482 w 631"/>
                    <a:gd name="T37" fmla="*/ 222 h 592"/>
                    <a:gd name="T38" fmla="*/ 485 w 631"/>
                    <a:gd name="T39" fmla="*/ 240 h 592"/>
                    <a:gd name="T40" fmla="*/ 491 w 631"/>
                    <a:gd name="T41" fmla="*/ 255 h 592"/>
                    <a:gd name="T42" fmla="*/ 496 w 631"/>
                    <a:gd name="T43" fmla="*/ 261 h 592"/>
                    <a:gd name="T44" fmla="*/ 505 w 631"/>
                    <a:gd name="T45" fmla="*/ 266 h 592"/>
                    <a:gd name="T46" fmla="*/ 513 w 631"/>
                    <a:gd name="T47" fmla="*/ 270 h 592"/>
                    <a:gd name="T48" fmla="*/ 519 w 631"/>
                    <a:gd name="T49" fmla="*/ 278 h 592"/>
                    <a:gd name="T50" fmla="*/ 533 w 631"/>
                    <a:gd name="T51" fmla="*/ 303 h 592"/>
                    <a:gd name="T52" fmla="*/ 541 w 631"/>
                    <a:gd name="T53" fmla="*/ 331 h 592"/>
                    <a:gd name="T54" fmla="*/ 545 w 631"/>
                    <a:gd name="T55" fmla="*/ 358 h 592"/>
                    <a:gd name="T56" fmla="*/ 548 w 631"/>
                    <a:gd name="T57" fmla="*/ 368 h 592"/>
                    <a:gd name="T58" fmla="*/ 557 w 631"/>
                    <a:gd name="T59" fmla="*/ 381 h 592"/>
                    <a:gd name="T60" fmla="*/ 583 w 631"/>
                    <a:gd name="T61" fmla="*/ 415 h 592"/>
                    <a:gd name="T62" fmla="*/ 612 w 631"/>
                    <a:gd name="T63" fmla="*/ 447 h 592"/>
                    <a:gd name="T64" fmla="*/ 631 w 631"/>
                    <a:gd name="T65" fmla="*/ 463 h 592"/>
                    <a:gd name="T66" fmla="*/ 612 w 631"/>
                    <a:gd name="T67" fmla="*/ 481 h 592"/>
                    <a:gd name="T68" fmla="*/ 624 w 631"/>
                    <a:gd name="T69" fmla="*/ 496 h 592"/>
                    <a:gd name="T70" fmla="*/ 626 w 631"/>
                    <a:gd name="T71" fmla="*/ 507 h 592"/>
                    <a:gd name="T72" fmla="*/ 626 w 631"/>
                    <a:gd name="T73" fmla="*/ 516 h 592"/>
                    <a:gd name="T74" fmla="*/ 631 w 631"/>
                    <a:gd name="T75" fmla="*/ 531 h 592"/>
                    <a:gd name="T76" fmla="*/ 626 w 631"/>
                    <a:gd name="T77" fmla="*/ 539 h 592"/>
                    <a:gd name="T78" fmla="*/ 617 w 631"/>
                    <a:gd name="T79" fmla="*/ 548 h 592"/>
                    <a:gd name="T80" fmla="*/ 592 w 631"/>
                    <a:gd name="T81" fmla="*/ 569 h 592"/>
                    <a:gd name="T82" fmla="*/ 558 w 631"/>
                    <a:gd name="T83" fmla="*/ 592 h 592"/>
                    <a:gd name="T84" fmla="*/ 46 w 631"/>
                    <a:gd name="T85" fmla="*/ 174 h 592"/>
                    <a:gd name="T86" fmla="*/ 25 w 631"/>
                    <a:gd name="T87" fmla="*/ 157 h 592"/>
                    <a:gd name="T88" fmla="*/ 11 w 631"/>
                    <a:gd name="T89" fmla="*/ 138 h 592"/>
                    <a:gd name="T90" fmla="*/ 2 w 631"/>
                    <a:gd name="T91" fmla="*/ 117 h 592"/>
                    <a:gd name="T92" fmla="*/ 0 w 631"/>
                    <a:gd name="T93" fmla="*/ 93 h 592"/>
                    <a:gd name="T94" fmla="*/ 3 w 631"/>
                    <a:gd name="T95" fmla="*/ 89 h 592"/>
                    <a:gd name="T96" fmla="*/ 10 w 631"/>
                    <a:gd name="T97" fmla="*/ 83 h 592"/>
                    <a:gd name="T98" fmla="*/ 17 w 631"/>
                    <a:gd name="T99" fmla="*/ 77 h 592"/>
                    <a:gd name="T100" fmla="*/ 20 w 631"/>
                    <a:gd name="T101" fmla="*/ 69 h 592"/>
                    <a:gd name="T102" fmla="*/ 18 w 631"/>
                    <a:gd name="T103" fmla="*/ 53 h 592"/>
                    <a:gd name="T104" fmla="*/ 13 w 631"/>
                    <a:gd name="T105" fmla="*/ 42 h 592"/>
                    <a:gd name="T106" fmla="*/ 9 w 631"/>
                    <a:gd name="T107" fmla="*/ 34 h 592"/>
                    <a:gd name="T108" fmla="*/ 7 w 631"/>
                    <a:gd name="T109" fmla="*/ 26 h 592"/>
                    <a:gd name="T110" fmla="*/ 13 w 631"/>
                    <a:gd name="T111" fmla="*/ 0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08" name="Freeform 458">
                  <a:extLst>
                    <a:ext uri="{FF2B5EF4-FFF2-40B4-BE49-F238E27FC236}">
                      <a16:creationId xmlns="" xmlns:a16="http://schemas.microsoft.com/office/drawing/2014/main" id="{E70E9BB8-9767-4622-AAB7-1DE6D21EDFFE}"/>
                    </a:ext>
                  </a:extLst>
                </p:cNvPr>
                <p:cNvSpPr>
                  <a:spLocks/>
                </p:cNvSpPr>
                <p:nvPr>
                  <p:custDataLst>
                    <p:tags r:id="rId296"/>
                  </p:custDataLst>
                </p:nvPr>
              </p:nvSpPr>
              <p:spPr bwMode="auto">
                <a:xfrm>
                  <a:off x="6108935" y="2013111"/>
                  <a:ext cx="12385" cy="40535"/>
                </a:xfrm>
                <a:custGeom>
                  <a:avLst/>
                  <a:gdLst>
                    <a:gd name="T0" fmla="*/ 7 w 40"/>
                    <a:gd name="T1" fmla="*/ 31 h 93"/>
                    <a:gd name="T2" fmla="*/ 10 w 40"/>
                    <a:gd name="T3" fmla="*/ 30 h 93"/>
                    <a:gd name="T4" fmla="*/ 14 w 40"/>
                    <a:gd name="T5" fmla="*/ 26 h 93"/>
                    <a:gd name="T6" fmla="*/ 20 w 40"/>
                    <a:gd name="T7" fmla="*/ 20 h 93"/>
                    <a:gd name="T8" fmla="*/ 25 w 40"/>
                    <a:gd name="T9" fmla="*/ 15 h 93"/>
                    <a:gd name="T10" fmla="*/ 35 w 40"/>
                    <a:gd name="T11" fmla="*/ 4 h 93"/>
                    <a:gd name="T12" fmla="*/ 40 w 40"/>
                    <a:gd name="T13" fmla="*/ 0 h 93"/>
                    <a:gd name="T14" fmla="*/ 37 w 40"/>
                    <a:gd name="T15" fmla="*/ 26 h 93"/>
                    <a:gd name="T16" fmla="*/ 35 w 40"/>
                    <a:gd name="T17" fmla="*/ 53 h 93"/>
                    <a:gd name="T18" fmla="*/ 34 w 40"/>
                    <a:gd name="T19" fmla="*/ 65 h 93"/>
                    <a:gd name="T20" fmla="*/ 34 w 40"/>
                    <a:gd name="T21" fmla="*/ 77 h 93"/>
                    <a:gd name="T22" fmla="*/ 35 w 40"/>
                    <a:gd name="T23" fmla="*/ 82 h 93"/>
                    <a:gd name="T24" fmla="*/ 36 w 40"/>
                    <a:gd name="T25" fmla="*/ 86 h 93"/>
                    <a:gd name="T26" fmla="*/ 37 w 40"/>
                    <a:gd name="T27" fmla="*/ 90 h 93"/>
                    <a:gd name="T28" fmla="*/ 40 w 40"/>
                    <a:gd name="T29" fmla="*/ 93 h 93"/>
                    <a:gd name="T30" fmla="*/ 26 w 40"/>
                    <a:gd name="T31" fmla="*/ 93 h 93"/>
                    <a:gd name="T32" fmla="*/ 13 w 40"/>
                    <a:gd name="T33" fmla="*/ 93 h 93"/>
                    <a:gd name="T34" fmla="*/ 11 w 40"/>
                    <a:gd name="T35" fmla="*/ 92 h 93"/>
                    <a:gd name="T36" fmla="*/ 8 w 40"/>
                    <a:gd name="T37" fmla="*/ 91 h 93"/>
                    <a:gd name="T38" fmla="*/ 6 w 40"/>
                    <a:gd name="T39" fmla="*/ 88 h 93"/>
                    <a:gd name="T40" fmla="*/ 4 w 40"/>
                    <a:gd name="T41" fmla="*/ 86 h 93"/>
                    <a:gd name="T42" fmla="*/ 1 w 40"/>
                    <a:gd name="T43" fmla="*/ 80 h 93"/>
                    <a:gd name="T44" fmla="*/ 0 w 40"/>
                    <a:gd name="T45" fmla="*/ 73 h 93"/>
                    <a:gd name="T46" fmla="*/ 1 w 40"/>
                    <a:gd name="T47" fmla="*/ 64 h 93"/>
                    <a:gd name="T48" fmla="*/ 3 w 40"/>
                    <a:gd name="T49" fmla="*/ 50 h 93"/>
                    <a:gd name="T50" fmla="*/ 6 w 40"/>
                    <a:gd name="T51" fmla="*/ 37 h 93"/>
                    <a:gd name="T52" fmla="*/ 7 w 40"/>
                    <a:gd name="T53" fmla="*/ 3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09" name="Freeform 459">
                  <a:extLst>
                    <a:ext uri="{FF2B5EF4-FFF2-40B4-BE49-F238E27FC236}">
                      <a16:creationId xmlns="" xmlns:a16="http://schemas.microsoft.com/office/drawing/2014/main" id="{5D7DCB89-73C7-42A2-9122-DC8389EF4CB4}"/>
                    </a:ext>
                  </a:extLst>
                </p:cNvPr>
                <p:cNvSpPr>
                  <a:spLocks/>
                </p:cNvSpPr>
                <p:nvPr>
                  <p:custDataLst>
                    <p:tags r:id="rId297"/>
                  </p:custDataLst>
                </p:nvPr>
              </p:nvSpPr>
              <p:spPr bwMode="auto">
                <a:xfrm>
                  <a:off x="5853339" y="1836333"/>
                  <a:ext cx="209430" cy="193666"/>
                </a:xfrm>
                <a:custGeom>
                  <a:avLst/>
                  <a:gdLst>
                    <a:gd name="T0" fmla="*/ 149 w 664"/>
                    <a:gd name="T1" fmla="*/ 445 h 518"/>
                    <a:gd name="T2" fmla="*/ 151 w 664"/>
                    <a:gd name="T3" fmla="*/ 431 h 518"/>
                    <a:gd name="T4" fmla="*/ 146 w 664"/>
                    <a:gd name="T5" fmla="*/ 400 h 518"/>
                    <a:gd name="T6" fmla="*/ 151 w 664"/>
                    <a:gd name="T7" fmla="*/ 353 h 518"/>
                    <a:gd name="T8" fmla="*/ 146 w 664"/>
                    <a:gd name="T9" fmla="*/ 298 h 518"/>
                    <a:gd name="T10" fmla="*/ 134 w 664"/>
                    <a:gd name="T11" fmla="*/ 251 h 518"/>
                    <a:gd name="T12" fmla="*/ 109 w 664"/>
                    <a:gd name="T13" fmla="*/ 241 h 518"/>
                    <a:gd name="T14" fmla="*/ 20 w 664"/>
                    <a:gd name="T15" fmla="*/ 192 h 518"/>
                    <a:gd name="T16" fmla="*/ 24 w 664"/>
                    <a:gd name="T17" fmla="*/ 171 h 518"/>
                    <a:gd name="T18" fmla="*/ 36 w 664"/>
                    <a:gd name="T19" fmla="*/ 159 h 518"/>
                    <a:gd name="T20" fmla="*/ 48 w 664"/>
                    <a:gd name="T21" fmla="*/ 148 h 518"/>
                    <a:gd name="T22" fmla="*/ 100 w 664"/>
                    <a:gd name="T23" fmla="*/ 155 h 518"/>
                    <a:gd name="T24" fmla="*/ 125 w 664"/>
                    <a:gd name="T25" fmla="*/ 152 h 518"/>
                    <a:gd name="T26" fmla="*/ 147 w 664"/>
                    <a:gd name="T27" fmla="*/ 157 h 518"/>
                    <a:gd name="T28" fmla="*/ 165 w 664"/>
                    <a:gd name="T29" fmla="*/ 94 h 518"/>
                    <a:gd name="T30" fmla="*/ 185 w 664"/>
                    <a:gd name="T31" fmla="*/ 109 h 518"/>
                    <a:gd name="T32" fmla="*/ 207 w 664"/>
                    <a:gd name="T33" fmla="*/ 110 h 518"/>
                    <a:gd name="T34" fmla="*/ 236 w 664"/>
                    <a:gd name="T35" fmla="*/ 99 h 518"/>
                    <a:gd name="T36" fmla="*/ 264 w 664"/>
                    <a:gd name="T37" fmla="*/ 80 h 518"/>
                    <a:gd name="T38" fmla="*/ 289 w 664"/>
                    <a:gd name="T39" fmla="*/ 57 h 518"/>
                    <a:gd name="T40" fmla="*/ 308 w 664"/>
                    <a:gd name="T41" fmla="*/ 32 h 518"/>
                    <a:gd name="T42" fmla="*/ 318 w 664"/>
                    <a:gd name="T43" fmla="*/ 12 h 518"/>
                    <a:gd name="T44" fmla="*/ 370 w 664"/>
                    <a:gd name="T45" fmla="*/ 4 h 518"/>
                    <a:gd name="T46" fmla="*/ 404 w 664"/>
                    <a:gd name="T47" fmla="*/ 32 h 518"/>
                    <a:gd name="T48" fmla="*/ 457 w 664"/>
                    <a:gd name="T49" fmla="*/ 61 h 518"/>
                    <a:gd name="T50" fmla="*/ 511 w 664"/>
                    <a:gd name="T51" fmla="*/ 90 h 518"/>
                    <a:gd name="T52" fmla="*/ 552 w 664"/>
                    <a:gd name="T53" fmla="*/ 107 h 518"/>
                    <a:gd name="T54" fmla="*/ 578 w 664"/>
                    <a:gd name="T55" fmla="*/ 116 h 518"/>
                    <a:gd name="T56" fmla="*/ 623 w 664"/>
                    <a:gd name="T57" fmla="*/ 121 h 518"/>
                    <a:gd name="T58" fmla="*/ 658 w 664"/>
                    <a:gd name="T59" fmla="*/ 136 h 518"/>
                    <a:gd name="T60" fmla="*/ 645 w 664"/>
                    <a:gd name="T61" fmla="*/ 166 h 518"/>
                    <a:gd name="T62" fmla="*/ 620 w 664"/>
                    <a:gd name="T63" fmla="*/ 236 h 518"/>
                    <a:gd name="T64" fmla="*/ 598 w 664"/>
                    <a:gd name="T65" fmla="*/ 272 h 518"/>
                    <a:gd name="T66" fmla="*/ 585 w 664"/>
                    <a:gd name="T67" fmla="*/ 286 h 518"/>
                    <a:gd name="T68" fmla="*/ 599 w 664"/>
                    <a:gd name="T69" fmla="*/ 298 h 518"/>
                    <a:gd name="T70" fmla="*/ 618 w 664"/>
                    <a:gd name="T71" fmla="*/ 307 h 518"/>
                    <a:gd name="T72" fmla="*/ 623 w 664"/>
                    <a:gd name="T73" fmla="*/ 334 h 518"/>
                    <a:gd name="T74" fmla="*/ 620 w 664"/>
                    <a:gd name="T75" fmla="*/ 347 h 518"/>
                    <a:gd name="T76" fmla="*/ 618 w 664"/>
                    <a:gd name="T77" fmla="*/ 372 h 518"/>
                    <a:gd name="T78" fmla="*/ 622 w 664"/>
                    <a:gd name="T79" fmla="*/ 399 h 518"/>
                    <a:gd name="T80" fmla="*/ 632 w 664"/>
                    <a:gd name="T81" fmla="*/ 423 h 518"/>
                    <a:gd name="T82" fmla="*/ 608 w 664"/>
                    <a:gd name="T83" fmla="*/ 457 h 518"/>
                    <a:gd name="T84" fmla="*/ 569 w 664"/>
                    <a:gd name="T85" fmla="*/ 484 h 518"/>
                    <a:gd name="T86" fmla="*/ 542 w 664"/>
                    <a:gd name="T87" fmla="*/ 489 h 518"/>
                    <a:gd name="T88" fmla="*/ 509 w 664"/>
                    <a:gd name="T89" fmla="*/ 481 h 518"/>
                    <a:gd name="T90" fmla="*/ 477 w 664"/>
                    <a:gd name="T91" fmla="*/ 460 h 518"/>
                    <a:gd name="T92" fmla="*/ 463 w 664"/>
                    <a:gd name="T93" fmla="*/ 456 h 518"/>
                    <a:gd name="T94" fmla="*/ 443 w 664"/>
                    <a:gd name="T95" fmla="*/ 457 h 518"/>
                    <a:gd name="T96" fmla="*/ 423 w 664"/>
                    <a:gd name="T97" fmla="*/ 465 h 518"/>
                    <a:gd name="T98" fmla="*/ 406 w 664"/>
                    <a:gd name="T99" fmla="*/ 477 h 518"/>
                    <a:gd name="T100" fmla="*/ 388 w 664"/>
                    <a:gd name="T101" fmla="*/ 503 h 518"/>
                    <a:gd name="T102" fmla="*/ 385 w 664"/>
                    <a:gd name="T103" fmla="*/ 517 h 518"/>
                    <a:gd name="T104" fmla="*/ 333 w 664"/>
                    <a:gd name="T105" fmla="*/ 515 h 518"/>
                    <a:gd name="T106" fmla="*/ 317 w 664"/>
                    <a:gd name="T107" fmla="*/ 507 h 518"/>
                    <a:gd name="T108" fmla="*/ 307 w 664"/>
                    <a:gd name="T109" fmla="*/ 500 h 518"/>
                    <a:gd name="T110" fmla="*/ 296 w 664"/>
                    <a:gd name="T111" fmla="*/ 508 h 518"/>
                    <a:gd name="T112" fmla="*/ 287 w 664"/>
                    <a:gd name="T113" fmla="*/ 516 h 518"/>
                    <a:gd name="T114" fmla="*/ 268 w 664"/>
                    <a:gd name="T115" fmla="*/ 516 h 518"/>
                    <a:gd name="T116" fmla="*/ 227 w 664"/>
                    <a:gd name="T117" fmla="*/ 506 h 518"/>
                    <a:gd name="T118" fmla="*/ 185 w 664"/>
                    <a:gd name="T119" fmla="*/ 487 h 518"/>
                    <a:gd name="T120" fmla="*/ 160 w 664"/>
                    <a:gd name="T121" fmla="*/ 469 h 518"/>
                    <a:gd name="T122" fmla="*/ 146 w 664"/>
                    <a:gd name="T123" fmla="*/ 45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10" name="Freeform 460">
                  <a:extLst>
                    <a:ext uri="{FF2B5EF4-FFF2-40B4-BE49-F238E27FC236}">
                      <a16:creationId xmlns="" xmlns:a16="http://schemas.microsoft.com/office/drawing/2014/main" id="{F864CFC6-FFB6-4170-9AF6-8808B0DB0ACA}"/>
                    </a:ext>
                  </a:extLst>
                </p:cNvPr>
                <p:cNvSpPr>
                  <a:spLocks/>
                </p:cNvSpPr>
                <p:nvPr>
                  <p:custDataLst>
                    <p:tags r:id="rId298"/>
                  </p:custDataLst>
                </p:nvPr>
              </p:nvSpPr>
              <p:spPr bwMode="auto">
                <a:xfrm>
                  <a:off x="6620124" y="2002977"/>
                  <a:ext cx="106966" cy="58550"/>
                </a:xfrm>
                <a:custGeom>
                  <a:avLst/>
                  <a:gdLst>
                    <a:gd name="T0" fmla="*/ 332 w 352"/>
                    <a:gd name="T1" fmla="*/ 91 h 153"/>
                    <a:gd name="T2" fmla="*/ 352 w 352"/>
                    <a:gd name="T3" fmla="*/ 153 h 153"/>
                    <a:gd name="T4" fmla="*/ 326 w 352"/>
                    <a:gd name="T5" fmla="*/ 141 h 153"/>
                    <a:gd name="T6" fmla="*/ 299 w 352"/>
                    <a:gd name="T7" fmla="*/ 129 h 153"/>
                    <a:gd name="T8" fmla="*/ 266 w 352"/>
                    <a:gd name="T9" fmla="*/ 141 h 153"/>
                    <a:gd name="T10" fmla="*/ 232 w 352"/>
                    <a:gd name="T11" fmla="*/ 141 h 153"/>
                    <a:gd name="T12" fmla="*/ 227 w 352"/>
                    <a:gd name="T13" fmla="*/ 135 h 153"/>
                    <a:gd name="T14" fmla="*/ 226 w 352"/>
                    <a:gd name="T15" fmla="*/ 135 h 153"/>
                    <a:gd name="T16" fmla="*/ 219 w 352"/>
                    <a:gd name="T17" fmla="*/ 129 h 153"/>
                    <a:gd name="T18" fmla="*/ 213 w 352"/>
                    <a:gd name="T19" fmla="*/ 125 h 153"/>
                    <a:gd name="T20" fmla="*/ 205 w 352"/>
                    <a:gd name="T21" fmla="*/ 121 h 153"/>
                    <a:gd name="T22" fmla="*/ 197 w 352"/>
                    <a:gd name="T23" fmla="*/ 118 h 153"/>
                    <a:gd name="T24" fmla="*/ 181 w 352"/>
                    <a:gd name="T25" fmla="*/ 113 h 153"/>
                    <a:gd name="T26" fmla="*/ 163 w 352"/>
                    <a:gd name="T27" fmla="*/ 110 h 153"/>
                    <a:gd name="T28" fmla="*/ 126 w 352"/>
                    <a:gd name="T29" fmla="*/ 107 h 153"/>
                    <a:gd name="T30" fmla="*/ 86 w 352"/>
                    <a:gd name="T31" fmla="*/ 104 h 153"/>
                    <a:gd name="T32" fmla="*/ 85 w 352"/>
                    <a:gd name="T33" fmla="*/ 94 h 153"/>
                    <a:gd name="T34" fmla="*/ 82 w 352"/>
                    <a:gd name="T35" fmla="*/ 84 h 153"/>
                    <a:gd name="T36" fmla="*/ 80 w 352"/>
                    <a:gd name="T37" fmla="*/ 75 h 153"/>
                    <a:gd name="T38" fmla="*/ 75 w 352"/>
                    <a:gd name="T39" fmla="*/ 67 h 153"/>
                    <a:gd name="T40" fmla="*/ 71 w 352"/>
                    <a:gd name="T41" fmla="*/ 59 h 153"/>
                    <a:gd name="T42" fmla="*/ 67 w 352"/>
                    <a:gd name="T43" fmla="*/ 52 h 153"/>
                    <a:gd name="T44" fmla="*/ 61 w 352"/>
                    <a:gd name="T45" fmla="*/ 44 h 153"/>
                    <a:gd name="T46" fmla="*/ 56 w 352"/>
                    <a:gd name="T47" fmla="*/ 37 h 153"/>
                    <a:gd name="T48" fmla="*/ 44 w 352"/>
                    <a:gd name="T49" fmla="*/ 26 h 153"/>
                    <a:gd name="T50" fmla="*/ 29 w 352"/>
                    <a:gd name="T51" fmla="*/ 16 h 153"/>
                    <a:gd name="T52" fmla="*/ 15 w 352"/>
                    <a:gd name="T53" fmla="*/ 7 h 153"/>
                    <a:gd name="T54" fmla="*/ 0 w 352"/>
                    <a:gd name="T55" fmla="*/ 0 h 153"/>
                    <a:gd name="T56" fmla="*/ 7 w 352"/>
                    <a:gd name="T57" fmla="*/ 0 h 153"/>
                    <a:gd name="T58" fmla="*/ 60 w 352"/>
                    <a:gd name="T59" fmla="*/ 18 h 153"/>
                    <a:gd name="T60" fmla="*/ 106 w 352"/>
                    <a:gd name="T61" fmla="*/ 30 h 153"/>
                    <a:gd name="T62" fmla="*/ 134 w 352"/>
                    <a:gd name="T63" fmla="*/ 18 h 153"/>
                    <a:gd name="T64" fmla="*/ 180 w 352"/>
                    <a:gd name="T65" fmla="*/ 36 h 153"/>
                    <a:gd name="T66" fmla="*/ 206 w 352"/>
                    <a:gd name="T67" fmla="*/ 55 h 153"/>
                    <a:gd name="T68" fmla="*/ 246 w 352"/>
                    <a:gd name="T69" fmla="*/ 49 h 153"/>
                    <a:gd name="T70" fmla="*/ 286 w 352"/>
                    <a:gd name="T71" fmla="*/ 61 h 153"/>
                    <a:gd name="T72" fmla="*/ 313 w 352"/>
                    <a:gd name="T73" fmla="*/ 79 h 153"/>
                    <a:gd name="T74" fmla="*/ 332 w 352"/>
                    <a:gd name="T75" fmla="*/ 9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311" name="Freeform 461">
                  <a:extLst>
                    <a:ext uri="{FF2B5EF4-FFF2-40B4-BE49-F238E27FC236}">
                      <a16:creationId xmlns="" xmlns:a16="http://schemas.microsoft.com/office/drawing/2014/main" id="{B3A70A0B-DF49-436F-8130-D2C0624AFD28}"/>
                    </a:ext>
                  </a:extLst>
                </p:cNvPr>
                <p:cNvSpPr>
                  <a:spLocks/>
                </p:cNvSpPr>
                <p:nvPr>
                  <p:custDataLst>
                    <p:tags r:id="rId299"/>
                  </p:custDataLst>
                </p:nvPr>
              </p:nvSpPr>
              <p:spPr bwMode="auto">
                <a:xfrm>
                  <a:off x="6300349" y="2045763"/>
                  <a:ext cx="104715" cy="122731"/>
                </a:xfrm>
                <a:custGeom>
                  <a:avLst/>
                  <a:gdLst>
                    <a:gd name="T0" fmla="*/ 230 w 331"/>
                    <a:gd name="T1" fmla="*/ 40 h 327"/>
                    <a:gd name="T2" fmla="*/ 193 w 331"/>
                    <a:gd name="T3" fmla="*/ 56 h 327"/>
                    <a:gd name="T4" fmla="*/ 182 w 331"/>
                    <a:gd name="T5" fmla="*/ 67 h 327"/>
                    <a:gd name="T6" fmla="*/ 181 w 331"/>
                    <a:gd name="T7" fmla="*/ 81 h 327"/>
                    <a:gd name="T8" fmla="*/ 184 w 331"/>
                    <a:gd name="T9" fmla="*/ 94 h 327"/>
                    <a:gd name="T10" fmla="*/ 177 w 331"/>
                    <a:gd name="T11" fmla="*/ 102 h 327"/>
                    <a:gd name="T12" fmla="*/ 168 w 331"/>
                    <a:gd name="T13" fmla="*/ 105 h 327"/>
                    <a:gd name="T14" fmla="*/ 160 w 331"/>
                    <a:gd name="T15" fmla="*/ 98 h 327"/>
                    <a:gd name="T16" fmla="*/ 149 w 331"/>
                    <a:gd name="T17" fmla="*/ 85 h 327"/>
                    <a:gd name="T18" fmla="*/ 126 w 331"/>
                    <a:gd name="T19" fmla="*/ 74 h 327"/>
                    <a:gd name="T20" fmla="*/ 127 w 331"/>
                    <a:gd name="T21" fmla="*/ 96 h 327"/>
                    <a:gd name="T22" fmla="*/ 139 w 331"/>
                    <a:gd name="T23" fmla="*/ 116 h 327"/>
                    <a:gd name="T24" fmla="*/ 154 w 331"/>
                    <a:gd name="T25" fmla="*/ 129 h 327"/>
                    <a:gd name="T26" fmla="*/ 159 w 331"/>
                    <a:gd name="T27" fmla="*/ 130 h 327"/>
                    <a:gd name="T28" fmla="*/ 159 w 331"/>
                    <a:gd name="T29" fmla="*/ 177 h 327"/>
                    <a:gd name="T30" fmla="*/ 159 w 331"/>
                    <a:gd name="T31" fmla="*/ 237 h 327"/>
                    <a:gd name="T32" fmla="*/ 156 w 331"/>
                    <a:gd name="T33" fmla="*/ 251 h 327"/>
                    <a:gd name="T34" fmla="*/ 147 w 331"/>
                    <a:gd name="T35" fmla="*/ 259 h 327"/>
                    <a:gd name="T36" fmla="*/ 145 w 331"/>
                    <a:gd name="T37" fmla="*/ 264 h 327"/>
                    <a:gd name="T38" fmla="*/ 162 w 331"/>
                    <a:gd name="T39" fmla="*/ 276 h 327"/>
                    <a:gd name="T40" fmla="*/ 167 w 331"/>
                    <a:gd name="T41" fmla="*/ 286 h 327"/>
                    <a:gd name="T42" fmla="*/ 155 w 331"/>
                    <a:gd name="T43" fmla="*/ 295 h 327"/>
                    <a:gd name="T44" fmla="*/ 140 w 331"/>
                    <a:gd name="T45" fmla="*/ 297 h 327"/>
                    <a:gd name="T46" fmla="*/ 130 w 331"/>
                    <a:gd name="T47" fmla="*/ 307 h 327"/>
                    <a:gd name="T48" fmla="*/ 126 w 331"/>
                    <a:gd name="T49" fmla="*/ 321 h 327"/>
                    <a:gd name="T50" fmla="*/ 121 w 331"/>
                    <a:gd name="T51" fmla="*/ 300 h 327"/>
                    <a:gd name="T52" fmla="*/ 124 w 331"/>
                    <a:gd name="T53" fmla="*/ 288 h 327"/>
                    <a:gd name="T54" fmla="*/ 109 w 331"/>
                    <a:gd name="T55" fmla="*/ 286 h 327"/>
                    <a:gd name="T56" fmla="*/ 93 w 331"/>
                    <a:gd name="T57" fmla="*/ 292 h 327"/>
                    <a:gd name="T58" fmla="*/ 79 w 331"/>
                    <a:gd name="T59" fmla="*/ 296 h 327"/>
                    <a:gd name="T60" fmla="*/ 73 w 331"/>
                    <a:gd name="T61" fmla="*/ 242 h 327"/>
                    <a:gd name="T62" fmla="*/ 79 w 331"/>
                    <a:gd name="T63" fmla="*/ 216 h 327"/>
                    <a:gd name="T64" fmla="*/ 48 w 331"/>
                    <a:gd name="T65" fmla="*/ 211 h 327"/>
                    <a:gd name="T66" fmla="*/ 28 w 331"/>
                    <a:gd name="T67" fmla="*/ 198 h 327"/>
                    <a:gd name="T68" fmla="*/ 13 w 331"/>
                    <a:gd name="T69" fmla="*/ 173 h 327"/>
                    <a:gd name="T70" fmla="*/ 0 w 331"/>
                    <a:gd name="T71" fmla="*/ 130 h 327"/>
                    <a:gd name="T72" fmla="*/ 28 w 331"/>
                    <a:gd name="T73" fmla="*/ 111 h 327"/>
                    <a:gd name="T74" fmla="*/ 50 w 331"/>
                    <a:gd name="T75" fmla="*/ 81 h 327"/>
                    <a:gd name="T76" fmla="*/ 73 w 331"/>
                    <a:gd name="T77" fmla="*/ 55 h 327"/>
                    <a:gd name="T78" fmla="*/ 115 w 331"/>
                    <a:gd name="T79" fmla="*/ 41 h 327"/>
                    <a:gd name="T80" fmla="*/ 180 w 331"/>
                    <a:gd name="T81" fmla="*/ 14 h 327"/>
                    <a:gd name="T82" fmla="*/ 218 w 331"/>
                    <a:gd name="T83" fmla="*/ 7 h 327"/>
                    <a:gd name="T84" fmla="*/ 249 w 331"/>
                    <a:gd name="T85" fmla="*/ 14 h 327"/>
                    <a:gd name="T86" fmla="*/ 271 w 331"/>
                    <a:gd name="T87" fmla="*/ 27 h 327"/>
                    <a:gd name="T88" fmla="*/ 292 w 331"/>
                    <a:gd name="T89" fmla="*/ 30 h 327"/>
                    <a:gd name="T90" fmla="*/ 307 w 331"/>
                    <a:gd name="T91" fmla="*/ 20 h 327"/>
                    <a:gd name="T92" fmla="*/ 327 w 331"/>
                    <a:gd name="T93" fmla="*/ 6 h 327"/>
                    <a:gd name="T94" fmla="*/ 330 w 331"/>
                    <a:gd name="T95" fmla="*/ 3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312" name="Freeform 462">
                  <a:extLst>
                    <a:ext uri="{FF2B5EF4-FFF2-40B4-BE49-F238E27FC236}">
                      <a16:creationId xmlns="" xmlns:a16="http://schemas.microsoft.com/office/drawing/2014/main" id="{0E345362-6F12-4519-8B2B-91C9917E5C17}"/>
                    </a:ext>
                  </a:extLst>
                </p:cNvPr>
                <p:cNvSpPr>
                  <a:spLocks/>
                </p:cNvSpPr>
                <p:nvPr>
                  <p:custDataLst>
                    <p:tags r:id="rId300"/>
                  </p:custDataLst>
                </p:nvPr>
              </p:nvSpPr>
              <p:spPr bwMode="auto">
                <a:xfrm>
                  <a:off x="6360025" y="2182006"/>
                  <a:ext cx="49543" cy="40535"/>
                </a:xfrm>
                <a:custGeom>
                  <a:avLst/>
                  <a:gdLst>
                    <a:gd name="T0" fmla="*/ 0 w 153"/>
                    <a:gd name="T1" fmla="*/ 0 h 49"/>
                    <a:gd name="T2" fmla="*/ 44 w 153"/>
                    <a:gd name="T3" fmla="*/ 2 h 49"/>
                    <a:gd name="T4" fmla="*/ 83 w 153"/>
                    <a:gd name="T5" fmla="*/ 6 h 49"/>
                    <a:gd name="T6" fmla="*/ 103 w 153"/>
                    <a:gd name="T7" fmla="*/ 8 h 49"/>
                    <a:gd name="T8" fmla="*/ 121 w 153"/>
                    <a:gd name="T9" fmla="*/ 7 h 49"/>
                    <a:gd name="T10" fmla="*/ 130 w 153"/>
                    <a:gd name="T11" fmla="*/ 6 h 49"/>
                    <a:gd name="T12" fmla="*/ 137 w 153"/>
                    <a:gd name="T13" fmla="*/ 5 h 49"/>
                    <a:gd name="T14" fmla="*/ 145 w 153"/>
                    <a:gd name="T15" fmla="*/ 3 h 49"/>
                    <a:gd name="T16" fmla="*/ 153 w 153"/>
                    <a:gd name="T17" fmla="*/ 0 h 49"/>
                    <a:gd name="T18" fmla="*/ 153 w 153"/>
                    <a:gd name="T19" fmla="*/ 9 h 49"/>
                    <a:gd name="T20" fmla="*/ 153 w 153"/>
                    <a:gd name="T21" fmla="*/ 25 h 49"/>
                    <a:gd name="T22" fmla="*/ 143 w 153"/>
                    <a:gd name="T23" fmla="*/ 31 h 49"/>
                    <a:gd name="T24" fmla="*/ 133 w 153"/>
                    <a:gd name="T25" fmla="*/ 36 h 49"/>
                    <a:gd name="T26" fmla="*/ 124 w 153"/>
                    <a:gd name="T27" fmla="*/ 40 h 49"/>
                    <a:gd name="T28" fmla="*/ 114 w 153"/>
                    <a:gd name="T29" fmla="*/ 44 h 49"/>
                    <a:gd name="T30" fmla="*/ 106 w 153"/>
                    <a:gd name="T31" fmla="*/ 46 h 49"/>
                    <a:gd name="T32" fmla="*/ 99 w 153"/>
                    <a:gd name="T33" fmla="*/ 48 h 49"/>
                    <a:gd name="T34" fmla="*/ 92 w 153"/>
                    <a:gd name="T35" fmla="*/ 49 h 49"/>
                    <a:gd name="T36" fmla="*/ 87 w 153"/>
                    <a:gd name="T37" fmla="*/ 49 h 49"/>
                    <a:gd name="T38" fmla="*/ 72 w 153"/>
                    <a:gd name="T39" fmla="*/ 48 h 49"/>
                    <a:gd name="T40" fmla="*/ 60 w 153"/>
                    <a:gd name="T41" fmla="*/ 46 h 49"/>
                    <a:gd name="T42" fmla="*/ 50 w 153"/>
                    <a:gd name="T43" fmla="*/ 43 h 49"/>
                    <a:gd name="T44" fmla="*/ 41 w 153"/>
                    <a:gd name="T45" fmla="*/ 38 h 49"/>
                    <a:gd name="T46" fmla="*/ 22 w 153"/>
                    <a:gd name="T47" fmla="*/ 29 h 49"/>
                    <a:gd name="T48" fmla="*/ 0 w 153"/>
                    <a:gd name="T49" fmla="*/ 19 h 49"/>
                    <a:gd name="T50" fmla="*/ 0 w 153"/>
                    <a:gd name="T51"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13" name="Freeform 463">
                  <a:extLst>
                    <a:ext uri="{FF2B5EF4-FFF2-40B4-BE49-F238E27FC236}">
                      <a16:creationId xmlns="" xmlns:a16="http://schemas.microsoft.com/office/drawing/2014/main" id="{DE077114-3C2A-4C86-A543-C866EA6DE2EC}"/>
                    </a:ext>
                  </a:extLst>
                </p:cNvPr>
                <p:cNvSpPr>
                  <a:spLocks/>
                </p:cNvSpPr>
                <p:nvPr>
                  <p:custDataLst>
                    <p:tags r:id="rId301"/>
                  </p:custDataLst>
                </p:nvPr>
              </p:nvSpPr>
              <p:spPr bwMode="auto">
                <a:xfrm>
                  <a:off x="5706964" y="2701076"/>
                  <a:ext cx="132864" cy="112597"/>
                </a:xfrm>
                <a:custGeom>
                  <a:avLst/>
                  <a:gdLst>
                    <a:gd name="T0" fmla="*/ 194 w 426"/>
                    <a:gd name="T1" fmla="*/ 16 h 299"/>
                    <a:gd name="T2" fmla="*/ 216 w 426"/>
                    <a:gd name="T3" fmla="*/ 22 h 299"/>
                    <a:gd name="T4" fmla="*/ 230 w 426"/>
                    <a:gd name="T5" fmla="*/ 29 h 299"/>
                    <a:gd name="T6" fmla="*/ 253 w 426"/>
                    <a:gd name="T7" fmla="*/ 35 h 299"/>
                    <a:gd name="T8" fmla="*/ 279 w 426"/>
                    <a:gd name="T9" fmla="*/ 37 h 299"/>
                    <a:gd name="T10" fmla="*/ 300 w 426"/>
                    <a:gd name="T11" fmla="*/ 37 h 299"/>
                    <a:gd name="T12" fmla="*/ 319 w 426"/>
                    <a:gd name="T13" fmla="*/ 34 h 299"/>
                    <a:gd name="T14" fmla="*/ 329 w 426"/>
                    <a:gd name="T15" fmla="*/ 29 h 299"/>
                    <a:gd name="T16" fmla="*/ 365 w 426"/>
                    <a:gd name="T17" fmla="*/ 25 h 299"/>
                    <a:gd name="T18" fmla="*/ 372 w 426"/>
                    <a:gd name="T19" fmla="*/ 49 h 299"/>
                    <a:gd name="T20" fmla="*/ 383 w 426"/>
                    <a:gd name="T21" fmla="*/ 74 h 299"/>
                    <a:gd name="T22" fmla="*/ 391 w 426"/>
                    <a:gd name="T23" fmla="*/ 84 h 299"/>
                    <a:gd name="T24" fmla="*/ 400 w 426"/>
                    <a:gd name="T25" fmla="*/ 92 h 299"/>
                    <a:gd name="T26" fmla="*/ 412 w 426"/>
                    <a:gd name="T27" fmla="*/ 97 h 299"/>
                    <a:gd name="T28" fmla="*/ 425 w 426"/>
                    <a:gd name="T29" fmla="*/ 99 h 299"/>
                    <a:gd name="T30" fmla="*/ 425 w 426"/>
                    <a:gd name="T31" fmla="*/ 120 h 299"/>
                    <a:gd name="T32" fmla="*/ 425 w 426"/>
                    <a:gd name="T33" fmla="*/ 142 h 299"/>
                    <a:gd name="T34" fmla="*/ 416 w 426"/>
                    <a:gd name="T35" fmla="*/ 158 h 299"/>
                    <a:gd name="T36" fmla="*/ 412 w 426"/>
                    <a:gd name="T37" fmla="*/ 170 h 299"/>
                    <a:gd name="T38" fmla="*/ 412 w 426"/>
                    <a:gd name="T39" fmla="*/ 181 h 299"/>
                    <a:gd name="T40" fmla="*/ 415 w 426"/>
                    <a:gd name="T41" fmla="*/ 190 h 299"/>
                    <a:gd name="T42" fmla="*/ 423 w 426"/>
                    <a:gd name="T43" fmla="*/ 211 h 299"/>
                    <a:gd name="T44" fmla="*/ 426 w 426"/>
                    <a:gd name="T45" fmla="*/ 226 h 299"/>
                    <a:gd name="T46" fmla="*/ 425 w 426"/>
                    <a:gd name="T47" fmla="*/ 247 h 299"/>
                    <a:gd name="T48" fmla="*/ 426 w 426"/>
                    <a:gd name="T49" fmla="*/ 274 h 299"/>
                    <a:gd name="T50" fmla="*/ 423 w 426"/>
                    <a:gd name="T51" fmla="*/ 285 h 299"/>
                    <a:gd name="T52" fmla="*/ 412 w 426"/>
                    <a:gd name="T53" fmla="*/ 296 h 299"/>
                    <a:gd name="T54" fmla="*/ 380 w 426"/>
                    <a:gd name="T55" fmla="*/ 298 h 299"/>
                    <a:gd name="T56" fmla="*/ 370 w 426"/>
                    <a:gd name="T57" fmla="*/ 299 h 299"/>
                    <a:gd name="T58" fmla="*/ 360 w 426"/>
                    <a:gd name="T59" fmla="*/ 296 h 299"/>
                    <a:gd name="T60" fmla="*/ 351 w 426"/>
                    <a:gd name="T61" fmla="*/ 290 h 299"/>
                    <a:gd name="T62" fmla="*/ 338 w 426"/>
                    <a:gd name="T63" fmla="*/ 278 h 299"/>
                    <a:gd name="T64" fmla="*/ 324 w 426"/>
                    <a:gd name="T65" fmla="*/ 261 h 299"/>
                    <a:gd name="T66" fmla="*/ 311 w 426"/>
                    <a:gd name="T67" fmla="*/ 253 h 299"/>
                    <a:gd name="T68" fmla="*/ 294 w 426"/>
                    <a:gd name="T69" fmla="*/ 251 h 299"/>
                    <a:gd name="T70" fmla="*/ 278 w 426"/>
                    <a:gd name="T71" fmla="*/ 232 h 299"/>
                    <a:gd name="T72" fmla="*/ 274 w 426"/>
                    <a:gd name="T73" fmla="*/ 210 h 299"/>
                    <a:gd name="T74" fmla="*/ 269 w 426"/>
                    <a:gd name="T75" fmla="*/ 197 h 299"/>
                    <a:gd name="T76" fmla="*/ 261 w 426"/>
                    <a:gd name="T77" fmla="*/ 184 h 299"/>
                    <a:gd name="T78" fmla="*/ 251 w 426"/>
                    <a:gd name="T79" fmla="*/ 173 h 299"/>
                    <a:gd name="T80" fmla="*/ 238 w 426"/>
                    <a:gd name="T81" fmla="*/ 165 h 299"/>
                    <a:gd name="T82" fmla="*/ 222 w 426"/>
                    <a:gd name="T83" fmla="*/ 161 h 299"/>
                    <a:gd name="T84" fmla="*/ 204 w 426"/>
                    <a:gd name="T85" fmla="*/ 161 h 299"/>
                    <a:gd name="T86" fmla="*/ 188 w 426"/>
                    <a:gd name="T87" fmla="*/ 163 h 299"/>
                    <a:gd name="T88" fmla="*/ 173 w 426"/>
                    <a:gd name="T89" fmla="*/ 168 h 299"/>
                    <a:gd name="T90" fmla="*/ 160 w 426"/>
                    <a:gd name="T91" fmla="*/ 176 h 299"/>
                    <a:gd name="T92" fmla="*/ 141 w 426"/>
                    <a:gd name="T93" fmla="*/ 191 h 299"/>
                    <a:gd name="T94" fmla="*/ 118 w 426"/>
                    <a:gd name="T95" fmla="*/ 215 h 299"/>
                    <a:gd name="T96" fmla="*/ 105 w 426"/>
                    <a:gd name="T97" fmla="*/ 218 h 299"/>
                    <a:gd name="T98" fmla="*/ 100 w 426"/>
                    <a:gd name="T99" fmla="*/ 201 h 299"/>
                    <a:gd name="T100" fmla="*/ 90 w 426"/>
                    <a:gd name="T101" fmla="*/ 186 h 299"/>
                    <a:gd name="T102" fmla="*/ 76 w 426"/>
                    <a:gd name="T103" fmla="*/ 171 h 299"/>
                    <a:gd name="T104" fmla="*/ 50 w 426"/>
                    <a:gd name="T105" fmla="*/ 153 h 299"/>
                    <a:gd name="T106" fmla="*/ 24 w 426"/>
                    <a:gd name="T107" fmla="*/ 134 h 299"/>
                    <a:gd name="T108" fmla="*/ 8 w 426"/>
                    <a:gd name="T109" fmla="*/ 119 h 299"/>
                    <a:gd name="T110" fmla="*/ 15 w 426"/>
                    <a:gd name="T111" fmla="*/ 101 h 299"/>
                    <a:gd name="T112" fmla="*/ 46 w 426"/>
                    <a:gd name="T113" fmla="*/ 77 h 299"/>
                    <a:gd name="T114" fmla="*/ 75 w 426"/>
                    <a:gd name="T115" fmla="*/ 48 h 299"/>
                    <a:gd name="T116" fmla="*/ 98 w 426"/>
                    <a:gd name="T117" fmla="*/ 17 h 299"/>
                    <a:gd name="T118" fmla="*/ 179 w 426"/>
                    <a:gd name="T119" fmla="*/ 1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314" name="Freeform 464">
                  <a:extLst>
                    <a:ext uri="{FF2B5EF4-FFF2-40B4-BE49-F238E27FC236}">
                      <a16:creationId xmlns="" xmlns:a16="http://schemas.microsoft.com/office/drawing/2014/main" id="{CED11CF8-BD5F-444E-8245-C5342064B12E}"/>
                    </a:ext>
                  </a:extLst>
                </p:cNvPr>
                <p:cNvSpPr>
                  <a:spLocks/>
                </p:cNvSpPr>
                <p:nvPr>
                  <p:custDataLst>
                    <p:tags r:id="rId302"/>
                  </p:custDataLst>
                </p:nvPr>
              </p:nvSpPr>
              <p:spPr bwMode="auto">
                <a:xfrm>
                  <a:off x="7157210" y="2178627"/>
                  <a:ext cx="490921" cy="620408"/>
                </a:xfrm>
                <a:custGeom>
                  <a:avLst/>
                  <a:gdLst>
                    <a:gd name="T0" fmla="*/ 477 w 1594"/>
                    <a:gd name="T1" fmla="*/ 107 h 1670"/>
                    <a:gd name="T2" fmla="*/ 485 w 1594"/>
                    <a:gd name="T3" fmla="*/ 185 h 1670"/>
                    <a:gd name="T4" fmla="*/ 578 w 1594"/>
                    <a:gd name="T5" fmla="*/ 287 h 1670"/>
                    <a:gd name="T6" fmla="*/ 701 w 1594"/>
                    <a:gd name="T7" fmla="*/ 459 h 1670"/>
                    <a:gd name="T8" fmla="*/ 795 w 1594"/>
                    <a:gd name="T9" fmla="*/ 499 h 1670"/>
                    <a:gd name="T10" fmla="*/ 877 w 1594"/>
                    <a:gd name="T11" fmla="*/ 493 h 1670"/>
                    <a:gd name="T12" fmla="*/ 930 w 1594"/>
                    <a:gd name="T13" fmla="*/ 537 h 1670"/>
                    <a:gd name="T14" fmla="*/ 1102 w 1594"/>
                    <a:gd name="T15" fmla="*/ 567 h 1670"/>
                    <a:gd name="T16" fmla="*/ 1121 w 1594"/>
                    <a:gd name="T17" fmla="*/ 461 h 1670"/>
                    <a:gd name="T18" fmla="*/ 1179 w 1594"/>
                    <a:gd name="T19" fmla="*/ 539 h 1670"/>
                    <a:gd name="T20" fmla="*/ 1243 w 1594"/>
                    <a:gd name="T21" fmla="*/ 561 h 1670"/>
                    <a:gd name="T22" fmla="*/ 1299 w 1594"/>
                    <a:gd name="T23" fmla="*/ 498 h 1670"/>
                    <a:gd name="T24" fmla="*/ 1404 w 1594"/>
                    <a:gd name="T25" fmla="*/ 409 h 1670"/>
                    <a:gd name="T26" fmla="*/ 1549 w 1594"/>
                    <a:gd name="T27" fmla="*/ 428 h 1670"/>
                    <a:gd name="T28" fmla="*/ 1579 w 1594"/>
                    <a:gd name="T29" fmla="*/ 498 h 1670"/>
                    <a:gd name="T30" fmla="*/ 1504 w 1594"/>
                    <a:gd name="T31" fmla="*/ 542 h 1670"/>
                    <a:gd name="T32" fmla="*/ 1485 w 1594"/>
                    <a:gd name="T33" fmla="*/ 679 h 1670"/>
                    <a:gd name="T34" fmla="*/ 1429 w 1594"/>
                    <a:gd name="T35" fmla="*/ 704 h 1670"/>
                    <a:gd name="T36" fmla="*/ 1408 w 1594"/>
                    <a:gd name="T37" fmla="*/ 814 h 1670"/>
                    <a:gd name="T38" fmla="*/ 1321 w 1594"/>
                    <a:gd name="T39" fmla="*/ 754 h 1670"/>
                    <a:gd name="T40" fmla="*/ 1323 w 1594"/>
                    <a:gd name="T41" fmla="*/ 698 h 1670"/>
                    <a:gd name="T42" fmla="*/ 1225 w 1594"/>
                    <a:gd name="T43" fmla="*/ 638 h 1670"/>
                    <a:gd name="T44" fmla="*/ 1187 w 1594"/>
                    <a:gd name="T45" fmla="*/ 588 h 1670"/>
                    <a:gd name="T46" fmla="*/ 1131 w 1594"/>
                    <a:gd name="T47" fmla="*/ 575 h 1670"/>
                    <a:gd name="T48" fmla="*/ 1127 w 1594"/>
                    <a:gd name="T49" fmla="*/ 625 h 1670"/>
                    <a:gd name="T50" fmla="*/ 1117 w 1594"/>
                    <a:gd name="T51" fmla="*/ 683 h 1670"/>
                    <a:gd name="T52" fmla="*/ 1160 w 1594"/>
                    <a:gd name="T53" fmla="*/ 735 h 1670"/>
                    <a:gd name="T54" fmla="*/ 1149 w 1594"/>
                    <a:gd name="T55" fmla="*/ 843 h 1670"/>
                    <a:gd name="T56" fmla="*/ 1075 w 1594"/>
                    <a:gd name="T57" fmla="*/ 864 h 1670"/>
                    <a:gd name="T58" fmla="*/ 1049 w 1594"/>
                    <a:gd name="T59" fmla="*/ 937 h 1670"/>
                    <a:gd name="T60" fmla="*/ 954 w 1594"/>
                    <a:gd name="T61" fmla="*/ 1001 h 1670"/>
                    <a:gd name="T62" fmla="*/ 912 w 1594"/>
                    <a:gd name="T63" fmla="*/ 1050 h 1670"/>
                    <a:gd name="T64" fmla="*/ 780 w 1594"/>
                    <a:gd name="T65" fmla="*/ 1188 h 1670"/>
                    <a:gd name="T66" fmla="*/ 723 w 1594"/>
                    <a:gd name="T67" fmla="*/ 1233 h 1670"/>
                    <a:gd name="T68" fmla="*/ 744 w 1594"/>
                    <a:gd name="T69" fmla="*/ 1344 h 1670"/>
                    <a:gd name="T70" fmla="*/ 712 w 1594"/>
                    <a:gd name="T71" fmla="*/ 1445 h 1670"/>
                    <a:gd name="T72" fmla="*/ 722 w 1594"/>
                    <a:gd name="T73" fmla="*/ 1524 h 1670"/>
                    <a:gd name="T74" fmla="*/ 693 w 1594"/>
                    <a:gd name="T75" fmla="*/ 1576 h 1670"/>
                    <a:gd name="T76" fmla="*/ 595 w 1594"/>
                    <a:gd name="T77" fmla="*/ 1663 h 1670"/>
                    <a:gd name="T78" fmla="*/ 516 w 1594"/>
                    <a:gd name="T79" fmla="*/ 1529 h 1670"/>
                    <a:gd name="T80" fmla="*/ 419 w 1594"/>
                    <a:gd name="T81" fmla="*/ 1334 h 1670"/>
                    <a:gd name="T82" fmla="*/ 301 w 1594"/>
                    <a:gd name="T83" fmla="*/ 1114 h 1670"/>
                    <a:gd name="T84" fmla="*/ 259 w 1594"/>
                    <a:gd name="T85" fmla="*/ 861 h 1670"/>
                    <a:gd name="T86" fmla="*/ 230 w 1594"/>
                    <a:gd name="T87" fmla="*/ 814 h 1670"/>
                    <a:gd name="T88" fmla="*/ 164 w 1594"/>
                    <a:gd name="T89" fmla="*/ 900 h 1670"/>
                    <a:gd name="T90" fmla="*/ 90 w 1594"/>
                    <a:gd name="T91" fmla="*/ 876 h 1670"/>
                    <a:gd name="T92" fmla="*/ 51 w 1594"/>
                    <a:gd name="T93" fmla="*/ 798 h 1670"/>
                    <a:gd name="T94" fmla="*/ 30 w 1594"/>
                    <a:gd name="T95" fmla="*/ 771 h 1670"/>
                    <a:gd name="T96" fmla="*/ 32 w 1594"/>
                    <a:gd name="T97" fmla="*/ 708 h 1670"/>
                    <a:gd name="T98" fmla="*/ 159 w 1594"/>
                    <a:gd name="T99" fmla="*/ 659 h 1670"/>
                    <a:gd name="T100" fmla="*/ 92 w 1594"/>
                    <a:gd name="T101" fmla="*/ 569 h 1670"/>
                    <a:gd name="T102" fmla="*/ 59 w 1594"/>
                    <a:gd name="T103" fmla="*/ 500 h 1670"/>
                    <a:gd name="T104" fmla="*/ 162 w 1594"/>
                    <a:gd name="T105" fmla="*/ 459 h 1670"/>
                    <a:gd name="T106" fmla="*/ 270 w 1594"/>
                    <a:gd name="T107" fmla="*/ 294 h 1670"/>
                    <a:gd name="T108" fmla="*/ 274 w 1594"/>
                    <a:gd name="T109" fmla="*/ 230 h 1670"/>
                    <a:gd name="T110" fmla="*/ 227 w 1594"/>
                    <a:gd name="T111" fmla="*/ 142 h 1670"/>
                    <a:gd name="T112" fmla="*/ 322 w 1594"/>
                    <a:gd name="T113" fmla="*/ 54 h 1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315" name="Freeform 465">
                  <a:extLst>
                    <a:ext uri="{FF2B5EF4-FFF2-40B4-BE49-F238E27FC236}">
                      <a16:creationId xmlns="" xmlns:a16="http://schemas.microsoft.com/office/drawing/2014/main" id="{E9D455D2-F0F7-48BF-A724-E0A393FA7A3C}"/>
                    </a:ext>
                  </a:extLst>
                </p:cNvPr>
                <p:cNvSpPr>
                  <a:spLocks/>
                </p:cNvSpPr>
                <p:nvPr>
                  <p:custDataLst>
                    <p:tags r:id="rId303"/>
                  </p:custDataLst>
                </p:nvPr>
              </p:nvSpPr>
              <p:spPr bwMode="auto">
                <a:xfrm>
                  <a:off x="5825191" y="2742737"/>
                  <a:ext cx="112597" cy="146376"/>
                </a:xfrm>
                <a:custGeom>
                  <a:avLst/>
                  <a:gdLst>
                    <a:gd name="T0" fmla="*/ 53 w 359"/>
                    <a:gd name="T1" fmla="*/ 382 h 394"/>
                    <a:gd name="T2" fmla="*/ 53 w 359"/>
                    <a:gd name="T3" fmla="*/ 358 h 394"/>
                    <a:gd name="T4" fmla="*/ 53 w 359"/>
                    <a:gd name="T5" fmla="*/ 333 h 394"/>
                    <a:gd name="T6" fmla="*/ 50 w 359"/>
                    <a:gd name="T7" fmla="*/ 312 h 394"/>
                    <a:gd name="T8" fmla="*/ 43 w 359"/>
                    <a:gd name="T9" fmla="*/ 293 h 394"/>
                    <a:gd name="T10" fmla="*/ 35 w 359"/>
                    <a:gd name="T11" fmla="*/ 277 h 394"/>
                    <a:gd name="T12" fmla="*/ 13 w 359"/>
                    <a:gd name="T13" fmla="*/ 245 h 394"/>
                    <a:gd name="T14" fmla="*/ 0 w 359"/>
                    <a:gd name="T15" fmla="*/ 185 h 394"/>
                    <a:gd name="T16" fmla="*/ 33 w 359"/>
                    <a:gd name="T17" fmla="*/ 181 h 394"/>
                    <a:gd name="T18" fmla="*/ 40 w 359"/>
                    <a:gd name="T19" fmla="*/ 169 h 394"/>
                    <a:gd name="T20" fmla="*/ 41 w 359"/>
                    <a:gd name="T21" fmla="*/ 150 h 394"/>
                    <a:gd name="T22" fmla="*/ 38 w 359"/>
                    <a:gd name="T23" fmla="*/ 107 h 394"/>
                    <a:gd name="T24" fmla="*/ 31 w 359"/>
                    <a:gd name="T25" fmla="*/ 65 h 394"/>
                    <a:gd name="T26" fmla="*/ 32 w 359"/>
                    <a:gd name="T27" fmla="*/ 47 h 394"/>
                    <a:gd name="T28" fmla="*/ 36 w 359"/>
                    <a:gd name="T29" fmla="*/ 36 h 394"/>
                    <a:gd name="T30" fmla="*/ 120 w 359"/>
                    <a:gd name="T31" fmla="*/ 31 h 394"/>
                    <a:gd name="T32" fmla="*/ 122 w 359"/>
                    <a:gd name="T33" fmla="*/ 22 h 394"/>
                    <a:gd name="T34" fmla="*/ 128 w 359"/>
                    <a:gd name="T35" fmla="*/ 14 h 394"/>
                    <a:gd name="T36" fmla="*/ 140 w 359"/>
                    <a:gd name="T37" fmla="*/ 0 h 394"/>
                    <a:gd name="T38" fmla="*/ 142 w 359"/>
                    <a:gd name="T39" fmla="*/ 18 h 394"/>
                    <a:gd name="T40" fmla="*/ 142 w 359"/>
                    <a:gd name="T41" fmla="*/ 26 h 394"/>
                    <a:gd name="T42" fmla="*/ 140 w 359"/>
                    <a:gd name="T43" fmla="*/ 31 h 394"/>
                    <a:gd name="T44" fmla="*/ 168 w 359"/>
                    <a:gd name="T45" fmla="*/ 31 h 394"/>
                    <a:gd name="T46" fmla="*/ 186 w 359"/>
                    <a:gd name="T47" fmla="*/ 31 h 394"/>
                    <a:gd name="T48" fmla="*/ 214 w 359"/>
                    <a:gd name="T49" fmla="*/ 38 h 394"/>
                    <a:gd name="T50" fmla="*/ 233 w 359"/>
                    <a:gd name="T51" fmla="*/ 49 h 394"/>
                    <a:gd name="T52" fmla="*/ 246 w 359"/>
                    <a:gd name="T53" fmla="*/ 58 h 394"/>
                    <a:gd name="T54" fmla="*/ 259 w 359"/>
                    <a:gd name="T55" fmla="*/ 61 h 394"/>
                    <a:gd name="T56" fmla="*/ 268 w 359"/>
                    <a:gd name="T57" fmla="*/ 59 h 394"/>
                    <a:gd name="T58" fmla="*/ 275 w 359"/>
                    <a:gd name="T59" fmla="*/ 54 h 394"/>
                    <a:gd name="T60" fmla="*/ 286 w 359"/>
                    <a:gd name="T61" fmla="*/ 37 h 394"/>
                    <a:gd name="T62" fmla="*/ 312 w 359"/>
                    <a:gd name="T63" fmla="*/ 52 h 394"/>
                    <a:gd name="T64" fmla="*/ 325 w 359"/>
                    <a:gd name="T65" fmla="*/ 59 h 394"/>
                    <a:gd name="T66" fmla="*/ 338 w 359"/>
                    <a:gd name="T67" fmla="*/ 61 h 394"/>
                    <a:gd name="T68" fmla="*/ 353 w 359"/>
                    <a:gd name="T69" fmla="*/ 161 h 394"/>
                    <a:gd name="T70" fmla="*/ 338 w 359"/>
                    <a:gd name="T71" fmla="*/ 185 h 394"/>
                    <a:gd name="T72" fmla="*/ 323 w 359"/>
                    <a:gd name="T73" fmla="*/ 206 h 394"/>
                    <a:gd name="T74" fmla="*/ 315 w 359"/>
                    <a:gd name="T75" fmla="*/ 224 h 394"/>
                    <a:gd name="T76" fmla="*/ 313 w 359"/>
                    <a:gd name="T77" fmla="*/ 239 h 394"/>
                    <a:gd name="T78" fmla="*/ 313 w 359"/>
                    <a:gd name="T79" fmla="*/ 255 h 394"/>
                    <a:gd name="T80" fmla="*/ 321 w 359"/>
                    <a:gd name="T81" fmla="*/ 273 h 394"/>
                    <a:gd name="T82" fmla="*/ 331 w 359"/>
                    <a:gd name="T83" fmla="*/ 293 h 394"/>
                    <a:gd name="T84" fmla="*/ 337 w 359"/>
                    <a:gd name="T85" fmla="*/ 309 h 394"/>
                    <a:gd name="T86" fmla="*/ 337 w 359"/>
                    <a:gd name="T87" fmla="*/ 321 h 394"/>
                    <a:gd name="T88" fmla="*/ 330 w 359"/>
                    <a:gd name="T89" fmla="*/ 337 h 394"/>
                    <a:gd name="T90" fmla="*/ 326 w 359"/>
                    <a:gd name="T91" fmla="*/ 351 h 394"/>
                    <a:gd name="T92" fmla="*/ 319 w 359"/>
                    <a:gd name="T93" fmla="*/ 358 h 394"/>
                    <a:gd name="T94" fmla="*/ 308 w 359"/>
                    <a:gd name="T95" fmla="*/ 356 h 394"/>
                    <a:gd name="T96" fmla="*/ 298 w 359"/>
                    <a:gd name="T97" fmla="*/ 350 h 394"/>
                    <a:gd name="T98" fmla="*/ 287 w 359"/>
                    <a:gd name="T99" fmla="*/ 340 h 394"/>
                    <a:gd name="T100" fmla="*/ 277 w 359"/>
                    <a:gd name="T101" fmla="*/ 335 h 394"/>
                    <a:gd name="T102" fmla="*/ 266 w 359"/>
                    <a:gd name="T103" fmla="*/ 333 h 394"/>
                    <a:gd name="T104" fmla="*/ 246 w 359"/>
                    <a:gd name="T105" fmla="*/ 333 h 394"/>
                    <a:gd name="T106" fmla="*/ 221 w 359"/>
                    <a:gd name="T107" fmla="*/ 336 h 394"/>
                    <a:gd name="T108" fmla="*/ 181 w 359"/>
                    <a:gd name="T109" fmla="*/ 343 h 394"/>
                    <a:gd name="T110" fmla="*/ 131 w 359"/>
                    <a:gd name="T111" fmla="*/ 359 h 394"/>
                    <a:gd name="T112" fmla="*/ 86 w 359"/>
                    <a:gd name="T113" fmla="*/ 375 h 394"/>
                    <a:gd name="T114" fmla="*/ 53 w 359"/>
                    <a:gd name="T115" fmla="*/ 394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316" name="Freeform 466">
                  <a:extLst>
                    <a:ext uri="{FF2B5EF4-FFF2-40B4-BE49-F238E27FC236}">
                      <a16:creationId xmlns="" xmlns:a16="http://schemas.microsoft.com/office/drawing/2014/main" id="{5A9FC364-E78F-433D-BF9B-127290E88E80}"/>
                    </a:ext>
                  </a:extLst>
                </p:cNvPr>
                <p:cNvSpPr>
                  <a:spLocks/>
                </p:cNvSpPr>
                <p:nvPr>
                  <p:custDataLst>
                    <p:tags r:id="rId304"/>
                  </p:custDataLst>
                </p:nvPr>
              </p:nvSpPr>
              <p:spPr bwMode="auto">
                <a:xfrm>
                  <a:off x="6582966" y="2881231"/>
                  <a:ext cx="136242" cy="192541"/>
                </a:xfrm>
                <a:custGeom>
                  <a:avLst/>
                  <a:gdLst>
                    <a:gd name="T0" fmla="*/ 410 w 449"/>
                    <a:gd name="T1" fmla="*/ 105 h 523"/>
                    <a:gd name="T2" fmla="*/ 405 w 449"/>
                    <a:gd name="T3" fmla="*/ 98 h 523"/>
                    <a:gd name="T4" fmla="*/ 408 w 449"/>
                    <a:gd name="T5" fmla="*/ 92 h 523"/>
                    <a:gd name="T6" fmla="*/ 422 w 449"/>
                    <a:gd name="T7" fmla="*/ 77 h 523"/>
                    <a:gd name="T8" fmla="*/ 441 w 449"/>
                    <a:gd name="T9" fmla="*/ 60 h 523"/>
                    <a:gd name="T10" fmla="*/ 447 w 449"/>
                    <a:gd name="T11" fmla="*/ 50 h 523"/>
                    <a:gd name="T12" fmla="*/ 449 w 449"/>
                    <a:gd name="T13" fmla="*/ 37 h 523"/>
                    <a:gd name="T14" fmla="*/ 432 w 449"/>
                    <a:gd name="T15" fmla="*/ 34 h 523"/>
                    <a:gd name="T16" fmla="*/ 422 w 449"/>
                    <a:gd name="T17" fmla="*/ 27 h 523"/>
                    <a:gd name="T18" fmla="*/ 411 w 449"/>
                    <a:gd name="T19" fmla="*/ 21 h 523"/>
                    <a:gd name="T20" fmla="*/ 390 w 449"/>
                    <a:gd name="T21" fmla="*/ 18 h 523"/>
                    <a:gd name="T22" fmla="*/ 377 w 449"/>
                    <a:gd name="T23" fmla="*/ 20 h 523"/>
                    <a:gd name="T24" fmla="*/ 368 w 449"/>
                    <a:gd name="T25" fmla="*/ 24 h 523"/>
                    <a:gd name="T26" fmla="*/ 355 w 449"/>
                    <a:gd name="T27" fmla="*/ 37 h 523"/>
                    <a:gd name="T28" fmla="*/ 340 w 449"/>
                    <a:gd name="T29" fmla="*/ 50 h 523"/>
                    <a:gd name="T30" fmla="*/ 326 w 449"/>
                    <a:gd name="T31" fmla="*/ 54 h 523"/>
                    <a:gd name="T32" fmla="*/ 310 w 449"/>
                    <a:gd name="T33" fmla="*/ 55 h 523"/>
                    <a:gd name="T34" fmla="*/ 287 w 449"/>
                    <a:gd name="T35" fmla="*/ 54 h 523"/>
                    <a:gd name="T36" fmla="*/ 267 w 449"/>
                    <a:gd name="T37" fmla="*/ 50 h 523"/>
                    <a:gd name="T38" fmla="*/ 235 w 449"/>
                    <a:gd name="T39" fmla="*/ 36 h 523"/>
                    <a:gd name="T40" fmla="*/ 206 w 449"/>
                    <a:gd name="T41" fmla="*/ 19 h 523"/>
                    <a:gd name="T42" fmla="*/ 189 w 449"/>
                    <a:gd name="T43" fmla="*/ 12 h 523"/>
                    <a:gd name="T44" fmla="*/ 170 w 449"/>
                    <a:gd name="T45" fmla="*/ 6 h 523"/>
                    <a:gd name="T46" fmla="*/ 134 w 449"/>
                    <a:gd name="T47" fmla="*/ 8 h 523"/>
                    <a:gd name="T48" fmla="*/ 119 w 449"/>
                    <a:gd name="T49" fmla="*/ 6 h 523"/>
                    <a:gd name="T50" fmla="*/ 103 w 449"/>
                    <a:gd name="T51" fmla="*/ 0 h 523"/>
                    <a:gd name="T52" fmla="*/ 52 w 449"/>
                    <a:gd name="T53" fmla="*/ 0 h 523"/>
                    <a:gd name="T54" fmla="*/ 5 w 449"/>
                    <a:gd name="T55" fmla="*/ 0 h 523"/>
                    <a:gd name="T56" fmla="*/ 5 w 449"/>
                    <a:gd name="T57" fmla="*/ 18 h 523"/>
                    <a:gd name="T58" fmla="*/ 5 w 449"/>
                    <a:gd name="T59" fmla="*/ 37 h 523"/>
                    <a:gd name="T60" fmla="*/ 15 w 449"/>
                    <a:gd name="T61" fmla="*/ 60 h 523"/>
                    <a:gd name="T62" fmla="*/ 23 w 449"/>
                    <a:gd name="T63" fmla="*/ 91 h 523"/>
                    <a:gd name="T64" fmla="*/ 31 w 449"/>
                    <a:gd name="T65" fmla="*/ 128 h 523"/>
                    <a:gd name="T66" fmla="*/ 38 w 449"/>
                    <a:gd name="T67" fmla="*/ 172 h 523"/>
                    <a:gd name="T68" fmla="*/ 37 w 449"/>
                    <a:gd name="T69" fmla="*/ 206 h 523"/>
                    <a:gd name="T70" fmla="*/ 29 w 449"/>
                    <a:gd name="T71" fmla="*/ 230 h 523"/>
                    <a:gd name="T72" fmla="*/ 7 w 449"/>
                    <a:gd name="T73" fmla="*/ 269 h 523"/>
                    <a:gd name="T74" fmla="*/ 10 w 449"/>
                    <a:gd name="T75" fmla="*/ 321 h 523"/>
                    <a:gd name="T76" fmla="*/ 28 w 449"/>
                    <a:gd name="T77" fmla="*/ 339 h 523"/>
                    <a:gd name="T78" fmla="*/ 84 w 449"/>
                    <a:gd name="T79" fmla="*/ 367 h 523"/>
                    <a:gd name="T80" fmla="*/ 136 w 449"/>
                    <a:gd name="T81" fmla="*/ 396 h 523"/>
                    <a:gd name="T82" fmla="*/ 170 w 449"/>
                    <a:gd name="T83" fmla="*/ 420 h 523"/>
                    <a:gd name="T84" fmla="*/ 189 w 449"/>
                    <a:gd name="T85" fmla="*/ 436 h 523"/>
                    <a:gd name="T86" fmla="*/ 198 w 449"/>
                    <a:gd name="T87" fmla="*/ 451 h 523"/>
                    <a:gd name="T88" fmla="*/ 201 w 449"/>
                    <a:gd name="T89" fmla="*/ 464 h 523"/>
                    <a:gd name="T90" fmla="*/ 209 w 449"/>
                    <a:gd name="T91" fmla="*/ 479 h 523"/>
                    <a:gd name="T92" fmla="*/ 220 w 449"/>
                    <a:gd name="T93" fmla="*/ 492 h 523"/>
                    <a:gd name="T94" fmla="*/ 233 w 449"/>
                    <a:gd name="T95" fmla="*/ 503 h 523"/>
                    <a:gd name="T96" fmla="*/ 247 w 449"/>
                    <a:gd name="T97" fmla="*/ 512 h 523"/>
                    <a:gd name="T98" fmla="*/ 264 w 449"/>
                    <a:gd name="T99" fmla="*/ 519 h 523"/>
                    <a:gd name="T100" fmla="*/ 281 w 449"/>
                    <a:gd name="T101" fmla="*/ 523 h 523"/>
                    <a:gd name="T102" fmla="*/ 304 w 449"/>
                    <a:gd name="T103" fmla="*/ 502 h 523"/>
                    <a:gd name="T104" fmla="*/ 335 w 449"/>
                    <a:gd name="T105" fmla="*/ 462 h 523"/>
                    <a:gd name="T106" fmla="*/ 365 w 449"/>
                    <a:gd name="T107" fmla="*/ 427 h 523"/>
                    <a:gd name="T108" fmla="*/ 394 w 449"/>
                    <a:gd name="T109" fmla="*/ 39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317" name="Freeform 467">
                  <a:extLst>
                    <a:ext uri="{FF2B5EF4-FFF2-40B4-BE49-F238E27FC236}">
                      <a16:creationId xmlns="" xmlns:a16="http://schemas.microsoft.com/office/drawing/2014/main" id="{09BA4BA4-02AA-4DA4-814D-C777051B44CB}"/>
                    </a:ext>
                  </a:extLst>
                </p:cNvPr>
                <p:cNvSpPr>
                  <a:spLocks/>
                </p:cNvSpPr>
                <p:nvPr>
                  <p:custDataLst>
                    <p:tags r:id="rId305"/>
                  </p:custDataLst>
                </p:nvPr>
              </p:nvSpPr>
              <p:spPr bwMode="auto">
                <a:xfrm>
                  <a:off x="6570581" y="2232674"/>
                  <a:ext cx="72062" cy="92329"/>
                </a:xfrm>
                <a:custGeom>
                  <a:avLst/>
                  <a:gdLst>
                    <a:gd name="T0" fmla="*/ 12 w 226"/>
                    <a:gd name="T1" fmla="*/ 228 h 246"/>
                    <a:gd name="T2" fmla="*/ 36 w 226"/>
                    <a:gd name="T3" fmla="*/ 240 h 246"/>
                    <a:gd name="T4" fmla="*/ 53 w 226"/>
                    <a:gd name="T5" fmla="*/ 245 h 246"/>
                    <a:gd name="T6" fmla="*/ 68 w 226"/>
                    <a:gd name="T7" fmla="*/ 245 h 246"/>
                    <a:gd name="T8" fmla="*/ 85 w 226"/>
                    <a:gd name="T9" fmla="*/ 241 h 246"/>
                    <a:gd name="T10" fmla="*/ 110 w 226"/>
                    <a:gd name="T11" fmla="*/ 228 h 246"/>
                    <a:gd name="T12" fmla="*/ 141 w 226"/>
                    <a:gd name="T13" fmla="*/ 205 h 246"/>
                    <a:gd name="T14" fmla="*/ 161 w 226"/>
                    <a:gd name="T15" fmla="*/ 184 h 246"/>
                    <a:gd name="T16" fmla="*/ 159 w 226"/>
                    <a:gd name="T17" fmla="*/ 173 h 246"/>
                    <a:gd name="T18" fmla="*/ 149 w 226"/>
                    <a:gd name="T19" fmla="*/ 160 h 246"/>
                    <a:gd name="T20" fmla="*/ 143 w 226"/>
                    <a:gd name="T21" fmla="*/ 145 h 246"/>
                    <a:gd name="T22" fmla="*/ 141 w 226"/>
                    <a:gd name="T23" fmla="*/ 130 h 246"/>
                    <a:gd name="T24" fmla="*/ 141 w 226"/>
                    <a:gd name="T25" fmla="*/ 116 h 246"/>
                    <a:gd name="T26" fmla="*/ 146 w 226"/>
                    <a:gd name="T27" fmla="*/ 105 h 246"/>
                    <a:gd name="T28" fmla="*/ 156 w 226"/>
                    <a:gd name="T29" fmla="*/ 94 h 246"/>
                    <a:gd name="T30" fmla="*/ 168 w 226"/>
                    <a:gd name="T31" fmla="*/ 86 h 246"/>
                    <a:gd name="T32" fmla="*/ 204 w 226"/>
                    <a:gd name="T33" fmla="*/ 71 h 246"/>
                    <a:gd name="T34" fmla="*/ 225 w 226"/>
                    <a:gd name="T35" fmla="*/ 49 h 246"/>
                    <a:gd name="T36" fmla="*/ 221 w 226"/>
                    <a:gd name="T37" fmla="*/ 30 h 246"/>
                    <a:gd name="T38" fmla="*/ 214 w 226"/>
                    <a:gd name="T39" fmla="*/ 17 h 246"/>
                    <a:gd name="T40" fmla="*/ 212 w 226"/>
                    <a:gd name="T41" fmla="*/ 6 h 246"/>
                    <a:gd name="T42" fmla="*/ 202 w 226"/>
                    <a:gd name="T43" fmla="*/ 1 h 246"/>
                    <a:gd name="T44" fmla="*/ 181 w 226"/>
                    <a:gd name="T45" fmla="*/ 7 h 246"/>
                    <a:gd name="T46" fmla="*/ 154 w 226"/>
                    <a:gd name="T47" fmla="*/ 20 h 246"/>
                    <a:gd name="T48" fmla="*/ 121 w 226"/>
                    <a:gd name="T49" fmla="*/ 38 h 246"/>
                    <a:gd name="T50" fmla="*/ 100 w 226"/>
                    <a:gd name="T51" fmla="*/ 51 h 246"/>
                    <a:gd name="T52" fmla="*/ 87 w 226"/>
                    <a:gd name="T53" fmla="*/ 55 h 246"/>
                    <a:gd name="T54" fmla="*/ 75 w 226"/>
                    <a:gd name="T55" fmla="*/ 54 h 246"/>
                    <a:gd name="T56" fmla="*/ 59 w 226"/>
                    <a:gd name="T57" fmla="*/ 47 h 246"/>
                    <a:gd name="T58" fmla="*/ 36 w 226"/>
                    <a:gd name="T59" fmla="*/ 31 h 246"/>
                    <a:gd name="T60" fmla="*/ 24 w 226"/>
                    <a:gd name="T61" fmla="*/ 39 h 246"/>
                    <a:gd name="T62" fmla="*/ 18 w 226"/>
                    <a:gd name="T63" fmla="*/ 95 h 246"/>
                    <a:gd name="T64" fmla="*/ 10 w 226"/>
                    <a:gd name="T65" fmla="*/ 163 h 246"/>
                    <a:gd name="T66" fmla="*/ 3 w 226"/>
                    <a:gd name="T67" fmla="*/ 21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318" name="Freeform 468">
                  <a:extLst>
                    <a:ext uri="{FF2B5EF4-FFF2-40B4-BE49-F238E27FC236}">
                      <a16:creationId xmlns="" xmlns:a16="http://schemas.microsoft.com/office/drawing/2014/main" id="{F128705F-E306-4F2B-B61F-84E3FD0778B9}"/>
                    </a:ext>
                  </a:extLst>
                </p:cNvPr>
                <p:cNvSpPr>
                  <a:spLocks/>
                </p:cNvSpPr>
                <p:nvPr>
                  <p:custDataLst>
                    <p:tags r:id="rId306"/>
                  </p:custDataLst>
                </p:nvPr>
              </p:nvSpPr>
              <p:spPr bwMode="auto">
                <a:xfrm>
                  <a:off x="6782263" y="2305862"/>
                  <a:ext cx="15763" cy="39409"/>
                </a:xfrm>
                <a:custGeom>
                  <a:avLst/>
                  <a:gdLst>
                    <a:gd name="T0" fmla="*/ 27 w 60"/>
                    <a:gd name="T1" fmla="*/ 0 h 81"/>
                    <a:gd name="T2" fmla="*/ 29 w 60"/>
                    <a:gd name="T3" fmla="*/ 2 h 81"/>
                    <a:gd name="T4" fmla="*/ 32 w 60"/>
                    <a:gd name="T5" fmla="*/ 3 h 81"/>
                    <a:gd name="T6" fmla="*/ 36 w 60"/>
                    <a:gd name="T7" fmla="*/ 3 h 81"/>
                    <a:gd name="T8" fmla="*/ 40 w 60"/>
                    <a:gd name="T9" fmla="*/ 2 h 81"/>
                    <a:gd name="T10" fmla="*/ 47 w 60"/>
                    <a:gd name="T11" fmla="*/ 1 h 81"/>
                    <a:gd name="T12" fmla="*/ 53 w 60"/>
                    <a:gd name="T13" fmla="*/ 0 h 81"/>
                    <a:gd name="T14" fmla="*/ 53 w 60"/>
                    <a:gd name="T15" fmla="*/ 26 h 81"/>
                    <a:gd name="T16" fmla="*/ 54 w 60"/>
                    <a:gd name="T17" fmla="*/ 47 h 81"/>
                    <a:gd name="T18" fmla="*/ 54 w 60"/>
                    <a:gd name="T19" fmla="*/ 57 h 81"/>
                    <a:gd name="T20" fmla="*/ 56 w 60"/>
                    <a:gd name="T21" fmla="*/ 65 h 81"/>
                    <a:gd name="T22" fmla="*/ 58 w 60"/>
                    <a:gd name="T23" fmla="*/ 73 h 81"/>
                    <a:gd name="T24" fmla="*/ 60 w 60"/>
                    <a:gd name="T25" fmla="*/ 81 h 81"/>
                    <a:gd name="T26" fmla="*/ 20 w 60"/>
                    <a:gd name="T27" fmla="*/ 81 h 81"/>
                    <a:gd name="T28" fmla="*/ 14 w 60"/>
                    <a:gd name="T29" fmla="*/ 80 h 81"/>
                    <a:gd name="T30" fmla="*/ 7 w 60"/>
                    <a:gd name="T31" fmla="*/ 77 h 81"/>
                    <a:gd name="T32" fmla="*/ 5 w 60"/>
                    <a:gd name="T33" fmla="*/ 74 h 81"/>
                    <a:gd name="T34" fmla="*/ 2 w 60"/>
                    <a:gd name="T35" fmla="*/ 72 h 81"/>
                    <a:gd name="T36" fmla="*/ 1 w 60"/>
                    <a:gd name="T37" fmla="*/ 70 h 81"/>
                    <a:gd name="T38" fmla="*/ 0 w 60"/>
                    <a:gd name="T39" fmla="*/ 68 h 81"/>
                    <a:gd name="T40" fmla="*/ 7 w 60"/>
                    <a:gd name="T41" fmla="*/ 12 h 81"/>
                    <a:gd name="T42" fmla="*/ 20 w 60"/>
                    <a:gd name="T43" fmla="*/ 6 h 81"/>
                    <a:gd name="T44" fmla="*/ 34 w 60"/>
                    <a:gd name="T45" fmla="*/ 0 h 81"/>
                    <a:gd name="T46" fmla="*/ 27 w 60"/>
                    <a:gd name="T4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319" name="Freeform 469">
                  <a:extLst>
                    <a:ext uri="{FF2B5EF4-FFF2-40B4-BE49-F238E27FC236}">
                      <a16:creationId xmlns="" xmlns:a16="http://schemas.microsoft.com/office/drawing/2014/main" id="{0EFD2B67-4DC8-42A0-8DC7-BDAA9F519AFE}"/>
                    </a:ext>
                  </a:extLst>
                </p:cNvPr>
                <p:cNvSpPr>
                  <a:spLocks/>
                </p:cNvSpPr>
                <p:nvPr>
                  <p:custDataLst>
                    <p:tags r:id="rId307"/>
                  </p:custDataLst>
                </p:nvPr>
              </p:nvSpPr>
              <p:spPr bwMode="auto">
                <a:xfrm>
                  <a:off x="6276703" y="1692210"/>
                  <a:ext cx="114849" cy="47291"/>
                </a:xfrm>
                <a:custGeom>
                  <a:avLst/>
                  <a:gdLst>
                    <a:gd name="T0" fmla="*/ 250 w 370"/>
                    <a:gd name="T1" fmla="*/ 117 h 129"/>
                    <a:gd name="T2" fmla="*/ 258 w 370"/>
                    <a:gd name="T3" fmla="*/ 119 h 129"/>
                    <a:gd name="T4" fmla="*/ 277 w 370"/>
                    <a:gd name="T5" fmla="*/ 123 h 129"/>
                    <a:gd name="T6" fmla="*/ 295 w 370"/>
                    <a:gd name="T7" fmla="*/ 127 h 129"/>
                    <a:gd name="T8" fmla="*/ 303 w 370"/>
                    <a:gd name="T9" fmla="*/ 129 h 129"/>
                    <a:gd name="T10" fmla="*/ 370 w 370"/>
                    <a:gd name="T11" fmla="*/ 97 h 129"/>
                    <a:gd name="T12" fmla="*/ 358 w 370"/>
                    <a:gd name="T13" fmla="*/ 75 h 129"/>
                    <a:gd name="T14" fmla="*/ 345 w 370"/>
                    <a:gd name="T15" fmla="*/ 48 h 129"/>
                    <a:gd name="T16" fmla="*/ 335 w 370"/>
                    <a:gd name="T17" fmla="*/ 27 h 129"/>
                    <a:gd name="T18" fmla="*/ 330 w 370"/>
                    <a:gd name="T19" fmla="*/ 18 h 129"/>
                    <a:gd name="T20" fmla="*/ 300 w 370"/>
                    <a:gd name="T21" fmla="*/ 15 h 129"/>
                    <a:gd name="T22" fmla="*/ 257 w 370"/>
                    <a:gd name="T23" fmla="*/ 9 h 129"/>
                    <a:gd name="T24" fmla="*/ 214 w 370"/>
                    <a:gd name="T25" fmla="*/ 2 h 129"/>
                    <a:gd name="T26" fmla="*/ 183 w 370"/>
                    <a:gd name="T27" fmla="*/ 0 h 129"/>
                    <a:gd name="T28" fmla="*/ 179 w 370"/>
                    <a:gd name="T29" fmla="*/ 0 h 129"/>
                    <a:gd name="T30" fmla="*/ 176 w 370"/>
                    <a:gd name="T31" fmla="*/ 1 h 129"/>
                    <a:gd name="T32" fmla="*/ 172 w 370"/>
                    <a:gd name="T33" fmla="*/ 2 h 129"/>
                    <a:gd name="T34" fmla="*/ 170 w 370"/>
                    <a:gd name="T35" fmla="*/ 3 h 129"/>
                    <a:gd name="T36" fmla="*/ 162 w 370"/>
                    <a:gd name="T37" fmla="*/ 7 h 129"/>
                    <a:gd name="T38" fmla="*/ 150 w 370"/>
                    <a:gd name="T39" fmla="*/ 12 h 129"/>
                    <a:gd name="T40" fmla="*/ 147 w 370"/>
                    <a:gd name="T41" fmla="*/ 21 h 129"/>
                    <a:gd name="T42" fmla="*/ 140 w 370"/>
                    <a:gd name="T43" fmla="*/ 35 h 129"/>
                    <a:gd name="T44" fmla="*/ 134 w 370"/>
                    <a:gd name="T45" fmla="*/ 48 h 129"/>
                    <a:gd name="T46" fmla="*/ 131 w 370"/>
                    <a:gd name="T47" fmla="*/ 55 h 129"/>
                    <a:gd name="T48" fmla="*/ 122 w 370"/>
                    <a:gd name="T49" fmla="*/ 54 h 129"/>
                    <a:gd name="T50" fmla="*/ 111 w 370"/>
                    <a:gd name="T51" fmla="*/ 49 h 129"/>
                    <a:gd name="T52" fmla="*/ 98 w 370"/>
                    <a:gd name="T53" fmla="*/ 44 h 129"/>
                    <a:gd name="T54" fmla="*/ 84 w 370"/>
                    <a:gd name="T55" fmla="*/ 38 h 129"/>
                    <a:gd name="T56" fmla="*/ 60 w 370"/>
                    <a:gd name="T57" fmla="*/ 26 h 129"/>
                    <a:gd name="T58" fmla="*/ 44 w 370"/>
                    <a:gd name="T59" fmla="*/ 18 h 129"/>
                    <a:gd name="T60" fmla="*/ 32 w 370"/>
                    <a:gd name="T61" fmla="*/ 25 h 129"/>
                    <a:gd name="T62" fmla="*/ 21 w 370"/>
                    <a:gd name="T63" fmla="*/ 33 h 129"/>
                    <a:gd name="T64" fmla="*/ 16 w 370"/>
                    <a:gd name="T65" fmla="*/ 37 h 129"/>
                    <a:gd name="T66" fmla="*/ 12 w 370"/>
                    <a:gd name="T67" fmla="*/ 41 h 129"/>
                    <a:gd name="T68" fmla="*/ 9 w 370"/>
                    <a:gd name="T69" fmla="*/ 46 h 129"/>
                    <a:gd name="T70" fmla="*/ 5 w 370"/>
                    <a:gd name="T71" fmla="*/ 52 h 129"/>
                    <a:gd name="T72" fmla="*/ 3 w 370"/>
                    <a:gd name="T73" fmla="*/ 57 h 129"/>
                    <a:gd name="T74" fmla="*/ 1 w 370"/>
                    <a:gd name="T75" fmla="*/ 63 h 129"/>
                    <a:gd name="T76" fmla="*/ 0 w 370"/>
                    <a:gd name="T77" fmla="*/ 69 h 129"/>
                    <a:gd name="T78" fmla="*/ 0 w 370"/>
                    <a:gd name="T79" fmla="*/ 75 h 129"/>
                    <a:gd name="T80" fmla="*/ 1 w 370"/>
                    <a:gd name="T81" fmla="*/ 82 h 129"/>
                    <a:gd name="T82" fmla="*/ 3 w 370"/>
                    <a:gd name="T83" fmla="*/ 88 h 129"/>
                    <a:gd name="T84" fmla="*/ 6 w 370"/>
                    <a:gd name="T85" fmla="*/ 96 h 129"/>
                    <a:gd name="T86" fmla="*/ 11 w 370"/>
                    <a:gd name="T87" fmla="*/ 103 h 129"/>
                    <a:gd name="T88" fmla="*/ 20 w 370"/>
                    <a:gd name="T89" fmla="*/ 101 h 129"/>
                    <a:gd name="T90" fmla="*/ 33 w 370"/>
                    <a:gd name="T91" fmla="*/ 99 h 129"/>
                    <a:gd name="T92" fmla="*/ 50 w 370"/>
                    <a:gd name="T93" fmla="*/ 97 h 129"/>
                    <a:gd name="T94" fmla="*/ 69 w 370"/>
                    <a:gd name="T95" fmla="*/ 95 h 129"/>
                    <a:gd name="T96" fmla="*/ 102 w 370"/>
                    <a:gd name="T97" fmla="*/ 92 h 129"/>
                    <a:gd name="T98" fmla="*/ 117 w 370"/>
                    <a:gd name="T99" fmla="*/ 91 h 129"/>
                    <a:gd name="T100" fmla="*/ 137 w 370"/>
                    <a:gd name="T101" fmla="*/ 92 h 129"/>
                    <a:gd name="T102" fmla="*/ 152 w 370"/>
                    <a:gd name="T103" fmla="*/ 94 h 129"/>
                    <a:gd name="T104" fmla="*/ 166 w 370"/>
                    <a:gd name="T105" fmla="*/ 97 h 129"/>
                    <a:gd name="T106" fmla="*/ 177 w 370"/>
                    <a:gd name="T107" fmla="*/ 100 h 129"/>
                    <a:gd name="T108" fmla="*/ 189 w 370"/>
                    <a:gd name="T109" fmla="*/ 104 h 129"/>
                    <a:gd name="T110" fmla="*/ 201 w 370"/>
                    <a:gd name="T111" fmla="*/ 108 h 129"/>
                    <a:gd name="T112" fmla="*/ 217 w 370"/>
                    <a:gd name="T113" fmla="*/ 110 h 129"/>
                    <a:gd name="T114" fmla="*/ 237 w 370"/>
                    <a:gd name="T115" fmla="*/ 111 h 129"/>
                    <a:gd name="T116" fmla="*/ 237 w 370"/>
                    <a:gd name="T117" fmla="*/ 117 h 129"/>
                    <a:gd name="T118" fmla="*/ 250 w 370"/>
                    <a:gd name="T119" fmla="*/ 117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20" name="Freeform 470">
                  <a:extLst>
                    <a:ext uri="{FF2B5EF4-FFF2-40B4-BE49-F238E27FC236}">
                      <a16:creationId xmlns="" xmlns:a16="http://schemas.microsoft.com/office/drawing/2014/main" id="{28174A0C-BB66-4A2F-B33F-74E59C3F4969}"/>
                    </a:ext>
                  </a:extLst>
                </p:cNvPr>
                <p:cNvSpPr>
                  <a:spLocks/>
                </p:cNvSpPr>
                <p:nvPr>
                  <p:custDataLst>
                    <p:tags r:id="rId308"/>
                  </p:custDataLst>
                </p:nvPr>
              </p:nvSpPr>
              <p:spPr bwMode="auto">
                <a:xfrm>
                  <a:off x="6568329" y="2203399"/>
                  <a:ext cx="21393" cy="40535"/>
                </a:xfrm>
                <a:custGeom>
                  <a:avLst/>
                  <a:gdLst>
                    <a:gd name="T0" fmla="*/ 27 w 80"/>
                    <a:gd name="T1" fmla="*/ 1 h 94"/>
                    <a:gd name="T2" fmla="*/ 34 w 80"/>
                    <a:gd name="T3" fmla="*/ 0 h 94"/>
                    <a:gd name="T4" fmla="*/ 41 w 80"/>
                    <a:gd name="T5" fmla="*/ 0 h 94"/>
                    <a:gd name="T6" fmla="*/ 47 w 80"/>
                    <a:gd name="T7" fmla="*/ 2 h 94"/>
                    <a:gd name="T8" fmla="*/ 54 w 80"/>
                    <a:gd name="T9" fmla="*/ 4 h 94"/>
                    <a:gd name="T10" fmla="*/ 60 w 80"/>
                    <a:gd name="T11" fmla="*/ 6 h 94"/>
                    <a:gd name="T12" fmla="*/ 66 w 80"/>
                    <a:gd name="T13" fmla="*/ 8 h 94"/>
                    <a:gd name="T14" fmla="*/ 73 w 80"/>
                    <a:gd name="T15" fmla="*/ 8 h 94"/>
                    <a:gd name="T16" fmla="*/ 80 w 80"/>
                    <a:gd name="T17" fmla="*/ 7 h 94"/>
                    <a:gd name="T18" fmla="*/ 80 w 80"/>
                    <a:gd name="T19" fmla="*/ 38 h 94"/>
                    <a:gd name="T20" fmla="*/ 75 w 80"/>
                    <a:gd name="T21" fmla="*/ 44 h 94"/>
                    <a:gd name="T22" fmla="*/ 69 w 80"/>
                    <a:gd name="T23" fmla="*/ 51 h 94"/>
                    <a:gd name="T24" fmla="*/ 64 w 80"/>
                    <a:gd name="T25" fmla="*/ 59 h 94"/>
                    <a:gd name="T26" fmla="*/ 58 w 80"/>
                    <a:gd name="T27" fmla="*/ 68 h 94"/>
                    <a:gd name="T28" fmla="*/ 51 w 80"/>
                    <a:gd name="T29" fmla="*/ 84 h 94"/>
                    <a:gd name="T30" fmla="*/ 47 w 80"/>
                    <a:gd name="T31" fmla="*/ 94 h 94"/>
                    <a:gd name="T32" fmla="*/ 43 w 80"/>
                    <a:gd name="T33" fmla="*/ 93 h 94"/>
                    <a:gd name="T34" fmla="*/ 40 w 80"/>
                    <a:gd name="T35" fmla="*/ 92 h 94"/>
                    <a:gd name="T36" fmla="*/ 37 w 80"/>
                    <a:gd name="T37" fmla="*/ 91 h 94"/>
                    <a:gd name="T38" fmla="*/ 34 w 80"/>
                    <a:gd name="T39" fmla="*/ 89 h 94"/>
                    <a:gd name="T40" fmla="*/ 29 w 80"/>
                    <a:gd name="T41" fmla="*/ 84 h 94"/>
                    <a:gd name="T42" fmla="*/ 23 w 80"/>
                    <a:gd name="T43" fmla="*/ 78 h 94"/>
                    <a:gd name="T44" fmla="*/ 19 w 80"/>
                    <a:gd name="T45" fmla="*/ 72 h 94"/>
                    <a:gd name="T46" fmla="*/ 13 w 80"/>
                    <a:gd name="T47" fmla="*/ 65 h 94"/>
                    <a:gd name="T48" fmla="*/ 7 w 80"/>
                    <a:gd name="T49" fmla="*/ 60 h 94"/>
                    <a:gd name="T50" fmla="*/ 0 w 80"/>
                    <a:gd name="T51" fmla="*/ 56 h 94"/>
                    <a:gd name="T52" fmla="*/ 8 w 80"/>
                    <a:gd name="T53" fmla="*/ 41 h 94"/>
                    <a:gd name="T54" fmla="*/ 13 w 80"/>
                    <a:gd name="T55" fmla="*/ 29 h 94"/>
                    <a:gd name="T56" fmla="*/ 19 w 80"/>
                    <a:gd name="T57" fmla="*/ 17 h 94"/>
                    <a:gd name="T58" fmla="*/ 27 w 80"/>
                    <a:gd name="T59" fmla="*/ 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321" name="Freeform 471">
                  <a:extLst>
                    <a:ext uri="{FF2B5EF4-FFF2-40B4-BE49-F238E27FC236}">
                      <a16:creationId xmlns="" xmlns:a16="http://schemas.microsoft.com/office/drawing/2014/main" id="{0D3C8399-B120-4904-BD23-822F1D609D28}"/>
                    </a:ext>
                  </a:extLst>
                </p:cNvPr>
                <p:cNvSpPr>
                  <a:spLocks/>
                </p:cNvSpPr>
                <p:nvPr>
                  <p:custDataLst>
                    <p:tags r:id="rId309"/>
                  </p:custDataLst>
                </p:nvPr>
              </p:nvSpPr>
              <p:spPr bwMode="auto">
                <a:xfrm>
                  <a:off x="6437717" y="3629999"/>
                  <a:ext cx="43912" cy="40535"/>
                </a:xfrm>
                <a:custGeom>
                  <a:avLst/>
                  <a:gdLst>
                    <a:gd name="T0" fmla="*/ 3 w 135"/>
                    <a:gd name="T1" fmla="*/ 55 h 98"/>
                    <a:gd name="T2" fmla="*/ 11 w 135"/>
                    <a:gd name="T3" fmla="*/ 54 h 98"/>
                    <a:gd name="T4" fmla="*/ 18 w 135"/>
                    <a:gd name="T5" fmla="*/ 53 h 98"/>
                    <a:gd name="T6" fmla="*/ 24 w 135"/>
                    <a:gd name="T7" fmla="*/ 50 h 98"/>
                    <a:gd name="T8" fmla="*/ 31 w 135"/>
                    <a:gd name="T9" fmla="*/ 47 h 98"/>
                    <a:gd name="T10" fmla="*/ 42 w 135"/>
                    <a:gd name="T11" fmla="*/ 38 h 98"/>
                    <a:gd name="T12" fmla="*/ 52 w 135"/>
                    <a:gd name="T13" fmla="*/ 28 h 98"/>
                    <a:gd name="T14" fmla="*/ 61 w 135"/>
                    <a:gd name="T15" fmla="*/ 18 h 98"/>
                    <a:gd name="T16" fmla="*/ 71 w 135"/>
                    <a:gd name="T17" fmla="*/ 8 h 98"/>
                    <a:gd name="T18" fmla="*/ 76 w 135"/>
                    <a:gd name="T19" fmla="*/ 5 h 98"/>
                    <a:gd name="T20" fmla="*/ 82 w 135"/>
                    <a:gd name="T21" fmla="*/ 2 h 98"/>
                    <a:gd name="T22" fmla="*/ 88 w 135"/>
                    <a:gd name="T23" fmla="*/ 0 h 98"/>
                    <a:gd name="T24" fmla="*/ 96 w 135"/>
                    <a:gd name="T25" fmla="*/ 0 h 98"/>
                    <a:gd name="T26" fmla="*/ 102 w 135"/>
                    <a:gd name="T27" fmla="*/ 0 h 98"/>
                    <a:gd name="T28" fmla="*/ 110 w 135"/>
                    <a:gd name="T29" fmla="*/ 3 h 98"/>
                    <a:gd name="T30" fmla="*/ 117 w 135"/>
                    <a:gd name="T31" fmla="*/ 6 h 98"/>
                    <a:gd name="T32" fmla="*/ 123 w 135"/>
                    <a:gd name="T33" fmla="*/ 11 h 98"/>
                    <a:gd name="T34" fmla="*/ 128 w 135"/>
                    <a:gd name="T35" fmla="*/ 16 h 98"/>
                    <a:gd name="T36" fmla="*/ 132 w 135"/>
                    <a:gd name="T37" fmla="*/ 24 h 98"/>
                    <a:gd name="T38" fmla="*/ 134 w 135"/>
                    <a:gd name="T39" fmla="*/ 30 h 98"/>
                    <a:gd name="T40" fmla="*/ 135 w 135"/>
                    <a:gd name="T41" fmla="*/ 37 h 98"/>
                    <a:gd name="T42" fmla="*/ 134 w 135"/>
                    <a:gd name="T43" fmla="*/ 40 h 98"/>
                    <a:gd name="T44" fmla="*/ 132 w 135"/>
                    <a:gd name="T45" fmla="*/ 43 h 98"/>
                    <a:gd name="T46" fmla="*/ 129 w 135"/>
                    <a:gd name="T47" fmla="*/ 47 h 98"/>
                    <a:gd name="T48" fmla="*/ 124 w 135"/>
                    <a:gd name="T49" fmla="*/ 51 h 98"/>
                    <a:gd name="T50" fmla="*/ 113 w 135"/>
                    <a:gd name="T51" fmla="*/ 61 h 98"/>
                    <a:gd name="T52" fmla="*/ 100 w 135"/>
                    <a:gd name="T53" fmla="*/ 72 h 98"/>
                    <a:gd name="T54" fmla="*/ 87 w 135"/>
                    <a:gd name="T55" fmla="*/ 82 h 98"/>
                    <a:gd name="T56" fmla="*/ 74 w 135"/>
                    <a:gd name="T57" fmla="*/ 91 h 98"/>
                    <a:gd name="T58" fmla="*/ 63 w 135"/>
                    <a:gd name="T59" fmla="*/ 96 h 98"/>
                    <a:gd name="T60" fmla="*/ 55 w 135"/>
                    <a:gd name="T61" fmla="*/ 98 h 98"/>
                    <a:gd name="T62" fmla="*/ 51 w 135"/>
                    <a:gd name="T63" fmla="*/ 97 h 98"/>
                    <a:gd name="T64" fmla="*/ 43 w 135"/>
                    <a:gd name="T65" fmla="*/ 92 h 98"/>
                    <a:gd name="T66" fmla="*/ 32 w 135"/>
                    <a:gd name="T67" fmla="*/ 85 h 98"/>
                    <a:gd name="T68" fmla="*/ 21 w 135"/>
                    <a:gd name="T69" fmla="*/ 77 h 98"/>
                    <a:gd name="T70" fmla="*/ 11 w 135"/>
                    <a:gd name="T71" fmla="*/ 68 h 98"/>
                    <a:gd name="T72" fmla="*/ 5 w 135"/>
                    <a:gd name="T73" fmla="*/ 62 h 98"/>
                    <a:gd name="T74" fmla="*/ 1 w 135"/>
                    <a:gd name="T75" fmla="*/ 59 h 98"/>
                    <a:gd name="T76" fmla="*/ 0 w 135"/>
                    <a:gd name="T77" fmla="*/ 57 h 98"/>
                    <a:gd name="T78" fmla="*/ 0 w 135"/>
                    <a:gd name="T79" fmla="*/ 56 h 98"/>
                    <a:gd name="T80" fmla="*/ 3 w 135"/>
                    <a:gd name="T81" fmla="*/ 5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322" name="Freeform 472">
                  <a:extLst>
                    <a:ext uri="{FF2B5EF4-FFF2-40B4-BE49-F238E27FC236}">
                      <a16:creationId xmlns="" xmlns:a16="http://schemas.microsoft.com/office/drawing/2014/main" id="{66AA4E8E-06E7-4753-833E-3758D3CEA3B5}"/>
                    </a:ext>
                  </a:extLst>
                </p:cNvPr>
                <p:cNvSpPr>
                  <a:spLocks/>
                </p:cNvSpPr>
                <p:nvPr>
                  <p:custDataLst>
                    <p:tags r:id="rId310"/>
                  </p:custDataLst>
                </p:nvPr>
              </p:nvSpPr>
              <p:spPr bwMode="auto">
                <a:xfrm>
                  <a:off x="6275577" y="1725989"/>
                  <a:ext cx="93455" cy="59677"/>
                </a:xfrm>
                <a:custGeom>
                  <a:avLst/>
                  <a:gdLst>
                    <a:gd name="T0" fmla="*/ 192 w 312"/>
                    <a:gd name="T1" fmla="*/ 155 h 155"/>
                    <a:gd name="T2" fmla="*/ 194 w 312"/>
                    <a:gd name="T3" fmla="*/ 151 h 155"/>
                    <a:gd name="T4" fmla="*/ 197 w 312"/>
                    <a:gd name="T5" fmla="*/ 148 h 155"/>
                    <a:gd name="T6" fmla="*/ 200 w 312"/>
                    <a:gd name="T7" fmla="*/ 145 h 155"/>
                    <a:gd name="T8" fmla="*/ 203 w 312"/>
                    <a:gd name="T9" fmla="*/ 142 h 155"/>
                    <a:gd name="T10" fmla="*/ 211 w 312"/>
                    <a:gd name="T11" fmla="*/ 137 h 155"/>
                    <a:gd name="T12" fmla="*/ 220 w 312"/>
                    <a:gd name="T13" fmla="*/ 132 h 155"/>
                    <a:gd name="T14" fmla="*/ 238 w 312"/>
                    <a:gd name="T15" fmla="*/ 123 h 155"/>
                    <a:gd name="T16" fmla="*/ 253 w 312"/>
                    <a:gd name="T17" fmla="*/ 117 h 155"/>
                    <a:gd name="T18" fmla="*/ 255 w 312"/>
                    <a:gd name="T19" fmla="*/ 109 h 155"/>
                    <a:gd name="T20" fmla="*/ 260 w 312"/>
                    <a:gd name="T21" fmla="*/ 97 h 155"/>
                    <a:gd name="T22" fmla="*/ 264 w 312"/>
                    <a:gd name="T23" fmla="*/ 91 h 155"/>
                    <a:gd name="T24" fmla="*/ 267 w 312"/>
                    <a:gd name="T25" fmla="*/ 86 h 155"/>
                    <a:gd name="T26" fmla="*/ 269 w 312"/>
                    <a:gd name="T27" fmla="*/ 82 h 155"/>
                    <a:gd name="T28" fmla="*/ 272 w 312"/>
                    <a:gd name="T29" fmla="*/ 81 h 155"/>
                    <a:gd name="T30" fmla="*/ 312 w 312"/>
                    <a:gd name="T31" fmla="*/ 44 h 155"/>
                    <a:gd name="T32" fmla="*/ 312 w 312"/>
                    <a:gd name="T33" fmla="*/ 39 h 155"/>
                    <a:gd name="T34" fmla="*/ 310 w 312"/>
                    <a:gd name="T35" fmla="*/ 35 h 155"/>
                    <a:gd name="T36" fmla="*/ 306 w 312"/>
                    <a:gd name="T37" fmla="*/ 32 h 155"/>
                    <a:gd name="T38" fmla="*/ 302 w 312"/>
                    <a:gd name="T39" fmla="*/ 30 h 155"/>
                    <a:gd name="T40" fmla="*/ 291 w 312"/>
                    <a:gd name="T41" fmla="*/ 28 h 155"/>
                    <a:gd name="T42" fmla="*/ 280 w 312"/>
                    <a:gd name="T43" fmla="*/ 27 h 155"/>
                    <a:gd name="T44" fmla="*/ 268 w 312"/>
                    <a:gd name="T45" fmla="*/ 27 h 155"/>
                    <a:gd name="T46" fmla="*/ 259 w 312"/>
                    <a:gd name="T47" fmla="*/ 27 h 155"/>
                    <a:gd name="T48" fmla="*/ 256 w 312"/>
                    <a:gd name="T49" fmla="*/ 26 h 155"/>
                    <a:gd name="T50" fmla="*/ 253 w 312"/>
                    <a:gd name="T51" fmla="*/ 25 h 155"/>
                    <a:gd name="T52" fmla="*/ 252 w 312"/>
                    <a:gd name="T53" fmla="*/ 23 h 155"/>
                    <a:gd name="T54" fmla="*/ 253 w 312"/>
                    <a:gd name="T55" fmla="*/ 20 h 155"/>
                    <a:gd name="T56" fmla="*/ 232 w 312"/>
                    <a:gd name="T57" fmla="*/ 19 h 155"/>
                    <a:gd name="T58" fmla="*/ 216 w 312"/>
                    <a:gd name="T59" fmla="*/ 17 h 155"/>
                    <a:gd name="T60" fmla="*/ 202 w 312"/>
                    <a:gd name="T61" fmla="*/ 13 h 155"/>
                    <a:gd name="T62" fmla="*/ 189 w 312"/>
                    <a:gd name="T63" fmla="*/ 9 h 155"/>
                    <a:gd name="T64" fmla="*/ 177 w 312"/>
                    <a:gd name="T65" fmla="*/ 6 h 155"/>
                    <a:gd name="T66" fmla="*/ 163 w 312"/>
                    <a:gd name="T67" fmla="*/ 3 h 155"/>
                    <a:gd name="T68" fmla="*/ 146 w 312"/>
                    <a:gd name="T69" fmla="*/ 1 h 155"/>
                    <a:gd name="T70" fmla="*/ 126 w 312"/>
                    <a:gd name="T71" fmla="*/ 0 h 155"/>
                    <a:gd name="T72" fmla="*/ 110 w 312"/>
                    <a:gd name="T73" fmla="*/ 1 h 155"/>
                    <a:gd name="T74" fmla="*/ 74 w 312"/>
                    <a:gd name="T75" fmla="*/ 4 h 155"/>
                    <a:gd name="T76" fmla="*/ 53 w 312"/>
                    <a:gd name="T77" fmla="*/ 6 h 155"/>
                    <a:gd name="T78" fmla="*/ 34 w 312"/>
                    <a:gd name="T79" fmla="*/ 8 h 155"/>
                    <a:gd name="T80" fmla="*/ 18 w 312"/>
                    <a:gd name="T81" fmla="*/ 10 h 155"/>
                    <a:gd name="T82" fmla="*/ 7 w 312"/>
                    <a:gd name="T83" fmla="*/ 12 h 155"/>
                    <a:gd name="T84" fmla="*/ 9 w 312"/>
                    <a:gd name="T85" fmla="*/ 17 h 155"/>
                    <a:gd name="T86" fmla="*/ 11 w 312"/>
                    <a:gd name="T87" fmla="*/ 19 h 155"/>
                    <a:gd name="T88" fmla="*/ 13 w 312"/>
                    <a:gd name="T89" fmla="*/ 19 h 155"/>
                    <a:gd name="T90" fmla="*/ 15 w 312"/>
                    <a:gd name="T91" fmla="*/ 20 h 155"/>
                    <a:gd name="T92" fmla="*/ 18 w 312"/>
                    <a:gd name="T93" fmla="*/ 20 h 155"/>
                    <a:gd name="T94" fmla="*/ 19 w 312"/>
                    <a:gd name="T95" fmla="*/ 20 h 155"/>
                    <a:gd name="T96" fmla="*/ 20 w 312"/>
                    <a:gd name="T97" fmla="*/ 22 h 155"/>
                    <a:gd name="T98" fmla="*/ 20 w 312"/>
                    <a:gd name="T99" fmla="*/ 26 h 155"/>
                    <a:gd name="T100" fmla="*/ 20 w 312"/>
                    <a:gd name="T101" fmla="*/ 30 h 155"/>
                    <a:gd name="T102" fmla="*/ 19 w 312"/>
                    <a:gd name="T103" fmla="*/ 35 h 155"/>
                    <a:gd name="T104" fmla="*/ 18 w 312"/>
                    <a:gd name="T105" fmla="*/ 39 h 155"/>
                    <a:gd name="T106" fmla="*/ 15 w 312"/>
                    <a:gd name="T107" fmla="*/ 42 h 155"/>
                    <a:gd name="T108" fmla="*/ 12 w 312"/>
                    <a:gd name="T109" fmla="*/ 45 h 155"/>
                    <a:gd name="T110" fmla="*/ 9 w 312"/>
                    <a:gd name="T111" fmla="*/ 48 h 155"/>
                    <a:gd name="T112" fmla="*/ 4 w 312"/>
                    <a:gd name="T113" fmla="*/ 49 h 155"/>
                    <a:gd name="T114" fmla="*/ 0 w 312"/>
                    <a:gd name="T115" fmla="*/ 50 h 155"/>
                    <a:gd name="T116" fmla="*/ 74 w 312"/>
                    <a:gd name="T117" fmla="*/ 68 h 155"/>
                    <a:gd name="T118" fmla="*/ 87 w 312"/>
                    <a:gd name="T119" fmla="*/ 111 h 155"/>
                    <a:gd name="T120" fmla="*/ 166 w 312"/>
                    <a:gd name="T121" fmla="*/ 123 h 155"/>
                    <a:gd name="T122" fmla="*/ 192 w 312"/>
                    <a:gd name="T123"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23" name="Freeform 473">
                  <a:extLst>
                    <a:ext uri="{FF2B5EF4-FFF2-40B4-BE49-F238E27FC236}">
                      <a16:creationId xmlns="" xmlns:a16="http://schemas.microsoft.com/office/drawing/2014/main" id="{C4FF5B0B-8BD8-46A1-B20B-CE66569F0549}"/>
                    </a:ext>
                  </a:extLst>
                </p:cNvPr>
                <p:cNvSpPr>
                  <a:spLocks/>
                </p:cNvSpPr>
                <p:nvPr>
                  <p:custDataLst>
                    <p:tags r:id="rId311"/>
                  </p:custDataLst>
                </p:nvPr>
              </p:nvSpPr>
              <p:spPr bwMode="auto">
                <a:xfrm>
                  <a:off x="6067273" y="1857727"/>
                  <a:ext cx="13512" cy="42787"/>
                </a:xfrm>
                <a:custGeom>
                  <a:avLst/>
                  <a:gdLst>
                    <a:gd name="T0" fmla="*/ 0 w 46"/>
                    <a:gd name="T1" fmla="*/ 25 h 50"/>
                    <a:gd name="T2" fmla="*/ 2 w 46"/>
                    <a:gd name="T3" fmla="*/ 18 h 50"/>
                    <a:gd name="T4" fmla="*/ 1 w 46"/>
                    <a:gd name="T5" fmla="*/ 14 h 50"/>
                    <a:gd name="T6" fmla="*/ 2 w 46"/>
                    <a:gd name="T7" fmla="*/ 13 h 50"/>
                    <a:gd name="T8" fmla="*/ 3 w 46"/>
                    <a:gd name="T9" fmla="*/ 13 h 50"/>
                    <a:gd name="T10" fmla="*/ 6 w 46"/>
                    <a:gd name="T11" fmla="*/ 12 h 50"/>
                    <a:gd name="T12" fmla="*/ 13 w 46"/>
                    <a:gd name="T13" fmla="*/ 12 h 50"/>
                    <a:gd name="T14" fmla="*/ 46 w 46"/>
                    <a:gd name="T15" fmla="*/ 0 h 50"/>
                    <a:gd name="T16" fmla="*/ 46 w 46"/>
                    <a:gd name="T17" fmla="*/ 50 h 50"/>
                    <a:gd name="T18" fmla="*/ 40 w 46"/>
                    <a:gd name="T19" fmla="*/ 49 h 50"/>
                    <a:gd name="T20" fmla="*/ 33 w 46"/>
                    <a:gd name="T21" fmla="*/ 45 h 50"/>
                    <a:gd name="T22" fmla="*/ 25 w 46"/>
                    <a:gd name="T23" fmla="*/ 41 h 50"/>
                    <a:gd name="T24" fmla="*/ 17 w 46"/>
                    <a:gd name="T25" fmla="*/ 37 h 50"/>
                    <a:gd name="T26" fmla="*/ 5 w 46"/>
                    <a:gd name="T27" fmla="*/ 28 h 50"/>
                    <a:gd name="T28" fmla="*/ 0 w 46"/>
                    <a:gd name="T29"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24" name="Freeform 474">
                  <a:extLst>
                    <a:ext uri="{FF2B5EF4-FFF2-40B4-BE49-F238E27FC236}">
                      <a16:creationId xmlns="" xmlns:a16="http://schemas.microsoft.com/office/drawing/2014/main" id="{C59FD435-3067-417E-8604-9EFC0C5B9BB2}"/>
                    </a:ext>
                  </a:extLst>
                </p:cNvPr>
                <p:cNvSpPr>
                  <a:spLocks/>
                </p:cNvSpPr>
                <p:nvPr>
                  <p:custDataLst>
                    <p:tags r:id="rId312"/>
                  </p:custDataLst>
                </p:nvPr>
              </p:nvSpPr>
              <p:spPr bwMode="auto">
                <a:xfrm>
                  <a:off x="6561573" y="3194250"/>
                  <a:ext cx="49543" cy="171147"/>
                </a:xfrm>
                <a:custGeom>
                  <a:avLst/>
                  <a:gdLst>
                    <a:gd name="T0" fmla="*/ 10 w 166"/>
                    <a:gd name="T1" fmla="*/ 282 h 456"/>
                    <a:gd name="T2" fmla="*/ 19 w 166"/>
                    <a:gd name="T3" fmla="*/ 290 h 456"/>
                    <a:gd name="T4" fmla="*/ 37 w 166"/>
                    <a:gd name="T5" fmla="*/ 300 h 456"/>
                    <a:gd name="T6" fmla="*/ 58 w 166"/>
                    <a:gd name="T7" fmla="*/ 306 h 456"/>
                    <a:gd name="T8" fmla="*/ 70 w 166"/>
                    <a:gd name="T9" fmla="*/ 312 h 456"/>
                    <a:gd name="T10" fmla="*/ 80 w 166"/>
                    <a:gd name="T11" fmla="*/ 320 h 456"/>
                    <a:gd name="T12" fmla="*/ 86 w 166"/>
                    <a:gd name="T13" fmla="*/ 331 h 456"/>
                    <a:gd name="T14" fmla="*/ 86 w 166"/>
                    <a:gd name="T15" fmla="*/ 347 h 456"/>
                    <a:gd name="T16" fmla="*/ 78 w 166"/>
                    <a:gd name="T17" fmla="*/ 363 h 456"/>
                    <a:gd name="T18" fmla="*/ 68 w 166"/>
                    <a:gd name="T19" fmla="*/ 375 h 456"/>
                    <a:gd name="T20" fmla="*/ 62 w 166"/>
                    <a:gd name="T21" fmla="*/ 388 h 456"/>
                    <a:gd name="T22" fmla="*/ 60 w 166"/>
                    <a:gd name="T23" fmla="*/ 400 h 456"/>
                    <a:gd name="T24" fmla="*/ 64 w 166"/>
                    <a:gd name="T25" fmla="*/ 411 h 456"/>
                    <a:gd name="T26" fmla="*/ 76 w 166"/>
                    <a:gd name="T27" fmla="*/ 424 h 456"/>
                    <a:gd name="T28" fmla="*/ 104 w 166"/>
                    <a:gd name="T29" fmla="*/ 445 h 456"/>
                    <a:gd name="T30" fmla="*/ 120 w 166"/>
                    <a:gd name="T31" fmla="*/ 443 h 456"/>
                    <a:gd name="T32" fmla="*/ 120 w 166"/>
                    <a:gd name="T33" fmla="*/ 423 h 456"/>
                    <a:gd name="T34" fmla="*/ 131 w 166"/>
                    <a:gd name="T35" fmla="*/ 413 h 456"/>
                    <a:gd name="T36" fmla="*/ 145 w 166"/>
                    <a:gd name="T37" fmla="*/ 407 h 456"/>
                    <a:gd name="T38" fmla="*/ 153 w 166"/>
                    <a:gd name="T39" fmla="*/ 402 h 456"/>
                    <a:gd name="T40" fmla="*/ 160 w 166"/>
                    <a:gd name="T41" fmla="*/ 393 h 456"/>
                    <a:gd name="T42" fmla="*/ 166 w 166"/>
                    <a:gd name="T43" fmla="*/ 375 h 456"/>
                    <a:gd name="T44" fmla="*/ 165 w 166"/>
                    <a:gd name="T45" fmla="*/ 350 h 456"/>
                    <a:gd name="T46" fmla="*/ 158 w 166"/>
                    <a:gd name="T47" fmla="*/ 328 h 456"/>
                    <a:gd name="T48" fmla="*/ 148 w 166"/>
                    <a:gd name="T49" fmla="*/ 307 h 456"/>
                    <a:gd name="T50" fmla="*/ 141 w 166"/>
                    <a:gd name="T51" fmla="*/ 284 h 456"/>
                    <a:gd name="T52" fmla="*/ 135 w 166"/>
                    <a:gd name="T53" fmla="*/ 269 h 456"/>
                    <a:gd name="T54" fmla="*/ 118 w 166"/>
                    <a:gd name="T55" fmla="*/ 251 h 456"/>
                    <a:gd name="T56" fmla="*/ 97 w 166"/>
                    <a:gd name="T57" fmla="*/ 224 h 456"/>
                    <a:gd name="T58" fmla="*/ 85 w 166"/>
                    <a:gd name="T59" fmla="*/ 206 h 456"/>
                    <a:gd name="T60" fmla="*/ 80 w 166"/>
                    <a:gd name="T61" fmla="*/ 195 h 456"/>
                    <a:gd name="T62" fmla="*/ 81 w 166"/>
                    <a:gd name="T63" fmla="*/ 177 h 456"/>
                    <a:gd name="T64" fmla="*/ 88 w 166"/>
                    <a:gd name="T65" fmla="*/ 147 h 456"/>
                    <a:gd name="T66" fmla="*/ 96 w 166"/>
                    <a:gd name="T67" fmla="*/ 129 h 456"/>
                    <a:gd name="T68" fmla="*/ 98 w 166"/>
                    <a:gd name="T69" fmla="*/ 113 h 456"/>
                    <a:gd name="T70" fmla="*/ 95 w 166"/>
                    <a:gd name="T71" fmla="*/ 82 h 456"/>
                    <a:gd name="T72" fmla="*/ 92 w 166"/>
                    <a:gd name="T73" fmla="*/ 45 h 456"/>
                    <a:gd name="T74" fmla="*/ 89 w 166"/>
                    <a:gd name="T75" fmla="*/ 18 h 456"/>
                    <a:gd name="T76" fmla="*/ 71 w 166"/>
                    <a:gd name="T77" fmla="*/ 8 h 456"/>
                    <a:gd name="T78" fmla="*/ 33 w 166"/>
                    <a:gd name="T79" fmla="*/ 4 h 456"/>
                    <a:gd name="T80" fmla="*/ 12 w 166"/>
                    <a:gd name="T81" fmla="*/ 10 h 456"/>
                    <a:gd name="T82" fmla="*/ 22 w 166"/>
                    <a:gd name="T83" fmla="*/ 25 h 456"/>
                    <a:gd name="T84" fmla="*/ 33 w 166"/>
                    <a:gd name="T85" fmla="*/ 30 h 456"/>
                    <a:gd name="T86" fmla="*/ 40 w 166"/>
                    <a:gd name="T87" fmla="*/ 44 h 456"/>
                    <a:gd name="T88" fmla="*/ 40 w 166"/>
                    <a:gd name="T89" fmla="*/ 64 h 456"/>
                    <a:gd name="T90" fmla="*/ 40 w 166"/>
                    <a:gd name="T91" fmla="*/ 78 h 456"/>
                    <a:gd name="T92" fmla="*/ 36 w 166"/>
                    <a:gd name="T93" fmla="*/ 85 h 456"/>
                    <a:gd name="T94" fmla="*/ 29 w 166"/>
                    <a:gd name="T95" fmla="*/ 95 h 456"/>
                    <a:gd name="T96" fmla="*/ 15 w 166"/>
                    <a:gd name="T97" fmla="*/ 109 h 456"/>
                    <a:gd name="T98" fmla="*/ 3 w 166"/>
                    <a:gd name="T99" fmla="*/ 122 h 456"/>
                    <a:gd name="T100" fmla="*/ 7 w 166"/>
                    <a:gd name="T101" fmla="*/ 277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325" name="Freeform 475">
                  <a:extLst>
                    <a:ext uri="{FF2B5EF4-FFF2-40B4-BE49-F238E27FC236}">
                      <a16:creationId xmlns="" xmlns:a16="http://schemas.microsoft.com/office/drawing/2014/main" id="{9E39329B-E7CE-4F35-A91F-2B9A3542DF47}"/>
                    </a:ext>
                  </a:extLst>
                </p:cNvPr>
                <p:cNvSpPr>
                  <a:spLocks/>
                </p:cNvSpPr>
                <p:nvPr>
                  <p:custDataLst>
                    <p:tags r:id="rId313"/>
                  </p:custDataLst>
                </p:nvPr>
              </p:nvSpPr>
              <p:spPr bwMode="auto">
                <a:xfrm>
                  <a:off x="6201264" y="2180879"/>
                  <a:ext cx="10134" cy="40535"/>
                </a:xfrm>
                <a:custGeom>
                  <a:avLst/>
                  <a:gdLst>
                    <a:gd name="T0" fmla="*/ 27 w 27"/>
                    <a:gd name="T1" fmla="*/ 0 h 19"/>
                    <a:gd name="T2" fmla="*/ 27 w 27"/>
                    <a:gd name="T3" fmla="*/ 12 h 19"/>
                    <a:gd name="T4" fmla="*/ 27 w 27"/>
                    <a:gd name="T5" fmla="*/ 19 h 19"/>
                    <a:gd name="T6" fmla="*/ 9 w 27"/>
                    <a:gd name="T7" fmla="*/ 19 h 19"/>
                    <a:gd name="T8" fmla="*/ 0 w 27"/>
                    <a:gd name="T9" fmla="*/ 19 h 19"/>
                    <a:gd name="T10" fmla="*/ 9 w 27"/>
                    <a:gd name="T11" fmla="*/ 12 h 19"/>
                    <a:gd name="T12" fmla="*/ 27 w 27"/>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326" name="Freeform 476">
                  <a:extLst>
                    <a:ext uri="{FF2B5EF4-FFF2-40B4-BE49-F238E27FC236}">
                      <a16:creationId xmlns="" xmlns:a16="http://schemas.microsoft.com/office/drawing/2014/main" id="{325C5FA3-8F41-4713-B607-CA3DA03DA57F}"/>
                    </a:ext>
                  </a:extLst>
                </p:cNvPr>
                <p:cNvSpPr>
                  <a:spLocks/>
                </p:cNvSpPr>
                <p:nvPr>
                  <p:custDataLst>
                    <p:tags r:id="rId314"/>
                  </p:custDataLst>
                </p:nvPr>
              </p:nvSpPr>
              <p:spPr bwMode="auto">
                <a:xfrm>
                  <a:off x="6427583" y="3330492"/>
                  <a:ext cx="133990" cy="154257"/>
                </a:xfrm>
                <a:custGeom>
                  <a:avLst/>
                  <a:gdLst>
                    <a:gd name="T0" fmla="*/ 284 w 438"/>
                    <a:gd name="T1" fmla="*/ 8 h 406"/>
                    <a:gd name="T2" fmla="*/ 320 w 438"/>
                    <a:gd name="T3" fmla="*/ 27 h 406"/>
                    <a:gd name="T4" fmla="*/ 363 w 438"/>
                    <a:gd name="T5" fmla="*/ 47 h 406"/>
                    <a:gd name="T6" fmla="*/ 395 w 438"/>
                    <a:gd name="T7" fmla="*/ 58 h 406"/>
                    <a:gd name="T8" fmla="*/ 416 w 438"/>
                    <a:gd name="T9" fmla="*/ 61 h 406"/>
                    <a:gd name="T10" fmla="*/ 425 w 438"/>
                    <a:gd name="T11" fmla="*/ 81 h 406"/>
                    <a:gd name="T12" fmla="*/ 429 w 438"/>
                    <a:gd name="T13" fmla="*/ 120 h 406"/>
                    <a:gd name="T14" fmla="*/ 434 w 438"/>
                    <a:gd name="T15" fmla="*/ 157 h 406"/>
                    <a:gd name="T16" fmla="*/ 438 w 438"/>
                    <a:gd name="T17" fmla="*/ 195 h 406"/>
                    <a:gd name="T18" fmla="*/ 438 w 438"/>
                    <a:gd name="T19" fmla="*/ 223 h 406"/>
                    <a:gd name="T20" fmla="*/ 435 w 438"/>
                    <a:gd name="T21" fmla="*/ 237 h 406"/>
                    <a:gd name="T22" fmla="*/ 425 w 438"/>
                    <a:gd name="T23" fmla="*/ 259 h 406"/>
                    <a:gd name="T24" fmla="*/ 407 w 438"/>
                    <a:gd name="T25" fmla="*/ 287 h 406"/>
                    <a:gd name="T26" fmla="*/ 391 w 438"/>
                    <a:gd name="T27" fmla="*/ 307 h 406"/>
                    <a:gd name="T28" fmla="*/ 381 w 438"/>
                    <a:gd name="T29" fmla="*/ 320 h 406"/>
                    <a:gd name="T30" fmla="*/ 374 w 438"/>
                    <a:gd name="T31" fmla="*/ 332 h 406"/>
                    <a:gd name="T32" fmla="*/ 372 w 438"/>
                    <a:gd name="T33" fmla="*/ 352 h 406"/>
                    <a:gd name="T34" fmla="*/ 359 w 438"/>
                    <a:gd name="T35" fmla="*/ 372 h 406"/>
                    <a:gd name="T36" fmla="*/ 321 w 438"/>
                    <a:gd name="T37" fmla="*/ 401 h 406"/>
                    <a:gd name="T38" fmla="*/ 205 w 438"/>
                    <a:gd name="T39" fmla="*/ 388 h 406"/>
                    <a:gd name="T40" fmla="*/ 182 w 438"/>
                    <a:gd name="T41" fmla="*/ 379 h 406"/>
                    <a:gd name="T42" fmla="*/ 165 w 438"/>
                    <a:gd name="T43" fmla="*/ 370 h 406"/>
                    <a:gd name="T44" fmla="*/ 150 w 438"/>
                    <a:gd name="T45" fmla="*/ 359 h 406"/>
                    <a:gd name="T46" fmla="*/ 139 w 438"/>
                    <a:gd name="T47" fmla="*/ 346 h 406"/>
                    <a:gd name="T48" fmla="*/ 124 w 438"/>
                    <a:gd name="T49" fmla="*/ 322 h 406"/>
                    <a:gd name="T50" fmla="*/ 108 w 438"/>
                    <a:gd name="T51" fmla="*/ 296 h 406"/>
                    <a:gd name="T52" fmla="*/ 94 w 438"/>
                    <a:gd name="T53" fmla="*/ 279 h 406"/>
                    <a:gd name="T54" fmla="*/ 72 w 438"/>
                    <a:gd name="T55" fmla="*/ 259 h 406"/>
                    <a:gd name="T56" fmla="*/ 44 w 438"/>
                    <a:gd name="T57" fmla="*/ 234 h 406"/>
                    <a:gd name="T58" fmla="*/ 24 w 438"/>
                    <a:gd name="T59" fmla="*/ 213 h 406"/>
                    <a:gd name="T60" fmla="*/ 13 w 438"/>
                    <a:gd name="T61" fmla="*/ 195 h 406"/>
                    <a:gd name="T62" fmla="*/ 4 w 438"/>
                    <a:gd name="T63" fmla="*/ 176 h 406"/>
                    <a:gd name="T64" fmla="*/ 0 w 438"/>
                    <a:gd name="T65" fmla="*/ 154 h 406"/>
                    <a:gd name="T66" fmla="*/ 18 w 438"/>
                    <a:gd name="T67" fmla="*/ 141 h 406"/>
                    <a:gd name="T68" fmla="*/ 40 w 438"/>
                    <a:gd name="T69" fmla="*/ 141 h 406"/>
                    <a:gd name="T70" fmla="*/ 53 w 438"/>
                    <a:gd name="T71" fmla="*/ 141 h 406"/>
                    <a:gd name="T72" fmla="*/ 63 w 438"/>
                    <a:gd name="T73" fmla="*/ 138 h 406"/>
                    <a:gd name="T74" fmla="*/ 77 w 438"/>
                    <a:gd name="T75" fmla="*/ 131 h 406"/>
                    <a:gd name="T76" fmla="*/ 99 w 438"/>
                    <a:gd name="T77" fmla="*/ 108 h 406"/>
                    <a:gd name="T78" fmla="*/ 117 w 438"/>
                    <a:gd name="T79" fmla="*/ 87 h 406"/>
                    <a:gd name="T80" fmla="*/ 130 w 438"/>
                    <a:gd name="T81" fmla="*/ 80 h 406"/>
                    <a:gd name="T82" fmla="*/ 150 w 438"/>
                    <a:gd name="T83" fmla="*/ 71 h 406"/>
                    <a:gd name="T84" fmla="*/ 179 w 438"/>
                    <a:gd name="T85" fmla="*/ 60 h 406"/>
                    <a:gd name="T86" fmla="*/ 203 w 438"/>
                    <a:gd name="T87" fmla="*/ 50 h 406"/>
                    <a:gd name="T88" fmla="*/ 211 w 438"/>
                    <a:gd name="T89" fmla="*/ 43 h 406"/>
                    <a:gd name="T90" fmla="*/ 210 w 438"/>
                    <a:gd name="T91" fmla="*/ 38 h 406"/>
                    <a:gd name="T92" fmla="*/ 211 w 438"/>
                    <a:gd name="T93" fmla="*/ 30 h 406"/>
                    <a:gd name="T94" fmla="*/ 213 w 438"/>
                    <a:gd name="T95" fmla="*/ 17 h 406"/>
                    <a:gd name="T96" fmla="*/ 217 w 438"/>
                    <a:gd name="T97" fmla="*/ 12 h 406"/>
                    <a:gd name="T98" fmla="*/ 225 w 438"/>
                    <a:gd name="T99" fmla="*/ 12 h 406"/>
                    <a:gd name="T100" fmla="*/ 232 w 438"/>
                    <a:gd name="T101" fmla="*/ 9 h 406"/>
                    <a:gd name="T102" fmla="*/ 236 w 438"/>
                    <a:gd name="T103" fmla="*/ 4 h 406"/>
                    <a:gd name="T104" fmla="*/ 244 w 438"/>
                    <a:gd name="T105" fmla="*/ 2 h 406"/>
                    <a:gd name="T106" fmla="*/ 251 w 438"/>
                    <a:gd name="T107" fmla="*/ 3 h 406"/>
                    <a:gd name="T108" fmla="*/ 264 w 438"/>
                    <a:gd name="T109" fmla="*/ 1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327" name="Freeform 477">
                  <a:extLst>
                    <a:ext uri="{FF2B5EF4-FFF2-40B4-BE49-F238E27FC236}">
                      <a16:creationId xmlns="" xmlns:a16="http://schemas.microsoft.com/office/drawing/2014/main" id="{1F88A5E9-07EF-4C66-BEF9-A130A87986D3}"/>
                    </a:ext>
                  </a:extLst>
                </p:cNvPr>
                <p:cNvSpPr>
                  <a:spLocks/>
                </p:cNvSpPr>
                <p:nvPr>
                  <p:custDataLst>
                    <p:tags r:id="rId315"/>
                  </p:custDataLst>
                </p:nvPr>
              </p:nvSpPr>
              <p:spPr bwMode="auto">
                <a:xfrm>
                  <a:off x="6365655" y="3171730"/>
                  <a:ext cx="208304" cy="212808"/>
                </a:xfrm>
                <a:custGeom>
                  <a:avLst/>
                  <a:gdLst>
                    <a:gd name="T0" fmla="*/ 513 w 678"/>
                    <a:gd name="T1" fmla="*/ 8 h 574"/>
                    <a:gd name="T2" fmla="*/ 552 w 678"/>
                    <a:gd name="T3" fmla="*/ 26 h 574"/>
                    <a:gd name="T4" fmla="*/ 645 w 678"/>
                    <a:gd name="T5" fmla="*/ 63 h 574"/>
                    <a:gd name="T6" fmla="*/ 660 w 678"/>
                    <a:gd name="T7" fmla="*/ 88 h 574"/>
                    <a:gd name="T8" fmla="*/ 678 w 678"/>
                    <a:gd name="T9" fmla="*/ 94 h 574"/>
                    <a:gd name="T10" fmla="*/ 678 w 678"/>
                    <a:gd name="T11" fmla="*/ 127 h 574"/>
                    <a:gd name="T12" fmla="*/ 677 w 678"/>
                    <a:gd name="T13" fmla="*/ 144 h 574"/>
                    <a:gd name="T14" fmla="*/ 667 w 678"/>
                    <a:gd name="T15" fmla="*/ 158 h 574"/>
                    <a:gd name="T16" fmla="*/ 647 w 678"/>
                    <a:gd name="T17" fmla="*/ 178 h 574"/>
                    <a:gd name="T18" fmla="*/ 638 w 678"/>
                    <a:gd name="T19" fmla="*/ 346 h 574"/>
                    <a:gd name="T20" fmla="*/ 461 w 678"/>
                    <a:gd name="T21" fmla="*/ 388 h 574"/>
                    <a:gd name="T22" fmla="*/ 461 w 678"/>
                    <a:gd name="T23" fmla="*/ 415 h 574"/>
                    <a:gd name="T24" fmla="*/ 455 w 678"/>
                    <a:gd name="T25" fmla="*/ 435 h 574"/>
                    <a:gd name="T26" fmla="*/ 444 w 678"/>
                    <a:gd name="T27" fmla="*/ 435 h 574"/>
                    <a:gd name="T28" fmla="*/ 434 w 678"/>
                    <a:gd name="T29" fmla="*/ 440 h 574"/>
                    <a:gd name="T30" fmla="*/ 425 w 678"/>
                    <a:gd name="T31" fmla="*/ 445 h 574"/>
                    <a:gd name="T32" fmla="*/ 414 w 678"/>
                    <a:gd name="T33" fmla="*/ 447 h 574"/>
                    <a:gd name="T34" fmla="*/ 411 w 678"/>
                    <a:gd name="T35" fmla="*/ 463 h 574"/>
                    <a:gd name="T36" fmla="*/ 410 w 678"/>
                    <a:gd name="T37" fmla="*/ 474 h 574"/>
                    <a:gd name="T38" fmla="*/ 403 w 678"/>
                    <a:gd name="T39" fmla="*/ 483 h 574"/>
                    <a:gd name="T40" fmla="*/ 365 w 678"/>
                    <a:gd name="T41" fmla="*/ 498 h 574"/>
                    <a:gd name="T42" fmla="*/ 330 w 678"/>
                    <a:gd name="T43" fmla="*/ 513 h 574"/>
                    <a:gd name="T44" fmla="*/ 313 w 678"/>
                    <a:gd name="T45" fmla="*/ 525 h 574"/>
                    <a:gd name="T46" fmla="*/ 277 w 678"/>
                    <a:gd name="T47" fmla="*/ 564 h 574"/>
                    <a:gd name="T48" fmla="*/ 258 w 678"/>
                    <a:gd name="T49" fmla="*/ 573 h 574"/>
                    <a:gd name="T50" fmla="*/ 238 w 678"/>
                    <a:gd name="T51" fmla="*/ 574 h 574"/>
                    <a:gd name="T52" fmla="*/ 193 w 678"/>
                    <a:gd name="T53" fmla="*/ 574 h 574"/>
                    <a:gd name="T54" fmla="*/ 186 w 678"/>
                    <a:gd name="T55" fmla="*/ 559 h 574"/>
                    <a:gd name="T56" fmla="*/ 165 w 678"/>
                    <a:gd name="T57" fmla="*/ 547 h 574"/>
                    <a:gd name="T58" fmla="*/ 133 w 678"/>
                    <a:gd name="T59" fmla="*/ 545 h 574"/>
                    <a:gd name="T60" fmla="*/ 93 w 678"/>
                    <a:gd name="T61" fmla="*/ 556 h 574"/>
                    <a:gd name="T62" fmla="*/ 33 w 678"/>
                    <a:gd name="T63" fmla="*/ 527 h 574"/>
                    <a:gd name="T64" fmla="*/ 0 w 678"/>
                    <a:gd name="T65" fmla="*/ 285 h 574"/>
                    <a:gd name="T66" fmla="*/ 73 w 678"/>
                    <a:gd name="T67" fmla="*/ 286 h 574"/>
                    <a:gd name="T68" fmla="*/ 103 w 678"/>
                    <a:gd name="T69" fmla="*/ 282 h 574"/>
                    <a:gd name="T70" fmla="*/ 119 w 678"/>
                    <a:gd name="T71" fmla="*/ 275 h 574"/>
                    <a:gd name="T72" fmla="*/ 129 w 678"/>
                    <a:gd name="T73" fmla="*/ 256 h 574"/>
                    <a:gd name="T74" fmla="*/ 131 w 678"/>
                    <a:gd name="T75" fmla="*/ 229 h 574"/>
                    <a:gd name="T76" fmla="*/ 126 w 678"/>
                    <a:gd name="T77" fmla="*/ 185 h 574"/>
                    <a:gd name="T78" fmla="*/ 130 w 678"/>
                    <a:gd name="T79" fmla="*/ 165 h 574"/>
                    <a:gd name="T80" fmla="*/ 140 w 678"/>
                    <a:gd name="T81" fmla="*/ 171 h 574"/>
                    <a:gd name="T82" fmla="*/ 174 w 678"/>
                    <a:gd name="T83" fmla="*/ 175 h 574"/>
                    <a:gd name="T84" fmla="*/ 188 w 678"/>
                    <a:gd name="T85" fmla="*/ 186 h 574"/>
                    <a:gd name="T86" fmla="*/ 195 w 678"/>
                    <a:gd name="T87" fmla="*/ 201 h 574"/>
                    <a:gd name="T88" fmla="*/ 208 w 678"/>
                    <a:gd name="T89" fmla="*/ 210 h 574"/>
                    <a:gd name="T90" fmla="*/ 241 w 678"/>
                    <a:gd name="T91" fmla="*/ 217 h 574"/>
                    <a:gd name="T92" fmla="*/ 269 w 678"/>
                    <a:gd name="T93" fmla="*/ 214 h 574"/>
                    <a:gd name="T94" fmla="*/ 301 w 678"/>
                    <a:gd name="T95" fmla="*/ 199 h 574"/>
                    <a:gd name="T96" fmla="*/ 319 w 678"/>
                    <a:gd name="T97" fmla="*/ 196 h 574"/>
                    <a:gd name="T98" fmla="*/ 331 w 678"/>
                    <a:gd name="T99" fmla="*/ 193 h 574"/>
                    <a:gd name="T100" fmla="*/ 343 w 678"/>
                    <a:gd name="T101" fmla="*/ 190 h 574"/>
                    <a:gd name="T102" fmla="*/ 357 w 678"/>
                    <a:gd name="T103" fmla="*/ 182 h 574"/>
                    <a:gd name="T104" fmla="*/ 368 w 678"/>
                    <a:gd name="T105" fmla="*/ 168 h 574"/>
                    <a:gd name="T106" fmla="*/ 383 w 678"/>
                    <a:gd name="T107" fmla="*/ 126 h 574"/>
                    <a:gd name="T108" fmla="*/ 403 w 678"/>
                    <a:gd name="T109" fmla="*/ 47 h 574"/>
                    <a:gd name="T110" fmla="*/ 414 w 678"/>
                    <a:gd name="T111" fmla="*/ 10 h 574"/>
                    <a:gd name="T112" fmla="*/ 431 w 678"/>
                    <a:gd name="T113" fmla="*/ 6 h 574"/>
                    <a:gd name="T114" fmla="*/ 453 w 678"/>
                    <a:gd name="T115" fmla="*/ 8 h 574"/>
                    <a:gd name="T116" fmla="*/ 482 w 678"/>
                    <a:gd name="T117" fmla="*/ 1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328" name="Freeform 478">
                  <a:extLst>
                    <a:ext uri="{FF2B5EF4-FFF2-40B4-BE49-F238E27FC236}">
                      <a16:creationId xmlns="" xmlns:a16="http://schemas.microsoft.com/office/drawing/2014/main" id="{F62BDDC9-AFA8-4CBE-84D9-6320CA5C0BB6}"/>
                    </a:ext>
                  </a:extLst>
                </p:cNvPr>
                <p:cNvSpPr>
                  <a:spLocks/>
                </p:cNvSpPr>
                <p:nvPr>
                  <p:custDataLst>
                    <p:tags r:id="rId316"/>
                  </p:custDataLst>
                </p:nvPr>
              </p:nvSpPr>
              <p:spPr bwMode="auto">
                <a:xfrm>
                  <a:off x="6178744" y="3365397"/>
                  <a:ext cx="248838" cy="270232"/>
                </a:xfrm>
                <a:custGeom>
                  <a:avLst/>
                  <a:gdLst>
                    <a:gd name="T0" fmla="*/ 797 w 810"/>
                    <a:gd name="T1" fmla="*/ 42 h 727"/>
                    <a:gd name="T2" fmla="*/ 766 w 810"/>
                    <a:gd name="T3" fmla="*/ 26 h 727"/>
                    <a:gd name="T4" fmla="*/ 718 w 810"/>
                    <a:gd name="T5" fmla="*/ 33 h 727"/>
                    <a:gd name="T6" fmla="*/ 634 w 810"/>
                    <a:gd name="T7" fmla="*/ 44 h 727"/>
                    <a:gd name="T8" fmla="*/ 604 w 810"/>
                    <a:gd name="T9" fmla="*/ 55 h 727"/>
                    <a:gd name="T10" fmla="*/ 280 w 810"/>
                    <a:gd name="T11" fmla="*/ 40 h 727"/>
                    <a:gd name="T12" fmla="*/ 232 w 810"/>
                    <a:gd name="T13" fmla="*/ 37 h 727"/>
                    <a:gd name="T14" fmla="*/ 172 w 810"/>
                    <a:gd name="T15" fmla="*/ 17 h 727"/>
                    <a:gd name="T16" fmla="*/ 116 w 810"/>
                    <a:gd name="T17" fmla="*/ 0 h 727"/>
                    <a:gd name="T18" fmla="*/ 83 w 810"/>
                    <a:gd name="T19" fmla="*/ 5 h 727"/>
                    <a:gd name="T20" fmla="*/ 53 w 810"/>
                    <a:gd name="T21" fmla="*/ 24 h 727"/>
                    <a:gd name="T22" fmla="*/ 0 w 810"/>
                    <a:gd name="T23" fmla="*/ 55 h 727"/>
                    <a:gd name="T24" fmla="*/ 7 w 810"/>
                    <a:gd name="T25" fmla="*/ 68 h 727"/>
                    <a:gd name="T26" fmla="*/ 26 w 810"/>
                    <a:gd name="T27" fmla="*/ 74 h 727"/>
                    <a:gd name="T28" fmla="*/ 36 w 810"/>
                    <a:gd name="T29" fmla="*/ 129 h 727"/>
                    <a:gd name="T30" fmla="*/ 60 w 810"/>
                    <a:gd name="T31" fmla="*/ 192 h 727"/>
                    <a:gd name="T32" fmla="*/ 109 w 810"/>
                    <a:gd name="T33" fmla="*/ 276 h 727"/>
                    <a:gd name="T34" fmla="*/ 133 w 810"/>
                    <a:gd name="T35" fmla="*/ 300 h 727"/>
                    <a:gd name="T36" fmla="*/ 159 w 810"/>
                    <a:gd name="T37" fmla="*/ 302 h 727"/>
                    <a:gd name="T38" fmla="*/ 159 w 810"/>
                    <a:gd name="T39" fmla="*/ 332 h 727"/>
                    <a:gd name="T40" fmla="*/ 152 w 810"/>
                    <a:gd name="T41" fmla="*/ 359 h 727"/>
                    <a:gd name="T42" fmla="*/ 146 w 810"/>
                    <a:gd name="T43" fmla="*/ 394 h 727"/>
                    <a:gd name="T44" fmla="*/ 150 w 810"/>
                    <a:gd name="T45" fmla="*/ 425 h 727"/>
                    <a:gd name="T46" fmla="*/ 173 w 810"/>
                    <a:gd name="T47" fmla="*/ 484 h 727"/>
                    <a:gd name="T48" fmla="*/ 179 w 810"/>
                    <a:gd name="T49" fmla="*/ 518 h 727"/>
                    <a:gd name="T50" fmla="*/ 187 w 810"/>
                    <a:gd name="T51" fmla="*/ 606 h 727"/>
                    <a:gd name="T52" fmla="*/ 204 w 810"/>
                    <a:gd name="T53" fmla="*/ 647 h 727"/>
                    <a:gd name="T54" fmla="*/ 231 w 810"/>
                    <a:gd name="T55" fmla="*/ 690 h 727"/>
                    <a:gd name="T56" fmla="*/ 245 w 810"/>
                    <a:gd name="T57" fmla="*/ 700 h 727"/>
                    <a:gd name="T58" fmla="*/ 259 w 810"/>
                    <a:gd name="T59" fmla="*/ 715 h 727"/>
                    <a:gd name="T60" fmla="*/ 265 w 810"/>
                    <a:gd name="T61" fmla="*/ 678 h 727"/>
                    <a:gd name="T62" fmla="*/ 308 w 810"/>
                    <a:gd name="T63" fmla="*/ 696 h 727"/>
                    <a:gd name="T64" fmla="*/ 328 w 810"/>
                    <a:gd name="T65" fmla="*/ 713 h 727"/>
                    <a:gd name="T66" fmla="*/ 372 w 810"/>
                    <a:gd name="T67" fmla="*/ 726 h 727"/>
                    <a:gd name="T68" fmla="*/ 407 w 810"/>
                    <a:gd name="T69" fmla="*/ 723 h 727"/>
                    <a:gd name="T70" fmla="*/ 429 w 810"/>
                    <a:gd name="T71" fmla="*/ 710 h 727"/>
                    <a:gd name="T72" fmla="*/ 452 w 810"/>
                    <a:gd name="T73" fmla="*/ 675 h 727"/>
                    <a:gd name="T74" fmla="*/ 463 w 810"/>
                    <a:gd name="T75" fmla="*/ 529 h 727"/>
                    <a:gd name="T76" fmla="*/ 465 w 810"/>
                    <a:gd name="T77" fmla="*/ 480 h 727"/>
                    <a:gd name="T78" fmla="*/ 471 w 810"/>
                    <a:gd name="T79" fmla="*/ 469 h 727"/>
                    <a:gd name="T80" fmla="*/ 463 w 810"/>
                    <a:gd name="T81" fmla="*/ 426 h 727"/>
                    <a:gd name="T82" fmla="*/ 469 w 810"/>
                    <a:gd name="T83" fmla="*/ 368 h 727"/>
                    <a:gd name="T84" fmla="*/ 500 w 810"/>
                    <a:gd name="T85" fmla="*/ 330 h 727"/>
                    <a:gd name="T86" fmla="*/ 525 w 810"/>
                    <a:gd name="T87" fmla="*/ 320 h 727"/>
                    <a:gd name="T88" fmla="*/ 538 w 810"/>
                    <a:gd name="T89" fmla="*/ 232 h 727"/>
                    <a:gd name="T90" fmla="*/ 551 w 810"/>
                    <a:gd name="T91" fmla="*/ 148 h 727"/>
                    <a:gd name="T92" fmla="*/ 541 w 810"/>
                    <a:gd name="T93" fmla="*/ 124 h 727"/>
                    <a:gd name="T94" fmla="*/ 531 w 810"/>
                    <a:gd name="T95" fmla="*/ 99 h 727"/>
                    <a:gd name="T96" fmla="*/ 539 w 810"/>
                    <a:gd name="T97" fmla="*/ 86 h 727"/>
                    <a:gd name="T98" fmla="*/ 617 w 810"/>
                    <a:gd name="T99" fmla="*/ 80 h 727"/>
                    <a:gd name="T100" fmla="*/ 708 w 810"/>
                    <a:gd name="T101" fmla="*/ 63 h 727"/>
                    <a:gd name="T102" fmla="*/ 803 w 810"/>
                    <a:gd name="T103" fmla="*/ 61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329" name="Freeform 479">
                  <a:extLst>
                    <a:ext uri="{FF2B5EF4-FFF2-40B4-BE49-F238E27FC236}">
                      <a16:creationId xmlns="" xmlns:a16="http://schemas.microsoft.com/office/drawing/2014/main" id="{9925B37D-6A52-4067-85F4-41A62AF9ED81}"/>
                    </a:ext>
                  </a:extLst>
                </p:cNvPr>
                <p:cNvSpPr>
                  <a:spLocks/>
                </p:cNvSpPr>
                <p:nvPr>
                  <p:custDataLst>
                    <p:tags r:id="rId317"/>
                  </p:custDataLst>
                </p:nvPr>
              </p:nvSpPr>
              <p:spPr bwMode="auto">
                <a:xfrm>
                  <a:off x="5667555" y="2606495"/>
                  <a:ext cx="114849" cy="100212"/>
                </a:xfrm>
                <a:custGeom>
                  <a:avLst/>
                  <a:gdLst>
                    <a:gd name="T0" fmla="*/ 203 w 365"/>
                    <a:gd name="T1" fmla="*/ 250 h 271"/>
                    <a:gd name="T2" fmla="*/ 163 w 365"/>
                    <a:gd name="T3" fmla="*/ 246 h 271"/>
                    <a:gd name="T4" fmla="*/ 121 w 365"/>
                    <a:gd name="T5" fmla="*/ 247 h 271"/>
                    <a:gd name="T6" fmla="*/ 92 w 365"/>
                    <a:gd name="T7" fmla="*/ 250 h 271"/>
                    <a:gd name="T8" fmla="*/ 74 w 365"/>
                    <a:gd name="T9" fmla="*/ 255 h 271"/>
                    <a:gd name="T10" fmla="*/ 26 w 365"/>
                    <a:gd name="T11" fmla="*/ 271 h 271"/>
                    <a:gd name="T12" fmla="*/ 20 w 365"/>
                    <a:gd name="T13" fmla="*/ 270 h 271"/>
                    <a:gd name="T14" fmla="*/ 17 w 365"/>
                    <a:gd name="T15" fmla="*/ 266 h 271"/>
                    <a:gd name="T16" fmla="*/ 18 w 365"/>
                    <a:gd name="T17" fmla="*/ 254 h 271"/>
                    <a:gd name="T18" fmla="*/ 26 w 365"/>
                    <a:gd name="T19" fmla="*/ 228 h 271"/>
                    <a:gd name="T20" fmla="*/ 61 w 365"/>
                    <a:gd name="T21" fmla="*/ 226 h 271"/>
                    <a:gd name="T22" fmla="*/ 89 w 365"/>
                    <a:gd name="T23" fmla="*/ 222 h 271"/>
                    <a:gd name="T24" fmla="*/ 115 w 365"/>
                    <a:gd name="T25" fmla="*/ 218 h 271"/>
                    <a:gd name="T26" fmla="*/ 146 w 365"/>
                    <a:gd name="T27" fmla="*/ 216 h 271"/>
                    <a:gd name="T28" fmla="*/ 182 w 365"/>
                    <a:gd name="T29" fmla="*/ 218 h 271"/>
                    <a:gd name="T30" fmla="*/ 199 w 365"/>
                    <a:gd name="T31" fmla="*/ 218 h 271"/>
                    <a:gd name="T32" fmla="*/ 219 w 365"/>
                    <a:gd name="T33" fmla="*/ 216 h 271"/>
                    <a:gd name="T34" fmla="*/ 215 w 365"/>
                    <a:gd name="T35" fmla="*/ 208 h 271"/>
                    <a:gd name="T36" fmla="*/ 210 w 365"/>
                    <a:gd name="T37" fmla="*/ 201 h 271"/>
                    <a:gd name="T38" fmla="*/ 195 w 365"/>
                    <a:gd name="T39" fmla="*/ 194 h 271"/>
                    <a:gd name="T40" fmla="*/ 175 w 365"/>
                    <a:gd name="T41" fmla="*/ 191 h 271"/>
                    <a:gd name="T42" fmla="*/ 152 w 365"/>
                    <a:gd name="T43" fmla="*/ 190 h 271"/>
                    <a:gd name="T44" fmla="*/ 93 w 365"/>
                    <a:gd name="T45" fmla="*/ 192 h 271"/>
                    <a:gd name="T46" fmla="*/ 64 w 365"/>
                    <a:gd name="T47" fmla="*/ 196 h 271"/>
                    <a:gd name="T48" fmla="*/ 33 w 365"/>
                    <a:gd name="T49" fmla="*/ 203 h 271"/>
                    <a:gd name="T50" fmla="*/ 38 w 365"/>
                    <a:gd name="T51" fmla="*/ 183 h 271"/>
                    <a:gd name="T52" fmla="*/ 39 w 365"/>
                    <a:gd name="T53" fmla="*/ 172 h 271"/>
                    <a:gd name="T54" fmla="*/ 26 w 365"/>
                    <a:gd name="T55" fmla="*/ 164 h 271"/>
                    <a:gd name="T56" fmla="*/ 13 w 365"/>
                    <a:gd name="T57" fmla="*/ 160 h 271"/>
                    <a:gd name="T58" fmla="*/ 11 w 365"/>
                    <a:gd name="T59" fmla="*/ 147 h 271"/>
                    <a:gd name="T60" fmla="*/ 6 w 365"/>
                    <a:gd name="T61" fmla="*/ 143 h 271"/>
                    <a:gd name="T62" fmla="*/ 2 w 365"/>
                    <a:gd name="T63" fmla="*/ 141 h 271"/>
                    <a:gd name="T64" fmla="*/ 0 w 365"/>
                    <a:gd name="T65" fmla="*/ 135 h 271"/>
                    <a:gd name="T66" fmla="*/ 5 w 365"/>
                    <a:gd name="T67" fmla="*/ 115 h 271"/>
                    <a:gd name="T68" fmla="*/ 17 w 365"/>
                    <a:gd name="T69" fmla="*/ 92 h 271"/>
                    <a:gd name="T70" fmla="*/ 30 w 365"/>
                    <a:gd name="T71" fmla="*/ 69 h 271"/>
                    <a:gd name="T72" fmla="*/ 39 w 365"/>
                    <a:gd name="T73" fmla="*/ 49 h 271"/>
                    <a:gd name="T74" fmla="*/ 48 w 365"/>
                    <a:gd name="T75" fmla="*/ 42 h 271"/>
                    <a:gd name="T76" fmla="*/ 49 w 365"/>
                    <a:gd name="T77" fmla="*/ 48 h 271"/>
                    <a:gd name="T78" fmla="*/ 52 w 365"/>
                    <a:gd name="T79" fmla="*/ 36 h 271"/>
                    <a:gd name="T80" fmla="*/ 75 w 365"/>
                    <a:gd name="T81" fmla="*/ 31 h 271"/>
                    <a:gd name="T82" fmla="*/ 114 w 365"/>
                    <a:gd name="T83" fmla="*/ 18 h 271"/>
                    <a:gd name="T84" fmla="*/ 165 w 365"/>
                    <a:gd name="T85" fmla="*/ 0 h 271"/>
                    <a:gd name="T86" fmla="*/ 184 w 365"/>
                    <a:gd name="T87" fmla="*/ 15 h 271"/>
                    <a:gd name="T88" fmla="*/ 202 w 365"/>
                    <a:gd name="T89" fmla="*/ 24 h 271"/>
                    <a:gd name="T90" fmla="*/ 220 w 365"/>
                    <a:gd name="T91" fmla="*/ 29 h 271"/>
                    <a:gd name="T92" fmla="*/ 239 w 365"/>
                    <a:gd name="T93" fmla="*/ 30 h 271"/>
                    <a:gd name="T94" fmla="*/ 241 w 365"/>
                    <a:gd name="T95" fmla="*/ 52 h 271"/>
                    <a:gd name="T96" fmla="*/ 247 w 365"/>
                    <a:gd name="T97" fmla="*/ 69 h 271"/>
                    <a:gd name="T98" fmla="*/ 254 w 365"/>
                    <a:gd name="T99" fmla="*/ 84 h 271"/>
                    <a:gd name="T100" fmla="*/ 264 w 365"/>
                    <a:gd name="T101" fmla="*/ 95 h 271"/>
                    <a:gd name="T102" fmla="*/ 305 w 365"/>
                    <a:gd name="T103" fmla="*/ 129 h 271"/>
                    <a:gd name="T104" fmla="*/ 352 w 365"/>
                    <a:gd name="T105" fmla="*/ 234 h 271"/>
                    <a:gd name="T106" fmla="*/ 359 w 365"/>
                    <a:gd name="T107" fmla="*/ 257 h 271"/>
                    <a:gd name="T108" fmla="*/ 365 w 365"/>
                    <a:gd name="T109" fmla="*/ 271 h 271"/>
                    <a:gd name="T110" fmla="*/ 321 w 365"/>
                    <a:gd name="T111" fmla="*/ 259 h 271"/>
                    <a:gd name="T112" fmla="*/ 275 w 365"/>
                    <a:gd name="T113" fmla="*/ 252 h 271"/>
                    <a:gd name="T114" fmla="*/ 248 w 365"/>
                    <a:gd name="T115" fmla="*/ 251 h 271"/>
                    <a:gd name="T116" fmla="*/ 219 w 365"/>
                    <a:gd name="T117" fmla="*/ 252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330" name="Freeform 480">
                  <a:extLst>
                    <a:ext uri="{FF2B5EF4-FFF2-40B4-BE49-F238E27FC236}">
                      <a16:creationId xmlns="" xmlns:a16="http://schemas.microsoft.com/office/drawing/2014/main" id="{2005665A-CED7-404E-A5E7-587468A962B7}"/>
                    </a:ext>
                  </a:extLst>
                </p:cNvPr>
                <p:cNvSpPr>
                  <a:spLocks/>
                </p:cNvSpPr>
                <p:nvPr>
                  <p:custDataLst>
                    <p:tags r:id="rId318"/>
                  </p:custDataLst>
                </p:nvPr>
              </p:nvSpPr>
              <p:spPr bwMode="auto">
                <a:xfrm>
                  <a:off x="6499644" y="3005087"/>
                  <a:ext cx="191415" cy="237579"/>
                </a:xfrm>
                <a:custGeom>
                  <a:avLst/>
                  <a:gdLst>
                    <a:gd name="T0" fmla="*/ 146 w 624"/>
                    <a:gd name="T1" fmla="*/ 12 h 640"/>
                    <a:gd name="T2" fmla="*/ 239 w 624"/>
                    <a:gd name="T3" fmla="*/ 12 h 640"/>
                    <a:gd name="T4" fmla="*/ 287 w 624"/>
                    <a:gd name="T5" fmla="*/ 5 h 640"/>
                    <a:gd name="T6" fmla="*/ 326 w 624"/>
                    <a:gd name="T7" fmla="*/ 22 h 640"/>
                    <a:gd name="T8" fmla="*/ 396 w 624"/>
                    <a:gd name="T9" fmla="*/ 66 h 640"/>
                    <a:gd name="T10" fmla="*/ 465 w 624"/>
                    <a:gd name="T11" fmla="*/ 111 h 640"/>
                    <a:gd name="T12" fmla="*/ 469 w 624"/>
                    <a:gd name="T13" fmla="*/ 131 h 640"/>
                    <a:gd name="T14" fmla="*/ 480 w 624"/>
                    <a:gd name="T15" fmla="*/ 153 h 640"/>
                    <a:gd name="T16" fmla="*/ 497 w 624"/>
                    <a:gd name="T17" fmla="*/ 170 h 640"/>
                    <a:gd name="T18" fmla="*/ 519 w 624"/>
                    <a:gd name="T19" fmla="*/ 183 h 640"/>
                    <a:gd name="T20" fmla="*/ 543 w 624"/>
                    <a:gd name="T21" fmla="*/ 190 h 640"/>
                    <a:gd name="T22" fmla="*/ 554 w 624"/>
                    <a:gd name="T23" fmla="*/ 195 h 640"/>
                    <a:gd name="T24" fmla="*/ 565 w 624"/>
                    <a:gd name="T25" fmla="*/ 205 h 640"/>
                    <a:gd name="T26" fmla="*/ 561 w 624"/>
                    <a:gd name="T27" fmla="*/ 227 h 640"/>
                    <a:gd name="T28" fmla="*/ 537 w 624"/>
                    <a:gd name="T29" fmla="*/ 252 h 640"/>
                    <a:gd name="T30" fmla="*/ 525 w 624"/>
                    <a:gd name="T31" fmla="*/ 271 h 640"/>
                    <a:gd name="T32" fmla="*/ 533 w 624"/>
                    <a:gd name="T33" fmla="*/ 287 h 640"/>
                    <a:gd name="T34" fmla="*/ 547 w 624"/>
                    <a:gd name="T35" fmla="*/ 299 h 640"/>
                    <a:gd name="T36" fmla="*/ 552 w 624"/>
                    <a:gd name="T37" fmla="*/ 425 h 640"/>
                    <a:gd name="T38" fmla="*/ 550 w 624"/>
                    <a:gd name="T39" fmla="*/ 439 h 640"/>
                    <a:gd name="T40" fmla="*/ 558 w 624"/>
                    <a:gd name="T41" fmla="*/ 462 h 640"/>
                    <a:gd name="T42" fmla="*/ 558 w 624"/>
                    <a:gd name="T43" fmla="*/ 489 h 640"/>
                    <a:gd name="T44" fmla="*/ 561 w 624"/>
                    <a:gd name="T45" fmla="*/ 515 h 640"/>
                    <a:gd name="T46" fmla="*/ 594 w 624"/>
                    <a:gd name="T47" fmla="*/ 549 h 640"/>
                    <a:gd name="T48" fmla="*/ 616 w 624"/>
                    <a:gd name="T49" fmla="*/ 579 h 640"/>
                    <a:gd name="T50" fmla="*/ 575 w 624"/>
                    <a:gd name="T51" fmla="*/ 600 h 640"/>
                    <a:gd name="T52" fmla="*/ 491 w 624"/>
                    <a:gd name="T53" fmla="*/ 631 h 640"/>
                    <a:gd name="T54" fmla="*/ 443 w 624"/>
                    <a:gd name="T55" fmla="*/ 638 h 640"/>
                    <a:gd name="T56" fmla="*/ 392 w 624"/>
                    <a:gd name="T57" fmla="*/ 628 h 640"/>
                    <a:gd name="T58" fmla="*/ 339 w 624"/>
                    <a:gd name="T59" fmla="*/ 633 h 640"/>
                    <a:gd name="T60" fmla="*/ 306 w 624"/>
                    <a:gd name="T61" fmla="*/ 628 h 640"/>
                    <a:gd name="T62" fmla="*/ 299 w 624"/>
                    <a:gd name="T63" fmla="*/ 614 h 640"/>
                    <a:gd name="T64" fmla="*/ 294 w 624"/>
                    <a:gd name="T65" fmla="*/ 573 h 640"/>
                    <a:gd name="T66" fmla="*/ 288 w 624"/>
                    <a:gd name="T67" fmla="*/ 529 h 640"/>
                    <a:gd name="T68" fmla="*/ 253 w 624"/>
                    <a:gd name="T69" fmla="*/ 517 h 640"/>
                    <a:gd name="T70" fmla="*/ 185 w 624"/>
                    <a:gd name="T71" fmla="*/ 502 h 640"/>
                    <a:gd name="T72" fmla="*/ 90 w 624"/>
                    <a:gd name="T73" fmla="*/ 459 h 640"/>
                    <a:gd name="T74" fmla="*/ 68 w 624"/>
                    <a:gd name="T75" fmla="*/ 446 h 640"/>
                    <a:gd name="T76" fmla="*/ 66 w 624"/>
                    <a:gd name="T77" fmla="*/ 428 h 640"/>
                    <a:gd name="T78" fmla="*/ 65 w 624"/>
                    <a:gd name="T79" fmla="*/ 402 h 640"/>
                    <a:gd name="T80" fmla="*/ 53 w 624"/>
                    <a:gd name="T81" fmla="*/ 377 h 640"/>
                    <a:gd name="T82" fmla="*/ 41 w 624"/>
                    <a:gd name="T83" fmla="*/ 357 h 640"/>
                    <a:gd name="T84" fmla="*/ 27 w 624"/>
                    <a:gd name="T85" fmla="*/ 347 h 640"/>
                    <a:gd name="T86" fmla="*/ 12 w 624"/>
                    <a:gd name="T87" fmla="*/ 332 h 640"/>
                    <a:gd name="T88" fmla="*/ 5 w 624"/>
                    <a:gd name="T89" fmla="*/ 308 h 640"/>
                    <a:gd name="T90" fmla="*/ 0 w 624"/>
                    <a:gd name="T91" fmla="*/ 262 h 640"/>
                    <a:gd name="T92" fmla="*/ 0 w 624"/>
                    <a:gd name="T93" fmla="*/ 234 h 640"/>
                    <a:gd name="T94" fmla="*/ 10 w 624"/>
                    <a:gd name="T95" fmla="*/ 212 h 640"/>
                    <a:gd name="T96" fmla="*/ 38 w 624"/>
                    <a:gd name="T97" fmla="*/ 195 h 640"/>
                    <a:gd name="T98" fmla="*/ 61 w 624"/>
                    <a:gd name="T99" fmla="*/ 173 h 640"/>
                    <a:gd name="T100" fmla="*/ 77 w 624"/>
                    <a:gd name="T101" fmla="*/ 77 h 640"/>
                    <a:gd name="T102" fmla="*/ 84 w 624"/>
                    <a:gd name="T103" fmla="*/ 43 h 640"/>
                    <a:gd name="T104" fmla="*/ 82 w 624"/>
                    <a:gd name="T105" fmla="*/ 8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331" name="Freeform 481">
                  <a:extLst>
                    <a:ext uri="{FF2B5EF4-FFF2-40B4-BE49-F238E27FC236}">
                      <a16:creationId xmlns="" xmlns:a16="http://schemas.microsoft.com/office/drawing/2014/main" id="{8E3E65B0-23ED-4B1A-A5DB-6A9F3944F6F2}"/>
                    </a:ext>
                  </a:extLst>
                </p:cNvPr>
                <p:cNvSpPr>
                  <a:spLocks/>
                </p:cNvSpPr>
                <p:nvPr>
                  <p:custDataLst>
                    <p:tags r:id="rId319"/>
                  </p:custDataLst>
                </p:nvPr>
              </p:nvSpPr>
              <p:spPr bwMode="auto">
                <a:xfrm>
                  <a:off x="8318082" y="1951182"/>
                  <a:ext cx="13512" cy="40535"/>
                </a:xfrm>
                <a:custGeom>
                  <a:avLst/>
                  <a:gdLst>
                    <a:gd name="T0" fmla="*/ 13 w 52"/>
                    <a:gd name="T1" fmla="*/ 50 h 50"/>
                    <a:gd name="T2" fmla="*/ 0 w 52"/>
                    <a:gd name="T3" fmla="*/ 32 h 50"/>
                    <a:gd name="T4" fmla="*/ 2 w 52"/>
                    <a:gd name="T5" fmla="*/ 25 h 50"/>
                    <a:gd name="T6" fmla="*/ 6 w 52"/>
                    <a:gd name="T7" fmla="*/ 18 h 50"/>
                    <a:gd name="T8" fmla="*/ 12 w 52"/>
                    <a:gd name="T9" fmla="*/ 13 h 50"/>
                    <a:gd name="T10" fmla="*/ 18 w 52"/>
                    <a:gd name="T11" fmla="*/ 9 h 50"/>
                    <a:gd name="T12" fmla="*/ 26 w 52"/>
                    <a:gd name="T13" fmla="*/ 5 h 50"/>
                    <a:gd name="T14" fmla="*/ 34 w 52"/>
                    <a:gd name="T15" fmla="*/ 3 h 50"/>
                    <a:gd name="T16" fmla="*/ 43 w 52"/>
                    <a:gd name="T17" fmla="*/ 1 h 50"/>
                    <a:gd name="T18" fmla="*/ 52 w 52"/>
                    <a:gd name="T19" fmla="*/ 0 h 50"/>
                    <a:gd name="T20" fmla="*/ 40 w 52"/>
                    <a:gd name="T21" fmla="*/ 11 h 50"/>
                    <a:gd name="T22" fmla="*/ 27 w 52"/>
                    <a:gd name="T23" fmla="*/ 22 h 50"/>
                    <a:gd name="T24" fmla="*/ 22 w 52"/>
                    <a:gd name="T25" fmla="*/ 30 h 50"/>
                    <a:gd name="T26" fmla="*/ 17 w 52"/>
                    <a:gd name="T27" fmla="*/ 36 h 50"/>
                    <a:gd name="T28" fmla="*/ 14 w 52"/>
                    <a:gd name="T29" fmla="*/ 43 h 50"/>
                    <a:gd name="T30" fmla="*/ 13 w 52"/>
                    <a:gd name="T3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32" name="Freeform 482">
                  <a:extLst>
                    <a:ext uri="{FF2B5EF4-FFF2-40B4-BE49-F238E27FC236}">
                      <a16:creationId xmlns="" xmlns:a16="http://schemas.microsoft.com/office/drawing/2014/main" id="{E56F6F55-BFAA-4285-A124-48CB8424BA3F}"/>
                    </a:ext>
                  </a:extLst>
                </p:cNvPr>
                <p:cNvSpPr>
                  <a:spLocks/>
                </p:cNvSpPr>
                <p:nvPr>
                  <p:custDataLst>
                    <p:tags r:id="rId320"/>
                  </p:custDataLst>
                </p:nvPr>
              </p:nvSpPr>
              <p:spPr bwMode="auto">
                <a:xfrm>
                  <a:off x="8217871" y="1952308"/>
                  <a:ext cx="100212" cy="88951"/>
                </a:xfrm>
                <a:custGeom>
                  <a:avLst/>
                  <a:gdLst>
                    <a:gd name="T0" fmla="*/ 76 w 320"/>
                    <a:gd name="T1" fmla="*/ 231 h 234"/>
                    <a:gd name="T2" fmla="*/ 61 w 320"/>
                    <a:gd name="T3" fmla="*/ 226 h 234"/>
                    <a:gd name="T4" fmla="*/ 66 w 320"/>
                    <a:gd name="T5" fmla="*/ 222 h 234"/>
                    <a:gd name="T6" fmla="*/ 77 w 320"/>
                    <a:gd name="T7" fmla="*/ 217 h 234"/>
                    <a:gd name="T8" fmla="*/ 64 w 320"/>
                    <a:gd name="T9" fmla="*/ 204 h 234"/>
                    <a:gd name="T10" fmla="*/ 43 w 320"/>
                    <a:gd name="T11" fmla="*/ 189 h 234"/>
                    <a:gd name="T12" fmla="*/ 36 w 320"/>
                    <a:gd name="T13" fmla="*/ 179 h 234"/>
                    <a:gd name="T14" fmla="*/ 34 w 320"/>
                    <a:gd name="T15" fmla="*/ 171 h 234"/>
                    <a:gd name="T16" fmla="*/ 34 w 320"/>
                    <a:gd name="T17" fmla="*/ 164 h 234"/>
                    <a:gd name="T18" fmla="*/ 36 w 320"/>
                    <a:gd name="T19" fmla="*/ 157 h 234"/>
                    <a:gd name="T20" fmla="*/ 43 w 320"/>
                    <a:gd name="T21" fmla="*/ 149 h 234"/>
                    <a:gd name="T22" fmla="*/ 56 w 320"/>
                    <a:gd name="T23" fmla="*/ 141 h 234"/>
                    <a:gd name="T24" fmla="*/ 73 w 320"/>
                    <a:gd name="T25" fmla="*/ 137 h 234"/>
                    <a:gd name="T26" fmla="*/ 80 w 320"/>
                    <a:gd name="T27" fmla="*/ 126 h 234"/>
                    <a:gd name="T28" fmla="*/ 67 w 320"/>
                    <a:gd name="T29" fmla="*/ 111 h 234"/>
                    <a:gd name="T30" fmla="*/ 61 w 320"/>
                    <a:gd name="T31" fmla="*/ 102 h 234"/>
                    <a:gd name="T32" fmla="*/ 60 w 320"/>
                    <a:gd name="T33" fmla="*/ 86 h 234"/>
                    <a:gd name="T34" fmla="*/ 55 w 320"/>
                    <a:gd name="T35" fmla="*/ 70 h 234"/>
                    <a:gd name="T36" fmla="*/ 46 w 320"/>
                    <a:gd name="T37" fmla="*/ 46 h 234"/>
                    <a:gd name="T38" fmla="*/ 33 w 320"/>
                    <a:gd name="T39" fmla="*/ 31 h 234"/>
                    <a:gd name="T40" fmla="*/ 20 w 320"/>
                    <a:gd name="T41" fmla="*/ 25 h 234"/>
                    <a:gd name="T42" fmla="*/ 7 w 320"/>
                    <a:gd name="T43" fmla="*/ 10 h 234"/>
                    <a:gd name="T44" fmla="*/ 9 w 320"/>
                    <a:gd name="T45" fmla="*/ 0 h 234"/>
                    <a:gd name="T46" fmla="*/ 24 w 320"/>
                    <a:gd name="T47" fmla="*/ 0 h 234"/>
                    <a:gd name="T48" fmla="*/ 38 w 320"/>
                    <a:gd name="T49" fmla="*/ 3 h 234"/>
                    <a:gd name="T50" fmla="*/ 56 w 320"/>
                    <a:gd name="T51" fmla="*/ 16 h 234"/>
                    <a:gd name="T52" fmla="*/ 78 w 320"/>
                    <a:gd name="T53" fmla="*/ 35 h 234"/>
                    <a:gd name="T54" fmla="*/ 96 w 320"/>
                    <a:gd name="T55" fmla="*/ 48 h 234"/>
                    <a:gd name="T56" fmla="*/ 119 w 320"/>
                    <a:gd name="T57" fmla="*/ 58 h 234"/>
                    <a:gd name="T58" fmla="*/ 152 w 320"/>
                    <a:gd name="T59" fmla="*/ 70 h 234"/>
                    <a:gd name="T60" fmla="*/ 181 w 320"/>
                    <a:gd name="T61" fmla="*/ 79 h 234"/>
                    <a:gd name="T62" fmla="*/ 214 w 320"/>
                    <a:gd name="T63" fmla="*/ 85 h 234"/>
                    <a:gd name="T64" fmla="*/ 236 w 320"/>
                    <a:gd name="T65" fmla="*/ 77 h 234"/>
                    <a:gd name="T66" fmla="*/ 257 w 320"/>
                    <a:gd name="T67" fmla="*/ 83 h 234"/>
                    <a:gd name="T68" fmla="*/ 284 w 320"/>
                    <a:gd name="T69" fmla="*/ 107 h 234"/>
                    <a:gd name="T70" fmla="*/ 305 w 320"/>
                    <a:gd name="T71" fmla="*/ 119 h 234"/>
                    <a:gd name="T72" fmla="*/ 297 w 320"/>
                    <a:gd name="T73" fmla="*/ 133 h 234"/>
                    <a:gd name="T74" fmla="*/ 268 w 320"/>
                    <a:gd name="T75" fmla="*/ 144 h 234"/>
                    <a:gd name="T76" fmla="*/ 249 w 320"/>
                    <a:gd name="T77" fmla="*/ 148 h 234"/>
                    <a:gd name="T78" fmla="*/ 237 w 320"/>
                    <a:gd name="T79" fmla="*/ 159 h 234"/>
                    <a:gd name="T80" fmla="*/ 232 w 320"/>
                    <a:gd name="T81" fmla="*/ 176 h 234"/>
                    <a:gd name="T82" fmla="*/ 231 w 320"/>
                    <a:gd name="T83" fmla="*/ 187 h 234"/>
                    <a:gd name="T84" fmla="*/ 222 w 320"/>
                    <a:gd name="T85" fmla="*/ 192 h 234"/>
                    <a:gd name="T86" fmla="*/ 204 w 320"/>
                    <a:gd name="T87" fmla="*/ 189 h 234"/>
                    <a:gd name="T88" fmla="*/ 186 w 320"/>
                    <a:gd name="T89" fmla="*/ 181 h 234"/>
                    <a:gd name="T90" fmla="*/ 168 w 320"/>
                    <a:gd name="T91" fmla="*/ 170 h 234"/>
                    <a:gd name="T92" fmla="*/ 155 w 320"/>
                    <a:gd name="T93" fmla="*/ 164 h 234"/>
                    <a:gd name="T94" fmla="*/ 145 w 320"/>
                    <a:gd name="T95" fmla="*/ 161 h 234"/>
                    <a:gd name="T96" fmla="*/ 131 w 320"/>
                    <a:gd name="T97" fmla="*/ 162 h 234"/>
                    <a:gd name="T98" fmla="*/ 114 w 320"/>
                    <a:gd name="T99" fmla="*/ 167 h 234"/>
                    <a:gd name="T100" fmla="*/ 100 w 320"/>
                    <a:gd name="T101" fmla="*/ 173 h 234"/>
                    <a:gd name="T102" fmla="*/ 87 w 320"/>
                    <a:gd name="T103" fmla="*/ 178 h 234"/>
                    <a:gd name="T104" fmla="*/ 85 w 320"/>
                    <a:gd name="T105" fmla="*/ 183 h 234"/>
                    <a:gd name="T106" fmla="*/ 96 w 320"/>
                    <a:gd name="T107" fmla="*/ 191 h 234"/>
                    <a:gd name="T108" fmla="*/ 116 w 320"/>
                    <a:gd name="T109" fmla="*/ 200 h 234"/>
                    <a:gd name="T110" fmla="*/ 126 w 320"/>
                    <a:gd name="T111" fmla="*/ 212 h 234"/>
                    <a:gd name="T112" fmla="*/ 113 w 320"/>
                    <a:gd name="T113" fmla="*/ 224 h 234"/>
                    <a:gd name="T114" fmla="*/ 102 w 320"/>
                    <a:gd name="T115" fmla="*/ 231 h 234"/>
                    <a:gd name="T116" fmla="*/ 91 w 320"/>
                    <a:gd name="T117" fmla="*/ 23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33" name="Freeform 483">
                  <a:extLst>
                    <a:ext uri="{FF2B5EF4-FFF2-40B4-BE49-F238E27FC236}">
                      <a16:creationId xmlns="" xmlns:a16="http://schemas.microsoft.com/office/drawing/2014/main" id="{B277B035-6CC0-4B97-B8DE-24697709DF7A}"/>
                    </a:ext>
                  </a:extLst>
                </p:cNvPr>
                <p:cNvSpPr>
                  <a:spLocks/>
                </p:cNvSpPr>
                <p:nvPr>
                  <p:custDataLst>
                    <p:tags r:id="rId321"/>
                  </p:custDataLst>
                </p:nvPr>
              </p:nvSpPr>
              <p:spPr bwMode="auto">
                <a:xfrm>
                  <a:off x="8196478" y="2203399"/>
                  <a:ext cx="37157" cy="40535"/>
                </a:xfrm>
                <a:custGeom>
                  <a:avLst/>
                  <a:gdLst>
                    <a:gd name="T0" fmla="*/ 33 w 125"/>
                    <a:gd name="T1" fmla="*/ 19 h 93"/>
                    <a:gd name="T2" fmla="*/ 43 w 125"/>
                    <a:gd name="T3" fmla="*/ 19 h 93"/>
                    <a:gd name="T4" fmla="*/ 52 w 125"/>
                    <a:gd name="T5" fmla="*/ 19 h 93"/>
                    <a:gd name="T6" fmla="*/ 55 w 125"/>
                    <a:gd name="T7" fmla="*/ 19 h 93"/>
                    <a:gd name="T8" fmla="*/ 58 w 125"/>
                    <a:gd name="T9" fmla="*/ 17 h 93"/>
                    <a:gd name="T10" fmla="*/ 61 w 125"/>
                    <a:gd name="T11" fmla="*/ 15 h 93"/>
                    <a:gd name="T12" fmla="*/ 65 w 125"/>
                    <a:gd name="T13" fmla="*/ 11 h 93"/>
                    <a:gd name="T14" fmla="*/ 68 w 125"/>
                    <a:gd name="T15" fmla="*/ 8 h 93"/>
                    <a:gd name="T16" fmla="*/ 70 w 125"/>
                    <a:gd name="T17" fmla="*/ 5 h 93"/>
                    <a:gd name="T18" fmla="*/ 72 w 125"/>
                    <a:gd name="T19" fmla="*/ 3 h 93"/>
                    <a:gd name="T20" fmla="*/ 72 w 125"/>
                    <a:gd name="T21" fmla="*/ 0 h 93"/>
                    <a:gd name="T22" fmla="*/ 118 w 125"/>
                    <a:gd name="T23" fmla="*/ 0 h 93"/>
                    <a:gd name="T24" fmla="*/ 122 w 125"/>
                    <a:gd name="T25" fmla="*/ 15 h 93"/>
                    <a:gd name="T26" fmla="*/ 125 w 125"/>
                    <a:gd name="T27" fmla="*/ 25 h 93"/>
                    <a:gd name="T28" fmla="*/ 124 w 125"/>
                    <a:gd name="T29" fmla="*/ 29 h 93"/>
                    <a:gd name="T30" fmla="*/ 122 w 125"/>
                    <a:gd name="T31" fmla="*/ 33 h 93"/>
                    <a:gd name="T32" fmla="*/ 119 w 125"/>
                    <a:gd name="T33" fmla="*/ 35 h 93"/>
                    <a:gd name="T34" fmla="*/ 117 w 125"/>
                    <a:gd name="T35" fmla="*/ 37 h 93"/>
                    <a:gd name="T36" fmla="*/ 111 w 125"/>
                    <a:gd name="T37" fmla="*/ 40 h 93"/>
                    <a:gd name="T38" fmla="*/ 104 w 125"/>
                    <a:gd name="T39" fmla="*/ 41 h 93"/>
                    <a:gd name="T40" fmla="*/ 88 w 125"/>
                    <a:gd name="T41" fmla="*/ 41 h 93"/>
                    <a:gd name="T42" fmla="*/ 72 w 125"/>
                    <a:gd name="T43" fmla="*/ 43 h 93"/>
                    <a:gd name="T44" fmla="*/ 70 w 125"/>
                    <a:gd name="T45" fmla="*/ 47 h 93"/>
                    <a:gd name="T46" fmla="*/ 69 w 125"/>
                    <a:gd name="T47" fmla="*/ 53 h 93"/>
                    <a:gd name="T48" fmla="*/ 67 w 125"/>
                    <a:gd name="T49" fmla="*/ 61 h 93"/>
                    <a:gd name="T50" fmla="*/ 67 w 125"/>
                    <a:gd name="T51" fmla="*/ 71 h 93"/>
                    <a:gd name="T52" fmla="*/ 66 w 125"/>
                    <a:gd name="T53" fmla="*/ 86 h 93"/>
                    <a:gd name="T54" fmla="*/ 66 w 125"/>
                    <a:gd name="T55" fmla="*/ 93 h 93"/>
                    <a:gd name="T56" fmla="*/ 49 w 125"/>
                    <a:gd name="T57" fmla="*/ 85 h 93"/>
                    <a:gd name="T58" fmla="*/ 27 w 125"/>
                    <a:gd name="T59" fmla="*/ 73 h 93"/>
                    <a:gd name="T60" fmla="*/ 16 w 125"/>
                    <a:gd name="T61" fmla="*/ 65 h 93"/>
                    <a:gd name="T62" fmla="*/ 7 w 125"/>
                    <a:gd name="T63" fmla="*/ 58 h 93"/>
                    <a:gd name="T64" fmla="*/ 4 w 125"/>
                    <a:gd name="T65" fmla="*/ 54 h 93"/>
                    <a:gd name="T66" fmla="*/ 2 w 125"/>
                    <a:gd name="T67" fmla="*/ 50 h 93"/>
                    <a:gd name="T68" fmla="*/ 0 w 125"/>
                    <a:gd name="T69" fmla="*/ 47 h 93"/>
                    <a:gd name="T70" fmla="*/ 0 w 125"/>
                    <a:gd name="T71" fmla="*/ 43 h 93"/>
                    <a:gd name="T72" fmla="*/ 7 w 125"/>
                    <a:gd name="T73" fmla="*/ 43 h 93"/>
                    <a:gd name="T74" fmla="*/ 15 w 125"/>
                    <a:gd name="T75" fmla="*/ 41 h 93"/>
                    <a:gd name="T76" fmla="*/ 20 w 125"/>
                    <a:gd name="T77" fmla="*/ 39 h 93"/>
                    <a:gd name="T78" fmla="*/ 23 w 125"/>
                    <a:gd name="T79" fmla="*/ 36 h 93"/>
                    <a:gd name="T80" fmla="*/ 28 w 125"/>
                    <a:gd name="T81" fmla="*/ 28 h 93"/>
                    <a:gd name="T82" fmla="*/ 33 w 125"/>
                    <a:gd name="T83" fmla="*/ 1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34" name="Freeform 484">
                  <a:extLst>
                    <a:ext uri="{FF2B5EF4-FFF2-40B4-BE49-F238E27FC236}">
                      <a16:creationId xmlns="" xmlns:a16="http://schemas.microsoft.com/office/drawing/2014/main" id="{AEDED6AD-A33D-40FD-9209-227B9F8AF438}"/>
                    </a:ext>
                  </a:extLst>
                </p:cNvPr>
                <p:cNvSpPr>
                  <a:spLocks/>
                </p:cNvSpPr>
                <p:nvPr>
                  <p:custDataLst>
                    <p:tags r:id="rId322"/>
                  </p:custDataLst>
                </p:nvPr>
              </p:nvSpPr>
              <p:spPr bwMode="auto">
                <a:xfrm>
                  <a:off x="8158195" y="2213533"/>
                  <a:ext cx="42787" cy="59676"/>
                </a:xfrm>
                <a:custGeom>
                  <a:avLst/>
                  <a:gdLst>
                    <a:gd name="T0" fmla="*/ 20 w 133"/>
                    <a:gd name="T1" fmla="*/ 12 h 154"/>
                    <a:gd name="T2" fmla="*/ 24 w 133"/>
                    <a:gd name="T3" fmla="*/ 10 h 154"/>
                    <a:gd name="T4" fmla="*/ 31 w 133"/>
                    <a:gd name="T5" fmla="*/ 6 h 154"/>
                    <a:gd name="T6" fmla="*/ 34 w 133"/>
                    <a:gd name="T7" fmla="*/ 4 h 154"/>
                    <a:gd name="T8" fmla="*/ 37 w 133"/>
                    <a:gd name="T9" fmla="*/ 2 h 154"/>
                    <a:gd name="T10" fmla="*/ 42 w 133"/>
                    <a:gd name="T11" fmla="*/ 1 h 154"/>
                    <a:gd name="T12" fmla="*/ 46 w 133"/>
                    <a:gd name="T13" fmla="*/ 0 h 154"/>
                    <a:gd name="T14" fmla="*/ 59 w 133"/>
                    <a:gd name="T15" fmla="*/ 1 h 154"/>
                    <a:gd name="T16" fmla="*/ 70 w 133"/>
                    <a:gd name="T17" fmla="*/ 4 h 154"/>
                    <a:gd name="T18" fmla="*/ 81 w 133"/>
                    <a:gd name="T19" fmla="*/ 8 h 154"/>
                    <a:gd name="T20" fmla="*/ 90 w 133"/>
                    <a:gd name="T21" fmla="*/ 14 h 154"/>
                    <a:gd name="T22" fmla="*/ 99 w 133"/>
                    <a:gd name="T23" fmla="*/ 21 h 154"/>
                    <a:gd name="T24" fmla="*/ 105 w 133"/>
                    <a:gd name="T25" fmla="*/ 30 h 154"/>
                    <a:gd name="T26" fmla="*/ 112 w 133"/>
                    <a:gd name="T27" fmla="*/ 40 h 154"/>
                    <a:gd name="T28" fmla="*/ 116 w 133"/>
                    <a:gd name="T29" fmla="*/ 50 h 154"/>
                    <a:gd name="T30" fmla="*/ 121 w 133"/>
                    <a:gd name="T31" fmla="*/ 60 h 154"/>
                    <a:gd name="T32" fmla="*/ 124 w 133"/>
                    <a:gd name="T33" fmla="*/ 71 h 154"/>
                    <a:gd name="T34" fmla="*/ 127 w 133"/>
                    <a:gd name="T35" fmla="*/ 82 h 154"/>
                    <a:gd name="T36" fmla="*/ 130 w 133"/>
                    <a:gd name="T37" fmla="*/ 94 h 154"/>
                    <a:gd name="T38" fmla="*/ 132 w 133"/>
                    <a:gd name="T39" fmla="*/ 116 h 154"/>
                    <a:gd name="T40" fmla="*/ 133 w 133"/>
                    <a:gd name="T41" fmla="*/ 135 h 154"/>
                    <a:gd name="T42" fmla="*/ 132 w 133"/>
                    <a:gd name="T43" fmla="*/ 138 h 154"/>
                    <a:gd name="T44" fmla="*/ 130 w 133"/>
                    <a:gd name="T45" fmla="*/ 141 h 154"/>
                    <a:gd name="T46" fmla="*/ 125 w 133"/>
                    <a:gd name="T47" fmla="*/ 144 h 154"/>
                    <a:gd name="T48" fmla="*/ 121 w 133"/>
                    <a:gd name="T49" fmla="*/ 147 h 154"/>
                    <a:gd name="T50" fmla="*/ 115 w 133"/>
                    <a:gd name="T51" fmla="*/ 150 h 154"/>
                    <a:gd name="T52" fmla="*/ 110 w 133"/>
                    <a:gd name="T53" fmla="*/ 153 h 154"/>
                    <a:gd name="T54" fmla="*/ 104 w 133"/>
                    <a:gd name="T55" fmla="*/ 154 h 154"/>
                    <a:gd name="T56" fmla="*/ 99 w 133"/>
                    <a:gd name="T57" fmla="*/ 154 h 154"/>
                    <a:gd name="T58" fmla="*/ 93 w 133"/>
                    <a:gd name="T59" fmla="*/ 153 h 154"/>
                    <a:gd name="T60" fmla="*/ 87 w 133"/>
                    <a:gd name="T61" fmla="*/ 149 h 154"/>
                    <a:gd name="T62" fmla="*/ 79 w 133"/>
                    <a:gd name="T63" fmla="*/ 141 h 154"/>
                    <a:gd name="T64" fmla="*/ 71 w 133"/>
                    <a:gd name="T65" fmla="*/ 134 h 154"/>
                    <a:gd name="T66" fmla="*/ 64 w 133"/>
                    <a:gd name="T67" fmla="*/ 126 h 154"/>
                    <a:gd name="T68" fmla="*/ 58 w 133"/>
                    <a:gd name="T69" fmla="*/ 118 h 154"/>
                    <a:gd name="T70" fmla="*/ 54 w 133"/>
                    <a:gd name="T71" fmla="*/ 111 h 154"/>
                    <a:gd name="T72" fmla="*/ 53 w 133"/>
                    <a:gd name="T73" fmla="*/ 105 h 154"/>
                    <a:gd name="T74" fmla="*/ 54 w 133"/>
                    <a:gd name="T75" fmla="*/ 98 h 154"/>
                    <a:gd name="T76" fmla="*/ 56 w 133"/>
                    <a:gd name="T77" fmla="*/ 83 h 154"/>
                    <a:gd name="T78" fmla="*/ 58 w 133"/>
                    <a:gd name="T79" fmla="*/ 68 h 154"/>
                    <a:gd name="T80" fmla="*/ 59 w 133"/>
                    <a:gd name="T81" fmla="*/ 62 h 154"/>
                    <a:gd name="T82" fmla="*/ 47 w 133"/>
                    <a:gd name="T83" fmla="*/ 61 h 154"/>
                    <a:gd name="T84" fmla="*/ 36 w 133"/>
                    <a:gd name="T85" fmla="*/ 59 h 154"/>
                    <a:gd name="T86" fmla="*/ 25 w 133"/>
                    <a:gd name="T87" fmla="*/ 56 h 154"/>
                    <a:gd name="T88" fmla="*/ 17 w 133"/>
                    <a:gd name="T89" fmla="*/ 52 h 154"/>
                    <a:gd name="T90" fmla="*/ 13 w 133"/>
                    <a:gd name="T91" fmla="*/ 49 h 154"/>
                    <a:gd name="T92" fmla="*/ 10 w 133"/>
                    <a:gd name="T93" fmla="*/ 46 h 154"/>
                    <a:gd name="T94" fmla="*/ 7 w 133"/>
                    <a:gd name="T95" fmla="*/ 43 h 154"/>
                    <a:gd name="T96" fmla="*/ 4 w 133"/>
                    <a:gd name="T97" fmla="*/ 39 h 154"/>
                    <a:gd name="T98" fmla="*/ 2 w 133"/>
                    <a:gd name="T99" fmla="*/ 34 h 154"/>
                    <a:gd name="T100" fmla="*/ 1 w 133"/>
                    <a:gd name="T101" fmla="*/ 29 h 154"/>
                    <a:gd name="T102" fmla="*/ 0 w 133"/>
                    <a:gd name="T103" fmla="*/ 24 h 154"/>
                    <a:gd name="T104" fmla="*/ 0 w 133"/>
                    <a:gd name="T105" fmla="*/ 18 h 154"/>
                    <a:gd name="T106" fmla="*/ 7 w 133"/>
                    <a:gd name="T107" fmla="*/ 15 h 154"/>
                    <a:gd name="T108" fmla="*/ 20 w 133"/>
                    <a:gd name="T109" fmla="*/ 1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35" name="Freeform 485">
                  <a:extLst>
                    <a:ext uri="{FF2B5EF4-FFF2-40B4-BE49-F238E27FC236}">
                      <a16:creationId xmlns="" xmlns:a16="http://schemas.microsoft.com/office/drawing/2014/main" id="{86C8436F-7665-4F77-A599-11F0915F4F30}"/>
                    </a:ext>
                  </a:extLst>
                </p:cNvPr>
                <p:cNvSpPr>
                  <a:spLocks/>
                </p:cNvSpPr>
                <p:nvPr>
                  <p:custDataLst>
                    <p:tags r:id="rId323"/>
                  </p:custDataLst>
                </p:nvPr>
              </p:nvSpPr>
              <p:spPr bwMode="auto">
                <a:xfrm>
                  <a:off x="8169454" y="2044638"/>
                  <a:ext cx="148627" cy="173399"/>
                </a:xfrm>
                <a:custGeom>
                  <a:avLst/>
                  <a:gdLst>
                    <a:gd name="T0" fmla="*/ 134 w 485"/>
                    <a:gd name="T1" fmla="*/ 351 h 468"/>
                    <a:gd name="T2" fmla="*/ 167 w 485"/>
                    <a:gd name="T3" fmla="*/ 339 h 468"/>
                    <a:gd name="T4" fmla="*/ 200 w 485"/>
                    <a:gd name="T5" fmla="*/ 339 h 468"/>
                    <a:gd name="T6" fmla="*/ 226 w 485"/>
                    <a:gd name="T7" fmla="*/ 348 h 468"/>
                    <a:gd name="T8" fmla="*/ 224 w 485"/>
                    <a:gd name="T9" fmla="*/ 327 h 468"/>
                    <a:gd name="T10" fmla="*/ 220 w 485"/>
                    <a:gd name="T11" fmla="*/ 316 h 468"/>
                    <a:gd name="T12" fmla="*/ 233 w 485"/>
                    <a:gd name="T13" fmla="*/ 303 h 468"/>
                    <a:gd name="T14" fmla="*/ 239 w 485"/>
                    <a:gd name="T15" fmla="*/ 276 h 468"/>
                    <a:gd name="T16" fmla="*/ 242 w 485"/>
                    <a:gd name="T17" fmla="*/ 246 h 468"/>
                    <a:gd name="T18" fmla="*/ 268 w 485"/>
                    <a:gd name="T19" fmla="*/ 255 h 468"/>
                    <a:gd name="T20" fmla="*/ 300 w 485"/>
                    <a:gd name="T21" fmla="*/ 238 h 468"/>
                    <a:gd name="T22" fmla="*/ 316 w 485"/>
                    <a:gd name="T23" fmla="*/ 217 h 468"/>
                    <a:gd name="T24" fmla="*/ 293 w 485"/>
                    <a:gd name="T25" fmla="*/ 194 h 468"/>
                    <a:gd name="T26" fmla="*/ 318 w 485"/>
                    <a:gd name="T27" fmla="*/ 199 h 468"/>
                    <a:gd name="T28" fmla="*/ 343 w 485"/>
                    <a:gd name="T29" fmla="*/ 202 h 468"/>
                    <a:gd name="T30" fmla="*/ 346 w 485"/>
                    <a:gd name="T31" fmla="*/ 185 h 468"/>
                    <a:gd name="T32" fmla="*/ 295 w 485"/>
                    <a:gd name="T33" fmla="*/ 96 h 468"/>
                    <a:gd name="T34" fmla="*/ 285 w 485"/>
                    <a:gd name="T35" fmla="*/ 53 h 468"/>
                    <a:gd name="T36" fmla="*/ 291 w 485"/>
                    <a:gd name="T37" fmla="*/ 19 h 468"/>
                    <a:gd name="T38" fmla="*/ 316 w 485"/>
                    <a:gd name="T39" fmla="*/ 1 h 468"/>
                    <a:gd name="T40" fmla="*/ 336 w 485"/>
                    <a:gd name="T41" fmla="*/ 18 h 468"/>
                    <a:gd name="T42" fmla="*/ 377 w 485"/>
                    <a:gd name="T43" fmla="*/ 45 h 468"/>
                    <a:gd name="T44" fmla="*/ 415 w 485"/>
                    <a:gd name="T45" fmla="*/ 72 h 468"/>
                    <a:gd name="T46" fmla="*/ 426 w 485"/>
                    <a:gd name="T47" fmla="*/ 98 h 468"/>
                    <a:gd name="T48" fmla="*/ 436 w 485"/>
                    <a:gd name="T49" fmla="*/ 137 h 468"/>
                    <a:gd name="T50" fmla="*/ 445 w 485"/>
                    <a:gd name="T51" fmla="*/ 173 h 468"/>
                    <a:gd name="T52" fmla="*/ 428 w 485"/>
                    <a:gd name="T53" fmla="*/ 179 h 468"/>
                    <a:gd name="T54" fmla="*/ 412 w 485"/>
                    <a:gd name="T55" fmla="*/ 185 h 468"/>
                    <a:gd name="T56" fmla="*/ 426 w 485"/>
                    <a:gd name="T57" fmla="*/ 199 h 468"/>
                    <a:gd name="T58" fmla="*/ 445 w 485"/>
                    <a:gd name="T59" fmla="*/ 203 h 468"/>
                    <a:gd name="T60" fmla="*/ 455 w 485"/>
                    <a:gd name="T61" fmla="*/ 262 h 468"/>
                    <a:gd name="T62" fmla="*/ 475 w 485"/>
                    <a:gd name="T63" fmla="*/ 312 h 468"/>
                    <a:gd name="T64" fmla="*/ 480 w 485"/>
                    <a:gd name="T65" fmla="*/ 381 h 468"/>
                    <a:gd name="T66" fmla="*/ 463 w 485"/>
                    <a:gd name="T67" fmla="*/ 364 h 468"/>
                    <a:gd name="T68" fmla="*/ 453 w 485"/>
                    <a:gd name="T69" fmla="*/ 356 h 468"/>
                    <a:gd name="T70" fmla="*/ 436 w 485"/>
                    <a:gd name="T71" fmla="*/ 363 h 468"/>
                    <a:gd name="T72" fmla="*/ 429 w 485"/>
                    <a:gd name="T73" fmla="*/ 399 h 468"/>
                    <a:gd name="T74" fmla="*/ 408 w 485"/>
                    <a:gd name="T75" fmla="*/ 389 h 468"/>
                    <a:gd name="T76" fmla="*/ 389 w 485"/>
                    <a:gd name="T77" fmla="*/ 382 h 468"/>
                    <a:gd name="T78" fmla="*/ 376 w 485"/>
                    <a:gd name="T79" fmla="*/ 402 h 468"/>
                    <a:gd name="T80" fmla="*/ 345 w 485"/>
                    <a:gd name="T81" fmla="*/ 413 h 468"/>
                    <a:gd name="T82" fmla="*/ 334 w 485"/>
                    <a:gd name="T83" fmla="*/ 400 h 468"/>
                    <a:gd name="T84" fmla="*/ 312 w 485"/>
                    <a:gd name="T85" fmla="*/ 395 h 468"/>
                    <a:gd name="T86" fmla="*/ 303 w 485"/>
                    <a:gd name="T87" fmla="*/ 426 h 468"/>
                    <a:gd name="T88" fmla="*/ 299 w 485"/>
                    <a:gd name="T89" fmla="*/ 450 h 468"/>
                    <a:gd name="T90" fmla="*/ 307 w 485"/>
                    <a:gd name="T91" fmla="*/ 466 h 468"/>
                    <a:gd name="T92" fmla="*/ 272 w 485"/>
                    <a:gd name="T93" fmla="*/ 468 h 468"/>
                    <a:gd name="T94" fmla="*/ 258 w 485"/>
                    <a:gd name="T95" fmla="*/ 465 h 468"/>
                    <a:gd name="T96" fmla="*/ 244 w 485"/>
                    <a:gd name="T97" fmla="*/ 440 h 468"/>
                    <a:gd name="T98" fmla="*/ 229 w 485"/>
                    <a:gd name="T99" fmla="*/ 418 h 468"/>
                    <a:gd name="T100" fmla="*/ 204 w 485"/>
                    <a:gd name="T101" fmla="*/ 406 h 468"/>
                    <a:gd name="T102" fmla="*/ 190 w 485"/>
                    <a:gd name="T103" fmla="*/ 394 h 468"/>
                    <a:gd name="T104" fmla="*/ 136 w 485"/>
                    <a:gd name="T105" fmla="*/ 417 h 468"/>
                    <a:gd name="T106" fmla="*/ 90 w 485"/>
                    <a:gd name="T107" fmla="*/ 435 h 468"/>
                    <a:gd name="T108" fmla="*/ 65 w 485"/>
                    <a:gd name="T109" fmla="*/ 459 h 468"/>
                    <a:gd name="T110" fmla="*/ 27 w 485"/>
                    <a:gd name="T111" fmla="*/ 461 h 468"/>
                    <a:gd name="T112" fmla="*/ 7 w 485"/>
                    <a:gd name="T113" fmla="*/ 438 h 468"/>
                    <a:gd name="T114" fmla="*/ 0 w 485"/>
                    <a:gd name="T115" fmla="*/ 417 h 468"/>
                    <a:gd name="T116" fmla="*/ 7 w 485"/>
                    <a:gd name="T117" fmla="*/ 413 h 468"/>
                    <a:gd name="T118" fmla="*/ 27 w 485"/>
                    <a:gd name="T119" fmla="*/ 414 h 468"/>
                    <a:gd name="T120" fmla="*/ 48 w 485"/>
                    <a:gd name="T121" fmla="*/ 405 h 468"/>
                    <a:gd name="T122" fmla="*/ 72 w 485"/>
                    <a:gd name="T123" fmla="*/ 369 h 468"/>
                    <a:gd name="T124" fmla="*/ 93 w 485"/>
                    <a:gd name="T125" fmla="*/ 352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36" name="Freeform 486">
                  <a:extLst>
                    <a:ext uri="{FF2B5EF4-FFF2-40B4-BE49-F238E27FC236}">
                      <a16:creationId xmlns="" xmlns:a16="http://schemas.microsoft.com/office/drawing/2014/main" id="{22455DDA-DBCA-4C59-81D8-C67C4AB6DB84}"/>
                    </a:ext>
                  </a:extLst>
                </p:cNvPr>
                <p:cNvSpPr>
                  <a:spLocks/>
                </p:cNvSpPr>
                <p:nvPr>
                  <p:custDataLst>
                    <p:tags r:id="rId324"/>
                  </p:custDataLst>
                </p:nvPr>
              </p:nvSpPr>
              <p:spPr bwMode="auto">
                <a:xfrm>
                  <a:off x="6455732" y="1257586"/>
                  <a:ext cx="76566" cy="42787"/>
                </a:xfrm>
                <a:custGeom>
                  <a:avLst/>
                  <a:gdLst>
                    <a:gd name="T0" fmla="*/ 27 w 246"/>
                    <a:gd name="T1" fmla="*/ 36 h 42"/>
                    <a:gd name="T2" fmla="*/ 36 w 246"/>
                    <a:gd name="T3" fmla="*/ 36 h 42"/>
                    <a:gd name="T4" fmla="*/ 45 w 246"/>
                    <a:gd name="T5" fmla="*/ 35 h 42"/>
                    <a:gd name="T6" fmla="*/ 53 w 246"/>
                    <a:gd name="T7" fmla="*/ 33 h 42"/>
                    <a:gd name="T8" fmla="*/ 59 w 246"/>
                    <a:gd name="T9" fmla="*/ 31 h 42"/>
                    <a:gd name="T10" fmla="*/ 66 w 246"/>
                    <a:gd name="T11" fmla="*/ 30 h 42"/>
                    <a:gd name="T12" fmla="*/ 72 w 246"/>
                    <a:gd name="T13" fmla="*/ 29 h 42"/>
                    <a:gd name="T14" fmla="*/ 80 w 246"/>
                    <a:gd name="T15" fmla="*/ 29 h 42"/>
                    <a:gd name="T16" fmla="*/ 87 w 246"/>
                    <a:gd name="T17" fmla="*/ 30 h 42"/>
                    <a:gd name="T18" fmla="*/ 87 w 246"/>
                    <a:gd name="T19" fmla="*/ 42 h 42"/>
                    <a:gd name="T20" fmla="*/ 154 w 246"/>
                    <a:gd name="T21" fmla="*/ 42 h 42"/>
                    <a:gd name="T22" fmla="*/ 154 w 246"/>
                    <a:gd name="T23" fmla="*/ 39 h 42"/>
                    <a:gd name="T24" fmla="*/ 156 w 246"/>
                    <a:gd name="T25" fmla="*/ 36 h 42"/>
                    <a:gd name="T26" fmla="*/ 159 w 246"/>
                    <a:gd name="T27" fmla="*/ 33 h 42"/>
                    <a:gd name="T28" fmla="*/ 163 w 246"/>
                    <a:gd name="T29" fmla="*/ 31 h 42"/>
                    <a:gd name="T30" fmla="*/ 175 w 246"/>
                    <a:gd name="T31" fmla="*/ 26 h 42"/>
                    <a:gd name="T32" fmla="*/ 190 w 246"/>
                    <a:gd name="T33" fmla="*/ 23 h 42"/>
                    <a:gd name="T34" fmla="*/ 221 w 246"/>
                    <a:gd name="T35" fmla="*/ 17 h 42"/>
                    <a:gd name="T36" fmla="*/ 246 w 246"/>
                    <a:gd name="T37" fmla="*/ 12 h 42"/>
                    <a:gd name="T38" fmla="*/ 212 w 246"/>
                    <a:gd name="T39" fmla="*/ 13 h 42"/>
                    <a:gd name="T40" fmla="*/ 186 w 246"/>
                    <a:gd name="T41" fmla="*/ 14 h 42"/>
                    <a:gd name="T42" fmla="*/ 178 w 246"/>
                    <a:gd name="T43" fmla="*/ 15 h 42"/>
                    <a:gd name="T44" fmla="*/ 171 w 246"/>
                    <a:gd name="T45" fmla="*/ 15 h 42"/>
                    <a:gd name="T46" fmla="*/ 168 w 246"/>
                    <a:gd name="T47" fmla="*/ 14 h 42"/>
                    <a:gd name="T48" fmla="*/ 167 w 246"/>
                    <a:gd name="T49" fmla="*/ 12 h 42"/>
                    <a:gd name="T50" fmla="*/ 159 w 246"/>
                    <a:gd name="T51" fmla="*/ 16 h 42"/>
                    <a:gd name="T52" fmla="*/ 152 w 246"/>
                    <a:gd name="T53" fmla="*/ 17 h 42"/>
                    <a:gd name="T54" fmla="*/ 147 w 246"/>
                    <a:gd name="T55" fmla="*/ 17 h 42"/>
                    <a:gd name="T56" fmla="*/ 141 w 246"/>
                    <a:gd name="T57" fmla="*/ 15 h 42"/>
                    <a:gd name="T58" fmla="*/ 137 w 246"/>
                    <a:gd name="T59" fmla="*/ 12 h 42"/>
                    <a:gd name="T60" fmla="*/ 133 w 246"/>
                    <a:gd name="T61" fmla="*/ 9 h 42"/>
                    <a:gd name="T62" fmla="*/ 129 w 246"/>
                    <a:gd name="T63" fmla="*/ 5 h 42"/>
                    <a:gd name="T64" fmla="*/ 126 w 246"/>
                    <a:gd name="T65" fmla="*/ 0 h 42"/>
                    <a:gd name="T66" fmla="*/ 121 w 246"/>
                    <a:gd name="T67" fmla="*/ 2 h 42"/>
                    <a:gd name="T68" fmla="*/ 113 w 246"/>
                    <a:gd name="T69" fmla="*/ 4 h 42"/>
                    <a:gd name="T70" fmla="*/ 103 w 246"/>
                    <a:gd name="T71" fmla="*/ 5 h 42"/>
                    <a:gd name="T72" fmla="*/ 93 w 246"/>
                    <a:gd name="T73" fmla="*/ 5 h 42"/>
                    <a:gd name="T74" fmla="*/ 74 w 246"/>
                    <a:gd name="T75" fmla="*/ 6 h 42"/>
                    <a:gd name="T76" fmla="*/ 60 w 246"/>
                    <a:gd name="T77" fmla="*/ 6 h 42"/>
                    <a:gd name="T78" fmla="*/ 58 w 246"/>
                    <a:gd name="T79" fmla="*/ 9 h 42"/>
                    <a:gd name="T80" fmla="*/ 56 w 246"/>
                    <a:gd name="T81" fmla="*/ 12 h 42"/>
                    <a:gd name="T82" fmla="*/ 54 w 246"/>
                    <a:gd name="T83" fmla="*/ 15 h 42"/>
                    <a:gd name="T84" fmla="*/ 50 w 246"/>
                    <a:gd name="T85" fmla="*/ 17 h 42"/>
                    <a:gd name="T86" fmla="*/ 42 w 246"/>
                    <a:gd name="T87" fmla="*/ 20 h 42"/>
                    <a:gd name="T88" fmla="*/ 33 w 246"/>
                    <a:gd name="T89" fmla="*/ 22 h 42"/>
                    <a:gd name="T90" fmla="*/ 14 w 246"/>
                    <a:gd name="T91" fmla="*/ 24 h 42"/>
                    <a:gd name="T92" fmla="*/ 0 w 246"/>
                    <a:gd name="T93" fmla="*/ 24 h 42"/>
                    <a:gd name="T94" fmla="*/ 1 w 246"/>
                    <a:gd name="T95" fmla="*/ 27 h 42"/>
                    <a:gd name="T96" fmla="*/ 3 w 246"/>
                    <a:gd name="T97" fmla="*/ 29 h 42"/>
                    <a:gd name="T98" fmla="*/ 5 w 246"/>
                    <a:gd name="T99" fmla="*/ 31 h 42"/>
                    <a:gd name="T100" fmla="*/ 9 w 246"/>
                    <a:gd name="T101" fmla="*/ 33 h 42"/>
                    <a:gd name="T102" fmla="*/ 17 w 246"/>
                    <a:gd name="T103" fmla="*/ 35 h 42"/>
                    <a:gd name="T104" fmla="*/ 27 w 246"/>
                    <a:gd name="T105"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37" name="Freeform 487">
                  <a:extLst>
                    <a:ext uri="{FF2B5EF4-FFF2-40B4-BE49-F238E27FC236}">
                      <a16:creationId xmlns="" xmlns:a16="http://schemas.microsoft.com/office/drawing/2014/main" id="{11D43A90-729E-41A8-BD1E-AC7FE49B81D4}"/>
                    </a:ext>
                  </a:extLst>
                </p:cNvPr>
                <p:cNvSpPr>
                  <a:spLocks/>
                </p:cNvSpPr>
                <p:nvPr>
                  <p:custDataLst>
                    <p:tags r:id="rId325"/>
                  </p:custDataLst>
                </p:nvPr>
              </p:nvSpPr>
              <p:spPr bwMode="auto">
                <a:xfrm>
                  <a:off x="6557069" y="1245201"/>
                  <a:ext cx="45038" cy="40535"/>
                </a:xfrm>
                <a:custGeom>
                  <a:avLst/>
                  <a:gdLst>
                    <a:gd name="T0" fmla="*/ 103 w 149"/>
                    <a:gd name="T1" fmla="*/ 0 h 61"/>
                    <a:gd name="T2" fmla="*/ 118 w 149"/>
                    <a:gd name="T3" fmla="*/ 1 h 61"/>
                    <a:gd name="T4" fmla="*/ 134 w 149"/>
                    <a:gd name="T5" fmla="*/ 3 h 61"/>
                    <a:gd name="T6" fmla="*/ 145 w 149"/>
                    <a:gd name="T7" fmla="*/ 5 h 61"/>
                    <a:gd name="T8" fmla="*/ 149 w 149"/>
                    <a:gd name="T9" fmla="*/ 6 h 61"/>
                    <a:gd name="T10" fmla="*/ 149 w 149"/>
                    <a:gd name="T11" fmla="*/ 8 h 61"/>
                    <a:gd name="T12" fmla="*/ 147 w 149"/>
                    <a:gd name="T13" fmla="*/ 10 h 61"/>
                    <a:gd name="T14" fmla="*/ 145 w 149"/>
                    <a:gd name="T15" fmla="*/ 12 h 61"/>
                    <a:gd name="T16" fmla="*/ 141 w 149"/>
                    <a:gd name="T17" fmla="*/ 13 h 61"/>
                    <a:gd name="T18" fmla="*/ 137 w 149"/>
                    <a:gd name="T19" fmla="*/ 14 h 61"/>
                    <a:gd name="T20" fmla="*/ 132 w 149"/>
                    <a:gd name="T21" fmla="*/ 14 h 61"/>
                    <a:gd name="T22" fmla="*/ 127 w 149"/>
                    <a:gd name="T23" fmla="*/ 14 h 61"/>
                    <a:gd name="T24" fmla="*/ 123 w 149"/>
                    <a:gd name="T25" fmla="*/ 12 h 61"/>
                    <a:gd name="T26" fmla="*/ 123 w 149"/>
                    <a:gd name="T27" fmla="*/ 23 h 61"/>
                    <a:gd name="T28" fmla="*/ 123 w 149"/>
                    <a:gd name="T29" fmla="*/ 33 h 61"/>
                    <a:gd name="T30" fmla="*/ 123 w 149"/>
                    <a:gd name="T31" fmla="*/ 41 h 61"/>
                    <a:gd name="T32" fmla="*/ 123 w 149"/>
                    <a:gd name="T33" fmla="*/ 49 h 61"/>
                    <a:gd name="T34" fmla="*/ 116 w 149"/>
                    <a:gd name="T35" fmla="*/ 50 h 61"/>
                    <a:gd name="T36" fmla="*/ 109 w 149"/>
                    <a:gd name="T37" fmla="*/ 51 h 61"/>
                    <a:gd name="T38" fmla="*/ 104 w 149"/>
                    <a:gd name="T39" fmla="*/ 53 h 61"/>
                    <a:gd name="T40" fmla="*/ 100 w 149"/>
                    <a:gd name="T41" fmla="*/ 55 h 61"/>
                    <a:gd name="T42" fmla="*/ 94 w 149"/>
                    <a:gd name="T43" fmla="*/ 57 h 61"/>
                    <a:gd name="T44" fmla="*/ 89 w 149"/>
                    <a:gd name="T45" fmla="*/ 59 h 61"/>
                    <a:gd name="T46" fmla="*/ 83 w 149"/>
                    <a:gd name="T47" fmla="*/ 61 h 61"/>
                    <a:gd name="T48" fmla="*/ 76 w 149"/>
                    <a:gd name="T49" fmla="*/ 61 h 61"/>
                    <a:gd name="T50" fmla="*/ 67 w 149"/>
                    <a:gd name="T51" fmla="*/ 60 h 61"/>
                    <a:gd name="T52" fmla="*/ 53 w 149"/>
                    <a:gd name="T53" fmla="*/ 57 h 61"/>
                    <a:gd name="T54" fmla="*/ 39 w 149"/>
                    <a:gd name="T55" fmla="*/ 54 h 61"/>
                    <a:gd name="T56" fmla="*/ 25 w 149"/>
                    <a:gd name="T57" fmla="*/ 49 h 61"/>
                    <a:gd name="T58" fmla="*/ 12 w 149"/>
                    <a:gd name="T59" fmla="*/ 45 h 61"/>
                    <a:gd name="T60" fmla="*/ 3 w 149"/>
                    <a:gd name="T61" fmla="*/ 41 h 61"/>
                    <a:gd name="T62" fmla="*/ 1 w 149"/>
                    <a:gd name="T63" fmla="*/ 39 h 61"/>
                    <a:gd name="T64" fmla="*/ 0 w 149"/>
                    <a:gd name="T65" fmla="*/ 38 h 61"/>
                    <a:gd name="T66" fmla="*/ 0 w 149"/>
                    <a:gd name="T67" fmla="*/ 37 h 61"/>
                    <a:gd name="T68" fmla="*/ 3 w 149"/>
                    <a:gd name="T69" fmla="*/ 37 h 61"/>
                    <a:gd name="T70" fmla="*/ 19 w 149"/>
                    <a:gd name="T71" fmla="*/ 36 h 61"/>
                    <a:gd name="T72" fmla="*/ 35 w 149"/>
                    <a:gd name="T73" fmla="*/ 35 h 61"/>
                    <a:gd name="T74" fmla="*/ 48 w 149"/>
                    <a:gd name="T75" fmla="*/ 32 h 61"/>
                    <a:gd name="T76" fmla="*/ 60 w 149"/>
                    <a:gd name="T77" fmla="*/ 27 h 61"/>
                    <a:gd name="T78" fmla="*/ 72 w 149"/>
                    <a:gd name="T79" fmla="*/ 22 h 61"/>
                    <a:gd name="T80" fmla="*/ 82 w 149"/>
                    <a:gd name="T81" fmla="*/ 16 h 61"/>
                    <a:gd name="T82" fmla="*/ 93 w 149"/>
                    <a:gd name="T83" fmla="*/ 8 h 61"/>
                    <a:gd name="T84" fmla="*/ 103 w 149"/>
                    <a:gd name="T8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38" name="Freeform 488">
                  <a:extLst>
                    <a:ext uri="{FF2B5EF4-FFF2-40B4-BE49-F238E27FC236}">
                      <a16:creationId xmlns="" xmlns:a16="http://schemas.microsoft.com/office/drawing/2014/main" id="{6B7C676B-07CA-47DA-83A5-44E72E99261D}"/>
                    </a:ext>
                  </a:extLst>
                </p:cNvPr>
                <p:cNvSpPr>
                  <a:spLocks/>
                </p:cNvSpPr>
                <p:nvPr>
                  <p:custDataLst>
                    <p:tags r:id="rId326"/>
                  </p:custDataLst>
                </p:nvPr>
              </p:nvSpPr>
              <p:spPr bwMode="auto">
                <a:xfrm>
                  <a:off x="6582966" y="1250830"/>
                  <a:ext cx="92329" cy="40535"/>
                </a:xfrm>
                <a:custGeom>
                  <a:avLst/>
                  <a:gdLst>
                    <a:gd name="T0" fmla="*/ 133 w 299"/>
                    <a:gd name="T1" fmla="*/ 72 h 74"/>
                    <a:gd name="T2" fmla="*/ 154 w 299"/>
                    <a:gd name="T3" fmla="*/ 65 h 74"/>
                    <a:gd name="T4" fmla="*/ 178 w 299"/>
                    <a:gd name="T5" fmla="*/ 54 h 74"/>
                    <a:gd name="T6" fmla="*/ 199 w 299"/>
                    <a:gd name="T7" fmla="*/ 42 h 74"/>
                    <a:gd name="T8" fmla="*/ 207 w 299"/>
                    <a:gd name="T9" fmla="*/ 40 h 74"/>
                    <a:gd name="T10" fmla="*/ 211 w 299"/>
                    <a:gd name="T11" fmla="*/ 46 h 74"/>
                    <a:gd name="T12" fmla="*/ 220 w 299"/>
                    <a:gd name="T13" fmla="*/ 51 h 74"/>
                    <a:gd name="T14" fmla="*/ 243 w 299"/>
                    <a:gd name="T15" fmla="*/ 55 h 74"/>
                    <a:gd name="T16" fmla="*/ 269 w 299"/>
                    <a:gd name="T17" fmla="*/ 55 h 74"/>
                    <a:gd name="T18" fmla="*/ 286 w 299"/>
                    <a:gd name="T19" fmla="*/ 55 h 74"/>
                    <a:gd name="T20" fmla="*/ 293 w 299"/>
                    <a:gd name="T21" fmla="*/ 46 h 74"/>
                    <a:gd name="T22" fmla="*/ 298 w 299"/>
                    <a:gd name="T23" fmla="*/ 31 h 74"/>
                    <a:gd name="T24" fmla="*/ 279 w 299"/>
                    <a:gd name="T25" fmla="*/ 25 h 74"/>
                    <a:gd name="T26" fmla="*/ 244 w 299"/>
                    <a:gd name="T27" fmla="*/ 25 h 74"/>
                    <a:gd name="T28" fmla="*/ 225 w 299"/>
                    <a:gd name="T29" fmla="*/ 25 h 74"/>
                    <a:gd name="T30" fmla="*/ 214 w 299"/>
                    <a:gd name="T31" fmla="*/ 27 h 74"/>
                    <a:gd name="T32" fmla="*/ 204 w 299"/>
                    <a:gd name="T33" fmla="*/ 33 h 74"/>
                    <a:gd name="T34" fmla="*/ 172 w 299"/>
                    <a:gd name="T35" fmla="*/ 37 h 74"/>
                    <a:gd name="T36" fmla="*/ 176 w 299"/>
                    <a:gd name="T37" fmla="*/ 28 h 74"/>
                    <a:gd name="T38" fmla="*/ 180 w 299"/>
                    <a:gd name="T39" fmla="*/ 21 h 74"/>
                    <a:gd name="T40" fmla="*/ 194 w 299"/>
                    <a:gd name="T41" fmla="*/ 13 h 74"/>
                    <a:gd name="T42" fmla="*/ 210 w 299"/>
                    <a:gd name="T43" fmla="*/ 9 h 74"/>
                    <a:gd name="T44" fmla="*/ 225 w 299"/>
                    <a:gd name="T45" fmla="*/ 0 h 74"/>
                    <a:gd name="T46" fmla="*/ 185 w 299"/>
                    <a:gd name="T47" fmla="*/ 3 h 74"/>
                    <a:gd name="T48" fmla="*/ 157 w 299"/>
                    <a:gd name="T49" fmla="*/ 11 h 74"/>
                    <a:gd name="T50" fmla="*/ 134 w 299"/>
                    <a:gd name="T51" fmla="*/ 25 h 74"/>
                    <a:gd name="T52" fmla="*/ 114 w 299"/>
                    <a:gd name="T53" fmla="*/ 40 h 74"/>
                    <a:gd name="T54" fmla="*/ 100 w 299"/>
                    <a:gd name="T55" fmla="*/ 53 h 74"/>
                    <a:gd name="T56" fmla="*/ 87 w 299"/>
                    <a:gd name="T57" fmla="*/ 59 h 74"/>
                    <a:gd name="T58" fmla="*/ 64 w 299"/>
                    <a:gd name="T59" fmla="*/ 63 h 74"/>
                    <a:gd name="T60" fmla="*/ 32 w 299"/>
                    <a:gd name="T61" fmla="*/ 64 h 74"/>
                    <a:gd name="T62" fmla="*/ 12 w 299"/>
                    <a:gd name="T63" fmla="*/ 67 h 74"/>
                    <a:gd name="T64" fmla="*/ 2 w 299"/>
                    <a:gd name="T65" fmla="*/ 70 h 74"/>
                    <a:gd name="T66" fmla="*/ 39 w 299"/>
                    <a:gd name="T67" fmla="*/ 74 h 74"/>
                    <a:gd name="T68" fmla="*/ 102 w 299"/>
                    <a:gd name="T6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39" name="Freeform 489">
                  <a:extLst>
                    <a:ext uri="{FF2B5EF4-FFF2-40B4-BE49-F238E27FC236}">
                      <a16:creationId xmlns="" xmlns:a16="http://schemas.microsoft.com/office/drawing/2014/main" id="{809FB590-A0BD-4244-8BA6-6FE40DF3DDE2}"/>
                    </a:ext>
                  </a:extLst>
                </p:cNvPr>
                <p:cNvSpPr>
                  <a:spLocks/>
                </p:cNvSpPr>
                <p:nvPr>
                  <p:custDataLst>
                    <p:tags r:id="rId327"/>
                  </p:custDataLst>
                </p:nvPr>
              </p:nvSpPr>
              <p:spPr bwMode="auto">
                <a:xfrm>
                  <a:off x="6961291" y="1382569"/>
                  <a:ext cx="29275" cy="40535"/>
                </a:xfrm>
                <a:custGeom>
                  <a:avLst/>
                  <a:gdLst>
                    <a:gd name="T0" fmla="*/ 93 w 100"/>
                    <a:gd name="T1" fmla="*/ 0 h 42"/>
                    <a:gd name="T2" fmla="*/ 97 w 100"/>
                    <a:gd name="T3" fmla="*/ 7 h 42"/>
                    <a:gd name="T4" fmla="*/ 100 w 100"/>
                    <a:gd name="T5" fmla="*/ 18 h 42"/>
                    <a:gd name="T6" fmla="*/ 92 w 100"/>
                    <a:gd name="T7" fmla="*/ 24 h 42"/>
                    <a:gd name="T8" fmla="*/ 86 w 100"/>
                    <a:gd name="T9" fmla="*/ 29 h 42"/>
                    <a:gd name="T10" fmla="*/ 79 w 100"/>
                    <a:gd name="T11" fmla="*/ 34 h 42"/>
                    <a:gd name="T12" fmla="*/ 72 w 100"/>
                    <a:gd name="T13" fmla="*/ 37 h 42"/>
                    <a:gd name="T14" fmla="*/ 65 w 100"/>
                    <a:gd name="T15" fmla="*/ 39 h 42"/>
                    <a:gd name="T16" fmla="*/ 57 w 100"/>
                    <a:gd name="T17" fmla="*/ 41 h 42"/>
                    <a:gd name="T18" fmla="*/ 49 w 100"/>
                    <a:gd name="T19" fmla="*/ 42 h 42"/>
                    <a:gd name="T20" fmla="*/ 40 w 100"/>
                    <a:gd name="T21" fmla="*/ 42 h 42"/>
                    <a:gd name="T22" fmla="*/ 27 w 100"/>
                    <a:gd name="T23" fmla="*/ 41 h 42"/>
                    <a:gd name="T24" fmla="*/ 12 w 100"/>
                    <a:gd name="T25" fmla="*/ 39 h 42"/>
                    <a:gd name="T26" fmla="*/ 1 w 100"/>
                    <a:gd name="T27" fmla="*/ 37 h 42"/>
                    <a:gd name="T28" fmla="*/ 0 w 100"/>
                    <a:gd name="T29" fmla="*/ 36 h 42"/>
                    <a:gd name="T30" fmla="*/ 6 w 100"/>
                    <a:gd name="T31" fmla="*/ 36 h 42"/>
                    <a:gd name="T32" fmla="*/ 12 w 100"/>
                    <a:gd name="T33" fmla="*/ 35 h 42"/>
                    <a:gd name="T34" fmla="*/ 18 w 100"/>
                    <a:gd name="T35" fmla="*/ 33 h 42"/>
                    <a:gd name="T36" fmla="*/ 23 w 100"/>
                    <a:gd name="T37" fmla="*/ 30 h 42"/>
                    <a:gd name="T38" fmla="*/ 33 w 100"/>
                    <a:gd name="T39" fmla="*/ 25 h 42"/>
                    <a:gd name="T40" fmla="*/ 44 w 100"/>
                    <a:gd name="T41" fmla="*/ 18 h 42"/>
                    <a:gd name="T42" fmla="*/ 55 w 100"/>
                    <a:gd name="T43" fmla="*/ 11 h 42"/>
                    <a:gd name="T44" fmla="*/ 66 w 100"/>
                    <a:gd name="T45" fmla="*/ 5 h 42"/>
                    <a:gd name="T46" fmla="*/ 72 w 100"/>
                    <a:gd name="T47" fmla="*/ 3 h 42"/>
                    <a:gd name="T48" fmla="*/ 79 w 100"/>
                    <a:gd name="T49" fmla="*/ 1 h 42"/>
                    <a:gd name="T50" fmla="*/ 86 w 100"/>
                    <a:gd name="T51" fmla="*/ 0 h 42"/>
                    <a:gd name="T52" fmla="*/ 93 w 100"/>
                    <a:gd name="T5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40" name="Freeform 490">
                  <a:extLst>
                    <a:ext uri="{FF2B5EF4-FFF2-40B4-BE49-F238E27FC236}">
                      <a16:creationId xmlns="" xmlns:a16="http://schemas.microsoft.com/office/drawing/2014/main" id="{074D2012-4108-4F6D-B3D4-6EA543ECAF04}"/>
                    </a:ext>
                  </a:extLst>
                </p:cNvPr>
                <p:cNvSpPr>
                  <a:spLocks/>
                </p:cNvSpPr>
                <p:nvPr>
                  <p:custDataLst>
                    <p:tags r:id="rId328"/>
                  </p:custDataLst>
                </p:nvPr>
              </p:nvSpPr>
              <p:spPr bwMode="auto">
                <a:xfrm>
                  <a:off x="6897111" y="1282358"/>
                  <a:ext cx="11260" cy="41661"/>
                </a:xfrm>
                <a:custGeom>
                  <a:avLst/>
                  <a:gdLst>
                    <a:gd name="T0" fmla="*/ 40 w 40"/>
                    <a:gd name="T1" fmla="*/ 5 h 5"/>
                    <a:gd name="T2" fmla="*/ 0 w 40"/>
                    <a:gd name="T3" fmla="*/ 5 h 5"/>
                    <a:gd name="T4" fmla="*/ 5 w 40"/>
                    <a:gd name="T5" fmla="*/ 3 h 5"/>
                    <a:gd name="T6" fmla="*/ 9 w 40"/>
                    <a:gd name="T7" fmla="*/ 1 h 5"/>
                    <a:gd name="T8" fmla="*/ 15 w 40"/>
                    <a:gd name="T9" fmla="*/ 0 h 5"/>
                    <a:gd name="T10" fmla="*/ 20 w 40"/>
                    <a:gd name="T11" fmla="*/ 0 h 5"/>
                    <a:gd name="T12" fmla="*/ 25 w 40"/>
                    <a:gd name="T13" fmla="*/ 0 h 5"/>
                    <a:gd name="T14" fmla="*/ 30 w 40"/>
                    <a:gd name="T15" fmla="*/ 1 h 5"/>
                    <a:gd name="T16" fmla="*/ 35 w 40"/>
                    <a:gd name="T17" fmla="*/ 3 h 5"/>
                    <a:gd name="T18" fmla="*/ 40 w 40"/>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41" name="Freeform 491">
                  <a:extLst>
                    <a:ext uri="{FF2B5EF4-FFF2-40B4-BE49-F238E27FC236}">
                      <a16:creationId xmlns="" xmlns:a16="http://schemas.microsoft.com/office/drawing/2014/main" id="{D776CAD0-1439-45EA-A11F-5CFD52CD2BC6}"/>
                    </a:ext>
                  </a:extLst>
                </p:cNvPr>
                <p:cNvSpPr>
                  <a:spLocks/>
                </p:cNvSpPr>
                <p:nvPr>
                  <p:custDataLst>
                    <p:tags r:id="rId329"/>
                  </p:custDataLst>
                </p:nvPr>
              </p:nvSpPr>
              <p:spPr bwMode="auto">
                <a:xfrm>
                  <a:off x="6912875" y="1253083"/>
                  <a:ext cx="10134" cy="42787"/>
                </a:xfrm>
                <a:custGeom>
                  <a:avLst/>
                  <a:gdLst>
                    <a:gd name="T0" fmla="*/ 0 w 33"/>
                    <a:gd name="T1" fmla="*/ 19 h 31"/>
                    <a:gd name="T2" fmla="*/ 20 w 33"/>
                    <a:gd name="T3" fmla="*/ 0 h 31"/>
                    <a:gd name="T4" fmla="*/ 20 w 33"/>
                    <a:gd name="T5" fmla="*/ 4 h 31"/>
                    <a:gd name="T6" fmla="*/ 22 w 33"/>
                    <a:gd name="T7" fmla="*/ 10 h 31"/>
                    <a:gd name="T8" fmla="*/ 25 w 33"/>
                    <a:gd name="T9" fmla="*/ 14 h 31"/>
                    <a:gd name="T10" fmla="*/ 27 w 33"/>
                    <a:gd name="T11" fmla="*/ 18 h 31"/>
                    <a:gd name="T12" fmla="*/ 31 w 33"/>
                    <a:gd name="T13" fmla="*/ 26 h 31"/>
                    <a:gd name="T14" fmla="*/ 33 w 33"/>
                    <a:gd name="T15" fmla="*/ 31 h 31"/>
                    <a:gd name="T16" fmla="*/ 0 w 33"/>
                    <a:gd name="T17" fmla="*/ 31 h 31"/>
                    <a:gd name="T18" fmla="*/ 0 w 33"/>
                    <a:gd name="T19" fmla="*/ 25 h 31"/>
                    <a:gd name="T20" fmla="*/ 0 w 33"/>
                    <a:gd name="T21"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42" name="Freeform 492">
                  <a:extLst>
                    <a:ext uri="{FF2B5EF4-FFF2-40B4-BE49-F238E27FC236}">
                      <a16:creationId xmlns="" xmlns:a16="http://schemas.microsoft.com/office/drawing/2014/main" id="{4676FBB3-D51E-4B1D-B65B-639EF2384076}"/>
                    </a:ext>
                  </a:extLst>
                </p:cNvPr>
                <p:cNvSpPr>
                  <a:spLocks/>
                </p:cNvSpPr>
                <p:nvPr>
                  <p:custDataLst>
                    <p:tags r:id="rId330"/>
                  </p:custDataLst>
                </p:nvPr>
              </p:nvSpPr>
              <p:spPr bwMode="auto">
                <a:xfrm>
                  <a:off x="7015338" y="1335278"/>
                  <a:ext cx="12386" cy="40535"/>
                </a:xfrm>
                <a:custGeom>
                  <a:avLst/>
                  <a:gdLst>
                    <a:gd name="T0" fmla="*/ 41 w 41"/>
                    <a:gd name="T1" fmla="*/ 0 h 43"/>
                    <a:gd name="T2" fmla="*/ 41 w 41"/>
                    <a:gd name="T3" fmla="*/ 43 h 43"/>
                    <a:gd name="T4" fmla="*/ 31 w 41"/>
                    <a:gd name="T5" fmla="*/ 42 h 43"/>
                    <a:gd name="T6" fmla="*/ 24 w 41"/>
                    <a:gd name="T7" fmla="*/ 40 h 43"/>
                    <a:gd name="T8" fmla="*/ 18 w 41"/>
                    <a:gd name="T9" fmla="*/ 37 h 43"/>
                    <a:gd name="T10" fmla="*/ 13 w 41"/>
                    <a:gd name="T11" fmla="*/ 33 h 43"/>
                    <a:gd name="T12" fmla="*/ 5 w 41"/>
                    <a:gd name="T13" fmla="*/ 25 h 43"/>
                    <a:gd name="T14" fmla="*/ 0 w 41"/>
                    <a:gd name="T15" fmla="*/ 19 h 43"/>
                    <a:gd name="T16" fmla="*/ 12 w 41"/>
                    <a:gd name="T17" fmla="*/ 13 h 43"/>
                    <a:gd name="T18" fmla="*/ 25 w 41"/>
                    <a:gd name="T19" fmla="*/ 7 h 43"/>
                    <a:gd name="T20" fmla="*/ 36 w 41"/>
                    <a:gd name="T21" fmla="*/ 2 h 43"/>
                    <a:gd name="T22" fmla="*/ 41 w 41"/>
                    <a:gd name="T2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43" name="Freeform 493">
                  <a:extLst>
                    <a:ext uri="{FF2B5EF4-FFF2-40B4-BE49-F238E27FC236}">
                      <a16:creationId xmlns="" xmlns:a16="http://schemas.microsoft.com/office/drawing/2014/main" id="{341779FE-6EB9-409A-84A1-EE920DD1C95E}"/>
                    </a:ext>
                  </a:extLst>
                </p:cNvPr>
                <p:cNvSpPr>
                  <a:spLocks/>
                </p:cNvSpPr>
                <p:nvPr>
                  <p:custDataLst>
                    <p:tags r:id="rId331"/>
                  </p:custDataLst>
                </p:nvPr>
              </p:nvSpPr>
              <p:spPr bwMode="auto">
                <a:xfrm>
                  <a:off x="7053621" y="1253083"/>
                  <a:ext cx="66432" cy="42787"/>
                </a:xfrm>
                <a:custGeom>
                  <a:avLst/>
                  <a:gdLst>
                    <a:gd name="T0" fmla="*/ 61 w 213"/>
                    <a:gd name="T1" fmla="*/ 0 h 62"/>
                    <a:gd name="T2" fmla="*/ 83 w 213"/>
                    <a:gd name="T3" fmla="*/ 0 h 62"/>
                    <a:gd name="T4" fmla="*/ 105 w 213"/>
                    <a:gd name="T5" fmla="*/ 1 h 62"/>
                    <a:gd name="T6" fmla="*/ 127 w 213"/>
                    <a:gd name="T7" fmla="*/ 3 h 62"/>
                    <a:gd name="T8" fmla="*/ 146 w 213"/>
                    <a:gd name="T9" fmla="*/ 7 h 62"/>
                    <a:gd name="T10" fmla="*/ 166 w 213"/>
                    <a:gd name="T11" fmla="*/ 11 h 62"/>
                    <a:gd name="T12" fmla="*/ 184 w 213"/>
                    <a:gd name="T13" fmla="*/ 16 h 62"/>
                    <a:gd name="T14" fmla="*/ 191 w 213"/>
                    <a:gd name="T15" fmla="*/ 19 h 62"/>
                    <a:gd name="T16" fmla="*/ 199 w 213"/>
                    <a:gd name="T17" fmla="*/ 23 h 62"/>
                    <a:gd name="T18" fmla="*/ 207 w 213"/>
                    <a:gd name="T19" fmla="*/ 27 h 62"/>
                    <a:gd name="T20" fmla="*/ 213 w 213"/>
                    <a:gd name="T21" fmla="*/ 31 h 62"/>
                    <a:gd name="T22" fmla="*/ 211 w 213"/>
                    <a:gd name="T23" fmla="*/ 35 h 62"/>
                    <a:gd name="T24" fmla="*/ 207 w 213"/>
                    <a:gd name="T25" fmla="*/ 38 h 62"/>
                    <a:gd name="T26" fmla="*/ 201 w 213"/>
                    <a:gd name="T27" fmla="*/ 41 h 62"/>
                    <a:gd name="T28" fmla="*/ 195 w 213"/>
                    <a:gd name="T29" fmla="*/ 44 h 62"/>
                    <a:gd name="T30" fmla="*/ 177 w 213"/>
                    <a:gd name="T31" fmla="*/ 49 h 62"/>
                    <a:gd name="T32" fmla="*/ 156 w 213"/>
                    <a:gd name="T33" fmla="*/ 53 h 62"/>
                    <a:gd name="T34" fmla="*/ 135 w 213"/>
                    <a:gd name="T35" fmla="*/ 57 h 62"/>
                    <a:gd name="T36" fmla="*/ 114 w 213"/>
                    <a:gd name="T37" fmla="*/ 59 h 62"/>
                    <a:gd name="T38" fmla="*/ 95 w 213"/>
                    <a:gd name="T39" fmla="*/ 62 h 62"/>
                    <a:gd name="T40" fmla="*/ 80 w 213"/>
                    <a:gd name="T41" fmla="*/ 62 h 62"/>
                    <a:gd name="T42" fmla="*/ 62 w 213"/>
                    <a:gd name="T43" fmla="*/ 62 h 62"/>
                    <a:gd name="T44" fmla="*/ 43 w 213"/>
                    <a:gd name="T45" fmla="*/ 59 h 62"/>
                    <a:gd name="T46" fmla="*/ 33 w 213"/>
                    <a:gd name="T47" fmla="*/ 59 h 62"/>
                    <a:gd name="T48" fmla="*/ 23 w 213"/>
                    <a:gd name="T49" fmla="*/ 59 h 62"/>
                    <a:gd name="T50" fmla="*/ 12 w 213"/>
                    <a:gd name="T51" fmla="*/ 60 h 62"/>
                    <a:gd name="T52" fmla="*/ 0 w 213"/>
                    <a:gd name="T53" fmla="*/ 62 h 62"/>
                    <a:gd name="T54" fmla="*/ 6 w 213"/>
                    <a:gd name="T55" fmla="*/ 50 h 62"/>
                    <a:gd name="T56" fmla="*/ 11 w 213"/>
                    <a:gd name="T57" fmla="*/ 39 h 62"/>
                    <a:gd name="T58" fmla="*/ 17 w 213"/>
                    <a:gd name="T59" fmla="*/ 29 h 62"/>
                    <a:gd name="T60" fmla="*/ 23 w 213"/>
                    <a:gd name="T61" fmla="*/ 20 h 62"/>
                    <a:gd name="T62" fmla="*/ 27 w 213"/>
                    <a:gd name="T63" fmla="*/ 16 h 62"/>
                    <a:gd name="T64" fmla="*/ 30 w 213"/>
                    <a:gd name="T65" fmla="*/ 12 h 62"/>
                    <a:gd name="T66" fmla="*/ 34 w 213"/>
                    <a:gd name="T67" fmla="*/ 9 h 62"/>
                    <a:gd name="T68" fmla="*/ 39 w 213"/>
                    <a:gd name="T69" fmla="*/ 6 h 62"/>
                    <a:gd name="T70" fmla="*/ 43 w 213"/>
                    <a:gd name="T71" fmla="*/ 3 h 62"/>
                    <a:gd name="T72" fmla="*/ 49 w 213"/>
                    <a:gd name="T73" fmla="*/ 1 h 62"/>
                    <a:gd name="T74" fmla="*/ 54 w 213"/>
                    <a:gd name="T75" fmla="*/ 0 h 62"/>
                    <a:gd name="T76" fmla="*/ 61 w 213"/>
                    <a:gd name="T7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44" name="Freeform 494">
                  <a:extLst>
                    <a:ext uri="{FF2B5EF4-FFF2-40B4-BE49-F238E27FC236}">
                      <a16:creationId xmlns="" xmlns:a16="http://schemas.microsoft.com/office/drawing/2014/main" id="{C87D44C2-D7CD-4F57-B4F8-6D407366F77D}"/>
                    </a:ext>
                  </a:extLst>
                </p:cNvPr>
                <p:cNvSpPr>
                  <a:spLocks/>
                </p:cNvSpPr>
                <p:nvPr>
                  <p:custDataLst>
                    <p:tags r:id="rId332"/>
                  </p:custDataLst>
                </p:nvPr>
              </p:nvSpPr>
              <p:spPr bwMode="auto">
                <a:xfrm>
                  <a:off x="7096407" y="1271098"/>
                  <a:ext cx="73188" cy="42787"/>
                </a:xfrm>
                <a:custGeom>
                  <a:avLst/>
                  <a:gdLst>
                    <a:gd name="T0" fmla="*/ 41 w 239"/>
                    <a:gd name="T1" fmla="*/ 0 h 56"/>
                    <a:gd name="T2" fmla="*/ 30 w 239"/>
                    <a:gd name="T3" fmla="*/ 3 h 56"/>
                    <a:gd name="T4" fmla="*/ 23 w 239"/>
                    <a:gd name="T5" fmla="*/ 5 h 56"/>
                    <a:gd name="T6" fmla="*/ 19 w 239"/>
                    <a:gd name="T7" fmla="*/ 7 h 56"/>
                    <a:gd name="T8" fmla="*/ 15 w 239"/>
                    <a:gd name="T9" fmla="*/ 9 h 56"/>
                    <a:gd name="T10" fmla="*/ 13 w 239"/>
                    <a:gd name="T11" fmla="*/ 13 h 56"/>
                    <a:gd name="T12" fmla="*/ 10 w 239"/>
                    <a:gd name="T13" fmla="*/ 15 h 56"/>
                    <a:gd name="T14" fmla="*/ 7 w 239"/>
                    <a:gd name="T15" fmla="*/ 17 h 56"/>
                    <a:gd name="T16" fmla="*/ 0 w 239"/>
                    <a:gd name="T17" fmla="*/ 19 h 56"/>
                    <a:gd name="T18" fmla="*/ 2 w 239"/>
                    <a:gd name="T19" fmla="*/ 24 h 56"/>
                    <a:gd name="T20" fmla="*/ 5 w 239"/>
                    <a:gd name="T21" fmla="*/ 27 h 56"/>
                    <a:gd name="T22" fmla="*/ 7 w 239"/>
                    <a:gd name="T23" fmla="*/ 30 h 56"/>
                    <a:gd name="T24" fmla="*/ 10 w 239"/>
                    <a:gd name="T25" fmla="*/ 33 h 56"/>
                    <a:gd name="T26" fmla="*/ 17 w 239"/>
                    <a:gd name="T27" fmla="*/ 36 h 56"/>
                    <a:gd name="T28" fmla="*/ 24 w 239"/>
                    <a:gd name="T29" fmla="*/ 38 h 56"/>
                    <a:gd name="T30" fmla="*/ 41 w 239"/>
                    <a:gd name="T31" fmla="*/ 38 h 56"/>
                    <a:gd name="T32" fmla="*/ 54 w 239"/>
                    <a:gd name="T33" fmla="*/ 38 h 56"/>
                    <a:gd name="T34" fmla="*/ 153 w 239"/>
                    <a:gd name="T35" fmla="*/ 38 h 56"/>
                    <a:gd name="T36" fmla="*/ 155 w 239"/>
                    <a:gd name="T37" fmla="*/ 41 h 56"/>
                    <a:gd name="T38" fmla="*/ 156 w 239"/>
                    <a:gd name="T39" fmla="*/ 44 h 56"/>
                    <a:gd name="T40" fmla="*/ 159 w 239"/>
                    <a:gd name="T41" fmla="*/ 46 h 56"/>
                    <a:gd name="T42" fmla="*/ 162 w 239"/>
                    <a:gd name="T43" fmla="*/ 48 h 56"/>
                    <a:gd name="T44" fmla="*/ 167 w 239"/>
                    <a:gd name="T45" fmla="*/ 51 h 56"/>
                    <a:gd name="T46" fmla="*/ 174 w 239"/>
                    <a:gd name="T47" fmla="*/ 54 h 56"/>
                    <a:gd name="T48" fmla="*/ 188 w 239"/>
                    <a:gd name="T49" fmla="*/ 56 h 56"/>
                    <a:gd name="T50" fmla="*/ 200 w 239"/>
                    <a:gd name="T51" fmla="*/ 56 h 56"/>
                    <a:gd name="T52" fmla="*/ 204 w 239"/>
                    <a:gd name="T53" fmla="*/ 55 h 56"/>
                    <a:gd name="T54" fmla="*/ 210 w 239"/>
                    <a:gd name="T55" fmla="*/ 54 h 56"/>
                    <a:gd name="T56" fmla="*/ 214 w 239"/>
                    <a:gd name="T57" fmla="*/ 52 h 56"/>
                    <a:gd name="T58" fmla="*/ 220 w 239"/>
                    <a:gd name="T59" fmla="*/ 49 h 56"/>
                    <a:gd name="T60" fmla="*/ 230 w 239"/>
                    <a:gd name="T61" fmla="*/ 43 h 56"/>
                    <a:gd name="T62" fmla="*/ 239 w 239"/>
                    <a:gd name="T63" fmla="*/ 38 h 56"/>
                    <a:gd name="T64" fmla="*/ 232 w 239"/>
                    <a:gd name="T65" fmla="*/ 37 h 56"/>
                    <a:gd name="T66" fmla="*/ 225 w 239"/>
                    <a:gd name="T67" fmla="*/ 36 h 56"/>
                    <a:gd name="T68" fmla="*/ 219 w 239"/>
                    <a:gd name="T69" fmla="*/ 34 h 56"/>
                    <a:gd name="T70" fmla="*/ 213 w 239"/>
                    <a:gd name="T71" fmla="*/ 32 h 56"/>
                    <a:gd name="T72" fmla="*/ 201 w 239"/>
                    <a:gd name="T73" fmla="*/ 26 h 56"/>
                    <a:gd name="T74" fmla="*/ 190 w 239"/>
                    <a:gd name="T75" fmla="*/ 19 h 56"/>
                    <a:gd name="T76" fmla="*/ 178 w 239"/>
                    <a:gd name="T77" fmla="*/ 13 h 56"/>
                    <a:gd name="T78" fmla="*/ 167 w 239"/>
                    <a:gd name="T79" fmla="*/ 6 h 56"/>
                    <a:gd name="T80" fmla="*/ 160 w 239"/>
                    <a:gd name="T81" fmla="*/ 4 h 56"/>
                    <a:gd name="T82" fmla="*/ 154 w 239"/>
                    <a:gd name="T83" fmla="*/ 2 h 56"/>
                    <a:gd name="T84" fmla="*/ 147 w 239"/>
                    <a:gd name="T85" fmla="*/ 1 h 56"/>
                    <a:gd name="T86" fmla="*/ 140 w 239"/>
                    <a:gd name="T87" fmla="*/ 0 h 56"/>
                    <a:gd name="T88" fmla="*/ 134 w 239"/>
                    <a:gd name="T89" fmla="*/ 1 h 56"/>
                    <a:gd name="T90" fmla="*/ 127 w 239"/>
                    <a:gd name="T91" fmla="*/ 4 h 56"/>
                    <a:gd name="T92" fmla="*/ 124 w 239"/>
                    <a:gd name="T93" fmla="*/ 6 h 56"/>
                    <a:gd name="T94" fmla="*/ 122 w 239"/>
                    <a:gd name="T95" fmla="*/ 8 h 56"/>
                    <a:gd name="T96" fmla="*/ 121 w 239"/>
                    <a:gd name="T97" fmla="*/ 10 h 56"/>
                    <a:gd name="T98" fmla="*/ 120 w 239"/>
                    <a:gd name="T99" fmla="*/ 13 h 56"/>
                    <a:gd name="T100" fmla="*/ 100 w 239"/>
                    <a:gd name="T101" fmla="*/ 8 h 56"/>
                    <a:gd name="T102" fmla="*/ 80 w 239"/>
                    <a:gd name="T103" fmla="*/ 4 h 56"/>
                    <a:gd name="T104" fmla="*/ 61 w 239"/>
                    <a:gd name="T105" fmla="*/ 1 h 56"/>
                    <a:gd name="T106" fmla="*/ 41 w 239"/>
                    <a:gd name="T10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45" name="Freeform 495">
                  <a:extLst>
                    <a:ext uri="{FF2B5EF4-FFF2-40B4-BE49-F238E27FC236}">
                      <a16:creationId xmlns="" xmlns:a16="http://schemas.microsoft.com/office/drawing/2014/main" id="{FD9B8D99-D406-483A-B889-EF3E52D02C0B}"/>
                    </a:ext>
                  </a:extLst>
                </p:cNvPr>
                <p:cNvSpPr>
                  <a:spLocks/>
                </p:cNvSpPr>
                <p:nvPr>
                  <p:custDataLst>
                    <p:tags r:id="rId333"/>
                  </p:custDataLst>
                </p:nvPr>
              </p:nvSpPr>
              <p:spPr bwMode="auto">
                <a:xfrm>
                  <a:off x="7179729" y="1281232"/>
                  <a:ext cx="58550" cy="40535"/>
                </a:xfrm>
                <a:custGeom>
                  <a:avLst/>
                  <a:gdLst>
                    <a:gd name="T0" fmla="*/ 14 w 187"/>
                    <a:gd name="T1" fmla="*/ 19 h 80"/>
                    <a:gd name="T2" fmla="*/ 41 w 187"/>
                    <a:gd name="T3" fmla="*/ 0 h 80"/>
                    <a:gd name="T4" fmla="*/ 44 w 187"/>
                    <a:gd name="T5" fmla="*/ 3 h 80"/>
                    <a:gd name="T6" fmla="*/ 50 w 187"/>
                    <a:gd name="T7" fmla="*/ 6 h 80"/>
                    <a:gd name="T8" fmla="*/ 58 w 187"/>
                    <a:gd name="T9" fmla="*/ 9 h 80"/>
                    <a:gd name="T10" fmla="*/ 67 w 187"/>
                    <a:gd name="T11" fmla="*/ 12 h 80"/>
                    <a:gd name="T12" fmla="*/ 89 w 187"/>
                    <a:gd name="T13" fmla="*/ 19 h 80"/>
                    <a:gd name="T14" fmla="*/ 114 w 187"/>
                    <a:gd name="T15" fmla="*/ 26 h 80"/>
                    <a:gd name="T16" fmla="*/ 139 w 187"/>
                    <a:gd name="T17" fmla="*/ 33 h 80"/>
                    <a:gd name="T18" fmla="*/ 161 w 187"/>
                    <a:gd name="T19" fmla="*/ 38 h 80"/>
                    <a:gd name="T20" fmla="*/ 177 w 187"/>
                    <a:gd name="T21" fmla="*/ 42 h 80"/>
                    <a:gd name="T22" fmla="*/ 187 w 187"/>
                    <a:gd name="T23" fmla="*/ 43 h 80"/>
                    <a:gd name="T24" fmla="*/ 187 w 187"/>
                    <a:gd name="T25" fmla="*/ 56 h 80"/>
                    <a:gd name="T26" fmla="*/ 187 w 187"/>
                    <a:gd name="T27" fmla="*/ 68 h 80"/>
                    <a:gd name="T28" fmla="*/ 170 w 187"/>
                    <a:gd name="T29" fmla="*/ 70 h 80"/>
                    <a:gd name="T30" fmla="*/ 151 w 187"/>
                    <a:gd name="T31" fmla="*/ 71 h 80"/>
                    <a:gd name="T32" fmla="*/ 133 w 187"/>
                    <a:gd name="T33" fmla="*/ 71 h 80"/>
                    <a:gd name="T34" fmla="*/ 116 w 187"/>
                    <a:gd name="T35" fmla="*/ 70 h 80"/>
                    <a:gd name="T36" fmla="*/ 85 w 187"/>
                    <a:gd name="T37" fmla="*/ 69 h 80"/>
                    <a:gd name="T38" fmla="*/ 61 w 187"/>
                    <a:gd name="T39" fmla="*/ 68 h 80"/>
                    <a:gd name="T40" fmla="*/ 55 w 187"/>
                    <a:gd name="T41" fmla="*/ 69 h 80"/>
                    <a:gd name="T42" fmla="*/ 51 w 187"/>
                    <a:gd name="T43" fmla="*/ 70 h 80"/>
                    <a:gd name="T44" fmla="*/ 45 w 187"/>
                    <a:gd name="T45" fmla="*/ 72 h 80"/>
                    <a:gd name="T46" fmla="*/ 41 w 187"/>
                    <a:gd name="T47" fmla="*/ 74 h 80"/>
                    <a:gd name="T48" fmla="*/ 33 w 187"/>
                    <a:gd name="T49" fmla="*/ 78 h 80"/>
                    <a:gd name="T50" fmla="*/ 28 w 187"/>
                    <a:gd name="T51" fmla="*/ 80 h 80"/>
                    <a:gd name="T52" fmla="*/ 22 w 187"/>
                    <a:gd name="T53" fmla="*/ 79 h 80"/>
                    <a:gd name="T54" fmla="*/ 18 w 187"/>
                    <a:gd name="T55" fmla="*/ 76 h 80"/>
                    <a:gd name="T56" fmla="*/ 14 w 187"/>
                    <a:gd name="T57" fmla="*/ 72 h 80"/>
                    <a:gd name="T58" fmla="*/ 9 w 187"/>
                    <a:gd name="T59" fmla="*/ 67 h 80"/>
                    <a:gd name="T60" fmla="*/ 6 w 187"/>
                    <a:gd name="T61" fmla="*/ 62 h 80"/>
                    <a:gd name="T62" fmla="*/ 3 w 187"/>
                    <a:gd name="T63" fmla="*/ 57 h 80"/>
                    <a:gd name="T64" fmla="*/ 2 w 187"/>
                    <a:gd name="T65" fmla="*/ 53 h 80"/>
                    <a:gd name="T66" fmla="*/ 0 w 187"/>
                    <a:gd name="T67" fmla="*/ 50 h 80"/>
                    <a:gd name="T68" fmla="*/ 2 w 187"/>
                    <a:gd name="T69" fmla="*/ 44 h 80"/>
                    <a:gd name="T70" fmla="*/ 3 w 187"/>
                    <a:gd name="T71" fmla="*/ 40 h 80"/>
                    <a:gd name="T72" fmla="*/ 5 w 187"/>
                    <a:gd name="T73" fmla="*/ 36 h 80"/>
                    <a:gd name="T74" fmla="*/ 7 w 187"/>
                    <a:gd name="T75" fmla="*/ 31 h 80"/>
                    <a:gd name="T76" fmla="*/ 13 w 187"/>
                    <a:gd name="T77" fmla="*/ 24 h 80"/>
                    <a:gd name="T78" fmla="*/ 14 w 187"/>
                    <a:gd name="T79" fmla="*/ 1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46" name="Freeform 496">
                  <a:extLst>
                    <a:ext uri="{FF2B5EF4-FFF2-40B4-BE49-F238E27FC236}">
                      <a16:creationId xmlns="" xmlns:a16="http://schemas.microsoft.com/office/drawing/2014/main" id="{E55CFCF6-EE39-4020-8BBE-345B26A6DCDC}"/>
                    </a:ext>
                  </a:extLst>
                </p:cNvPr>
                <p:cNvSpPr>
                  <a:spLocks/>
                </p:cNvSpPr>
                <p:nvPr>
                  <p:custDataLst>
                    <p:tags r:id="rId334"/>
                  </p:custDataLst>
                </p:nvPr>
              </p:nvSpPr>
              <p:spPr bwMode="auto">
                <a:xfrm>
                  <a:off x="7553550" y="1370183"/>
                  <a:ext cx="56298" cy="41661"/>
                </a:xfrm>
                <a:custGeom>
                  <a:avLst/>
                  <a:gdLst>
                    <a:gd name="T0" fmla="*/ 50 w 183"/>
                    <a:gd name="T1" fmla="*/ 0 h 73"/>
                    <a:gd name="T2" fmla="*/ 63 w 183"/>
                    <a:gd name="T3" fmla="*/ 0 h 73"/>
                    <a:gd name="T4" fmla="*/ 75 w 183"/>
                    <a:gd name="T5" fmla="*/ 1 h 73"/>
                    <a:gd name="T6" fmla="*/ 86 w 183"/>
                    <a:gd name="T7" fmla="*/ 4 h 73"/>
                    <a:gd name="T8" fmla="*/ 97 w 183"/>
                    <a:gd name="T9" fmla="*/ 7 h 73"/>
                    <a:gd name="T10" fmla="*/ 106 w 183"/>
                    <a:gd name="T11" fmla="*/ 10 h 73"/>
                    <a:gd name="T12" fmla="*/ 116 w 183"/>
                    <a:gd name="T13" fmla="*/ 15 h 73"/>
                    <a:gd name="T14" fmla="*/ 124 w 183"/>
                    <a:gd name="T15" fmla="*/ 19 h 73"/>
                    <a:gd name="T16" fmla="*/ 131 w 183"/>
                    <a:gd name="T17" fmla="*/ 25 h 73"/>
                    <a:gd name="T18" fmla="*/ 159 w 183"/>
                    <a:gd name="T19" fmla="*/ 49 h 73"/>
                    <a:gd name="T20" fmla="*/ 183 w 183"/>
                    <a:gd name="T21" fmla="*/ 73 h 73"/>
                    <a:gd name="T22" fmla="*/ 137 w 183"/>
                    <a:gd name="T23" fmla="*/ 73 h 73"/>
                    <a:gd name="T24" fmla="*/ 128 w 183"/>
                    <a:gd name="T25" fmla="*/ 72 h 73"/>
                    <a:gd name="T26" fmla="*/ 117 w 183"/>
                    <a:gd name="T27" fmla="*/ 70 h 73"/>
                    <a:gd name="T28" fmla="*/ 104 w 183"/>
                    <a:gd name="T29" fmla="*/ 66 h 73"/>
                    <a:gd name="T30" fmla="*/ 90 w 183"/>
                    <a:gd name="T31" fmla="*/ 62 h 73"/>
                    <a:gd name="T32" fmla="*/ 73 w 183"/>
                    <a:gd name="T33" fmla="*/ 56 h 73"/>
                    <a:gd name="T34" fmla="*/ 58 w 183"/>
                    <a:gd name="T35" fmla="*/ 50 h 73"/>
                    <a:gd name="T36" fmla="*/ 42 w 183"/>
                    <a:gd name="T37" fmla="*/ 44 h 73"/>
                    <a:gd name="T38" fmla="*/ 28 w 183"/>
                    <a:gd name="T39" fmla="*/ 37 h 73"/>
                    <a:gd name="T40" fmla="*/ 16 w 183"/>
                    <a:gd name="T41" fmla="*/ 30 h 73"/>
                    <a:gd name="T42" fmla="*/ 7 w 183"/>
                    <a:gd name="T43" fmla="*/ 23 h 73"/>
                    <a:gd name="T44" fmla="*/ 4 w 183"/>
                    <a:gd name="T45" fmla="*/ 19 h 73"/>
                    <a:gd name="T46" fmla="*/ 2 w 183"/>
                    <a:gd name="T47" fmla="*/ 16 h 73"/>
                    <a:gd name="T48" fmla="*/ 1 w 183"/>
                    <a:gd name="T49" fmla="*/ 14 h 73"/>
                    <a:gd name="T50" fmla="*/ 0 w 183"/>
                    <a:gd name="T51" fmla="*/ 11 h 73"/>
                    <a:gd name="T52" fmla="*/ 1 w 183"/>
                    <a:gd name="T53" fmla="*/ 8 h 73"/>
                    <a:gd name="T54" fmla="*/ 3 w 183"/>
                    <a:gd name="T55" fmla="*/ 6 h 73"/>
                    <a:gd name="T56" fmla="*/ 7 w 183"/>
                    <a:gd name="T57" fmla="*/ 4 h 73"/>
                    <a:gd name="T58" fmla="*/ 13 w 183"/>
                    <a:gd name="T59" fmla="*/ 3 h 73"/>
                    <a:gd name="T60" fmla="*/ 19 w 183"/>
                    <a:gd name="T61" fmla="*/ 1 h 73"/>
                    <a:gd name="T62" fmla="*/ 28 w 183"/>
                    <a:gd name="T63" fmla="*/ 0 h 73"/>
                    <a:gd name="T64" fmla="*/ 38 w 183"/>
                    <a:gd name="T65" fmla="*/ 0 h 73"/>
                    <a:gd name="T66" fmla="*/ 50 w 183"/>
                    <a:gd name="T67"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47" name="Freeform 497">
                  <a:extLst>
                    <a:ext uri="{FF2B5EF4-FFF2-40B4-BE49-F238E27FC236}">
                      <a16:creationId xmlns="" xmlns:a16="http://schemas.microsoft.com/office/drawing/2014/main" id="{EFE30FA6-D523-46AA-AA94-8BF24A91BFDE}"/>
                    </a:ext>
                  </a:extLst>
                </p:cNvPr>
                <p:cNvSpPr>
                  <a:spLocks/>
                </p:cNvSpPr>
                <p:nvPr>
                  <p:custDataLst>
                    <p:tags r:id="rId335"/>
                  </p:custDataLst>
                </p:nvPr>
              </p:nvSpPr>
              <p:spPr bwMode="auto">
                <a:xfrm>
                  <a:off x="7600840" y="1382569"/>
                  <a:ext cx="23646" cy="40535"/>
                </a:xfrm>
                <a:custGeom>
                  <a:avLst/>
                  <a:gdLst>
                    <a:gd name="T0" fmla="*/ 0 w 79"/>
                    <a:gd name="T1" fmla="*/ 6 h 42"/>
                    <a:gd name="T2" fmla="*/ 23 w 79"/>
                    <a:gd name="T3" fmla="*/ 2 h 42"/>
                    <a:gd name="T4" fmla="*/ 41 w 79"/>
                    <a:gd name="T5" fmla="*/ 1 h 42"/>
                    <a:gd name="T6" fmla="*/ 60 w 79"/>
                    <a:gd name="T7" fmla="*/ 0 h 42"/>
                    <a:gd name="T8" fmla="*/ 79 w 79"/>
                    <a:gd name="T9" fmla="*/ 0 h 42"/>
                    <a:gd name="T10" fmla="*/ 79 w 79"/>
                    <a:gd name="T11" fmla="*/ 9 h 42"/>
                    <a:gd name="T12" fmla="*/ 79 w 79"/>
                    <a:gd name="T13" fmla="*/ 18 h 42"/>
                    <a:gd name="T14" fmla="*/ 79 w 79"/>
                    <a:gd name="T15" fmla="*/ 22 h 42"/>
                    <a:gd name="T16" fmla="*/ 75 w 79"/>
                    <a:gd name="T17" fmla="*/ 27 h 42"/>
                    <a:gd name="T18" fmla="*/ 72 w 79"/>
                    <a:gd name="T19" fmla="*/ 31 h 42"/>
                    <a:gd name="T20" fmla="*/ 68 w 79"/>
                    <a:gd name="T21" fmla="*/ 35 h 42"/>
                    <a:gd name="T22" fmla="*/ 62 w 79"/>
                    <a:gd name="T23" fmla="*/ 38 h 42"/>
                    <a:gd name="T24" fmla="*/ 57 w 79"/>
                    <a:gd name="T25" fmla="*/ 40 h 42"/>
                    <a:gd name="T26" fmla="*/ 51 w 79"/>
                    <a:gd name="T27" fmla="*/ 42 h 42"/>
                    <a:gd name="T28" fmla="*/ 46 w 79"/>
                    <a:gd name="T29" fmla="*/ 42 h 42"/>
                    <a:gd name="T30" fmla="*/ 40 w 79"/>
                    <a:gd name="T31" fmla="*/ 42 h 42"/>
                    <a:gd name="T32" fmla="*/ 35 w 79"/>
                    <a:gd name="T33" fmla="*/ 41 h 42"/>
                    <a:gd name="T34" fmla="*/ 29 w 79"/>
                    <a:gd name="T35" fmla="*/ 39 h 42"/>
                    <a:gd name="T36" fmla="*/ 25 w 79"/>
                    <a:gd name="T37" fmla="*/ 37 h 42"/>
                    <a:gd name="T38" fmla="*/ 16 w 79"/>
                    <a:gd name="T39" fmla="*/ 32 h 42"/>
                    <a:gd name="T40" fmla="*/ 11 w 79"/>
                    <a:gd name="T41" fmla="*/ 26 h 42"/>
                    <a:gd name="T42" fmla="*/ 5 w 79"/>
                    <a:gd name="T43" fmla="*/ 20 h 42"/>
                    <a:gd name="T44" fmla="*/ 2 w 79"/>
                    <a:gd name="T45" fmla="*/ 14 h 42"/>
                    <a:gd name="T46" fmla="*/ 0 w 79"/>
                    <a:gd name="T47" fmla="*/ 9 h 42"/>
                    <a:gd name="T48" fmla="*/ 0 w 79"/>
                    <a:gd name="T49"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48" name="Freeform 498">
                  <a:extLst>
                    <a:ext uri="{FF2B5EF4-FFF2-40B4-BE49-F238E27FC236}">
                      <a16:creationId xmlns="" xmlns:a16="http://schemas.microsoft.com/office/drawing/2014/main" id="{133BEAF9-7B92-4841-BC3E-840FB32339BC}"/>
                    </a:ext>
                  </a:extLst>
                </p:cNvPr>
                <p:cNvSpPr>
                  <a:spLocks/>
                </p:cNvSpPr>
                <p:nvPr>
                  <p:custDataLst>
                    <p:tags r:id="rId336"/>
                  </p:custDataLst>
                </p:nvPr>
              </p:nvSpPr>
              <p:spPr bwMode="auto">
                <a:xfrm>
                  <a:off x="7622234" y="1390450"/>
                  <a:ext cx="37157" cy="41661"/>
                </a:xfrm>
                <a:custGeom>
                  <a:avLst/>
                  <a:gdLst>
                    <a:gd name="T0" fmla="*/ 113 w 113"/>
                    <a:gd name="T1" fmla="*/ 39 h 52"/>
                    <a:gd name="T2" fmla="*/ 112 w 113"/>
                    <a:gd name="T3" fmla="*/ 42 h 52"/>
                    <a:gd name="T4" fmla="*/ 109 w 113"/>
                    <a:gd name="T5" fmla="*/ 45 h 52"/>
                    <a:gd name="T6" fmla="*/ 106 w 113"/>
                    <a:gd name="T7" fmla="*/ 47 h 52"/>
                    <a:gd name="T8" fmla="*/ 103 w 113"/>
                    <a:gd name="T9" fmla="*/ 49 h 52"/>
                    <a:gd name="T10" fmla="*/ 94 w 113"/>
                    <a:gd name="T11" fmla="*/ 51 h 52"/>
                    <a:gd name="T12" fmla="*/ 85 w 113"/>
                    <a:gd name="T13" fmla="*/ 52 h 52"/>
                    <a:gd name="T14" fmla="*/ 66 w 113"/>
                    <a:gd name="T15" fmla="*/ 52 h 52"/>
                    <a:gd name="T16" fmla="*/ 53 w 113"/>
                    <a:gd name="T17" fmla="*/ 51 h 52"/>
                    <a:gd name="T18" fmla="*/ 47 w 113"/>
                    <a:gd name="T19" fmla="*/ 51 h 52"/>
                    <a:gd name="T20" fmla="*/ 39 w 113"/>
                    <a:gd name="T21" fmla="*/ 48 h 52"/>
                    <a:gd name="T22" fmla="*/ 30 w 113"/>
                    <a:gd name="T23" fmla="*/ 45 h 52"/>
                    <a:gd name="T24" fmla="*/ 21 w 113"/>
                    <a:gd name="T25" fmla="*/ 41 h 52"/>
                    <a:gd name="T26" fmla="*/ 13 w 113"/>
                    <a:gd name="T27" fmla="*/ 36 h 52"/>
                    <a:gd name="T28" fmla="*/ 6 w 113"/>
                    <a:gd name="T29" fmla="*/ 31 h 52"/>
                    <a:gd name="T30" fmla="*/ 4 w 113"/>
                    <a:gd name="T31" fmla="*/ 28 h 52"/>
                    <a:gd name="T32" fmla="*/ 2 w 113"/>
                    <a:gd name="T33" fmla="*/ 25 h 52"/>
                    <a:gd name="T34" fmla="*/ 1 w 113"/>
                    <a:gd name="T35" fmla="*/ 22 h 52"/>
                    <a:gd name="T36" fmla="*/ 0 w 113"/>
                    <a:gd name="T37" fmla="*/ 20 h 52"/>
                    <a:gd name="T38" fmla="*/ 1 w 113"/>
                    <a:gd name="T39" fmla="*/ 15 h 52"/>
                    <a:gd name="T40" fmla="*/ 1 w 113"/>
                    <a:gd name="T41" fmla="*/ 11 h 52"/>
                    <a:gd name="T42" fmla="*/ 3 w 113"/>
                    <a:gd name="T43" fmla="*/ 8 h 52"/>
                    <a:gd name="T44" fmla="*/ 5 w 113"/>
                    <a:gd name="T45" fmla="*/ 5 h 52"/>
                    <a:gd name="T46" fmla="*/ 7 w 113"/>
                    <a:gd name="T47" fmla="*/ 3 h 52"/>
                    <a:gd name="T48" fmla="*/ 10 w 113"/>
                    <a:gd name="T49" fmla="*/ 2 h 52"/>
                    <a:gd name="T50" fmla="*/ 14 w 113"/>
                    <a:gd name="T51" fmla="*/ 1 h 52"/>
                    <a:gd name="T52" fmla="*/ 17 w 113"/>
                    <a:gd name="T53" fmla="*/ 0 h 52"/>
                    <a:gd name="T54" fmla="*/ 26 w 113"/>
                    <a:gd name="T55" fmla="*/ 0 h 52"/>
                    <a:gd name="T56" fmla="*/ 36 w 113"/>
                    <a:gd name="T57" fmla="*/ 2 h 52"/>
                    <a:gd name="T58" fmla="*/ 46 w 113"/>
                    <a:gd name="T59" fmla="*/ 5 h 52"/>
                    <a:gd name="T60" fmla="*/ 57 w 113"/>
                    <a:gd name="T61" fmla="*/ 9 h 52"/>
                    <a:gd name="T62" fmla="*/ 77 w 113"/>
                    <a:gd name="T63" fmla="*/ 18 h 52"/>
                    <a:gd name="T64" fmla="*/ 95 w 113"/>
                    <a:gd name="T65" fmla="*/ 29 h 52"/>
                    <a:gd name="T66" fmla="*/ 108 w 113"/>
                    <a:gd name="T67" fmla="*/ 36 h 52"/>
                    <a:gd name="T68" fmla="*/ 113 w 113"/>
                    <a:gd name="T69" fmla="*/ 3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49" name="Freeform 499">
                  <a:extLst>
                    <a:ext uri="{FF2B5EF4-FFF2-40B4-BE49-F238E27FC236}">
                      <a16:creationId xmlns="" xmlns:a16="http://schemas.microsoft.com/office/drawing/2014/main" id="{78E52BEE-6373-40FC-85DE-1BE582B7A098}"/>
                    </a:ext>
                  </a:extLst>
                </p:cNvPr>
                <p:cNvSpPr>
                  <a:spLocks/>
                </p:cNvSpPr>
                <p:nvPr>
                  <p:custDataLst>
                    <p:tags r:id="rId337"/>
                  </p:custDataLst>
                </p:nvPr>
              </p:nvSpPr>
              <p:spPr bwMode="auto">
                <a:xfrm>
                  <a:off x="7460095" y="1371310"/>
                  <a:ext cx="43912" cy="41660"/>
                </a:xfrm>
                <a:custGeom>
                  <a:avLst/>
                  <a:gdLst>
                    <a:gd name="T0" fmla="*/ 0 w 139"/>
                    <a:gd name="T1" fmla="*/ 8 h 40"/>
                    <a:gd name="T2" fmla="*/ 8 w 139"/>
                    <a:gd name="T3" fmla="*/ 9 h 40"/>
                    <a:gd name="T4" fmla="*/ 19 w 139"/>
                    <a:gd name="T5" fmla="*/ 8 h 40"/>
                    <a:gd name="T6" fmla="*/ 30 w 139"/>
                    <a:gd name="T7" fmla="*/ 7 h 40"/>
                    <a:gd name="T8" fmla="*/ 42 w 139"/>
                    <a:gd name="T9" fmla="*/ 5 h 40"/>
                    <a:gd name="T10" fmla="*/ 53 w 139"/>
                    <a:gd name="T11" fmla="*/ 2 h 40"/>
                    <a:gd name="T12" fmla="*/ 64 w 139"/>
                    <a:gd name="T13" fmla="*/ 1 h 40"/>
                    <a:gd name="T14" fmla="*/ 73 w 139"/>
                    <a:gd name="T15" fmla="*/ 0 h 40"/>
                    <a:gd name="T16" fmla="*/ 80 w 139"/>
                    <a:gd name="T17" fmla="*/ 2 h 40"/>
                    <a:gd name="T18" fmla="*/ 139 w 139"/>
                    <a:gd name="T19" fmla="*/ 39 h 40"/>
                    <a:gd name="T20" fmla="*/ 133 w 139"/>
                    <a:gd name="T21" fmla="*/ 40 h 40"/>
                    <a:gd name="T22" fmla="*/ 125 w 139"/>
                    <a:gd name="T23" fmla="*/ 39 h 40"/>
                    <a:gd name="T24" fmla="*/ 116 w 139"/>
                    <a:gd name="T25" fmla="*/ 38 h 40"/>
                    <a:gd name="T26" fmla="*/ 106 w 139"/>
                    <a:gd name="T27" fmla="*/ 36 h 40"/>
                    <a:gd name="T28" fmla="*/ 86 w 139"/>
                    <a:gd name="T29" fmla="*/ 30 h 40"/>
                    <a:gd name="T30" fmla="*/ 64 w 139"/>
                    <a:gd name="T31" fmla="*/ 24 h 40"/>
                    <a:gd name="T32" fmla="*/ 44 w 139"/>
                    <a:gd name="T33" fmla="*/ 16 h 40"/>
                    <a:gd name="T34" fmla="*/ 26 w 139"/>
                    <a:gd name="T35" fmla="*/ 11 h 40"/>
                    <a:gd name="T36" fmla="*/ 17 w 139"/>
                    <a:gd name="T37" fmla="*/ 9 h 40"/>
                    <a:gd name="T38" fmla="*/ 11 w 139"/>
                    <a:gd name="T39" fmla="*/ 7 h 40"/>
                    <a:gd name="T40" fmla="*/ 4 w 139"/>
                    <a:gd name="T41" fmla="*/ 7 h 40"/>
                    <a:gd name="T42" fmla="*/ 0 w 139"/>
                    <a:gd name="T43"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50" name="Freeform 500">
                  <a:extLst>
                    <a:ext uri="{FF2B5EF4-FFF2-40B4-BE49-F238E27FC236}">
                      <a16:creationId xmlns="" xmlns:a16="http://schemas.microsoft.com/office/drawing/2014/main" id="{749148D2-C264-42BF-A609-7F10883D792F}"/>
                    </a:ext>
                  </a:extLst>
                </p:cNvPr>
                <p:cNvSpPr>
                  <a:spLocks/>
                </p:cNvSpPr>
                <p:nvPr>
                  <p:custDataLst>
                    <p:tags r:id="rId338"/>
                  </p:custDataLst>
                </p:nvPr>
              </p:nvSpPr>
              <p:spPr bwMode="auto">
                <a:xfrm>
                  <a:off x="7672902" y="1329648"/>
                  <a:ext cx="99085" cy="40535"/>
                </a:xfrm>
                <a:custGeom>
                  <a:avLst/>
                  <a:gdLst>
                    <a:gd name="T0" fmla="*/ 10 w 325"/>
                    <a:gd name="T1" fmla="*/ 7 h 71"/>
                    <a:gd name="T2" fmla="*/ 31 w 325"/>
                    <a:gd name="T3" fmla="*/ 1 h 71"/>
                    <a:gd name="T4" fmla="*/ 53 w 325"/>
                    <a:gd name="T5" fmla="*/ 0 h 71"/>
                    <a:gd name="T6" fmla="*/ 73 w 325"/>
                    <a:gd name="T7" fmla="*/ 4 h 71"/>
                    <a:gd name="T8" fmla="*/ 92 w 325"/>
                    <a:gd name="T9" fmla="*/ 10 h 71"/>
                    <a:gd name="T10" fmla="*/ 110 w 325"/>
                    <a:gd name="T11" fmla="*/ 18 h 71"/>
                    <a:gd name="T12" fmla="*/ 122 w 325"/>
                    <a:gd name="T13" fmla="*/ 29 h 71"/>
                    <a:gd name="T14" fmla="*/ 130 w 325"/>
                    <a:gd name="T15" fmla="*/ 38 h 71"/>
                    <a:gd name="T16" fmla="*/ 136 w 325"/>
                    <a:gd name="T17" fmla="*/ 34 h 71"/>
                    <a:gd name="T18" fmla="*/ 139 w 325"/>
                    <a:gd name="T19" fmla="*/ 15 h 71"/>
                    <a:gd name="T20" fmla="*/ 161 w 325"/>
                    <a:gd name="T21" fmla="*/ 7 h 71"/>
                    <a:gd name="T22" fmla="*/ 216 w 325"/>
                    <a:gd name="T23" fmla="*/ 13 h 71"/>
                    <a:gd name="T24" fmla="*/ 258 w 325"/>
                    <a:gd name="T25" fmla="*/ 23 h 71"/>
                    <a:gd name="T26" fmla="*/ 283 w 325"/>
                    <a:gd name="T27" fmla="*/ 32 h 71"/>
                    <a:gd name="T28" fmla="*/ 305 w 325"/>
                    <a:gd name="T29" fmla="*/ 43 h 71"/>
                    <a:gd name="T30" fmla="*/ 320 w 325"/>
                    <a:gd name="T31" fmla="*/ 55 h 71"/>
                    <a:gd name="T32" fmla="*/ 316 w 325"/>
                    <a:gd name="T33" fmla="*/ 64 h 71"/>
                    <a:gd name="T34" fmla="*/ 294 w 325"/>
                    <a:gd name="T35" fmla="*/ 68 h 71"/>
                    <a:gd name="T36" fmla="*/ 259 w 325"/>
                    <a:gd name="T37" fmla="*/ 71 h 71"/>
                    <a:gd name="T38" fmla="*/ 210 w 325"/>
                    <a:gd name="T39" fmla="*/ 70 h 71"/>
                    <a:gd name="T40" fmla="*/ 167 w 325"/>
                    <a:gd name="T41" fmla="*/ 68 h 71"/>
                    <a:gd name="T42" fmla="*/ 133 w 325"/>
                    <a:gd name="T43" fmla="*/ 69 h 71"/>
                    <a:gd name="T44" fmla="*/ 90 w 325"/>
                    <a:gd name="T45" fmla="*/ 71 h 71"/>
                    <a:gd name="T46" fmla="*/ 72 w 325"/>
                    <a:gd name="T47" fmla="*/ 68 h 71"/>
                    <a:gd name="T48" fmla="*/ 67 w 325"/>
                    <a:gd name="T49" fmla="*/ 64 h 71"/>
                    <a:gd name="T50" fmla="*/ 58 w 325"/>
                    <a:gd name="T51" fmla="*/ 61 h 71"/>
                    <a:gd name="T52" fmla="*/ 46 w 325"/>
                    <a:gd name="T53" fmla="*/ 59 h 71"/>
                    <a:gd name="T54" fmla="*/ 35 w 325"/>
                    <a:gd name="T55" fmla="*/ 53 h 71"/>
                    <a:gd name="T56" fmla="*/ 25 w 325"/>
                    <a:gd name="T57" fmla="*/ 45 h 71"/>
                    <a:gd name="T58" fmla="*/ 16 w 325"/>
                    <a:gd name="T59" fmla="*/ 39 h 71"/>
                    <a:gd name="T60" fmla="*/ 6 w 325"/>
                    <a:gd name="T61" fmla="*/ 37 h 71"/>
                    <a:gd name="T62" fmla="*/ 0 w 325"/>
                    <a:gd name="T63" fmla="*/ 2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51" name="Freeform 501">
                  <a:extLst>
                    <a:ext uri="{FF2B5EF4-FFF2-40B4-BE49-F238E27FC236}">
                      <a16:creationId xmlns="" xmlns:a16="http://schemas.microsoft.com/office/drawing/2014/main" id="{1D400E74-174A-4AFE-A76F-94D03145BDE5}"/>
                    </a:ext>
                  </a:extLst>
                </p:cNvPr>
                <p:cNvSpPr>
                  <a:spLocks/>
                </p:cNvSpPr>
                <p:nvPr>
                  <p:custDataLst>
                    <p:tags r:id="rId339"/>
                  </p:custDataLst>
                </p:nvPr>
              </p:nvSpPr>
              <p:spPr bwMode="auto">
                <a:xfrm>
                  <a:off x="7786626" y="1335278"/>
                  <a:ext cx="67558" cy="40535"/>
                </a:xfrm>
                <a:custGeom>
                  <a:avLst/>
                  <a:gdLst>
                    <a:gd name="T0" fmla="*/ 87 w 220"/>
                    <a:gd name="T1" fmla="*/ 25 h 72"/>
                    <a:gd name="T2" fmla="*/ 92 w 220"/>
                    <a:gd name="T3" fmla="*/ 26 h 72"/>
                    <a:gd name="T4" fmla="*/ 98 w 220"/>
                    <a:gd name="T5" fmla="*/ 27 h 72"/>
                    <a:gd name="T6" fmla="*/ 101 w 220"/>
                    <a:gd name="T7" fmla="*/ 28 h 72"/>
                    <a:gd name="T8" fmla="*/ 104 w 220"/>
                    <a:gd name="T9" fmla="*/ 27 h 72"/>
                    <a:gd name="T10" fmla="*/ 109 w 220"/>
                    <a:gd name="T11" fmla="*/ 27 h 72"/>
                    <a:gd name="T12" fmla="*/ 113 w 220"/>
                    <a:gd name="T13" fmla="*/ 25 h 72"/>
                    <a:gd name="T14" fmla="*/ 114 w 220"/>
                    <a:gd name="T15" fmla="*/ 26 h 72"/>
                    <a:gd name="T16" fmla="*/ 115 w 220"/>
                    <a:gd name="T17" fmla="*/ 26 h 72"/>
                    <a:gd name="T18" fmla="*/ 116 w 220"/>
                    <a:gd name="T19" fmla="*/ 25 h 72"/>
                    <a:gd name="T20" fmla="*/ 117 w 220"/>
                    <a:gd name="T21" fmla="*/ 25 h 72"/>
                    <a:gd name="T22" fmla="*/ 119 w 220"/>
                    <a:gd name="T23" fmla="*/ 22 h 72"/>
                    <a:gd name="T24" fmla="*/ 120 w 220"/>
                    <a:gd name="T25" fmla="*/ 17 h 72"/>
                    <a:gd name="T26" fmla="*/ 120 w 220"/>
                    <a:gd name="T27" fmla="*/ 7 h 72"/>
                    <a:gd name="T28" fmla="*/ 120 w 220"/>
                    <a:gd name="T29" fmla="*/ 0 h 72"/>
                    <a:gd name="T30" fmla="*/ 125 w 220"/>
                    <a:gd name="T31" fmla="*/ 5 h 72"/>
                    <a:gd name="T32" fmla="*/ 131 w 220"/>
                    <a:gd name="T33" fmla="*/ 10 h 72"/>
                    <a:gd name="T34" fmla="*/ 137 w 220"/>
                    <a:gd name="T35" fmla="*/ 15 h 72"/>
                    <a:gd name="T36" fmla="*/ 143 w 220"/>
                    <a:gd name="T37" fmla="*/ 19 h 72"/>
                    <a:gd name="T38" fmla="*/ 156 w 220"/>
                    <a:gd name="T39" fmla="*/ 25 h 72"/>
                    <a:gd name="T40" fmla="*/ 170 w 220"/>
                    <a:gd name="T41" fmla="*/ 30 h 72"/>
                    <a:gd name="T42" fmla="*/ 183 w 220"/>
                    <a:gd name="T43" fmla="*/ 35 h 72"/>
                    <a:gd name="T44" fmla="*/ 196 w 220"/>
                    <a:gd name="T45" fmla="*/ 41 h 72"/>
                    <a:gd name="T46" fmla="*/ 203 w 220"/>
                    <a:gd name="T47" fmla="*/ 44 h 72"/>
                    <a:gd name="T48" fmla="*/ 209 w 220"/>
                    <a:gd name="T49" fmla="*/ 47 h 72"/>
                    <a:gd name="T50" fmla="*/ 214 w 220"/>
                    <a:gd name="T51" fmla="*/ 51 h 72"/>
                    <a:gd name="T52" fmla="*/ 220 w 220"/>
                    <a:gd name="T53" fmla="*/ 55 h 72"/>
                    <a:gd name="T54" fmla="*/ 206 w 220"/>
                    <a:gd name="T55" fmla="*/ 56 h 72"/>
                    <a:gd name="T56" fmla="*/ 194 w 220"/>
                    <a:gd name="T57" fmla="*/ 57 h 72"/>
                    <a:gd name="T58" fmla="*/ 182 w 220"/>
                    <a:gd name="T59" fmla="*/ 58 h 72"/>
                    <a:gd name="T60" fmla="*/ 171 w 220"/>
                    <a:gd name="T61" fmla="*/ 60 h 72"/>
                    <a:gd name="T62" fmla="*/ 151 w 220"/>
                    <a:gd name="T63" fmla="*/ 65 h 72"/>
                    <a:gd name="T64" fmla="*/ 134 w 220"/>
                    <a:gd name="T65" fmla="*/ 70 h 72"/>
                    <a:gd name="T66" fmla="*/ 126 w 220"/>
                    <a:gd name="T67" fmla="*/ 71 h 72"/>
                    <a:gd name="T68" fmla="*/ 117 w 220"/>
                    <a:gd name="T69" fmla="*/ 72 h 72"/>
                    <a:gd name="T70" fmla="*/ 110 w 220"/>
                    <a:gd name="T71" fmla="*/ 72 h 72"/>
                    <a:gd name="T72" fmla="*/ 103 w 220"/>
                    <a:gd name="T73" fmla="*/ 72 h 72"/>
                    <a:gd name="T74" fmla="*/ 95 w 220"/>
                    <a:gd name="T75" fmla="*/ 70 h 72"/>
                    <a:gd name="T76" fmla="*/ 88 w 220"/>
                    <a:gd name="T77" fmla="*/ 66 h 72"/>
                    <a:gd name="T78" fmla="*/ 81 w 220"/>
                    <a:gd name="T79" fmla="*/ 61 h 72"/>
                    <a:gd name="T80" fmla="*/ 74 w 220"/>
                    <a:gd name="T81" fmla="*/ 55 h 72"/>
                    <a:gd name="T82" fmla="*/ 59 w 220"/>
                    <a:gd name="T83" fmla="*/ 53 h 72"/>
                    <a:gd name="T84" fmla="*/ 45 w 220"/>
                    <a:gd name="T85" fmla="*/ 50 h 72"/>
                    <a:gd name="T86" fmla="*/ 33 w 220"/>
                    <a:gd name="T87" fmla="*/ 47 h 72"/>
                    <a:gd name="T88" fmla="*/ 22 w 220"/>
                    <a:gd name="T89" fmla="*/ 43 h 72"/>
                    <a:gd name="T90" fmla="*/ 18 w 220"/>
                    <a:gd name="T91" fmla="*/ 41 h 72"/>
                    <a:gd name="T92" fmla="*/ 13 w 220"/>
                    <a:gd name="T93" fmla="*/ 38 h 72"/>
                    <a:gd name="T94" fmla="*/ 9 w 220"/>
                    <a:gd name="T95" fmla="*/ 35 h 72"/>
                    <a:gd name="T96" fmla="*/ 7 w 220"/>
                    <a:gd name="T97" fmla="*/ 31 h 72"/>
                    <a:gd name="T98" fmla="*/ 3 w 220"/>
                    <a:gd name="T99" fmla="*/ 27 h 72"/>
                    <a:gd name="T100" fmla="*/ 2 w 220"/>
                    <a:gd name="T101" fmla="*/ 23 h 72"/>
                    <a:gd name="T102" fmla="*/ 1 w 220"/>
                    <a:gd name="T103" fmla="*/ 18 h 72"/>
                    <a:gd name="T104" fmla="*/ 0 w 220"/>
                    <a:gd name="T105" fmla="*/ 13 h 72"/>
                    <a:gd name="T106" fmla="*/ 23 w 220"/>
                    <a:gd name="T107" fmla="*/ 17 h 72"/>
                    <a:gd name="T108" fmla="*/ 44 w 220"/>
                    <a:gd name="T109" fmla="*/ 21 h 72"/>
                    <a:gd name="T110" fmla="*/ 64 w 220"/>
                    <a:gd name="T111" fmla="*/ 24 h 72"/>
                    <a:gd name="T112" fmla="*/ 87 w 220"/>
                    <a:gd name="T113" fmla="*/ 2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52" name="Freeform 502">
                  <a:extLst>
                    <a:ext uri="{FF2B5EF4-FFF2-40B4-BE49-F238E27FC236}">
                      <a16:creationId xmlns="" xmlns:a16="http://schemas.microsoft.com/office/drawing/2014/main" id="{BF7C3825-D092-4C92-ACF9-A5C3ECBF7C85}"/>
                    </a:ext>
                  </a:extLst>
                </p:cNvPr>
                <p:cNvSpPr>
                  <a:spLocks/>
                </p:cNvSpPr>
                <p:nvPr>
                  <p:custDataLst>
                    <p:tags r:id="rId340"/>
                  </p:custDataLst>
                </p:nvPr>
              </p:nvSpPr>
              <p:spPr bwMode="auto">
                <a:xfrm>
                  <a:off x="7758476" y="1369057"/>
                  <a:ext cx="45038" cy="41660"/>
                </a:xfrm>
                <a:custGeom>
                  <a:avLst/>
                  <a:gdLst>
                    <a:gd name="T0" fmla="*/ 146 w 146"/>
                    <a:gd name="T1" fmla="*/ 25 h 30"/>
                    <a:gd name="T2" fmla="*/ 140 w 146"/>
                    <a:gd name="T3" fmla="*/ 16 h 30"/>
                    <a:gd name="T4" fmla="*/ 137 w 146"/>
                    <a:gd name="T5" fmla="*/ 9 h 30"/>
                    <a:gd name="T6" fmla="*/ 133 w 146"/>
                    <a:gd name="T7" fmla="*/ 4 h 30"/>
                    <a:gd name="T8" fmla="*/ 128 w 146"/>
                    <a:gd name="T9" fmla="*/ 1 h 30"/>
                    <a:gd name="T10" fmla="*/ 126 w 146"/>
                    <a:gd name="T11" fmla="*/ 1 h 30"/>
                    <a:gd name="T12" fmla="*/ 124 w 146"/>
                    <a:gd name="T13" fmla="*/ 1 h 30"/>
                    <a:gd name="T14" fmla="*/ 120 w 146"/>
                    <a:gd name="T15" fmla="*/ 2 h 30"/>
                    <a:gd name="T16" fmla="*/ 118 w 146"/>
                    <a:gd name="T17" fmla="*/ 3 h 30"/>
                    <a:gd name="T18" fmla="*/ 113 w 146"/>
                    <a:gd name="T19" fmla="*/ 9 h 30"/>
                    <a:gd name="T20" fmla="*/ 105 w 146"/>
                    <a:gd name="T21" fmla="*/ 19 h 30"/>
                    <a:gd name="T22" fmla="*/ 72 w 146"/>
                    <a:gd name="T23" fmla="*/ 19 h 30"/>
                    <a:gd name="T24" fmla="*/ 63 w 146"/>
                    <a:gd name="T25" fmla="*/ 18 h 30"/>
                    <a:gd name="T26" fmla="*/ 55 w 146"/>
                    <a:gd name="T27" fmla="*/ 17 h 30"/>
                    <a:gd name="T28" fmla="*/ 47 w 146"/>
                    <a:gd name="T29" fmla="*/ 14 h 30"/>
                    <a:gd name="T30" fmla="*/ 40 w 146"/>
                    <a:gd name="T31" fmla="*/ 12 h 30"/>
                    <a:gd name="T32" fmla="*/ 29 w 146"/>
                    <a:gd name="T33" fmla="*/ 6 h 30"/>
                    <a:gd name="T34" fmla="*/ 19 w 146"/>
                    <a:gd name="T35" fmla="*/ 0 h 30"/>
                    <a:gd name="T36" fmla="*/ 14 w 146"/>
                    <a:gd name="T37" fmla="*/ 9 h 30"/>
                    <a:gd name="T38" fmla="*/ 10 w 146"/>
                    <a:gd name="T39" fmla="*/ 15 h 30"/>
                    <a:gd name="T40" fmla="*/ 4 w 146"/>
                    <a:gd name="T41" fmla="*/ 20 h 30"/>
                    <a:gd name="T42" fmla="*/ 0 w 146"/>
                    <a:gd name="T43" fmla="*/ 25 h 30"/>
                    <a:gd name="T44" fmla="*/ 33 w 146"/>
                    <a:gd name="T45" fmla="*/ 25 h 30"/>
                    <a:gd name="T46" fmla="*/ 57 w 146"/>
                    <a:gd name="T47" fmla="*/ 25 h 30"/>
                    <a:gd name="T48" fmla="*/ 77 w 146"/>
                    <a:gd name="T49" fmla="*/ 25 h 30"/>
                    <a:gd name="T50" fmla="*/ 99 w 146"/>
                    <a:gd name="T51" fmla="*/ 25 h 30"/>
                    <a:gd name="T52" fmla="*/ 110 w 146"/>
                    <a:gd name="T53" fmla="*/ 26 h 30"/>
                    <a:gd name="T54" fmla="*/ 123 w 146"/>
                    <a:gd name="T55" fmla="*/ 29 h 30"/>
                    <a:gd name="T56" fmla="*/ 128 w 146"/>
                    <a:gd name="T57" fmla="*/ 30 h 30"/>
                    <a:gd name="T58" fmla="*/ 135 w 146"/>
                    <a:gd name="T59" fmla="*/ 30 h 30"/>
                    <a:gd name="T60" fmla="*/ 140 w 146"/>
                    <a:gd name="T61" fmla="*/ 28 h 30"/>
                    <a:gd name="T62" fmla="*/ 146 w 146"/>
                    <a:gd name="T63" fmla="*/ 2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53" name="Freeform 503">
                  <a:extLst>
                    <a:ext uri="{FF2B5EF4-FFF2-40B4-BE49-F238E27FC236}">
                      <a16:creationId xmlns="" xmlns:a16="http://schemas.microsoft.com/office/drawing/2014/main" id="{51F750C4-001E-49CB-8B2C-6F71BC182335}"/>
                    </a:ext>
                  </a:extLst>
                </p:cNvPr>
                <p:cNvSpPr>
                  <a:spLocks/>
                </p:cNvSpPr>
                <p:nvPr>
                  <p:custDataLst>
                    <p:tags r:id="rId341"/>
                  </p:custDataLst>
                </p:nvPr>
              </p:nvSpPr>
              <p:spPr bwMode="auto">
                <a:xfrm>
                  <a:off x="7743838" y="1366805"/>
                  <a:ext cx="14637" cy="41660"/>
                </a:xfrm>
                <a:custGeom>
                  <a:avLst/>
                  <a:gdLst>
                    <a:gd name="T0" fmla="*/ 0 w 53"/>
                    <a:gd name="T1" fmla="*/ 9 h 9"/>
                    <a:gd name="T2" fmla="*/ 17 w 53"/>
                    <a:gd name="T3" fmla="*/ 9 h 9"/>
                    <a:gd name="T4" fmla="*/ 29 w 53"/>
                    <a:gd name="T5" fmla="*/ 9 h 9"/>
                    <a:gd name="T6" fmla="*/ 40 w 53"/>
                    <a:gd name="T7" fmla="*/ 9 h 9"/>
                    <a:gd name="T8" fmla="*/ 53 w 53"/>
                    <a:gd name="T9" fmla="*/ 9 h 9"/>
                    <a:gd name="T10" fmla="*/ 46 w 53"/>
                    <a:gd name="T11" fmla="*/ 6 h 9"/>
                    <a:gd name="T12" fmla="*/ 38 w 53"/>
                    <a:gd name="T13" fmla="*/ 3 h 9"/>
                    <a:gd name="T14" fmla="*/ 31 w 53"/>
                    <a:gd name="T15" fmla="*/ 1 h 9"/>
                    <a:gd name="T16" fmla="*/ 25 w 53"/>
                    <a:gd name="T17" fmla="*/ 0 h 9"/>
                    <a:gd name="T18" fmla="*/ 19 w 53"/>
                    <a:gd name="T19" fmla="*/ 0 h 9"/>
                    <a:gd name="T20" fmla="*/ 14 w 53"/>
                    <a:gd name="T21" fmla="*/ 0 h 9"/>
                    <a:gd name="T22" fmla="*/ 9 w 53"/>
                    <a:gd name="T23" fmla="*/ 1 h 9"/>
                    <a:gd name="T24" fmla="*/ 6 w 53"/>
                    <a:gd name="T25"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54" name="Line 504">
                  <a:extLst>
                    <a:ext uri="{FF2B5EF4-FFF2-40B4-BE49-F238E27FC236}">
                      <a16:creationId xmlns="" xmlns:a16="http://schemas.microsoft.com/office/drawing/2014/main" id="{E5A75ABE-AC93-4620-BADA-FE73CD484313}"/>
                    </a:ext>
                  </a:extLst>
                </p:cNvPr>
                <p:cNvSpPr>
                  <a:spLocks noChangeShapeType="1"/>
                </p:cNvSpPr>
                <p:nvPr>
                  <p:custDataLst>
                    <p:tags r:id="rId342"/>
                  </p:custDataLst>
                </p:nvPr>
              </p:nvSpPr>
              <p:spPr bwMode="auto">
                <a:xfrm flipV="1">
                  <a:off x="7744964" y="1365679"/>
                  <a:ext cx="0" cy="1126"/>
                </a:xfrm>
                <a:prstGeom prst="line">
                  <a:avLst/>
                </a:prstGeom>
                <a:solidFill>
                  <a:srgbClr val="CDCDCD"/>
                </a:solidFill>
                <a:ln w="3175">
                  <a:solidFill>
                    <a:srgbClr val="FFFFFF"/>
                  </a:solidFill>
                  <a:round/>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55" name="Freeform 505">
                  <a:extLst>
                    <a:ext uri="{FF2B5EF4-FFF2-40B4-BE49-F238E27FC236}">
                      <a16:creationId xmlns="" xmlns:a16="http://schemas.microsoft.com/office/drawing/2014/main" id="{2874563F-A17A-4874-813B-19FC7A92B8B6}"/>
                    </a:ext>
                  </a:extLst>
                </p:cNvPr>
                <p:cNvSpPr>
                  <a:spLocks/>
                </p:cNvSpPr>
                <p:nvPr>
                  <p:custDataLst>
                    <p:tags r:id="rId343"/>
                  </p:custDataLst>
                </p:nvPr>
              </p:nvSpPr>
              <p:spPr bwMode="auto">
                <a:xfrm>
                  <a:off x="7156084" y="1315011"/>
                  <a:ext cx="7882" cy="39409"/>
                </a:xfrm>
                <a:custGeom>
                  <a:avLst/>
                  <a:gdLst>
                    <a:gd name="T0" fmla="*/ 0 w 26"/>
                    <a:gd name="T1" fmla="*/ 25 h 25"/>
                    <a:gd name="T2" fmla="*/ 5 w 26"/>
                    <a:gd name="T3" fmla="*/ 17 h 25"/>
                    <a:gd name="T4" fmla="*/ 13 w 26"/>
                    <a:gd name="T5" fmla="*/ 8 h 25"/>
                    <a:gd name="T6" fmla="*/ 16 w 26"/>
                    <a:gd name="T7" fmla="*/ 5 h 25"/>
                    <a:gd name="T8" fmla="*/ 20 w 26"/>
                    <a:gd name="T9" fmla="*/ 2 h 25"/>
                    <a:gd name="T10" fmla="*/ 23 w 26"/>
                    <a:gd name="T11" fmla="*/ 1 h 25"/>
                    <a:gd name="T12" fmla="*/ 26 w 26"/>
                    <a:gd name="T13" fmla="*/ 0 h 25"/>
                    <a:gd name="T14" fmla="*/ 26 w 26"/>
                    <a:gd name="T15" fmla="*/ 25 h 25"/>
                    <a:gd name="T16" fmla="*/ 20 w 26"/>
                    <a:gd name="T17" fmla="*/ 25 h 25"/>
                    <a:gd name="T18" fmla="*/ 13 w 26"/>
                    <a:gd name="T19" fmla="*/ 25 h 25"/>
                    <a:gd name="T20" fmla="*/ 0 w 26"/>
                    <a:gd name="T2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56" name="Freeform 506">
                  <a:extLst>
                    <a:ext uri="{FF2B5EF4-FFF2-40B4-BE49-F238E27FC236}">
                      <a16:creationId xmlns="" xmlns:a16="http://schemas.microsoft.com/office/drawing/2014/main" id="{69C05935-C0BC-435B-98E0-A45F1F594B17}"/>
                    </a:ext>
                  </a:extLst>
                </p:cNvPr>
                <p:cNvSpPr>
                  <a:spLocks/>
                </p:cNvSpPr>
                <p:nvPr>
                  <p:custDataLst>
                    <p:tags r:id="rId344"/>
                  </p:custDataLst>
                </p:nvPr>
              </p:nvSpPr>
              <p:spPr bwMode="auto">
                <a:xfrm>
                  <a:off x="7687540" y="1365679"/>
                  <a:ext cx="6756" cy="40535"/>
                </a:xfrm>
                <a:custGeom>
                  <a:avLst/>
                  <a:gdLst>
                    <a:gd name="T0" fmla="*/ 33 w 33"/>
                    <a:gd name="T1" fmla="*/ 25 h 25"/>
                    <a:gd name="T2" fmla="*/ 33 w 33"/>
                    <a:gd name="T3" fmla="*/ 12 h 25"/>
                    <a:gd name="T4" fmla="*/ 33 w 33"/>
                    <a:gd name="T5" fmla="*/ 0 h 25"/>
                    <a:gd name="T6" fmla="*/ 0 w 33"/>
                    <a:gd name="T7" fmla="*/ 0 h 25"/>
                    <a:gd name="T8" fmla="*/ 9 w 33"/>
                    <a:gd name="T9" fmla="*/ 9 h 25"/>
                    <a:gd name="T10" fmla="*/ 16 w 33"/>
                    <a:gd name="T11" fmla="*/ 17 h 25"/>
                    <a:gd name="T12" fmla="*/ 20 w 33"/>
                    <a:gd name="T13" fmla="*/ 20 h 25"/>
                    <a:gd name="T14" fmla="*/ 24 w 33"/>
                    <a:gd name="T15" fmla="*/ 23 h 25"/>
                    <a:gd name="T16" fmla="*/ 28 w 33"/>
                    <a:gd name="T17" fmla="*/ 24 h 25"/>
                    <a:gd name="T18" fmla="*/ 33 w 33"/>
                    <a:gd name="T1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57" name="Freeform 507">
                  <a:extLst>
                    <a:ext uri="{FF2B5EF4-FFF2-40B4-BE49-F238E27FC236}">
                      <a16:creationId xmlns="" xmlns:a16="http://schemas.microsoft.com/office/drawing/2014/main" id="{E54ABF27-F5BB-4360-A5E7-D07B5A01599F}"/>
                    </a:ext>
                  </a:extLst>
                </p:cNvPr>
                <p:cNvSpPr>
                  <a:spLocks/>
                </p:cNvSpPr>
                <p:nvPr>
                  <p:custDataLst>
                    <p:tags r:id="rId345"/>
                  </p:custDataLst>
                </p:nvPr>
              </p:nvSpPr>
              <p:spPr bwMode="auto">
                <a:xfrm>
                  <a:off x="7654887" y="1339782"/>
                  <a:ext cx="6756" cy="40535"/>
                </a:xfrm>
                <a:custGeom>
                  <a:avLst/>
                  <a:gdLst>
                    <a:gd name="T0" fmla="*/ 0 w 20"/>
                    <a:gd name="T1" fmla="*/ 0 h 18"/>
                    <a:gd name="T2" fmla="*/ 13 w 20"/>
                    <a:gd name="T3" fmla="*/ 18 h 18"/>
                    <a:gd name="T4" fmla="*/ 16 w 20"/>
                    <a:gd name="T5" fmla="*/ 11 h 18"/>
                    <a:gd name="T6" fmla="*/ 20 w 20"/>
                    <a:gd name="T7" fmla="*/ 0 h 18"/>
                    <a:gd name="T8" fmla="*/ 0 w 20"/>
                    <a:gd name="T9" fmla="*/ 0 h 18"/>
                  </a:gdLst>
                  <a:ahLst/>
                  <a:cxnLst>
                    <a:cxn ang="0">
                      <a:pos x="T0" y="T1"/>
                    </a:cxn>
                    <a:cxn ang="0">
                      <a:pos x="T2" y="T3"/>
                    </a:cxn>
                    <a:cxn ang="0">
                      <a:pos x="T4" y="T5"/>
                    </a:cxn>
                    <a:cxn ang="0">
                      <a:pos x="T6" y="T7"/>
                    </a:cxn>
                    <a:cxn ang="0">
                      <a:pos x="T8" y="T9"/>
                    </a:cxn>
                  </a:cxnLst>
                  <a:rect l="0" t="0" r="r" b="b"/>
                  <a:pathLst>
                    <a:path w="20" h="18">
                      <a:moveTo>
                        <a:pt x="0" y="0"/>
                      </a:moveTo>
                      <a:lnTo>
                        <a:pt x="13" y="18"/>
                      </a:lnTo>
                      <a:lnTo>
                        <a:pt x="16" y="11"/>
                      </a:lnTo>
                      <a:lnTo>
                        <a:pt x="20" y="0"/>
                      </a:lnTo>
                      <a:lnTo>
                        <a:pt x="0" y="0"/>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58" name="Freeform 509">
                  <a:extLst>
                    <a:ext uri="{FF2B5EF4-FFF2-40B4-BE49-F238E27FC236}">
                      <a16:creationId xmlns="" xmlns:a16="http://schemas.microsoft.com/office/drawing/2014/main" id="{7E9153FF-941E-4FA3-95B2-9D241843B9DB}"/>
                    </a:ext>
                  </a:extLst>
                </p:cNvPr>
                <p:cNvSpPr>
                  <a:spLocks/>
                </p:cNvSpPr>
                <p:nvPr>
                  <p:custDataLst>
                    <p:tags r:id="rId346"/>
                  </p:custDataLst>
                </p:nvPr>
              </p:nvSpPr>
              <p:spPr bwMode="auto">
                <a:xfrm>
                  <a:off x="8217871" y="1405088"/>
                  <a:ext cx="39409" cy="41660"/>
                </a:xfrm>
                <a:custGeom>
                  <a:avLst/>
                  <a:gdLst>
                    <a:gd name="T0" fmla="*/ 3 w 129"/>
                    <a:gd name="T1" fmla="*/ 44 h 56"/>
                    <a:gd name="T2" fmla="*/ 1 w 129"/>
                    <a:gd name="T3" fmla="*/ 42 h 56"/>
                    <a:gd name="T4" fmla="*/ 1 w 129"/>
                    <a:gd name="T5" fmla="*/ 40 h 56"/>
                    <a:gd name="T6" fmla="*/ 0 w 129"/>
                    <a:gd name="T7" fmla="*/ 37 h 56"/>
                    <a:gd name="T8" fmla="*/ 1 w 129"/>
                    <a:gd name="T9" fmla="*/ 33 h 56"/>
                    <a:gd name="T10" fmla="*/ 2 w 129"/>
                    <a:gd name="T11" fmla="*/ 25 h 56"/>
                    <a:gd name="T12" fmla="*/ 3 w 129"/>
                    <a:gd name="T13" fmla="*/ 18 h 56"/>
                    <a:gd name="T14" fmla="*/ 9 w 129"/>
                    <a:gd name="T15" fmla="*/ 13 h 56"/>
                    <a:gd name="T16" fmla="*/ 16 w 129"/>
                    <a:gd name="T17" fmla="*/ 9 h 56"/>
                    <a:gd name="T18" fmla="*/ 21 w 129"/>
                    <a:gd name="T19" fmla="*/ 6 h 56"/>
                    <a:gd name="T20" fmla="*/ 27 w 129"/>
                    <a:gd name="T21" fmla="*/ 5 h 56"/>
                    <a:gd name="T22" fmla="*/ 39 w 129"/>
                    <a:gd name="T23" fmla="*/ 3 h 56"/>
                    <a:gd name="T24" fmla="*/ 57 w 129"/>
                    <a:gd name="T25" fmla="*/ 0 h 56"/>
                    <a:gd name="T26" fmla="*/ 60 w 129"/>
                    <a:gd name="T27" fmla="*/ 5 h 56"/>
                    <a:gd name="T28" fmla="*/ 64 w 129"/>
                    <a:gd name="T29" fmla="*/ 8 h 56"/>
                    <a:gd name="T30" fmla="*/ 69 w 129"/>
                    <a:gd name="T31" fmla="*/ 11 h 56"/>
                    <a:gd name="T32" fmla="*/ 73 w 129"/>
                    <a:gd name="T33" fmla="*/ 14 h 56"/>
                    <a:gd name="T34" fmla="*/ 83 w 129"/>
                    <a:gd name="T35" fmla="*/ 18 h 56"/>
                    <a:gd name="T36" fmla="*/ 93 w 129"/>
                    <a:gd name="T37" fmla="*/ 21 h 56"/>
                    <a:gd name="T38" fmla="*/ 103 w 129"/>
                    <a:gd name="T39" fmla="*/ 25 h 56"/>
                    <a:gd name="T40" fmla="*/ 113 w 129"/>
                    <a:gd name="T41" fmla="*/ 29 h 56"/>
                    <a:gd name="T42" fmla="*/ 117 w 129"/>
                    <a:gd name="T43" fmla="*/ 32 h 56"/>
                    <a:gd name="T44" fmla="*/ 121 w 129"/>
                    <a:gd name="T45" fmla="*/ 35 h 56"/>
                    <a:gd name="T46" fmla="*/ 126 w 129"/>
                    <a:gd name="T47" fmla="*/ 38 h 56"/>
                    <a:gd name="T48" fmla="*/ 129 w 129"/>
                    <a:gd name="T49" fmla="*/ 44 h 56"/>
                    <a:gd name="T50" fmla="*/ 119 w 129"/>
                    <a:gd name="T51" fmla="*/ 48 h 56"/>
                    <a:gd name="T52" fmla="*/ 109 w 129"/>
                    <a:gd name="T53" fmla="*/ 51 h 56"/>
                    <a:gd name="T54" fmla="*/ 99 w 129"/>
                    <a:gd name="T55" fmla="*/ 53 h 56"/>
                    <a:gd name="T56" fmla="*/ 90 w 129"/>
                    <a:gd name="T57" fmla="*/ 54 h 56"/>
                    <a:gd name="T58" fmla="*/ 70 w 129"/>
                    <a:gd name="T59" fmla="*/ 56 h 56"/>
                    <a:gd name="T60" fmla="*/ 49 w 129"/>
                    <a:gd name="T61" fmla="*/ 56 h 56"/>
                    <a:gd name="T62" fmla="*/ 40 w 129"/>
                    <a:gd name="T63" fmla="*/ 55 h 56"/>
                    <a:gd name="T64" fmla="*/ 31 w 129"/>
                    <a:gd name="T65" fmla="*/ 54 h 56"/>
                    <a:gd name="T66" fmla="*/ 23 w 129"/>
                    <a:gd name="T67" fmla="*/ 52 h 56"/>
                    <a:gd name="T68" fmla="*/ 16 w 129"/>
                    <a:gd name="T69" fmla="*/ 50 h 56"/>
                    <a:gd name="T70" fmla="*/ 6 w 129"/>
                    <a:gd name="T71" fmla="*/ 46 h 56"/>
                    <a:gd name="T72" fmla="*/ 3 w 129"/>
                    <a:gd name="T73" fmla="*/ 4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59" name="Freeform 510">
                  <a:extLst>
                    <a:ext uri="{FF2B5EF4-FFF2-40B4-BE49-F238E27FC236}">
                      <a16:creationId xmlns="" xmlns:a16="http://schemas.microsoft.com/office/drawing/2014/main" id="{CD81084F-489D-4A31-B88D-F16361791B41}"/>
                    </a:ext>
                  </a:extLst>
                </p:cNvPr>
                <p:cNvSpPr>
                  <a:spLocks/>
                </p:cNvSpPr>
                <p:nvPr>
                  <p:custDataLst>
                    <p:tags r:id="rId347"/>
                  </p:custDataLst>
                </p:nvPr>
              </p:nvSpPr>
              <p:spPr bwMode="auto">
                <a:xfrm>
                  <a:off x="8314704" y="1655053"/>
                  <a:ext cx="10134" cy="40535"/>
                </a:xfrm>
                <a:custGeom>
                  <a:avLst/>
                  <a:gdLst>
                    <a:gd name="T0" fmla="*/ 21 w 41"/>
                    <a:gd name="T1" fmla="*/ 42 h 42"/>
                    <a:gd name="T2" fmla="*/ 0 w 41"/>
                    <a:gd name="T3" fmla="*/ 30 h 42"/>
                    <a:gd name="T4" fmla="*/ 0 w 41"/>
                    <a:gd name="T5" fmla="*/ 6 h 42"/>
                    <a:gd name="T6" fmla="*/ 7 w 41"/>
                    <a:gd name="T7" fmla="*/ 5 h 42"/>
                    <a:gd name="T8" fmla="*/ 14 w 41"/>
                    <a:gd name="T9" fmla="*/ 3 h 42"/>
                    <a:gd name="T10" fmla="*/ 24 w 41"/>
                    <a:gd name="T11" fmla="*/ 1 h 42"/>
                    <a:gd name="T12" fmla="*/ 34 w 41"/>
                    <a:gd name="T13" fmla="*/ 0 h 42"/>
                    <a:gd name="T14" fmla="*/ 34 w 41"/>
                    <a:gd name="T15" fmla="*/ 18 h 42"/>
                    <a:gd name="T16" fmla="*/ 41 w 41"/>
                    <a:gd name="T17" fmla="*/ 18 h 42"/>
                    <a:gd name="T18" fmla="*/ 21 w 41"/>
                    <a:gd name="T1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60" name="Freeform 511">
                  <a:extLst>
                    <a:ext uri="{FF2B5EF4-FFF2-40B4-BE49-F238E27FC236}">
                      <a16:creationId xmlns="" xmlns:a16="http://schemas.microsoft.com/office/drawing/2014/main" id="{CAE78B78-8F9C-41EB-86FB-2362D17AEA77}"/>
                    </a:ext>
                  </a:extLst>
                </p:cNvPr>
                <p:cNvSpPr>
                  <a:spLocks/>
                </p:cNvSpPr>
                <p:nvPr>
                  <p:custDataLst>
                    <p:tags r:id="rId348"/>
                  </p:custDataLst>
                </p:nvPr>
              </p:nvSpPr>
              <p:spPr bwMode="auto">
                <a:xfrm>
                  <a:off x="8420545" y="1734996"/>
                  <a:ext cx="30401" cy="42787"/>
                </a:xfrm>
                <a:custGeom>
                  <a:avLst/>
                  <a:gdLst>
                    <a:gd name="T0" fmla="*/ 60 w 93"/>
                    <a:gd name="T1" fmla="*/ 9 h 39"/>
                    <a:gd name="T2" fmla="*/ 67 w 93"/>
                    <a:gd name="T3" fmla="*/ 18 h 39"/>
                    <a:gd name="T4" fmla="*/ 77 w 93"/>
                    <a:gd name="T5" fmla="*/ 28 h 39"/>
                    <a:gd name="T6" fmla="*/ 81 w 93"/>
                    <a:gd name="T7" fmla="*/ 33 h 39"/>
                    <a:gd name="T8" fmla="*/ 86 w 93"/>
                    <a:gd name="T9" fmla="*/ 36 h 39"/>
                    <a:gd name="T10" fmla="*/ 90 w 93"/>
                    <a:gd name="T11" fmla="*/ 38 h 39"/>
                    <a:gd name="T12" fmla="*/ 93 w 93"/>
                    <a:gd name="T13" fmla="*/ 39 h 39"/>
                    <a:gd name="T14" fmla="*/ 60 w 93"/>
                    <a:gd name="T15" fmla="*/ 39 h 39"/>
                    <a:gd name="T16" fmla="*/ 50 w 93"/>
                    <a:gd name="T17" fmla="*/ 36 h 39"/>
                    <a:gd name="T18" fmla="*/ 43 w 93"/>
                    <a:gd name="T19" fmla="*/ 32 h 39"/>
                    <a:gd name="T20" fmla="*/ 36 w 93"/>
                    <a:gd name="T21" fmla="*/ 28 h 39"/>
                    <a:gd name="T22" fmla="*/ 30 w 93"/>
                    <a:gd name="T23" fmla="*/ 23 h 39"/>
                    <a:gd name="T24" fmla="*/ 24 w 93"/>
                    <a:gd name="T25" fmla="*/ 18 h 39"/>
                    <a:gd name="T26" fmla="*/ 16 w 93"/>
                    <a:gd name="T27" fmla="*/ 13 h 39"/>
                    <a:gd name="T28" fmla="*/ 9 w 93"/>
                    <a:gd name="T29" fmla="*/ 7 h 39"/>
                    <a:gd name="T30" fmla="*/ 0 w 93"/>
                    <a:gd name="T31" fmla="*/ 3 h 39"/>
                    <a:gd name="T32" fmla="*/ 11 w 93"/>
                    <a:gd name="T33" fmla="*/ 1 h 39"/>
                    <a:gd name="T34" fmla="*/ 20 w 93"/>
                    <a:gd name="T35" fmla="*/ 0 h 39"/>
                    <a:gd name="T36" fmla="*/ 26 w 93"/>
                    <a:gd name="T37" fmla="*/ 0 h 39"/>
                    <a:gd name="T38" fmla="*/ 33 w 93"/>
                    <a:gd name="T39" fmla="*/ 1 h 39"/>
                    <a:gd name="T40" fmla="*/ 44 w 93"/>
                    <a:gd name="T41" fmla="*/ 4 h 39"/>
                    <a:gd name="T42" fmla="*/ 60 w 93"/>
                    <a:gd name="T4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61" name="Freeform 512">
                  <a:extLst>
                    <a:ext uri="{FF2B5EF4-FFF2-40B4-BE49-F238E27FC236}">
                      <a16:creationId xmlns="" xmlns:a16="http://schemas.microsoft.com/office/drawing/2014/main" id="{261F06EA-3CC6-4DC4-BD1C-43A76269119C}"/>
                    </a:ext>
                  </a:extLst>
                </p:cNvPr>
                <p:cNvSpPr>
                  <a:spLocks/>
                </p:cNvSpPr>
                <p:nvPr>
                  <p:custDataLst>
                    <p:tags r:id="rId349"/>
                  </p:custDataLst>
                </p:nvPr>
              </p:nvSpPr>
              <p:spPr bwMode="auto">
                <a:xfrm>
                  <a:off x="8456576" y="1746256"/>
                  <a:ext cx="13512" cy="41661"/>
                </a:xfrm>
                <a:custGeom>
                  <a:avLst/>
                  <a:gdLst>
                    <a:gd name="T0" fmla="*/ 39 w 39"/>
                    <a:gd name="T1" fmla="*/ 19 h 19"/>
                    <a:gd name="T2" fmla="*/ 13 w 39"/>
                    <a:gd name="T3" fmla="*/ 19 h 19"/>
                    <a:gd name="T4" fmla="*/ 8 w 39"/>
                    <a:gd name="T5" fmla="*/ 19 h 19"/>
                    <a:gd name="T6" fmla="*/ 5 w 39"/>
                    <a:gd name="T7" fmla="*/ 17 h 19"/>
                    <a:gd name="T8" fmla="*/ 3 w 39"/>
                    <a:gd name="T9" fmla="*/ 14 h 19"/>
                    <a:gd name="T10" fmla="*/ 2 w 39"/>
                    <a:gd name="T11" fmla="*/ 11 h 19"/>
                    <a:gd name="T12" fmla="*/ 0 w 39"/>
                    <a:gd name="T13" fmla="*/ 5 h 19"/>
                    <a:gd name="T14" fmla="*/ 0 w 39"/>
                    <a:gd name="T15" fmla="*/ 0 h 19"/>
                    <a:gd name="T16" fmla="*/ 13 w 39"/>
                    <a:gd name="T17" fmla="*/ 4 h 19"/>
                    <a:gd name="T18" fmla="*/ 22 w 39"/>
                    <a:gd name="T19" fmla="*/ 9 h 19"/>
                    <a:gd name="T20" fmla="*/ 30 w 39"/>
                    <a:gd name="T21" fmla="*/ 14 h 19"/>
                    <a:gd name="T22" fmla="*/ 39 w 39"/>
                    <a:gd name="T23"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62" name="Freeform 513">
                  <a:extLst>
                    <a:ext uri="{FF2B5EF4-FFF2-40B4-BE49-F238E27FC236}">
                      <a16:creationId xmlns="" xmlns:a16="http://schemas.microsoft.com/office/drawing/2014/main" id="{A868A4F5-F362-4004-A635-F0879AA2B55C}"/>
                    </a:ext>
                  </a:extLst>
                </p:cNvPr>
                <p:cNvSpPr>
                  <a:spLocks/>
                </p:cNvSpPr>
                <p:nvPr>
                  <p:custDataLst>
                    <p:tags r:id="rId350"/>
                  </p:custDataLst>
                </p:nvPr>
              </p:nvSpPr>
              <p:spPr bwMode="auto">
                <a:xfrm>
                  <a:off x="8360868" y="1836333"/>
                  <a:ext cx="10134" cy="40535"/>
                </a:xfrm>
                <a:custGeom>
                  <a:avLst/>
                  <a:gdLst>
                    <a:gd name="T0" fmla="*/ 0 w 26"/>
                    <a:gd name="T1" fmla="*/ 36 h 36"/>
                    <a:gd name="T2" fmla="*/ 3 w 26"/>
                    <a:gd name="T3" fmla="*/ 31 h 36"/>
                    <a:gd name="T4" fmla="*/ 10 w 26"/>
                    <a:gd name="T5" fmla="*/ 20 h 36"/>
                    <a:gd name="T6" fmla="*/ 18 w 26"/>
                    <a:gd name="T7" fmla="*/ 8 h 36"/>
                    <a:gd name="T8" fmla="*/ 26 w 26"/>
                    <a:gd name="T9" fmla="*/ 0 h 36"/>
                    <a:gd name="T10" fmla="*/ 26 w 26"/>
                    <a:gd name="T11" fmla="*/ 9 h 36"/>
                    <a:gd name="T12" fmla="*/ 26 w 26"/>
                    <a:gd name="T13" fmla="*/ 18 h 36"/>
                    <a:gd name="T14" fmla="*/ 25 w 26"/>
                    <a:gd name="T15" fmla="*/ 22 h 36"/>
                    <a:gd name="T16" fmla="*/ 24 w 26"/>
                    <a:gd name="T17" fmla="*/ 26 h 36"/>
                    <a:gd name="T18" fmla="*/ 21 w 26"/>
                    <a:gd name="T19" fmla="*/ 29 h 36"/>
                    <a:gd name="T20" fmla="*/ 17 w 26"/>
                    <a:gd name="T21" fmla="*/ 32 h 36"/>
                    <a:gd name="T22" fmla="*/ 14 w 26"/>
                    <a:gd name="T23" fmla="*/ 34 h 36"/>
                    <a:gd name="T24" fmla="*/ 10 w 26"/>
                    <a:gd name="T25" fmla="*/ 35 h 36"/>
                    <a:gd name="T26" fmla="*/ 4 w 26"/>
                    <a:gd name="T27" fmla="*/ 36 h 36"/>
                    <a:gd name="T28" fmla="*/ 0 w 26"/>
                    <a:gd name="T29"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63" name="Freeform 514">
                  <a:extLst>
                    <a:ext uri="{FF2B5EF4-FFF2-40B4-BE49-F238E27FC236}">
                      <a16:creationId xmlns="" xmlns:a16="http://schemas.microsoft.com/office/drawing/2014/main" id="{B4080473-0764-444F-B09A-FAC448E3E4AF}"/>
                    </a:ext>
                  </a:extLst>
                </p:cNvPr>
                <p:cNvSpPr>
                  <a:spLocks/>
                </p:cNvSpPr>
                <p:nvPr>
                  <p:custDataLst>
                    <p:tags r:id="rId351"/>
                  </p:custDataLst>
                </p:nvPr>
              </p:nvSpPr>
              <p:spPr bwMode="auto">
                <a:xfrm>
                  <a:off x="8368750" y="1856601"/>
                  <a:ext cx="2252" cy="42787"/>
                </a:xfrm>
                <a:custGeom>
                  <a:avLst/>
                  <a:gdLst>
                    <a:gd name="T0" fmla="*/ 0 w 6"/>
                    <a:gd name="T1" fmla="*/ 37 h 37"/>
                    <a:gd name="T2" fmla="*/ 0 w 6"/>
                    <a:gd name="T3" fmla="*/ 0 h 37"/>
                    <a:gd name="T4" fmla="*/ 6 w 6"/>
                    <a:gd name="T5" fmla="*/ 0 h 37"/>
                    <a:gd name="T6" fmla="*/ 6 w 6"/>
                    <a:gd name="T7" fmla="*/ 31 h 37"/>
                    <a:gd name="T8" fmla="*/ 0 w 6"/>
                    <a:gd name="T9" fmla="*/ 37 h 37"/>
                  </a:gdLst>
                  <a:ahLst/>
                  <a:cxnLst>
                    <a:cxn ang="0">
                      <a:pos x="T0" y="T1"/>
                    </a:cxn>
                    <a:cxn ang="0">
                      <a:pos x="T2" y="T3"/>
                    </a:cxn>
                    <a:cxn ang="0">
                      <a:pos x="T4" y="T5"/>
                    </a:cxn>
                    <a:cxn ang="0">
                      <a:pos x="T6" y="T7"/>
                    </a:cxn>
                    <a:cxn ang="0">
                      <a:pos x="T8" y="T9"/>
                    </a:cxn>
                  </a:cxnLst>
                  <a:rect l="0" t="0" r="r" b="b"/>
                  <a:pathLst>
                    <a:path w="6" h="37">
                      <a:moveTo>
                        <a:pt x="0" y="37"/>
                      </a:moveTo>
                      <a:lnTo>
                        <a:pt x="0" y="0"/>
                      </a:lnTo>
                      <a:lnTo>
                        <a:pt x="6" y="0"/>
                      </a:lnTo>
                      <a:lnTo>
                        <a:pt x="6" y="31"/>
                      </a:lnTo>
                      <a:lnTo>
                        <a:pt x="0" y="37"/>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64" name="Freeform 515">
                  <a:extLst>
                    <a:ext uri="{FF2B5EF4-FFF2-40B4-BE49-F238E27FC236}">
                      <a16:creationId xmlns="" xmlns:a16="http://schemas.microsoft.com/office/drawing/2014/main" id="{76951F80-4BDD-45D0-BB6D-177EEC7FA2A8}"/>
                    </a:ext>
                  </a:extLst>
                </p:cNvPr>
                <p:cNvSpPr>
                  <a:spLocks/>
                </p:cNvSpPr>
                <p:nvPr>
                  <p:custDataLst>
                    <p:tags r:id="rId352"/>
                  </p:custDataLst>
                </p:nvPr>
              </p:nvSpPr>
              <p:spPr bwMode="auto">
                <a:xfrm>
                  <a:off x="8359742" y="1915151"/>
                  <a:ext cx="6756" cy="39409"/>
                </a:xfrm>
                <a:custGeom>
                  <a:avLst/>
                  <a:gdLst>
                    <a:gd name="T0" fmla="*/ 0 w 20"/>
                    <a:gd name="T1" fmla="*/ 31 h 43"/>
                    <a:gd name="T2" fmla="*/ 0 w 20"/>
                    <a:gd name="T3" fmla="*/ 25 h 43"/>
                    <a:gd name="T4" fmla="*/ 0 w 20"/>
                    <a:gd name="T5" fmla="*/ 18 h 43"/>
                    <a:gd name="T6" fmla="*/ 2 w 20"/>
                    <a:gd name="T7" fmla="*/ 9 h 43"/>
                    <a:gd name="T8" fmla="*/ 7 w 20"/>
                    <a:gd name="T9" fmla="*/ 0 h 43"/>
                    <a:gd name="T10" fmla="*/ 11 w 20"/>
                    <a:gd name="T11" fmla="*/ 7 h 43"/>
                    <a:gd name="T12" fmla="*/ 16 w 20"/>
                    <a:gd name="T13" fmla="*/ 12 h 43"/>
                    <a:gd name="T14" fmla="*/ 17 w 20"/>
                    <a:gd name="T15" fmla="*/ 14 h 43"/>
                    <a:gd name="T16" fmla="*/ 19 w 20"/>
                    <a:gd name="T17" fmla="*/ 18 h 43"/>
                    <a:gd name="T18" fmla="*/ 19 w 20"/>
                    <a:gd name="T19" fmla="*/ 21 h 43"/>
                    <a:gd name="T20" fmla="*/ 20 w 20"/>
                    <a:gd name="T21" fmla="*/ 25 h 43"/>
                    <a:gd name="T22" fmla="*/ 19 w 20"/>
                    <a:gd name="T23" fmla="*/ 27 h 43"/>
                    <a:gd name="T24" fmla="*/ 18 w 20"/>
                    <a:gd name="T25" fmla="*/ 30 h 43"/>
                    <a:gd name="T26" fmla="*/ 16 w 20"/>
                    <a:gd name="T27" fmla="*/ 33 h 43"/>
                    <a:gd name="T28" fmla="*/ 12 w 20"/>
                    <a:gd name="T29" fmla="*/ 36 h 43"/>
                    <a:gd name="T30" fmla="*/ 9 w 20"/>
                    <a:gd name="T31" fmla="*/ 39 h 43"/>
                    <a:gd name="T32" fmla="*/ 6 w 20"/>
                    <a:gd name="T33" fmla="*/ 41 h 43"/>
                    <a:gd name="T34" fmla="*/ 2 w 20"/>
                    <a:gd name="T35" fmla="*/ 42 h 43"/>
                    <a:gd name="T36" fmla="*/ 0 w 20"/>
                    <a:gd name="T37" fmla="*/ 43 h 43"/>
                    <a:gd name="T38" fmla="*/ 0 w 20"/>
                    <a:gd name="T39" fmla="*/ 3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65" name="Freeform 516">
                  <a:extLst>
                    <a:ext uri="{FF2B5EF4-FFF2-40B4-BE49-F238E27FC236}">
                      <a16:creationId xmlns="" xmlns:a16="http://schemas.microsoft.com/office/drawing/2014/main" id="{F983F52C-F6A1-4CAF-A3B4-E3F280982234}"/>
                    </a:ext>
                  </a:extLst>
                </p:cNvPr>
                <p:cNvSpPr>
                  <a:spLocks/>
                </p:cNvSpPr>
                <p:nvPr>
                  <p:custDataLst>
                    <p:tags r:id="rId353"/>
                  </p:custDataLst>
                </p:nvPr>
              </p:nvSpPr>
              <p:spPr bwMode="auto">
                <a:xfrm>
                  <a:off x="8343979" y="1939922"/>
                  <a:ext cx="0" cy="41661"/>
                </a:xfrm>
                <a:custGeom>
                  <a:avLst/>
                  <a:gdLst>
                    <a:gd name="T0" fmla="*/ 30 h 30"/>
                    <a:gd name="T1" fmla="*/ 25 h 30"/>
                    <a:gd name="T2" fmla="*/ 18 h 30"/>
                    <a:gd name="T3" fmla="*/ 9 h 30"/>
                    <a:gd name="T4" fmla="*/ 0 h 30"/>
                  </a:gdLst>
                  <a:ahLst/>
                  <a:cxnLst>
                    <a:cxn ang="0">
                      <a:pos x="0" y="T0"/>
                    </a:cxn>
                    <a:cxn ang="0">
                      <a:pos x="0" y="T1"/>
                    </a:cxn>
                    <a:cxn ang="0">
                      <a:pos x="0" y="T2"/>
                    </a:cxn>
                    <a:cxn ang="0">
                      <a:pos x="0" y="T3"/>
                    </a:cxn>
                    <a:cxn ang="0">
                      <a:pos x="0" y="T4"/>
                    </a:cxn>
                  </a:cxnLst>
                  <a:rect l="0" t="0" r="r" b="b"/>
                  <a:pathLst>
                    <a:path h="30">
                      <a:moveTo>
                        <a:pt x="0" y="30"/>
                      </a:moveTo>
                      <a:lnTo>
                        <a:pt x="0" y="25"/>
                      </a:lnTo>
                      <a:lnTo>
                        <a:pt x="0" y="18"/>
                      </a:lnTo>
                      <a:lnTo>
                        <a:pt x="0" y="9"/>
                      </a:lnTo>
                      <a:lnTo>
                        <a:pt x="0" y="0"/>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66" name="Freeform 517">
                  <a:extLst>
                    <a:ext uri="{FF2B5EF4-FFF2-40B4-BE49-F238E27FC236}">
                      <a16:creationId xmlns="" xmlns:a16="http://schemas.microsoft.com/office/drawing/2014/main" id="{062E4777-7782-4428-A269-20C97C6FB55E}"/>
                    </a:ext>
                  </a:extLst>
                </p:cNvPr>
                <p:cNvSpPr>
                  <a:spLocks/>
                </p:cNvSpPr>
                <p:nvPr>
                  <p:custDataLst>
                    <p:tags r:id="rId354"/>
                  </p:custDataLst>
                </p:nvPr>
              </p:nvSpPr>
              <p:spPr bwMode="auto">
                <a:xfrm>
                  <a:off x="8343979" y="1939922"/>
                  <a:ext cx="5630" cy="41661"/>
                </a:xfrm>
                <a:custGeom>
                  <a:avLst/>
                  <a:gdLst>
                    <a:gd name="T0" fmla="*/ 0 w 20"/>
                    <a:gd name="T1" fmla="*/ 0 h 24"/>
                    <a:gd name="T2" fmla="*/ 20 w 20"/>
                    <a:gd name="T3" fmla="*/ 0 h 24"/>
                    <a:gd name="T4" fmla="*/ 0 w 20"/>
                    <a:gd name="T5" fmla="*/ 24 h 24"/>
                  </a:gdLst>
                  <a:ahLst/>
                  <a:cxnLst>
                    <a:cxn ang="0">
                      <a:pos x="T0" y="T1"/>
                    </a:cxn>
                    <a:cxn ang="0">
                      <a:pos x="T2" y="T3"/>
                    </a:cxn>
                    <a:cxn ang="0">
                      <a:pos x="T4" y="T5"/>
                    </a:cxn>
                  </a:cxnLst>
                  <a:rect l="0" t="0" r="r" b="b"/>
                  <a:pathLst>
                    <a:path w="20" h="24">
                      <a:moveTo>
                        <a:pt x="0" y="0"/>
                      </a:moveTo>
                      <a:lnTo>
                        <a:pt x="20" y="0"/>
                      </a:lnTo>
                      <a:lnTo>
                        <a:pt x="0" y="24"/>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67" name="Freeform 518">
                  <a:extLst>
                    <a:ext uri="{FF2B5EF4-FFF2-40B4-BE49-F238E27FC236}">
                      <a16:creationId xmlns="" xmlns:a16="http://schemas.microsoft.com/office/drawing/2014/main" id="{EDE2F4F8-CA10-4A41-9138-853C96C856BA}"/>
                    </a:ext>
                  </a:extLst>
                </p:cNvPr>
                <p:cNvSpPr>
                  <a:spLocks/>
                </p:cNvSpPr>
                <p:nvPr>
                  <p:custDataLst>
                    <p:tags r:id="rId355"/>
                  </p:custDataLst>
                </p:nvPr>
              </p:nvSpPr>
              <p:spPr bwMode="auto">
                <a:xfrm>
                  <a:off x="8169454" y="1647171"/>
                  <a:ext cx="12385" cy="42787"/>
                </a:xfrm>
                <a:custGeom>
                  <a:avLst/>
                  <a:gdLst>
                    <a:gd name="T0" fmla="*/ 0 w 46"/>
                    <a:gd name="T1" fmla="*/ 0 h 19"/>
                    <a:gd name="T2" fmla="*/ 9 w 46"/>
                    <a:gd name="T3" fmla="*/ 3 h 19"/>
                    <a:gd name="T4" fmla="*/ 14 w 46"/>
                    <a:gd name="T5" fmla="*/ 5 h 19"/>
                    <a:gd name="T6" fmla="*/ 19 w 46"/>
                    <a:gd name="T7" fmla="*/ 8 h 19"/>
                    <a:gd name="T8" fmla="*/ 23 w 46"/>
                    <a:gd name="T9" fmla="*/ 10 h 19"/>
                    <a:gd name="T10" fmla="*/ 26 w 46"/>
                    <a:gd name="T11" fmla="*/ 12 h 19"/>
                    <a:gd name="T12" fmla="*/ 32 w 46"/>
                    <a:gd name="T13" fmla="*/ 14 h 19"/>
                    <a:gd name="T14" fmla="*/ 37 w 46"/>
                    <a:gd name="T15" fmla="*/ 17 h 19"/>
                    <a:gd name="T16" fmla="*/ 46 w 46"/>
                    <a:gd name="T17" fmla="*/ 19 h 19"/>
                    <a:gd name="T18" fmla="*/ 33 w 46"/>
                    <a:gd name="T19" fmla="*/ 19 h 19"/>
                    <a:gd name="T20" fmla="*/ 24 w 46"/>
                    <a:gd name="T21" fmla="*/ 19 h 19"/>
                    <a:gd name="T22" fmla="*/ 18 w 46"/>
                    <a:gd name="T23" fmla="*/ 18 h 19"/>
                    <a:gd name="T24" fmla="*/ 13 w 46"/>
                    <a:gd name="T25" fmla="*/ 17 h 19"/>
                    <a:gd name="T26" fmla="*/ 10 w 46"/>
                    <a:gd name="T27" fmla="*/ 14 h 19"/>
                    <a:gd name="T28" fmla="*/ 7 w 46"/>
                    <a:gd name="T29" fmla="*/ 11 h 19"/>
                    <a:gd name="T30" fmla="*/ 4 w 46"/>
                    <a:gd name="T31" fmla="*/ 7 h 19"/>
                    <a:gd name="T32" fmla="*/ 0 w 46"/>
                    <a:gd name="T33"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68" name="Freeform 519">
                  <a:extLst>
                    <a:ext uri="{FF2B5EF4-FFF2-40B4-BE49-F238E27FC236}">
                      <a16:creationId xmlns="" xmlns:a16="http://schemas.microsoft.com/office/drawing/2014/main" id="{BE1736BD-A765-43F9-B951-8552B907A996}"/>
                    </a:ext>
                  </a:extLst>
                </p:cNvPr>
                <p:cNvSpPr>
                  <a:spLocks/>
                </p:cNvSpPr>
                <p:nvPr>
                  <p:custDataLst>
                    <p:tags r:id="rId356"/>
                  </p:custDataLst>
                </p:nvPr>
              </p:nvSpPr>
              <p:spPr bwMode="auto">
                <a:xfrm>
                  <a:off x="6265444" y="1746256"/>
                  <a:ext cx="33779" cy="41661"/>
                </a:xfrm>
                <a:custGeom>
                  <a:avLst/>
                  <a:gdLst>
                    <a:gd name="T0" fmla="*/ 33 w 100"/>
                    <a:gd name="T1" fmla="*/ 0 h 55"/>
                    <a:gd name="T2" fmla="*/ 100 w 100"/>
                    <a:gd name="T3" fmla="*/ 12 h 55"/>
                    <a:gd name="T4" fmla="*/ 100 w 100"/>
                    <a:gd name="T5" fmla="*/ 55 h 55"/>
                    <a:gd name="T6" fmla="*/ 13 w 100"/>
                    <a:gd name="T7" fmla="*/ 55 h 55"/>
                    <a:gd name="T8" fmla="*/ 0 w 100"/>
                    <a:gd name="T9" fmla="*/ 43 h 55"/>
                    <a:gd name="T10" fmla="*/ 1 w 100"/>
                    <a:gd name="T11" fmla="*/ 38 h 55"/>
                    <a:gd name="T12" fmla="*/ 4 w 100"/>
                    <a:gd name="T13" fmla="*/ 32 h 55"/>
                    <a:gd name="T14" fmla="*/ 10 w 100"/>
                    <a:gd name="T15" fmla="*/ 25 h 55"/>
                    <a:gd name="T16" fmla="*/ 16 w 100"/>
                    <a:gd name="T17" fmla="*/ 18 h 55"/>
                    <a:gd name="T18" fmla="*/ 27 w 100"/>
                    <a:gd name="T19" fmla="*/ 5 h 55"/>
                    <a:gd name="T20" fmla="*/ 33 w 100"/>
                    <a:gd name="T21"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69" name="Freeform 520">
                  <a:extLst>
                    <a:ext uri="{FF2B5EF4-FFF2-40B4-BE49-F238E27FC236}">
                      <a16:creationId xmlns="" xmlns:a16="http://schemas.microsoft.com/office/drawing/2014/main" id="{89321739-AEE6-4874-8320-0FC3175AA00E}"/>
                    </a:ext>
                  </a:extLst>
                </p:cNvPr>
                <p:cNvSpPr>
                  <a:spLocks/>
                </p:cNvSpPr>
                <p:nvPr>
                  <p:custDataLst>
                    <p:tags r:id="rId357"/>
                  </p:custDataLst>
                </p:nvPr>
              </p:nvSpPr>
              <p:spPr bwMode="auto">
                <a:xfrm>
                  <a:off x="6584093" y="1456883"/>
                  <a:ext cx="30401" cy="41660"/>
                </a:xfrm>
                <a:custGeom>
                  <a:avLst/>
                  <a:gdLst>
                    <a:gd name="T0" fmla="*/ 53 w 99"/>
                    <a:gd name="T1" fmla="*/ 2 h 51"/>
                    <a:gd name="T2" fmla="*/ 58 w 99"/>
                    <a:gd name="T3" fmla="*/ 1 h 51"/>
                    <a:gd name="T4" fmla="*/ 62 w 99"/>
                    <a:gd name="T5" fmla="*/ 0 h 51"/>
                    <a:gd name="T6" fmla="*/ 65 w 99"/>
                    <a:gd name="T7" fmla="*/ 0 h 51"/>
                    <a:gd name="T8" fmla="*/ 69 w 99"/>
                    <a:gd name="T9" fmla="*/ 1 h 51"/>
                    <a:gd name="T10" fmla="*/ 74 w 99"/>
                    <a:gd name="T11" fmla="*/ 5 h 51"/>
                    <a:gd name="T12" fmla="*/ 79 w 99"/>
                    <a:gd name="T13" fmla="*/ 11 h 51"/>
                    <a:gd name="T14" fmla="*/ 83 w 99"/>
                    <a:gd name="T15" fmla="*/ 18 h 51"/>
                    <a:gd name="T16" fmla="*/ 87 w 99"/>
                    <a:gd name="T17" fmla="*/ 25 h 51"/>
                    <a:gd name="T18" fmla="*/ 91 w 99"/>
                    <a:gd name="T19" fmla="*/ 28 h 51"/>
                    <a:gd name="T20" fmla="*/ 93 w 99"/>
                    <a:gd name="T21" fmla="*/ 30 h 51"/>
                    <a:gd name="T22" fmla="*/ 96 w 99"/>
                    <a:gd name="T23" fmla="*/ 32 h 51"/>
                    <a:gd name="T24" fmla="*/ 99 w 99"/>
                    <a:gd name="T25" fmla="*/ 34 h 51"/>
                    <a:gd name="T26" fmla="*/ 99 w 99"/>
                    <a:gd name="T27" fmla="*/ 37 h 51"/>
                    <a:gd name="T28" fmla="*/ 97 w 99"/>
                    <a:gd name="T29" fmla="*/ 40 h 51"/>
                    <a:gd name="T30" fmla="*/ 95 w 99"/>
                    <a:gd name="T31" fmla="*/ 43 h 51"/>
                    <a:gd name="T32" fmla="*/ 91 w 99"/>
                    <a:gd name="T33" fmla="*/ 45 h 51"/>
                    <a:gd name="T34" fmla="*/ 86 w 99"/>
                    <a:gd name="T35" fmla="*/ 47 h 51"/>
                    <a:gd name="T36" fmla="*/ 81 w 99"/>
                    <a:gd name="T37" fmla="*/ 48 h 51"/>
                    <a:gd name="T38" fmla="*/ 74 w 99"/>
                    <a:gd name="T39" fmla="*/ 50 h 51"/>
                    <a:gd name="T40" fmla="*/ 68 w 99"/>
                    <a:gd name="T41" fmla="*/ 50 h 51"/>
                    <a:gd name="T42" fmla="*/ 52 w 99"/>
                    <a:gd name="T43" fmla="*/ 51 h 51"/>
                    <a:gd name="T44" fmla="*/ 36 w 99"/>
                    <a:gd name="T45" fmla="*/ 49 h 51"/>
                    <a:gd name="T46" fmla="*/ 27 w 99"/>
                    <a:gd name="T47" fmla="*/ 48 h 51"/>
                    <a:gd name="T48" fmla="*/ 18 w 99"/>
                    <a:gd name="T49" fmla="*/ 45 h 51"/>
                    <a:gd name="T50" fmla="*/ 9 w 99"/>
                    <a:gd name="T51" fmla="*/ 43 h 51"/>
                    <a:gd name="T52" fmla="*/ 1 w 99"/>
                    <a:gd name="T53" fmla="*/ 40 h 51"/>
                    <a:gd name="T54" fmla="*/ 0 w 99"/>
                    <a:gd name="T55" fmla="*/ 39 h 51"/>
                    <a:gd name="T56" fmla="*/ 1 w 99"/>
                    <a:gd name="T57" fmla="*/ 37 h 51"/>
                    <a:gd name="T58" fmla="*/ 3 w 99"/>
                    <a:gd name="T59" fmla="*/ 35 h 51"/>
                    <a:gd name="T60" fmla="*/ 6 w 99"/>
                    <a:gd name="T61" fmla="*/ 33 h 51"/>
                    <a:gd name="T62" fmla="*/ 14 w 99"/>
                    <a:gd name="T63" fmla="*/ 29 h 51"/>
                    <a:gd name="T64" fmla="*/ 25 w 99"/>
                    <a:gd name="T65" fmla="*/ 24 h 51"/>
                    <a:gd name="T66" fmla="*/ 35 w 99"/>
                    <a:gd name="T67" fmla="*/ 19 h 51"/>
                    <a:gd name="T68" fmla="*/ 45 w 99"/>
                    <a:gd name="T69" fmla="*/ 12 h 51"/>
                    <a:gd name="T70" fmla="*/ 48 w 99"/>
                    <a:gd name="T71" fmla="*/ 10 h 51"/>
                    <a:gd name="T72" fmla="*/ 51 w 99"/>
                    <a:gd name="T73" fmla="*/ 7 h 51"/>
                    <a:gd name="T74" fmla="*/ 52 w 99"/>
                    <a:gd name="T75" fmla="*/ 5 h 51"/>
                    <a:gd name="T76" fmla="*/ 53 w 99"/>
                    <a:gd name="T77" fmla="*/ 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70" name="Freeform 521">
                  <a:extLst>
                    <a:ext uri="{FF2B5EF4-FFF2-40B4-BE49-F238E27FC236}">
                      <a16:creationId xmlns="" xmlns:a16="http://schemas.microsoft.com/office/drawing/2014/main" id="{3771BE7D-CCA6-439E-8259-E81ACCF5C7C7}"/>
                    </a:ext>
                  </a:extLst>
                </p:cNvPr>
                <p:cNvSpPr>
                  <a:spLocks/>
                </p:cNvSpPr>
                <p:nvPr>
                  <p:custDataLst>
                    <p:tags r:id="rId358"/>
                  </p:custDataLst>
                </p:nvPr>
              </p:nvSpPr>
              <p:spPr bwMode="auto">
                <a:xfrm>
                  <a:off x="6608864" y="1324019"/>
                  <a:ext cx="162139" cy="115974"/>
                </a:xfrm>
                <a:custGeom>
                  <a:avLst/>
                  <a:gdLst>
                    <a:gd name="T0" fmla="*/ 315 w 525"/>
                    <a:gd name="T1" fmla="*/ 27 h 311"/>
                    <a:gd name="T2" fmla="*/ 342 w 525"/>
                    <a:gd name="T3" fmla="*/ 21 h 311"/>
                    <a:gd name="T4" fmla="*/ 385 w 525"/>
                    <a:gd name="T5" fmla="*/ 20 h 311"/>
                    <a:gd name="T6" fmla="*/ 408 w 525"/>
                    <a:gd name="T7" fmla="*/ 17 h 311"/>
                    <a:gd name="T8" fmla="*/ 427 w 525"/>
                    <a:gd name="T9" fmla="*/ 7 h 311"/>
                    <a:gd name="T10" fmla="*/ 514 w 525"/>
                    <a:gd name="T11" fmla="*/ 6 h 311"/>
                    <a:gd name="T12" fmla="*/ 525 w 525"/>
                    <a:gd name="T13" fmla="*/ 19 h 311"/>
                    <a:gd name="T14" fmla="*/ 468 w 525"/>
                    <a:gd name="T15" fmla="*/ 47 h 311"/>
                    <a:gd name="T16" fmla="*/ 392 w 525"/>
                    <a:gd name="T17" fmla="*/ 73 h 311"/>
                    <a:gd name="T18" fmla="*/ 356 w 525"/>
                    <a:gd name="T19" fmla="*/ 80 h 311"/>
                    <a:gd name="T20" fmla="*/ 321 w 525"/>
                    <a:gd name="T21" fmla="*/ 83 h 311"/>
                    <a:gd name="T22" fmla="*/ 279 w 525"/>
                    <a:gd name="T23" fmla="*/ 101 h 311"/>
                    <a:gd name="T24" fmla="*/ 244 w 525"/>
                    <a:gd name="T25" fmla="*/ 121 h 311"/>
                    <a:gd name="T26" fmla="*/ 218 w 525"/>
                    <a:gd name="T27" fmla="*/ 129 h 311"/>
                    <a:gd name="T28" fmla="*/ 187 w 525"/>
                    <a:gd name="T29" fmla="*/ 123 h 311"/>
                    <a:gd name="T30" fmla="*/ 178 w 525"/>
                    <a:gd name="T31" fmla="*/ 137 h 311"/>
                    <a:gd name="T32" fmla="*/ 175 w 525"/>
                    <a:gd name="T33" fmla="*/ 145 h 311"/>
                    <a:gd name="T34" fmla="*/ 185 w 525"/>
                    <a:gd name="T35" fmla="*/ 148 h 311"/>
                    <a:gd name="T36" fmla="*/ 184 w 525"/>
                    <a:gd name="T37" fmla="*/ 157 h 311"/>
                    <a:gd name="T38" fmla="*/ 176 w 525"/>
                    <a:gd name="T39" fmla="*/ 167 h 311"/>
                    <a:gd name="T40" fmla="*/ 180 w 525"/>
                    <a:gd name="T41" fmla="*/ 179 h 311"/>
                    <a:gd name="T42" fmla="*/ 162 w 525"/>
                    <a:gd name="T43" fmla="*/ 194 h 311"/>
                    <a:gd name="T44" fmla="*/ 144 w 525"/>
                    <a:gd name="T45" fmla="*/ 204 h 311"/>
                    <a:gd name="T46" fmla="*/ 141 w 525"/>
                    <a:gd name="T47" fmla="*/ 213 h 311"/>
                    <a:gd name="T48" fmla="*/ 144 w 525"/>
                    <a:gd name="T49" fmla="*/ 228 h 311"/>
                    <a:gd name="T50" fmla="*/ 163 w 525"/>
                    <a:gd name="T51" fmla="*/ 247 h 311"/>
                    <a:gd name="T52" fmla="*/ 191 w 525"/>
                    <a:gd name="T53" fmla="*/ 267 h 311"/>
                    <a:gd name="T54" fmla="*/ 256 w 525"/>
                    <a:gd name="T55" fmla="*/ 300 h 311"/>
                    <a:gd name="T56" fmla="*/ 243 w 525"/>
                    <a:gd name="T57" fmla="*/ 311 h 311"/>
                    <a:gd name="T58" fmla="*/ 189 w 525"/>
                    <a:gd name="T59" fmla="*/ 309 h 311"/>
                    <a:gd name="T60" fmla="*/ 145 w 525"/>
                    <a:gd name="T61" fmla="*/ 308 h 311"/>
                    <a:gd name="T62" fmla="*/ 129 w 525"/>
                    <a:gd name="T63" fmla="*/ 304 h 311"/>
                    <a:gd name="T64" fmla="*/ 123 w 525"/>
                    <a:gd name="T65" fmla="*/ 298 h 311"/>
                    <a:gd name="T66" fmla="*/ 120 w 525"/>
                    <a:gd name="T67" fmla="*/ 282 h 311"/>
                    <a:gd name="T68" fmla="*/ 116 w 525"/>
                    <a:gd name="T69" fmla="*/ 278 h 311"/>
                    <a:gd name="T70" fmla="*/ 95 w 525"/>
                    <a:gd name="T71" fmla="*/ 277 h 311"/>
                    <a:gd name="T72" fmla="*/ 80 w 525"/>
                    <a:gd name="T73" fmla="*/ 296 h 311"/>
                    <a:gd name="T74" fmla="*/ 44 w 525"/>
                    <a:gd name="T75" fmla="*/ 282 h 311"/>
                    <a:gd name="T76" fmla="*/ 0 w 525"/>
                    <a:gd name="T77" fmla="*/ 246 h 311"/>
                    <a:gd name="T78" fmla="*/ 18 w 525"/>
                    <a:gd name="T79" fmla="*/ 239 h 311"/>
                    <a:gd name="T80" fmla="*/ 34 w 525"/>
                    <a:gd name="T81" fmla="*/ 222 h 311"/>
                    <a:gd name="T82" fmla="*/ 28 w 525"/>
                    <a:gd name="T83" fmla="*/ 213 h 311"/>
                    <a:gd name="T84" fmla="*/ 34 w 525"/>
                    <a:gd name="T85" fmla="*/ 200 h 311"/>
                    <a:gd name="T86" fmla="*/ 40 w 525"/>
                    <a:gd name="T87" fmla="*/ 188 h 311"/>
                    <a:gd name="T88" fmla="*/ 34 w 525"/>
                    <a:gd name="T89" fmla="*/ 179 h 311"/>
                    <a:gd name="T90" fmla="*/ 134 w 525"/>
                    <a:gd name="T91" fmla="*/ 179 h 311"/>
                    <a:gd name="T92" fmla="*/ 131 w 525"/>
                    <a:gd name="T93" fmla="*/ 177 h 311"/>
                    <a:gd name="T94" fmla="*/ 90 w 525"/>
                    <a:gd name="T95" fmla="*/ 166 h 311"/>
                    <a:gd name="T96" fmla="*/ 54 w 525"/>
                    <a:gd name="T97" fmla="*/ 148 h 311"/>
                    <a:gd name="T98" fmla="*/ 84 w 525"/>
                    <a:gd name="T99" fmla="*/ 134 h 311"/>
                    <a:gd name="T100" fmla="*/ 120 w 525"/>
                    <a:gd name="T101" fmla="*/ 111 h 311"/>
                    <a:gd name="T102" fmla="*/ 111 w 525"/>
                    <a:gd name="T103" fmla="*/ 103 h 311"/>
                    <a:gd name="T104" fmla="*/ 100 w 525"/>
                    <a:gd name="T105" fmla="*/ 80 h 311"/>
                    <a:gd name="T106" fmla="*/ 127 w 525"/>
                    <a:gd name="T107" fmla="*/ 76 h 311"/>
                    <a:gd name="T108" fmla="*/ 184 w 525"/>
                    <a:gd name="T109" fmla="*/ 58 h 311"/>
                    <a:gd name="T110" fmla="*/ 254 w 525"/>
                    <a:gd name="T111" fmla="*/ 35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71" name="Freeform 522">
                  <a:extLst>
                    <a:ext uri="{FF2B5EF4-FFF2-40B4-BE49-F238E27FC236}">
                      <a16:creationId xmlns="" xmlns:a16="http://schemas.microsoft.com/office/drawing/2014/main" id="{EAB024AF-B789-40B6-B38D-4E2B9D6B3810}"/>
                    </a:ext>
                  </a:extLst>
                </p:cNvPr>
                <p:cNvSpPr>
                  <a:spLocks/>
                </p:cNvSpPr>
                <p:nvPr>
                  <p:custDataLst>
                    <p:tags r:id="rId359"/>
                  </p:custDataLst>
                </p:nvPr>
              </p:nvSpPr>
              <p:spPr bwMode="auto">
                <a:xfrm>
                  <a:off x="6461361" y="1544708"/>
                  <a:ext cx="22520" cy="39409"/>
                </a:xfrm>
                <a:custGeom>
                  <a:avLst/>
                  <a:gdLst>
                    <a:gd name="T0" fmla="*/ 46 w 79"/>
                    <a:gd name="T1" fmla="*/ 0 h 38"/>
                    <a:gd name="T2" fmla="*/ 54 w 79"/>
                    <a:gd name="T3" fmla="*/ 1 h 38"/>
                    <a:gd name="T4" fmla="*/ 62 w 79"/>
                    <a:gd name="T5" fmla="*/ 3 h 38"/>
                    <a:gd name="T6" fmla="*/ 68 w 79"/>
                    <a:gd name="T7" fmla="*/ 7 h 38"/>
                    <a:gd name="T8" fmla="*/ 72 w 79"/>
                    <a:gd name="T9" fmla="*/ 12 h 38"/>
                    <a:gd name="T10" fmla="*/ 75 w 79"/>
                    <a:gd name="T11" fmla="*/ 17 h 38"/>
                    <a:gd name="T12" fmla="*/ 77 w 79"/>
                    <a:gd name="T13" fmla="*/ 22 h 38"/>
                    <a:gd name="T14" fmla="*/ 79 w 79"/>
                    <a:gd name="T15" fmla="*/ 27 h 38"/>
                    <a:gd name="T16" fmla="*/ 79 w 79"/>
                    <a:gd name="T17" fmla="*/ 32 h 38"/>
                    <a:gd name="T18" fmla="*/ 77 w 79"/>
                    <a:gd name="T19" fmla="*/ 34 h 38"/>
                    <a:gd name="T20" fmla="*/ 75 w 79"/>
                    <a:gd name="T21" fmla="*/ 35 h 38"/>
                    <a:gd name="T22" fmla="*/ 72 w 79"/>
                    <a:gd name="T23" fmla="*/ 36 h 38"/>
                    <a:gd name="T24" fmla="*/ 68 w 79"/>
                    <a:gd name="T25" fmla="*/ 37 h 38"/>
                    <a:gd name="T26" fmla="*/ 57 w 79"/>
                    <a:gd name="T27" fmla="*/ 38 h 38"/>
                    <a:gd name="T28" fmla="*/ 46 w 79"/>
                    <a:gd name="T29" fmla="*/ 38 h 38"/>
                    <a:gd name="T30" fmla="*/ 38 w 79"/>
                    <a:gd name="T31" fmla="*/ 37 h 38"/>
                    <a:gd name="T32" fmla="*/ 30 w 79"/>
                    <a:gd name="T33" fmla="*/ 36 h 38"/>
                    <a:gd name="T34" fmla="*/ 21 w 79"/>
                    <a:gd name="T35" fmla="*/ 35 h 38"/>
                    <a:gd name="T36" fmla="*/ 15 w 79"/>
                    <a:gd name="T37" fmla="*/ 32 h 38"/>
                    <a:gd name="T38" fmla="*/ 8 w 79"/>
                    <a:gd name="T39" fmla="*/ 29 h 38"/>
                    <a:gd name="T40" fmla="*/ 4 w 79"/>
                    <a:gd name="T41" fmla="*/ 25 h 38"/>
                    <a:gd name="T42" fmla="*/ 2 w 79"/>
                    <a:gd name="T43" fmla="*/ 22 h 38"/>
                    <a:gd name="T44" fmla="*/ 1 w 79"/>
                    <a:gd name="T45" fmla="*/ 20 h 38"/>
                    <a:gd name="T46" fmla="*/ 0 w 79"/>
                    <a:gd name="T47" fmla="*/ 17 h 38"/>
                    <a:gd name="T48" fmla="*/ 0 w 79"/>
                    <a:gd name="T49" fmla="*/ 13 h 38"/>
                    <a:gd name="T50" fmla="*/ 1 w 79"/>
                    <a:gd name="T51" fmla="*/ 11 h 38"/>
                    <a:gd name="T52" fmla="*/ 4 w 79"/>
                    <a:gd name="T53" fmla="*/ 9 h 38"/>
                    <a:gd name="T54" fmla="*/ 10 w 79"/>
                    <a:gd name="T55" fmla="*/ 6 h 38"/>
                    <a:gd name="T56" fmla="*/ 17 w 79"/>
                    <a:gd name="T57" fmla="*/ 4 h 38"/>
                    <a:gd name="T58" fmla="*/ 32 w 79"/>
                    <a:gd name="T59" fmla="*/ 1 h 38"/>
                    <a:gd name="T60" fmla="*/ 46 w 79"/>
                    <a:gd name="T6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72" name="Freeform 523">
                  <a:extLst>
                    <a:ext uri="{FF2B5EF4-FFF2-40B4-BE49-F238E27FC236}">
                      <a16:creationId xmlns="" xmlns:a16="http://schemas.microsoft.com/office/drawing/2014/main" id="{DDA7E850-C4CD-4857-B9F1-F087923E6C69}"/>
                    </a:ext>
                  </a:extLst>
                </p:cNvPr>
                <p:cNvSpPr>
                  <a:spLocks/>
                </p:cNvSpPr>
                <p:nvPr>
                  <p:custDataLst>
                    <p:tags r:id="rId360"/>
                  </p:custDataLst>
                </p:nvPr>
              </p:nvSpPr>
              <p:spPr bwMode="auto">
                <a:xfrm>
                  <a:off x="8096266" y="1755264"/>
                  <a:ext cx="139620" cy="190289"/>
                </a:xfrm>
                <a:custGeom>
                  <a:avLst/>
                  <a:gdLst>
                    <a:gd name="T0" fmla="*/ 26 w 459"/>
                    <a:gd name="T1" fmla="*/ 45 h 511"/>
                    <a:gd name="T2" fmla="*/ 12 w 459"/>
                    <a:gd name="T3" fmla="*/ 25 h 511"/>
                    <a:gd name="T4" fmla="*/ 0 w 459"/>
                    <a:gd name="T5" fmla="*/ 0 h 511"/>
                    <a:gd name="T6" fmla="*/ 22 w 459"/>
                    <a:gd name="T7" fmla="*/ 7 h 511"/>
                    <a:gd name="T8" fmla="*/ 33 w 459"/>
                    <a:gd name="T9" fmla="*/ 6 h 511"/>
                    <a:gd name="T10" fmla="*/ 95 w 459"/>
                    <a:gd name="T11" fmla="*/ 67 h 511"/>
                    <a:gd name="T12" fmla="*/ 146 w 459"/>
                    <a:gd name="T13" fmla="*/ 123 h 511"/>
                    <a:gd name="T14" fmla="*/ 216 w 459"/>
                    <a:gd name="T15" fmla="*/ 198 h 511"/>
                    <a:gd name="T16" fmla="*/ 258 w 459"/>
                    <a:gd name="T17" fmla="*/ 237 h 511"/>
                    <a:gd name="T18" fmla="*/ 303 w 459"/>
                    <a:gd name="T19" fmla="*/ 266 h 511"/>
                    <a:gd name="T20" fmla="*/ 372 w 459"/>
                    <a:gd name="T21" fmla="*/ 311 h 511"/>
                    <a:gd name="T22" fmla="*/ 398 w 459"/>
                    <a:gd name="T23" fmla="*/ 336 h 511"/>
                    <a:gd name="T24" fmla="*/ 365 w 459"/>
                    <a:gd name="T25" fmla="*/ 320 h 511"/>
                    <a:gd name="T26" fmla="*/ 324 w 459"/>
                    <a:gd name="T27" fmla="*/ 296 h 511"/>
                    <a:gd name="T28" fmla="*/ 314 w 459"/>
                    <a:gd name="T29" fmla="*/ 298 h 511"/>
                    <a:gd name="T30" fmla="*/ 313 w 459"/>
                    <a:gd name="T31" fmla="*/ 311 h 511"/>
                    <a:gd name="T32" fmla="*/ 317 w 459"/>
                    <a:gd name="T33" fmla="*/ 337 h 511"/>
                    <a:gd name="T34" fmla="*/ 326 w 459"/>
                    <a:gd name="T35" fmla="*/ 358 h 511"/>
                    <a:gd name="T36" fmla="*/ 348 w 459"/>
                    <a:gd name="T37" fmla="*/ 387 h 511"/>
                    <a:gd name="T38" fmla="*/ 394 w 459"/>
                    <a:gd name="T39" fmla="*/ 421 h 511"/>
                    <a:gd name="T40" fmla="*/ 440 w 459"/>
                    <a:gd name="T41" fmla="*/ 458 h 511"/>
                    <a:gd name="T42" fmla="*/ 448 w 459"/>
                    <a:gd name="T43" fmla="*/ 476 h 511"/>
                    <a:gd name="T44" fmla="*/ 428 w 459"/>
                    <a:gd name="T45" fmla="*/ 469 h 511"/>
                    <a:gd name="T46" fmla="*/ 392 w 459"/>
                    <a:gd name="T47" fmla="*/ 462 h 511"/>
                    <a:gd name="T48" fmla="*/ 393 w 459"/>
                    <a:gd name="T49" fmla="*/ 494 h 511"/>
                    <a:gd name="T50" fmla="*/ 398 w 459"/>
                    <a:gd name="T51" fmla="*/ 511 h 511"/>
                    <a:gd name="T52" fmla="*/ 388 w 459"/>
                    <a:gd name="T53" fmla="*/ 492 h 511"/>
                    <a:gd name="T54" fmla="*/ 363 w 459"/>
                    <a:gd name="T55" fmla="*/ 466 h 511"/>
                    <a:gd name="T56" fmla="*/ 343 w 459"/>
                    <a:gd name="T57" fmla="*/ 445 h 511"/>
                    <a:gd name="T58" fmla="*/ 339 w 459"/>
                    <a:gd name="T59" fmla="*/ 431 h 511"/>
                    <a:gd name="T60" fmla="*/ 328 w 459"/>
                    <a:gd name="T61" fmla="*/ 411 h 511"/>
                    <a:gd name="T62" fmla="*/ 310 w 459"/>
                    <a:gd name="T63" fmla="*/ 384 h 511"/>
                    <a:gd name="T64" fmla="*/ 298 w 459"/>
                    <a:gd name="T65" fmla="*/ 367 h 511"/>
                    <a:gd name="T66" fmla="*/ 280 w 459"/>
                    <a:gd name="T67" fmla="*/ 358 h 511"/>
                    <a:gd name="T68" fmla="*/ 264 w 459"/>
                    <a:gd name="T69" fmla="*/ 343 h 511"/>
                    <a:gd name="T70" fmla="*/ 249 w 459"/>
                    <a:gd name="T71" fmla="*/ 314 h 511"/>
                    <a:gd name="T72" fmla="*/ 245 w 459"/>
                    <a:gd name="T73" fmla="*/ 293 h 511"/>
                    <a:gd name="T74" fmla="*/ 234 w 459"/>
                    <a:gd name="T75" fmla="*/ 281 h 511"/>
                    <a:gd name="T76" fmla="*/ 194 w 459"/>
                    <a:gd name="T77" fmla="*/ 244 h 511"/>
                    <a:gd name="T78" fmla="*/ 171 w 459"/>
                    <a:gd name="T79" fmla="*/ 220 h 511"/>
                    <a:gd name="T80" fmla="*/ 163 w 459"/>
                    <a:gd name="T81" fmla="*/ 203 h 511"/>
                    <a:gd name="T82" fmla="*/ 154 w 459"/>
                    <a:gd name="T83" fmla="*/ 187 h 511"/>
                    <a:gd name="T84" fmla="*/ 115 w 459"/>
                    <a:gd name="T85" fmla="*/ 155 h 511"/>
                    <a:gd name="T86" fmla="*/ 70 w 459"/>
                    <a:gd name="T87" fmla="*/ 130 h 511"/>
                    <a:gd name="T88" fmla="*/ 47 w 459"/>
                    <a:gd name="T89" fmla="*/ 110 h 511"/>
                    <a:gd name="T90" fmla="*/ 38 w 459"/>
                    <a:gd name="T91" fmla="*/ 93 h 511"/>
                    <a:gd name="T92" fmla="*/ 34 w 459"/>
                    <a:gd name="T93" fmla="*/ 75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grpSp>
              <p:nvGrpSpPr>
                <p:cNvPr id="373" name="Group 524">
                  <a:extLst>
                    <a:ext uri="{FF2B5EF4-FFF2-40B4-BE49-F238E27FC236}">
                      <a16:creationId xmlns="" xmlns:a16="http://schemas.microsoft.com/office/drawing/2014/main" id="{659FDF6B-D744-45F1-87F0-064348B70D73}"/>
                    </a:ext>
                  </a:extLst>
                </p:cNvPr>
                <p:cNvGrpSpPr>
                  <a:grpSpLocks/>
                </p:cNvGrpSpPr>
                <p:nvPr>
                  <p:custDataLst>
                    <p:tags r:id="rId361"/>
                  </p:custDataLst>
                </p:nvPr>
              </p:nvGrpSpPr>
              <p:grpSpPr bwMode="auto">
                <a:xfrm>
                  <a:off x="7238279" y="1723737"/>
                  <a:ext cx="476284" cy="272484"/>
                  <a:chOff x="4115" y="1551"/>
                  <a:chExt cx="504" cy="244"/>
                </a:xfrm>
                <a:solidFill>
                  <a:srgbClr val="CDCDCD"/>
                </a:solidFill>
              </p:grpSpPr>
              <p:sp>
                <p:nvSpPr>
                  <p:cNvPr id="430" name="Freeform 525">
                    <a:extLst>
                      <a:ext uri="{FF2B5EF4-FFF2-40B4-BE49-F238E27FC236}">
                        <a16:creationId xmlns="" xmlns:a16="http://schemas.microsoft.com/office/drawing/2014/main" id="{1C939953-6172-442B-A810-49E434BF6AD9}"/>
                      </a:ext>
                    </a:extLst>
                  </p:cNvPr>
                  <p:cNvSpPr>
                    <a:spLocks/>
                  </p:cNvSpPr>
                  <p:nvPr/>
                </p:nvSpPr>
                <p:spPr bwMode="auto">
                  <a:xfrm>
                    <a:off x="4540" y="1551"/>
                    <a:ext cx="79" cy="86"/>
                  </a:xfrm>
                  <a:custGeom>
                    <a:avLst/>
                    <a:gdLst>
                      <a:gd name="T0" fmla="*/ 13 w 240"/>
                      <a:gd name="T1" fmla="*/ 247 h 259"/>
                      <a:gd name="T2" fmla="*/ 79 w 240"/>
                      <a:gd name="T3" fmla="*/ 259 h 259"/>
                      <a:gd name="T4" fmla="*/ 120 w 240"/>
                      <a:gd name="T5" fmla="*/ 240 h 259"/>
                      <a:gd name="T6" fmla="*/ 133 w 240"/>
                      <a:gd name="T7" fmla="*/ 210 h 259"/>
                      <a:gd name="T8" fmla="*/ 192 w 240"/>
                      <a:gd name="T9" fmla="*/ 161 h 259"/>
                      <a:gd name="T10" fmla="*/ 212 w 240"/>
                      <a:gd name="T11" fmla="*/ 111 h 259"/>
                      <a:gd name="T12" fmla="*/ 240 w 240"/>
                      <a:gd name="T13" fmla="*/ 26 h 259"/>
                      <a:gd name="T14" fmla="*/ 212 w 240"/>
                      <a:gd name="T15" fmla="*/ 0 h 259"/>
                      <a:gd name="T16" fmla="*/ 206 w 240"/>
                      <a:gd name="T17" fmla="*/ 32 h 259"/>
                      <a:gd name="T18" fmla="*/ 199 w 240"/>
                      <a:gd name="T19" fmla="*/ 74 h 259"/>
                      <a:gd name="T20" fmla="*/ 166 w 240"/>
                      <a:gd name="T21" fmla="*/ 105 h 259"/>
                      <a:gd name="T22" fmla="*/ 133 w 240"/>
                      <a:gd name="T23" fmla="*/ 149 h 259"/>
                      <a:gd name="T24" fmla="*/ 113 w 240"/>
                      <a:gd name="T25" fmla="*/ 179 h 259"/>
                      <a:gd name="T26" fmla="*/ 93 w 240"/>
                      <a:gd name="T27" fmla="*/ 216 h 259"/>
                      <a:gd name="T28" fmla="*/ 20 w 240"/>
                      <a:gd name="T29" fmla="*/ 222 h 259"/>
                      <a:gd name="T30" fmla="*/ 0 w 240"/>
                      <a:gd name="T31" fmla="*/ 222 h 259"/>
                      <a:gd name="T32" fmla="*/ 13 w 240"/>
                      <a:gd name="T33" fmla="*/ 24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431" name="Freeform 526">
                    <a:extLst>
                      <a:ext uri="{FF2B5EF4-FFF2-40B4-BE49-F238E27FC236}">
                        <a16:creationId xmlns="" xmlns:a16="http://schemas.microsoft.com/office/drawing/2014/main" id="{31A3314D-470B-429A-B56C-D2EBD54375B0}"/>
                      </a:ext>
                    </a:extLst>
                  </p:cNvPr>
                  <p:cNvSpPr>
                    <a:spLocks/>
                  </p:cNvSpPr>
                  <p:nvPr/>
                </p:nvSpPr>
                <p:spPr bwMode="auto">
                  <a:xfrm>
                    <a:off x="4115" y="1761"/>
                    <a:ext cx="84" cy="34"/>
                  </a:xfrm>
                  <a:custGeom>
                    <a:avLst/>
                    <a:gdLst>
                      <a:gd name="T0" fmla="*/ 33 w 259"/>
                      <a:gd name="T1" fmla="*/ 104 h 104"/>
                      <a:gd name="T2" fmla="*/ 26 w 259"/>
                      <a:gd name="T3" fmla="*/ 86 h 104"/>
                      <a:gd name="T4" fmla="*/ 52 w 259"/>
                      <a:gd name="T5" fmla="*/ 62 h 104"/>
                      <a:gd name="T6" fmla="*/ 72 w 259"/>
                      <a:gd name="T7" fmla="*/ 49 h 104"/>
                      <a:gd name="T8" fmla="*/ 126 w 259"/>
                      <a:gd name="T9" fmla="*/ 43 h 104"/>
                      <a:gd name="T10" fmla="*/ 172 w 259"/>
                      <a:gd name="T11" fmla="*/ 43 h 104"/>
                      <a:gd name="T12" fmla="*/ 246 w 259"/>
                      <a:gd name="T13" fmla="*/ 31 h 104"/>
                      <a:gd name="T14" fmla="*/ 259 w 259"/>
                      <a:gd name="T15" fmla="*/ 7 h 104"/>
                      <a:gd name="T16" fmla="*/ 246 w 259"/>
                      <a:gd name="T17" fmla="*/ 0 h 104"/>
                      <a:gd name="T18" fmla="*/ 205 w 259"/>
                      <a:gd name="T19" fmla="*/ 13 h 104"/>
                      <a:gd name="T20" fmla="*/ 152 w 259"/>
                      <a:gd name="T21" fmla="*/ 7 h 104"/>
                      <a:gd name="T22" fmla="*/ 106 w 259"/>
                      <a:gd name="T23" fmla="*/ 13 h 104"/>
                      <a:gd name="T24" fmla="*/ 52 w 259"/>
                      <a:gd name="T25" fmla="*/ 19 h 104"/>
                      <a:gd name="T26" fmla="*/ 26 w 259"/>
                      <a:gd name="T27" fmla="*/ 43 h 104"/>
                      <a:gd name="T28" fmla="*/ 0 w 259"/>
                      <a:gd name="T29" fmla="*/ 68 h 104"/>
                      <a:gd name="T30" fmla="*/ 0 w 259"/>
                      <a:gd name="T31" fmla="*/ 104 h 104"/>
                      <a:gd name="T32" fmla="*/ 33 w 259"/>
                      <a:gd name="T33"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grpSp>
            <p:sp>
              <p:nvSpPr>
                <p:cNvPr id="374" name="Freeform 527">
                  <a:extLst>
                    <a:ext uri="{FF2B5EF4-FFF2-40B4-BE49-F238E27FC236}">
                      <a16:creationId xmlns="" xmlns:a16="http://schemas.microsoft.com/office/drawing/2014/main" id="{31D4FF1E-85DA-434A-B0D3-27C33A761D01}"/>
                    </a:ext>
                  </a:extLst>
                </p:cNvPr>
                <p:cNvSpPr>
                  <a:spLocks/>
                </p:cNvSpPr>
                <p:nvPr>
                  <p:custDataLst>
                    <p:tags r:id="rId362"/>
                  </p:custDataLst>
                </p:nvPr>
              </p:nvSpPr>
              <p:spPr bwMode="auto">
                <a:xfrm>
                  <a:off x="6569455" y="2255193"/>
                  <a:ext cx="376073" cy="362562"/>
                </a:xfrm>
                <a:custGeom>
                  <a:avLst/>
                  <a:gdLst>
                    <a:gd name="T0" fmla="*/ 932 w 1227"/>
                    <a:gd name="T1" fmla="*/ 466 h 979"/>
                    <a:gd name="T2" fmla="*/ 932 w 1227"/>
                    <a:gd name="T3" fmla="*/ 442 h 979"/>
                    <a:gd name="T4" fmla="*/ 930 w 1227"/>
                    <a:gd name="T5" fmla="*/ 412 h 979"/>
                    <a:gd name="T6" fmla="*/ 908 w 1227"/>
                    <a:gd name="T7" fmla="*/ 385 h 979"/>
                    <a:gd name="T8" fmla="*/ 899 w 1227"/>
                    <a:gd name="T9" fmla="*/ 367 h 979"/>
                    <a:gd name="T10" fmla="*/ 817 w 1227"/>
                    <a:gd name="T11" fmla="*/ 312 h 979"/>
                    <a:gd name="T12" fmla="*/ 759 w 1227"/>
                    <a:gd name="T13" fmla="*/ 263 h 979"/>
                    <a:gd name="T14" fmla="*/ 752 w 1227"/>
                    <a:gd name="T15" fmla="*/ 229 h 979"/>
                    <a:gd name="T16" fmla="*/ 726 w 1227"/>
                    <a:gd name="T17" fmla="*/ 218 h 979"/>
                    <a:gd name="T18" fmla="*/ 695 w 1227"/>
                    <a:gd name="T19" fmla="*/ 207 h 979"/>
                    <a:gd name="T20" fmla="*/ 638 w 1227"/>
                    <a:gd name="T21" fmla="*/ 196 h 979"/>
                    <a:gd name="T22" fmla="*/ 596 w 1227"/>
                    <a:gd name="T23" fmla="*/ 201 h 979"/>
                    <a:gd name="T24" fmla="*/ 570 w 1227"/>
                    <a:gd name="T25" fmla="*/ 204 h 979"/>
                    <a:gd name="T26" fmla="*/ 530 w 1227"/>
                    <a:gd name="T27" fmla="*/ 195 h 979"/>
                    <a:gd name="T28" fmla="*/ 505 w 1227"/>
                    <a:gd name="T29" fmla="*/ 179 h 979"/>
                    <a:gd name="T30" fmla="*/ 483 w 1227"/>
                    <a:gd name="T31" fmla="*/ 128 h 979"/>
                    <a:gd name="T32" fmla="*/ 465 w 1227"/>
                    <a:gd name="T33" fmla="*/ 103 h 979"/>
                    <a:gd name="T34" fmla="*/ 432 w 1227"/>
                    <a:gd name="T35" fmla="*/ 81 h 979"/>
                    <a:gd name="T36" fmla="*/ 365 w 1227"/>
                    <a:gd name="T37" fmla="*/ 61 h 979"/>
                    <a:gd name="T38" fmla="*/ 303 w 1227"/>
                    <a:gd name="T39" fmla="*/ 32 h 979"/>
                    <a:gd name="T40" fmla="*/ 214 w 1227"/>
                    <a:gd name="T41" fmla="*/ 10 h 979"/>
                    <a:gd name="T42" fmla="*/ 166 w 1227"/>
                    <a:gd name="T43" fmla="*/ 38 h 979"/>
                    <a:gd name="T44" fmla="*/ 151 w 1227"/>
                    <a:gd name="T45" fmla="*/ 61 h 979"/>
                    <a:gd name="T46" fmla="*/ 153 w 1227"/>
                    <a:gd name="T47" fmla="*/ 90 h 979"/>
                    <a:gd name="T48" fmla="*/ 169 w 1227"/>
                    <a:gd name="T49" fmla="*/ 118 h 979"/>
                    <a:gd name="T50" fmla="*/ 151 w 1227"/>
                    <a:gd name="T51" fmla="*/ 150 h 979"/>
                    <a:gd name="T52" fmla="*/ 95 w 1227"/>
                    <a:gd name="T53" fmla="*/ 186 h 979"/>
                    <a:gd name="T54" fmla="*/ 54 w 1227"/>
                    <a:gd name="T55" fmla="*/ 190 h 979"/>
                    <a:gd name="T56" fmla="*/ 9 w 1227"/>
                    <a:gd name="T57" fmla="*/ 183 h 979"/>
                    <a:gd name="T58" fmla="*/ 0 w 1227"/>
                    <a:gd name="T59" fmla="*/ 236 h 979"/>
                    <a:gd name="T60" fmla="*/ 9 w 1227"/>
                    <a:gd name="T61" fmla="*/ 269 h 979"/>
                    <a:gd name="T62" fmla="*/ 25 w 1227"/>
                    <a:gd name="T63" fmla="*/ 282 h 979"/>
                    <a:gd name="T64" fmla="*/ 40 w 1227"/>
                    <a:gd name="T65" fmla="*/ 307 h 979"/>
                    <a:gd name="T66" fmla="*/ 83 w 1227"/>
                    <a:gd name="T67" fmla="*/ 364 h 979"/>
                    <a:gd name="T68" fmla="*/ 102 w 1227"/>
                    <a:gd name="T69" fmla="*/ 414 h 979"/>
                    <a:gd name="T70" fmla="*/ 121 w 1227"/>
                    <a:gd name="T71" fmla="*/ 427 h 979"/>
                    <a:gd name="T72" fmla="*/ 133 w 1227"/>
                    <a:gd name="T73" fmla="*/ 438 h 979"/>
                    <a:gd name="T74" fmla="*/ 148 w 1227"/>
                    <a:gd name="T75" fmla="*/ 469 h 979"/>
                    <a:gd name="T76" fmla="*/ 224 w 1227"/>
                    <a:gd name="T77" fmla="*/ 546 h 979"/>
                    <a:gd name="T78" fmla="*/ 249 w 1227"/>
                    <a:gd name="T79" fmla="*/ 585 h 979"/>
                    <a:gd name="T80" fmla="*/ 256 w 1227"/>
                    <a:gd name="T81" fmla="*/ 624 h 979"/>
                    <a:gd name="T82" fmla="*/ 266 w 1227"/>
                    <a:gd name="T83" fmla="*/ 659 h 979"/>
                    <a:gd name="T84" fmla="*/ 299 w 1227"/>
                    <a:gd name="T85" fmla="*/ 701 h 979"/>
                    <a:gd name="T86" fmla="*/ 361 w 1227"/>
                    <a:gd name="T87" fmla="*/ 761 h 979"/>
                    <a:gd name="T88" fmla="*/ 388 w 1227"/>
                    <a:gd name="T89" fmla="*/ 814 h 979"/>
                    <a:gd name="T90" fmla="*/ 425 w 1227"/>
                    <a:gd name="T91" fmla="*/ 867 h 979"/>
                    <a:gd name="T92" fmla="*/ 483 w 1227"/>
                    <a:gd name="T93" fmla="*/ 938 h 979"/>
                    <a:gd name="T94" fmla="*/ 528 w 1227"/>
                    <a:gd name="T95" fmla="*/ 979 h 979"/>
                    <a:gd name="T96" fmla="*/ 543 w 1227"/>
                    <a:gd name="T97" fmla="*/ 953 h 979"/>
                    <a:gd name="T98" fmla="*/ 546 w 1227"/>
                    <a:gd name="T99" fmla="*/ 909 h 979"/>
                    <a:gd name="T100" fmla="*/ 570 w 1227"/>
                    <a:gd name="T101" fmla="*/ 896 h 979"/>
                    <a:gd name="T102" fmla="*/ 605 w 1227"/>
                    <a:gd name="T103" fmla="*/ 895 h 979"/>
                    <a:gd name="T104" fmla="*/ 660 w 1227"/>
                    <a:gd name="T105" fmla="*/ 909 h 979"/>
                    <a:gd name="T106" fmla="*/ 708 w 1227"/>
                    <a:gd name="T107" fmla="*/ 943 h 979"/>
                    <a:gd name="T108" fmla="*/ 787 w 1227"/>
                    <a:gd name="T109" fmla="*/ 838 h 979"/>
                    <a:gd name="T110" fmla="*/ 1199 w 1227"/>
                    <a:gd name="T111" fmla="*/ 567 h 979"/>
                    <a:gd name="T112" fmla="*/ 940 w 1227"/>
                    <a:gd name="T113" fmla="*/ 468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75" name="Freeform 528">
                  <a:extLst>
                    <a:ext uri="{FF2B5EF4-FFF2-40B4-BE49-F238E27FC236}">
                      <a16:creationId xmlns="" xmlns:a16="http://schemas.microsoft.com/office/drawing/2014/main" id="{EF602A07-6A71-472C-86D8-79182842EEB6}"/>
                    </a:ext>
                  </a:extLst>
                </p:cNvPr>
                <p:cNvSpPr>
                  <a:spLocks/>
                </p:cNvSpPr>
                <p:nvPr>
                  <p:custDataLst>
                    <p:tags r:id="rId363"/>
                  </p:custDataLst>
                </p:nvPr>
              </p:nvSpPr>
              <p:spPr bwMode="auto">
                <a:xfrm>
                  <a:off x="6196760" y="1932041"/>
                  <a:ext cx="40535" cy="40535"/>
                </a:xfrm>
                <a:custGeom>
                  <a:avLst/>
                  <a:gdLst>
                    <a:gd name="T0" fmla="*/ 146 w 146"/>
                    <a:gd name="T1" fmla="*/ 18 h 81"/>
                    <a:gd name="T2" fmla="*/ 138 w 146"/>
                    <a:gd name="T3" fmla="*/ 24 h 81"/>
                    <a:gd name="T4" fmla="*/ 130 w 146"/>
                    <a:gd name="T5" fmla="*/ 29 h 81"/>
                    <a:gd name="T6" fmla="*/ 123 w 146"/>
                    <a:gd name="T7" fmla="*/ 35 h 81"/>
                    <a:gd name="T8" fmla="*/ 118 w 146"/>
                    <a:gd name="T9" fmla="*/ 41 h 81"/>
                    <a:gd name="T10" fmla="*/ 108 w 146"/>
                    <a:gd name="T11" fmla="*/ 53 h 81"/>
                    <a:gd name="T12" fmla="*/ 98 w 146"/>
                    <a:gd name="T13" fmla="*/ 64 h 81"/>
                    <a:gd name="T14" fmla="*/ 93 w 146"/>
                    <a:gd name="T15" fmla="*/ 69 h 81"/>
                    <a:gd name="T16" fmla="*/ 85 w 146"/>
                    <a:gd name="T17" fmla="*/ 73 h 81"/>
                    <a:gd name="T18" fmla="*/ 76 w 146"/>
                    <a:gd name="T19" fmla="*/ 77 h 81"/>
                    <a:gd name="T20" fmla="*/ 66 w 146"/>
                    <a:gd name="T21" fmla="*/ 80 h 81"/>
                    <a:gd name="T22" fmla="*/ 53 w 146"/>
                    <a:gd name="T23" fmla="*/ 81 h 81"/>
                    <a:gd name="T24" fmla="*/ 39 w 146"/>
                    <a:gd name="T25" fmla="*/ 80 h 81"/>
                    <a:gd name="T26" fmla="*/ 21 w 146"/>
                    <a:gd name="T27" fmla="*/ 77 h 81"/>
                    <a:gd name="T28" fmla="*/ 0 w 146"/>
                    <a:gd name="T29" fmla="*/ 74 h 81"/>
                    <a:gd name="T30" fmla="*/ 0 w 146"/>
                    <a:gd name="T31" fmla="*/ 62 h 81"/>
                    <a:gd name="T32" fmla="*/ 0 w 146"/>
                    <a:gd name="T33" fmla="*/ 49 h 81"/>
                    <a:gd name="T34" fmla="*/ 0 w 146"/>
                    <a:gd name="T35" fmla="*/ 34 h 81"/>
                    <a:gd name="T36" fmla="*/ 0 w 146"/>
                    <a:gd name="T37" fmla="*/ 18 h 81"/>
                    <a:gd name="T38" fmla="*/ 14 w 146"/>
                    <a:gd name="T39" fmla="*/ 18 h 81"/>
                    <a:gd name="T40" fmla="*/ 22 w 146"/>
                    <a:gd name="T41" fmla="*/ 18 h 81"/>
                    <a:gd name="T42" fmla="*/ 31 w 146"/>
                    <a:gd name="T43" fmla="*/ 18 h 81"/>
                    <a:gd name="T44" fmla="*/ 40 w 146"/>
                    <a:gd name="T45" fmla="*/ 18 h 81"/>
                    <a:gd name="T46" fmla="*/ 52 w 146"/>
                    <a:gd name="T47" fmla="*/ 18 h 81"/>
                    <a:gd name="T48" fmla="*/ 63 w 146"/>
                    <a:gd name="T49" fmla="*/ 16 h 81"/>
                    <a:gd name="T50" fmla="*/ 73 w 146"/>
                    <a:gd name="T51" fmla="*/ 14 h 81"/>
                    <a:gd name="T52" fmla="*/ 83 w 146"/>
                    <a:gd name="T53" fmla="*/ 11 h 81"/>
                    <a:gd name="T54" fmla="*/ 101 w 146"/>
                    <a:gd name="T55" fmla="*/ 5 h 81"/>
                    <a:gd name="T56" fmla="*/ 120 w 146"/>
                    <a:gd name="T57" fmla="*/ 0 h 81"/>
                    <a:gd name="T58" fmla="*/ 129 w 146"/>
                    <a:gd name="T59" fmla="*/ 4 h 81"/>
                    <a:gd name="T60" fmla="*/ 135 w 146"/>
                    <a:gd name="T61" fmla="*/ 9 h 81"/>
                    <a:gd name="T62" fmla="*/ 141 w 146"/>
                    <a:gd name="T63" fmla="*/ 14 h 81"/>
                    <a:gd name="T64" fmla="*/ 146 w 146"/>
                    <a:gd name="T65" fmla="*/ 18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76" name="Freeform 529">
                  <a:extLst>
                    <a:ext uri="{FF2B5EF4-FFF2-40B4-BE49-F238E27FC236}">
                      <a16:creationId xmlns="" xmlns:a16="http://schemas.microsoft.com/office/drawing/2014/main" id="{913BE778-FBA3-48A1-B3FD-C7163B1DC2B0}"/>
                    </a:ext>
                  </a:extLst>
                </p:cNvPr>
                <p:cNvSpPr>
                  <a:spLocks/>
                </p:cNvSpPr>
                <p:nvPr>
                  <p:custDataLst>
                    <p:tags r:id="rId364"/>
                  </p:custDataLst>
                </p:nvPr>
              </p:nvSpPr>
              <p:spPr bwMode="auto">
                <a:xfrm>
                  <a:off x="6012101" y="2082921"/>
                  <a:ext cx="11260" cy="40535"/>
                </a:xfrm>
                <a:custGeom>
                  <a:avLst/>
                  <a:gdLst>
                    <a:gd name="T0" fmla="*/ 34 w 34"/>
                    <a:gd name="T1" fmla="*/ 49 h 49"/>
                    <a:gd name="T2" fmla="*/ 34 w 34"/>
                    <a:gd name="T3" fmla="*/ 34 h 49"/>
                    <a:gd name="T4" fmla="*/ 34 w 34"/>
                    <a:gd name="T5" fmla="*/ 25 h 49"/>
                    <a:gd name="T6" fmla="*/ 33 w 34"/>
                    <a:gd name="T7" fmla="*/ 21 h 49"/>
                    <a:gd name="T8" fmla="*/ 33 w 34"/>
                    <a:gd name="T9" fmla="*/ 17 h 49"/>
                    <a:gd name="T10" fmla="*/ 31 w 34"/>
                    <a:gd name="T11" fmla="*/ 15 h 49"/>
                    <a:gd name="T12" fmla="*/ 30 w 34"/>
                    <a:gd name="T13" fmla="*/ 12 h 49"/>
                    <a:gd name="T14" fmla="*/ 25 w 34"/>
                    <a:gd name="T15" fmla="*/ 8 h 49"/>
                    <a:gd name="T16" fmla="*/ 21 w 34"/>
                    <a:gd name="T17" fmla="*/ 0 h 49"/>
                    <a:gd name="T18" fmla="*/ 8 w 34"/>
                    <a:gd name="T19" fmla="*/ 0 h 49"/>
                    <a:gd name="T20" fmla="*/ 0 w 34"/>
                    <a:gd name="T21" fmla="*/ 0 h 49"/>
                    <a:gd name="T22" fmla="*/ 3 w 34"/>
                    <a:gd name="T23" fmla="*/ 11 h 49"/>
                    <a:gd name="T24" fmla="*/ 7 w 34"/>
                    <a:gd name="T25" fmla="*/ 20 h 49"/>
                    <a:gd name="T26" fmla="*/ 10 w 34"/>
                    <a:gd name="T27" fmla="*/ 27 h 49"/>
                    <a:gd name="T28" fmla="*/ 14 w 34"/>
                    <a:gd name="T29" fmla="*/ 34 h 49"/>
                    <a:gd name="T30" fmla="*/ 19 w 34"/>
                    <a:gd name="T31" fmla="*/ 39 h 49"/>
                    <a:gd name="T32" fmla="*/ 24 w 34"/>
                    <a:gd name="T33" fmla="*/ 43 h 49"/>
                    <a:gd name="T34" fmla="*/ 29 w 34"/>
                    <a:gd name="T35" fmla="*/ 46 h 49"/>
                    <a:gd name="T36" fmla="*/ 34 w 34"/>
                    <a:gd name="T3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77" name="Freeform 530">
                  <a:extLst>
                    <a:ext uri="{FF2B5EF4-FFF2-40B4-BE49-F238E27FC236}">
                      <a16:creationId xmlns="" xmlns:a16="http://schemas.microsoft.com/office/drawing/2014/main" id="{2E5D6FA7-CE4B-423D-AED9-625DBB0101E8}"/>
                    </a:ext>
                  </a:extLst>
                </p:cNvPr>
                <p:cNvSpPr>
                  <a:spLocks/>
                </p:cNvSpPr>
                <p:nvPr>
                  <p:custDataLst>
                    <p:tags r:id="rId365"/>
                  </p:custDataLst>
                </p:nvPr>
              </p:nvSpPr>
              <p:spPr bwMode="auto">
                <a:xfrm>
                  <a:off x="5722727" y="2328382"/>
                  <a:ext cx="20268" cy="40535"/>
                </a:xfrm>
                <a:custGeom>
                  <a:avLst/>
                  <a:gdLst>
                    <a:gd name="T0" fmla="*/ 60 w 60"/>
                    <a:gd name="T1" fmla="*/ 0 h 74"/>
                    <a:gd name="T2" fmla="*/ 56 w 60"/>
                    <a:gd name="T3" fmla="*/ 4 h 74"/>
                    <a:gd name="T4" fmla="*/ 51 w 60"/>
                    <a:gd name="T5" fmla="*/ 10 h 74"/>
                    <a:gd name="T6" fmla="*/ 48 w 60"/>
                    <a:gd name="T7" fmla="*/ 15 h 74"/>
                    <a:gd name="T8" fmla="*/ 46 w 60"/>
                    <a:gd name="T9" fmla="*/ 21 h 74"/>
                    <a:gd name="T10" fmla="*/ 41 w 60"/>
                    <a:gd name="T11" fmla="*/ 31 h 74"/>
                    <a:gd name="T12" fmla="*/ 37 w 60"/>
                    <a:gd name="T13" fmla="*/ 42 h 74"/>
                    <a:gd name="T14" fmla="*/ 35 w 60"/>
                    <a:gd name="T15" fmla="*/ 47 h 74"/>
                    <a:gd name="T16" fmla="*/ 32 w 60"/>
                    <a:gd name="T17" fmla="*/ 51 h 74"/>
                    <a:gd name="T18" fmla="*/ 29 w 60"/>
                    <a:gd name="T19" fmla="*/ 56 h 74"/>
                    <a:gd name="T20" fmla="*/ 25 w 60"/>
                    <a:gd name="T21" fmla="*/ 60 h 74"/>
                    <a:gd name="T22" fmla="*/ 20 w 60"/>
                    <a:gd name="T23" fmla="*/ 65 h 74"/>
                    <a:gd name="T24" fmla="*/ 15 w 60"/>
                    <a:gd name="T25" fmla="*/ 69 h 74"/>
                    <a:gd name="T26" fmla="*/ 8 w 60"/>
                    <a:gd name="T27" fmla="*/ 72 h 74"/>
                    <a:gd name="T28" fmla="*/ 0 w 60"/>
                    <a:gd name="T29" fmla="*/ 74 h 74"/>
                    <a:gd name="T30" fmla="*/ 5 w 60"/>
                    <a:gd name="T31" fmla="*/ 60 h 74"/>
                    <a:gd name="T32" fmla="*/ 12 w 60"/>
                    <a:gd name="T33" fmla="*/ 47 h 74"/>
                    <a:gd name="T34" fmla="*/ 19 w 60"/>
                    <a:gd name="T35" fmla="*/ 34 h 74"/>
                    <a:gd name="T36" fmla="*/ 27 w 60"/>
                    <a:gd name="T37" fmla="*/ 23 h 74"/>
                    <a:gd name="T38" fmla="*/ 36 w 60"/>
                    <a:gd name="T39" fmla="*/ 14 h 74"/>
                    <a:gd name="T40" fmla="*/ 43 w 60"/>
                    <a:gd name="T41" fmla="*/ 6 h 74"/>
                    <a:gd name="T42" fmla="*/ 48 w 60"/>
                    <a:gd name="T43" fmla="*/ 3 h 74"/>
                    <a:gd name="T44" fmla="*/ 52 w 60"/>
                    <a:gd name="T45" fmla="*/ 1 h 74"/>
                    <a:gd name="T46" fmla="*/ 56 w 60"/>
                    <a:gd name="T47" fmla="*/ 0 h 74"/>
                    <a:gd name="T48" fmla="*/ 60 w 60"/>
                    <a:gd name="T49"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78" name="Freeform 531">
                  <a:extLst>
                    <a:ext uri="{FF2B5EF4-FFF2-40B4-BE49-F238E27FC236}">
                      <a16:creationId xmlns="" xmlns:a16="http://schemas.microsoft.com/office/drawing/2014/main" id="{6F22D265-DD37-455B-9B73-752F075529A2}"/>
                    </a:ext>
                  </a:extLst>
                </p:cNvPr>
                <p:cNvSpPr>
                  <a:spLocks/>
                </p:cNvSpPr>
                <p:nvPr>
                  <p:custDataLst>
                    <p:tags r:id="rId366"/>
                  </p:custDataLst>
                </p:nvPr>
              </p:nvSpPr>
              <p:spPr bwMode="auto">
                <a:xfrm>
                  <a:off x="5681067" y="2339641"/>
                  <a:ext cx="16889" cy="42787"/>
                </a:xfrm>
                <a:custGeom>
                  <a:avLst/>
                  <a:gdLst>
                    <a:gd name="T0" fmla="*/ 13 w 47"/>
                    <a:gd name="T1" fmla="*/ 8 h 45"/>
                    <a:gd name="T2" fmla="*/ 22 w 47"/>
                    <a:gd name="T3" fmla="*/ 8 h 45"/>
                    <a:gd name="T4" fmla="*/ 28 w 47"/>
                    <a:gd name="T5" fmla="*/ 6 h 45"/>
                    <a:gd name="T6" fmla="*/ 32 w 47"/>
                    <a:gd name="T7" fmla="*/ 5 h 45"/>
                    <a:gd name="T8" fmla="*/ 35 w 47"/>
                    <a:gd name="T9" fmla="*/ 3 h 45"/>
                    <a:gd name="T10" fmla="*/ 37 w 47"/>
                    <a:gd name="T11" fmla="*/ 1 h 45"/>
                    <a:gd name="T12" fmla="*/ 39 w 47"/>
                    <a:gd name="T13" fmla="*/ 0 h 45"/>
                    <a:gd name="T14" fmla="*/ 43 w 47"/>
                    <a:gd name="T15" fmla="*/ 1 h 45"/>
                    <a:gd name="T16" fmla="*/ 47 w 47"/>
                    <a:gd name="T17" fmla="*/ 2 h 45"/>
                    <a:gd name="T18" fmla="*/ 46 w 47"/>
                    <a:gd name="T19" fmla="*/ 7 h 45"/>
                    <a:gd name="T20" fmla="*/ 46 w 47"/>
                    <a:gd name="T21" fmla="*/ 11 h 45"/>
                    <a:gd name="T22" fmla="*/ 44 w 47"/>
                    <a:gd name="T23" fmla="*/ 15 h 45"/>
                    <a:gd name="T24" fmla="*/ 43 w 47"/>
                    <a:gd name="T25" fmla="*/ 19 h 45"/>
                    <a:gd name="T26" fmla="*/ 37 w 47"/>
                    <a:gd name="T27" fmla="*/ 26 h 45"/>
                    <a:gd name="T28" fmla="*/ 30 w 47"/>
                    <a:gd name="T29" fmla="*/ 32 h 45"/>
                    <a:gd name="T30" fmla="*/ 24 w 47"/>
                    <a:gd name="T31" fmla="*/ 38 h 45"/>
                    <a:gd name="T32" fmla="*/ 16 w 47"/>
                    <a:gd name="T33" fmla="*/ 42 h 45"/>
                    <a:gd name="T34" fmla="*/ 7 w 47"/>
                    <a:gd name="T35" fmla="*/ 45 h 45"/>
                    <a:gd name="T36" fmla="*/ 0 w 47"/>
                    <a:gd name="T37" fmla="*/ 45 h 45"/>
                    <a:gd name="T38" fmla="*/ 2 w 47"/>
                    <a:gd name="T39" fmla="*/ 38 h 45"/>
                    <a:gd name="T40" fmla="*/ 6 w 47"/>
                    <a:gd name="T41" fmla="*/ 26 h 45"/>
                    <a:gd name="T42" fmla="*/ 11 w 47"/>
                    <a:gd name="T43" fmla="*/ 15 h 45"/>
                    <a:gd name="T44" fmla="*/ 13 w 47"/>
                    <a:gd name="T45" fmla="*/ 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79" name="Freeform 532">
                  <a:extLst>
                    <a:ext uri="{FF2B5EF4-FFF2-40B4-BE49-F238E27FC236}">
                      <a16:creationId xmlns="" xmlns:a16="http://schemas.microsoft.com/office/drawing/2014/main" id="{A92BF60D-2CBE-44BA-A753-C9A1A8666156}"/>
                    </a:ext>
                  </a:extLst>
                </p:cNvPr>
                <p:cNvSpPr>
                  <a:spLocks/>
                </p:cNvSpPr>
                <p:nvPr>
                  <p:custDataLst>
                    <p:tags r:id="rId367"/>
                  </p:custDataLst>
                </p:nvPr>
              </p:nvSpPr>
              <p:spPr bwMode="auto">
                <a:xfrm>
                  <a:off x="5663052" y="2335137"/>
                  <a:ext cx="4504" cy="40535"/>
                </a:xfrm>
                <a:custGeom>
                  <a:avLst/>
                  <a:gdLst>
                    <a:gd name="T0" fmla="*/ 6 w 26"/>
                    <a:gd name="T1" fmla="*/ 36 h 36"/>
                    <a:gd name="T2" fmla="*/ 5 w 26"/>
                    <a:gd name="T3" fmla="*/ 30 h 36"/>
                    <a:gd name="T4" fmla="*/ 3 w 26"/>
                    <a:gd name="T5" fmla="*/ 20 h 36"/>
                    <a:gd name="T6" fmla="*/ 1 w 26"/>
                    <a:gd name="T7" fmla="*/ 10 h 36"/>
                    <a:gd name="T8" fmla="*/ 0 w 26"/>
                    <a:gd name="T9" fmla="*/ 0 h 36"/>
                    <a:gd name="T10" fmla="*/ 26 w 26"/>
                    <a:gd name="T11" fmla="*/ 0 h 36"/>
                    <a:gd name="T12" fmla="*/ 25 w 26"/>
                    <a:gd name="T13" fmla="*/ 12 h 36"/>
                    <a:gd name="T14" fmla="*/ 24 w 26"/>
                    <a:gd name="T15" fmla="*/ 23 h 36"/>
                    <a:gd name="T16" fmla="*/ 23 w 26"/>
                    <a:gd name="T17" fmla="*/ 27 h 36"/>
                    <a:gd name="T18" fmla="*/ 23 w 26"/>
                    <a:gd name="T19" fmla="*/ 31 h 36"/>
                    <a:gd name="T20" fmla="*/ 24 w 26"/>
                    <a:gd name="T21" fmla="*/ 34 h 36"/>
                    <a:gd name="T22" fmla="*/ 26 w 26"/>
                    <a:gd name="T23" fmla="*/ 36 h 36"/>
                    <a:gd name="T24" fmla="*/ 6 w 26"/>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80" name="Freeform 533">
                  <a:extLst>
                    <a:ext uri="{FF2B5EF4-FFF2-40B4-BE49-F238E27FC236}">
                      <a16:creationId xmlns="" xmlns:a16="http://schemas.microsoft.com/office/drawing/2014/main" id="{7725ACB9-5135-4ECE-ABA4-A3DF9B28074F}"/>
                    </a:ext>
                  </a:extLst>
                </p:cNvPr>
                <p:cNvSpPr>
                  <a:spLocks/>
                </p:cNvSpPr>
                <p:nvPr>
                  <p:custDataLst>
                    <p:tags r:id="rId368"/>
                  </p:custDataLst>
                </p:nvPr>
              </p:nvSpPr>
              <p:spPr bwMode="auto">
                <a:xfrm>
                  <a:off x="6564950" y="2142597"/>
                  <a:ext cx="123856" cy="112597"/>
                </a:xfrm>
                <a:custGeom>
                  <a:avLst/>
                  <a:gdLst>
                    <a:gd name="T0" fmla="*/ 26 w 405"/>
                    <a:gd name="T1" fmla="*/ 162 h 302"/>
                    <a:gd name="T2" fmla="*/ 28 w 405"/>
                    <a:gd name="T3" fmla="*/ 156 h 302"/>
                    <a:gd name="T4" fmla="*/ 30 w 405"/>
                    <a:gd name="T5" fmla="*/ 154 h 302"/>
                    <a:gd name="T6" fmla="*/ 28 w 405"/>
                    <a:gd name="T7" fmla="*/ 151 h 302"/>
                    <a:gd name="T8" fmla="*/ 18 w 405"/>
                    <a:gd name="T9" fmla="*/ 143 h 302"/>
                    <a:gd name="T10" fmla="*/ 6 w 405"/>
                    <a:gd name="T11" fmla="*/ 127 h 302"/>
                    <a:gd name="T12" fmla="*/ 2 w 405"/>
                    <a:gd name="T13" fmla="*/ 116 h 302"/>
                    <a:gd name="T14" fmla="*/ 5 w 405"/>
                    <a:gd name="T15" fmla="*/ 112 h 302"/>
                    <a:gd name="T16" fmla="*/ 6 w 405"/>
                    <a:gd name="T17" fmla="*/ 104 h 302"/>
                    <a:gd name="T18" fmla="*/ 17 w 405"/>
                    <a:gd name="T19" fmla="*/ 97 h 302"/>
                    <a:gd name="T20" fmla="*/ 34 w 405"/>
                    <a:gd name="T21" fmla="*/ 93 h 302"/>
                    <a:gd name="T22" fmla="*/ 47 w 405"/>
                    <a:gd name="T23" fmla="*/ 88 h 302"/>
                    <a:gd name="T24" fmla="*/ 57 w 405"/>
                    <a:gd name="T25" fmla="*/ 82 h 302"/>
                    <a:gd name="T26" fmla="*/ 67 w 405"/>
                    <a:gd name="T27" fmla="*/ 70 h 302"/>
                    <a:gd name="T28" fmla="*/ 75 w 405"/>
                    <a:gd name="T29" fmla="*/ 52 h 302"/>
                    <a:gd name="T30" fmla="*/ 84 w 405"/>
                    <a:gd name="T31" fmla="*/ 47 h 302"/>
                    <a:gd name="T32" fmla="*/ 95 w 405"/>
                    <a:gd name="T33" fmla="*/ 52 h 302"/>
                    <a:gd name="T34" fmla="*/ 117 w 405"/>
                    <a:gd name="T35" fmla="*/ 54 h 302"/>
                    <a:gd name="T36" fmla="*/ 169 w 405"/>
                    <a:gd name="T37" fmla="*/ 46 h 302"/>
                    <a:gd name="T38" fmla="*/ 212 w 405"/>
                    <a:gd name="T39" fmla="*/ 43 h 302"/>
                    <a:gd name="T40" fmla="*/ 234 w 405"/>
                    <a:gd name="T41" fmla="*/ 41 h 302"/>
                    <a:gd name="T42" fmla="*/ 264 w 405"/>
                    <a:gd name="T43" fmla="*/ 35 h 302"/>
                    <a:gd name="T44" fmla="*/ 318 w 405"/>
                    <a:gd name="T45" fmla="*/ 17 h 302"/>
                    <a:gd name="T46" fmla="*/ 359 w 405"/>
                    <a:gd name="T47" fmla="*/ 4 h 302"/>
                    <a:gd name="T48" fmla="*/ 372 w 405"/>
                    <a:gd name="T49" fmla="*/ 3 h 302"/>
                    <a:gd name="T50" fmla="*/ 385 w 405"/>
                    <a:gd name="T51" fmla="*/ 3 h 302"/>
                    <a:gd name="T52" fmla="*/ 398 w 405"/>
                    <a:gd name="T53" fmla="*/ 1 h 302"/>
                    <a:gd name="T54" fmla="*/ 395 w 405"/>
                    <a:gd name="T55" fmla="*/ 8 h 302"/>
                    <a:gd name="T56" fmla="*/ 360 w 405"/>
                    <a:gd name="T57" fmla="*/ 41 h 302"/>
                    <a:gd name="T58" fmla="*/ 344 w 405"/>
                    <a:gd name="T59" fmla="*/ 57 h 302"/>
                    <a:gd name="T60" fmla="*/ 339 w 405"/>
                    <a:gd name="T61" fmla="*/ 64 h 302"/>
                    <a:gd name="T62" fmla="*/ 339 w 405"/>
                    <a:gd name="T63" fmla="*/ 96 h 302"/>
                    <a:gd name="T64" fmla="*/ 337 w 405"/>
                    <a:gd name="T65" fmla="*/ 149 h 302"/>
                    <a:gd name="T66" fmla="*/ 335 w 405"/>
                    <a:gd name="T67" fmla="*/ 180 h 302"/>
                    <a:gd name="T68" fmla="*/ 326 w 405"/>
                    <a:gd name="T69" fmla="*/ 198 h 302"/>
                    <a:gd name="T70" fmla="*/ 305 w 405"/>
                    <a:gd name="T71" fmla="*/ 210 h 302"/>
                    <a:gd name="T72" fmla="*/ 265 w 405"/>
                    <a:gd name="T73" fmla="*/ 227 h 302"/>
                    <a:gd name="T74" fmla="*/ 106 w 405"/>
                    <a:gd name="T75" fmla="*/ 302 h 302"/>
                    <a:gd name="T76" fmla="*/ 57 w 405"/>
                    <a:gd name="T77" fmla="*/ 260 h 302"/>
                    <a:gd name="T78" fmla="*/ 70 w 405"/>
                    <a:gd name="T79" fmla="*/ 228 h 302"/>
                    <a:gd name="T80" fmla="*/ 81 w 405"/>
                    <a:gd name="T81" fmla="*/ 209 h 302"/>
                    <a:gd name="T82" fmla="*/ 86 w 405"/>
                    <a:gd name="T83" fmla="*/ 172 h 302"/>
                    <a:gd name="T84" fmla="*/ 71 w 405"/>
                    <a:gd name="T85" fmla="*/ 173 h 302"/>
                    <a:gd name="T86" fmla="*/ 57 w 405"/>
                    <a:gd name="T87" fmla="*/ 169 h 302"/>
                    <a:gd name="T88" fmla="*/ 41 w 405"/>
                    <a:gd name="T89" fmla="*/ 165 h 302"/>
                    <a:gd name="T90" fmla="*/ 26 w 405"/>
                    <a:gd name="T91" fmla="*/ 16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381" name="Freeform 534">
                  <a:extLst>
                    <a:ext uri="{FF2B5EF4-FFF2-40B4-BE49-F238E27FC236}">
                      <a16:creationId xmlns="" xmlns:a16="http://schemas.microsoft.com/office/drawing/2014/main" id="{1FAE86F6-BFF8-412E-8B58-255185C3CA9B}"/>
                    </a:ext>
                  </a:extLst>
                </p:cNvPr>
                <p:cNvSpPr>
                  <a:spLocks/>
                </p:cNvSpPr>
                <p:nvPr>
                  <p:custDataLst>
                    <p:tags r:id="rId369"/>
                  </p:custDataLst>
                </p:nvPr>
              </p:nvSpPr>
              <p:spPr bwMode="auto">
                <a:xfrm>
                  <a:off x="8050102" y="2412828"/>
                  <a:ext cx="30401" cy="56298"/>
                </a:xfrm>
                <a:custGeom>
                  <a:avLst/>
                  <a:gdLst>
                    <a:gd name="T0" fmla="*/ 100 w 100"/>
                    <a:gd name="T1" fmla="*/ 1 h 155"/>
                    <a:gd name="T2" fmla="*/ 100 w 100"/>
                    <a:gd name="T3" fmla="*/ 30 h 155"/>
                    <a:gd name="T4" fmla="*/ 100 w 100"/>
                    <a:gd name="T5" fmla="*/ 55 h 155"/>
                    <a:gd name="T6" fmla="*/ 100 w 100"/>
                    <a:gd name="T7" fmla="*/ 78 h 155"/>
                    <a:gd name="T8" fmla="*/ 100 w 100"/>
                    <a:gd name="T9" fmla="*/ 99 h 155"/>
                    <a:gd name="T10" fmla="*/ 98 w 100"/>
                    <a:gd name="T11" fmla="*/ 109 h 155"/>
                    <a:gd name="T12" fmla="*/ 94 w 100"/>
                    <a:gd name="T13" fmla="*/ 118 h 155"/>
                    <a:gd name="T14" fmla="*/ 89 w 100"/>
                    <a:gd name="T15" fmla="*/ 128 h 155"/>
                    <a:gd name="T16" fmla="*/ 82 w 100"/>
                    <a:gd name="T17" fmla="*/ 137 h 155"/>
                    <a:gd name="T18" fmla="*/ 73 w 100"/>
                    <a:gd name="T19" fmla="*/ 144 h 155"/>
                    <a:gd name="T20" fmla="*/ 62 w 100"/>
                    <a:gd name="T21" fmla="*/ 150 h 155"/>
                    <a:gd name="T22" fmla="*/ 57 w 100"/>
                    <a:gd name="T23" fmla="*/ 152 h 155"/>
                    <a:gd name="T24" fmla="*/ 51 w 100"/>
                    <a:gd name="T25" fmla="*/ 154 h 155"/>
                    <a:gd name="T26" fmla="*/ 46 w 100"/>
                    <a:gd name="T27" fmla="*/ 155 h 155"/>
                    <a:gd name="T28" fmla="*/ 39 w 100"/>
                    <a:gd name="T29" fmla="*/ 155 h 155"/>
                    <a:gd name="T30" fmla="*/ 35 w 100"/>
                    <a:gd name="T31" fmla="*/ 154 h 155"/>
                    <a:gd name="T32" fmla="*/ 30 w 100"/>
                    <a:gd name="T33" fmla="*/ 153 h 155"/>
                    <a:gd name="T34" fmla="*/ 26 w 100"/>
                    <a:gd name="T35" fmla="*/ 151 h 155"/>
                    <a:gd name="T36" fmla="*/ 22 w 100"/>
                    <a:gd name="T37" fmla="*/ 149 h 155"/>
                    <a:gd name="T38" fmla="*/ 15 w 100"/>
                    <a:gd name="T39" fmla="*/ 142 h 155"/>
                    <a:gd name="T40" fmla="*/ 9 w 100"/>
                    <a:gd name="T41" fmla="*/ 134 h 155"/>
                    <a:gd name="T42" fmla="*/ 5 w 100"/>
                    <a:gd name="T43" fmla="*/ 124 h 155"/>
                    <a:gd name="T44" fmla="*/ 2 w 100"/>
                    <a:gd name="T45" fmla="*/ 113 h 155"/>
                    <a:gd name="T46" fmla="*/ 0 w 100"/>
                    <a:gd name="T47" fmla="*/ 103 h 155"/>
                    <a:gd name="T48" fmla="*/ 0 w 100"/>
                    <a:gd name="T49" fmla="*/ 93 h 155"/>
                    <a:gd name="T50" fmla="*/ 0 w 100"/>
                    <a:gd name="T51" fmla="*/ 77 h 155"/>
                    <a:gd name="T52" fmla="*/ 0 w 100"/>
                    <a:gd name="T53" fmla="*/ 65 h 155"/>
                    <a:gd name="T54" fmla="*/ 0 w 100"/>
                    <a:gd name="T55" fmla="*/ 56 h 155"/>
                    <a:gd name="T56" fmla="*/ 0 w 100"/>
                    <a:gd name="T57" fmla="*/ 50 h 155"/>
                    <a:gd name="T58" fmla="*/ 15 w 100"/>
                    <a:gd name="T59" fmla="*/ 50 h 155"/>
                    <a:gd name="T60" fmla="*/ 26 w 100"/>
                    <a:gd name="T61" fmla="*/ 50 h 155"/>
                    <a:gd name="T62" fmla="*/ 26 w 100"/>
                    <a:gd name="T63" fmla="*/ 40 h 155"/>
                    <a:gd name="T64" fmla="*/ 27 w 100"/>
                    <a:gd name="T65" fmla="*/ 31 h 155"/>
                    <a:gd name="T66" fmla="*/ 29 w 100"/>
                    <a:gd name="T67" fmla="*/ 23 h 155"/>
                    <a:gd name="T68" fmla="*/ 31 w 100"/>
                    <a:gd name="T69" fmla="*/ 17 h 155"/>
                    <a:gd name="T70" fmla="*/ 35 w 100"/>
                    <a:gd name="T71" fmla="*/ 12 h 155"/>
                    <a:gd name="T72" fmla="*/ 39 w 100"/>
                    <a:gd name="T73" fmla="*/ 7 h 155"/>
                    <a:gd name="T74" fmla="*/ 42 w 100"/>
                    <a:gd name="T75" fmla="*/ 4 h 155"/>
                    <a:gd name="T76" fmla="*/ 48 w 100"/>
                    <a:gd name="T77" fmla="*/ 2 h 155"/>
                    <a:gd name="T78" fmla="*/ 59 w 100"/>
                    <a:gd name="T79" fmla="*/ 0 h 155"/>
                    <a:gd name="T80" fmla="*/ 71 w 100"/>
                    <a:gd name="T81" fmla="*/ 0 h 155"/>
                    <a:gd name="T82" fmla="*/ 84 w 100"/>
                    <a:gd name="T83" fmla="*/ 0 h 155"/>
                    <a:gd name="T84" fmla="*/ 100 w 100"/>
                    <a:gd name="T85" fmla="*/ 1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grpSp>
              <p:nvGrpSpPr>
                <p:cNvPr id="382" name="Group 535">
                  <a:extLst>
                    <a:ext uri="{FF2B5EF4-FFF2-40B4-BE49-F238E27FC236}">
                      <a16:creationId xmlns="" xmlns:a16="http://schemas.microsoft.com/office/drawing/2014/main" id="{EACD308D-B37F-416A-8EDB-1435AD0425A1}"/>
                    </a:ext>
                  </a:extLst>
                </p:cNvPr>
                <p:cNvGrpSpPr>
                  <a:grpSpLocks/>
                </p:cNvGrpSpPr>
                <p:nvPr>
                  <p:custDataLst>
                    <p:tags r:id="rId370"/>
                  </p:custDataLst>
                </p:nvPr>
              </p:nvGrpSpPr>
              <p:grpSpPr bwMode="auto">
                <a:xfrm>
                  <a:off x="6381418" y="2035630"/>
                  <a:ext cx="342294" cy="142998"/>
                  <a:chOff x="3289" y="1830"/>
                  <a:chExt cx="363" cy="128"/>
                </a:xfrm>
                <a:solidFill>
                  <a:srgbClr val="CDCDCD"/>
                </a:solidFill>
              </p:grpSpPr>
              <p:sp>
                <p:nvSpPr>
                  <p:cNvPr id="425" name="Freeform 536">
                    <a:extLst>
                      <a:ext uri="{FF2B5EF4-FFF2-40B4-BE49-F238E27FC236}">
                        <a16:creationId xmlns="" xmlns:a16="http://schemas.microsoft.com/office/drawing/2014/main" id="{A6F273B5-490B-4913-9636-8BC01C28D685}"/>
                      </a:ext>
                    </a:extLst>
                  </p:cNvPr>
                  <p:cNvSpPr>
                    <a:spLocks/>
                  </p:cNvSpPr>
                  <p:nvPr/>
                </p:nvSpPr>
                <p:spPr bwMode="auto">
                  <a:xfrm>
                    <a:off x="3289" y="1871"/>
                    <a:ext cx="4" cy="3"/>
                  </a:xfrm>
                  <a:custGeom>
                    <a:avLst/>
                    <a:gdLst>
                      <a:gd name="T0" fmla="*/ 13 w 13"/>
                      <a:gd name="T1" fmla="*/ 0 h 7"/>
                      <a:gd name="T2" fmla="*/ 12 w 13"/>
                      <a:gd name="T3" fmla="*/ 1 h 7"/>
                      <a:gd name="T4" fmla="*/ 9 w 13"/>
                      <a:gd name="T5" fmla="*/ 3 h 7"/>
                      <a:gd name="T6" fmla="*/ 4 w 13"/>
                      <a:gd name="T7" fmla="*/ 5 h 7"/>
                      <a:gd name="T8" fmla="*/ 0 w 13"/>
                      <a:gd name="T9" fmla="*/ 7 h 7"/>
                      <a:gd name="T10" fmla="*/ 7 w 13"/>
                      <a:gd name="T11" fmla="*/ 3 h 7"/>
                      <a:gd name="T12" fmla="*/ 13 w 13"/>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3" y="0"/>
                        </a:moveTo>
                        <a:lnTo>
                          <a:pt x="12" y="1"/>
                        </a:lnTo>
                        <a:lnTo>
                          <a:pt x="9" y="3"/>
                        </a:lnTo>
                        <a:lnTo>
                          <a:pt x="4" y="5"/>
                        </a:lnTo>
                        <a:lnTo>
                          <a:pt x="0" y="7"/>
                        </a:lnTo>
                        <a:lnTo>
                          <a:pt x="7" y="3"/>
                        </a:lnTo>
                        <a:lnTo>
                          <a:pt x="13" y="0"/>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426" name="Freeform 537">
                    <a:extLst>
                      <a:ext uri="{FF2B5EF4-FFF2-40B4-BE49-F238E27FC236}">
                        <a16:creationId xmlns="" xmlns:a16="http://schemas.microsoft.com/office/drawing/2014/main" id="{EB8F8413-F424-4A1B-8141-CF71B66E6E72}"/>
                      </a:ext>
                    </a:extLst>
                  </p:cNvPr>
                  <p:cNvSpPr>
                    <a:spLocks/>
                  </p:cNvSpPr>
                  <p:nvPr/>
                </p:nvSpPr>
                <p:spPr bwMode="auto">
                  <a:xfrm>
                    <a:off x="3324" y="1937"/>
                    <a:ext cx="10" cy="3"/>
                  </a:xfrm>
                  <a:custGeom>
                    <a:avLst/>
                    <a:gdLst>
                      <a:gd name="T0" fmla="*/ 0 w 34"/>
                      <a:gd name="T1" fmla="*/ 6 h 8"/>
                      <a:gd name="T2" fmla="*/ 7 w 34"/>
                      <a:gd name="T3" fmla="*/ 5 h 8"/>
                      <a:gd name="T4" fmla="*/ 15 w 34"/>
                      <a:gd name="T5" fmla="*/ 3 h 8"/>
                      <a:gd name="T6" fmla="*/ 25 w 34"/>
                      <a:gd name="T7" fmla="*/ 1 h 8"/>
                      <a:gd name="T8" fmla="*/ 34 w 34"/>
                      <a:gd name="T9" fmla="*/ 0 h 8"/>
                      <a:gd name="T10" fmla="*/ 31 w 34"/>
                      <a:gd name="T11" fmla="*/ 2 h 8"/>
                      <a:gd name="T12" fmla="*/ 27 w 34"/>
                      <a:gd name="T13" fmla="*/ 4 h 8"/>
                      <a:gd name="T14" fmla="*/ 22 w 34"/>
                      <a:gd name="T15" fmla="*/ 6 h 8"/>
                      <a:gd name="T16" fmla="*/ 18 w 34"/>
                      <a:gd name="T17" fmla="*/ 7 h 8"/>
                      <a:gd name="T18" fmla="*/ 12 w 34"/>
                      <a:gd name="T19" fmla="*/ 8 h 8"/>
                      <a:gd name="T20" fmla="*/ 8 w 34"/>
                      <a:gd name="T21" fmla="*/ 8 h 8"/>
                      <a:gd name="T22" fmla="*/ 4 w 34"/>
                      <a:gd name="T23" fmla="*/ 8 h 8"/>
                      <a:gd name="T24" fmla="*/ 0 w 34"/>
                      <a:gd name="T25"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427" name="Freeform 538">
                    <a:extLst>
                      <a:ext uri="{FF2B5EF4-FFF2-40B4-BE49-F238E27FC236}">
                        <a16:creationId xmlns="" xmlns:a16="http://schemas.microsoft.com/office/drawing/2014/main" id="{F1057DB6-830B-4416-92D2-4CE68A15AFE2}"/>
                      </a:ext>
                    </a:extLst>
                  </p:cNvPr>
                  <p:cNvSpPr>
                    <a:spLocks/>
                  </p:cNvSpPr>
                  <p:nvPr/>
                </p:nvSpPr>
                <p:spPr bwMode="auto">
                  <a:xfrm>
                    <a:off x="3343" y="1948"/>
                    <a:ext cx="4" cy="8"/>
                  </a:xfrm>
                  <a:custGeom>
                    <a:avLst/>
                    <a:gdLst>
                      <a:gd name="T0" fmla="*/ 0 w 13"/>
                      <a:gd name="T1" fmla="*/ 24 h 24"/>
                      <a:gd name="T2" fmla="*/ 0 w 13"/>
                      <a:gd name="T3" fmla="*/ 0 h 24"/>
                      <a:gd name="T4" fmla="*/ 13 w 13"/>
                      <a:gd name="T5" fmla="*/ 12 h 24"/>
                      <a:gd name="T6" fmla="*/ 0 w 13"/>
                      <a:gd name="T7" fmla="*/ 24 h 24"/>
                    </a:gdLst>
                    <a:ahLst/>
                    <a:cxnLst>
                      <a:cxn ang="0">
                        <a:pos x="T0" y="T1"/>
                      </a:cxn>
                      <a:cxn ang="0">
                        <a:pos x="T2" y="T3"/>
                      </a:cxn>
                      <a:cxn ang="0">
                        <a:pos x="T4" y="T5"/>
                      </a:cxn>
                      <a:cxn ang="0">
                        <a:pos x="T6" y="T7"/>
                      </a:cxn>
                    </a:cxnLst>
                    <a:rect l="0" t="0" r="r" b="b"/>
                    <a:pathLst>
                      <a:path w="13" h="24">
                        <a:moveTo>
                          <a:pt x="0" y="24"/>
                        </a:moveTo>
                        <a:lnTo>
                          <a:pt x="0" y="0"/>
                        </a:lnTo>
                        <a:lnTo>
                          <a:pt x="13" y="12"/>
                        </a:lnTo>
                        <a:lnTo>
                          <a:pt x="0" y="24"/>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428" name="Freeform 539">
                    <a:extLst>
                      <a:ext uri="{FF2B5EF4-FFF2-40B4-BE49-F238E27FC236}">
                        <a16:creationId xmlns="" xmlns:a16="http://schemas.microsoft.com/office/drawing/2014/main" id="{736E37C3-29BC-4AEA-BB61-47E03D86346A}"/>
                      </a:ext>
                    </a:extLst>
                  </p:cNvPr>
                  <p:cNvSpPr>
                    <a:spLocks/>
                  </p:cNvSpPr>
                  <p:nvPr/>
                </p:nvSpPr>
                <p:spPr bwMode="auto">
                  <a:xfrm>
                    <a:off x="3313" y="1834"/>
                    <a:ext cx="34" cy="23"/>
                  </a:xfrm>
                  <a:custGeom>
                    <a:avLst/>
                    <a:gdLst>
                      <a:gd name="T0" fmla="*/ 0 w 107"/>
                      <a:gd name="T1" fmla="*/ 13 h 69"/>
                      <a:gd name="T2" fmla="*/ 0 w 107"/>
                      <a:gd name="T3" fmla="*/ 27 h 69"/>
                      <a:gd name="T4" fmla="*/ 0 w 107"/>
                      <a:gd name="T5" fmla="*/ 45 h 69"/>
                      <a:gd name="T6" fmla="*/ 0 w 107"/>
                      <a:gd name="T7" fmla="*/ 62 h 69"/>
                      <a:gd name="T8" fmla="*/ 0 w 107"/>
                      <a:gd name="T9" fmla="*/ 69 h 69"/>
                      <a:gd name="T10" fmla="*/ 16 w 107"/>
                      <a:gd name="T11" fmla="*/ 66 h 69"/>
                      <a:gd name="T12" fmla="*/ 49 w 107"/>
                      <a:gd name="T13" fmla="*/ 58 h 69"/>
                      <a:gd name="T14" fmla="*/ 85 w 107"/>
                      <a:gd name="T15" fmla="*/ 50 h 69"/>
                      <a:gd name="T16" fmla="*/ 107 w 107"/>
                      <a:gd name="T17" fmla="*/ 44 h 69"/>
                      <a:gd name="T18" fmla="*/ 101 w 107"/>
                      <a:gd name="T19" fmla="*/ 38 h 69"/>
                      <a:gd name="T20" fmla="*/ 94 w 107"/>
                      <a:gd name="T21" fmla="*/ 34 h 69"/>
                      <a:gd name="T22" fmla="*/ 86 w 107"/>
                      <a:gd name="T23" fmla="*/ 30 h 69"/>
                      <a:gd name="T24" fmla="*/ 78 w 107"/>
                      <a:gd name="T25" fmla="*/ 27 h 69"/>
                      <a:gd name="T26" fmla="*/ 72 w 107"/>
                      <a:gd name="T27" fmla="*/ 23 h 69"/>
                      <a:gd name="T28" fmla="*/ 65 w 107"/>
                      <a:gd name="T29" fmla="*/ 18 h 69"/>
                      <a:gd name="T30" fmla="*/ 63 w 107"/>
                      <a:gd name="T31" fmla="*/ 15 h 69"/>
                      <a:gd name="T32" fmla="*/ 62 w 107"/>
                      <a:gd name="T33" fmla="*/ 11 h 69"/>
                      <a:gd name="T34" fmla="*/ 61 w 107"/>
                      <a:gd name="T35" fmla="*/ 7 h 69"/>
                      <a:gd name="T36" fmla="*/ 61 w 107"/>
                      <a:gd name="T37" fmla="*/ 0 h 69"/>
                      <a:gd name="T38" fmla="*/ 54 w 107"/>
                      <a:gd name="T39" fmla="*/ 1 h 69"/>
                      <a:gd name="T40" fmla="*/ 38 w 107"/>
                      <a:gd name="T41" fmla="*/ 4 h 69"/>
                      <a:gd name="T42" fmla="*/ 18 w 107"/>
                      <a:gd name="T43" fmla="*/ 9 h 69"/>
                      <a:gd name="T44" fmla="*/ 0 w 107"/>
                      <a:gd name="T45"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429" name="Freeform 540">
                    <a:extLst>
                      <a:ext uri="{FF2B5EF4-FFF2-40B4-BE49-F238E27FC236}">
                        <a16:creationId xmlns="" xmlns:a16="http://schemas.microsoft.com/office/drawing/2014/main" id="{F1F7443F-0A4B-45A5-BE3E-A0C610CCC9B8}"/>
                      </a:ext>
                    </a:extLst>
                  </p:cNvPr>
                  <p:cNvSpPr>
                    <a:spLocks/>
                  </p:cNvSpPr>
                  <p:nvPr/>
                </p:nvSpPr>
                <p:spPr bwMode="auto">
                  <a:xfrm>
                    <a:off x="3302" y="1830"/>
                    <a:ext cx="350" cy="128"/>
                  </a:xfrm>
                  <a:custGeom>
                    <a:avLst/>
                    <a:gdLst>
                      <a:gd name="T0" fmla="*/ 992 w 1070"/>
                      <a:gd name="T1" fmla="*/ 124 h 382"/>
                      <a:gd name="T2" fmla="*/ 970 w 1070"/>
                      <a:gd name="T3" fmla="*/ 103 h 382"/>
                      <a:gd name="T4" fmla="*/ 962 w 1070"/>
                      <a:gd name="T5" fmla="*/ 57 h 382"/>
                      <a:gd name="T6" fmla="*/ 936 w 1070"/>
                      <a:gd name="T7" fmla="*/ 36 h 382"/>
                      <a:gd name="T8" fmla="*/ 817 w 1070"/>
                      <a:gd name="T9" fmla="*/ 19 h 382"/>
                      <a:gd name="T10" fmla="*/ 726 w 1070"/>
                      <a:gd name="T11" fmla="*/ 58 h 382"/>
                      <a:gd name="T12" fmla="*/ 678 w 1070"/>
                      <a:gd name="T13" fmla="*/ 65 h 382"/>
                      <a:gd name="T14" fmla="*/ 632 w 1070"/>
                      <a:gd name="T15" fmla="*/ 65 h 382"/>
                      <a:gd name="T16" fmla="*/ 612 w 1070"/>
                      <a:gd name="T17" fmla="*/ 44 h 382"/>
                      <a:gd name="T18" fmla="*/ 560 w 1070"/>
                      <a:gd name="T19" fmla="*/ 37 h 382"/>
                      <a:gd name="T20" fmla="*/ 525 w 1070"/>
                      <a:gd name="T21" fmla="*/ 19 h 382"/>
                      <a:gd name="T22" fmla="*/ 483 w 1070"/>
                      <a:gd name="T23" fmla="*/ 21 h 382"/>
                      <a:gd name="T24" fmla="*/ 465 w 1070"/>
                      <a:gd name="T25" fmla="*/ 0 h 382"/>
                      <a:gd name="T26" fmla="*/ 390 w 1070"/>
                      <a:gd name="T27" fmla="*/ 16 h 382"/>
                      <a:gd name="T28" fmla="*/ 299 w 1070"/>
                      <a:gd name="T29" fmla="*/ 26 h 382"/>
                      <a:gd name="T30" fmla="*/ 257 w 1070"/>
                      <a:gd name="T31" fmla="*/ 45 h 382"/>
                      <a:gd name="T32" fmla="*/ 138 w 1070"/>
                      <a:gd name="T33" fmla="*/ 61 h 382"/>
                      <a:gd name="T34" fmla="*/ 173 w 1070"/>
                      <a:gd name="T35" fmla="*/ 75 h 382"/>
                      <a:gd name="T36" fmla="*/ 164 w 1070"/>
                      <a:gd name="T37" fmla="*/ 90 h 382"/>
                      <a:gd name="T38" fmla="*/ 114 w 1070"/>
                      <a:gd name="T39" fmla="*/ 93 h 382"/>
                      <a:gd name="T40" fmla="*/ 42 w 1070"/>
                      <a:gd name="T41" fmla="*/ 94 h 382"/>
                      <a:gd name="T42" fmla="*/ 8 w 1070"/>
                      <a:gd name="T43" fmla="*/ 110 h 382"/>
                      <a:gd name="T44" fmla="*/ 0 w 1070"/>
                      <a:gd name="T45" fmla="*/ 147 h 382"/>
                      <a:gd name="T46" fmla="*/ 16 w 1070"/>
                      <a:gd name="T47" fmla="*/ 167 h 382"/>
                      <a:gd name="T48" fmla="*/ 22 w 1070"/>
                      <a:gd name="T49" fmla="*/ 193 h 382"/>
                      <a:gd name="T50" fmla="*/ 21 w 1070"/>
                      <a:gd name="T51" fmla="*/ 210 h 382"/>
                      <a:gd name="T52" fmla="*/ 49 w 1070"/>
                      <a:gd name="T53" fmla="*/ 237 h 382"/>
                      <a:gd name="T54" fmla="*/ 56 w 1070"/>
                      <a:gd name="T55" fmla="*/ 259 h 382"/>
                      <a:gd name="T56" fmla="*/ 74 w 1070"/>
                      <a:gd name="T57" fmla="*/ 271 h 382"/>
                      <a:gd name="T58" fmla="*/ 96 w 1070"/>
                      <a:gd name="T59" fmla="*/ 290 h 382"/>
                      <a:gd name="T60" fmla="*/ 205 w 1070"/>
                      <a:gd name="T61" fmla="*/ 352 h 382"/>
                      <a:gd name="T62" fmla="*/ 253 w 1070"/>
                      <a:gd name="T63" fmla="*/ 370 h 382"/>
                      <a:gd name="T64" fmla="*/ 267 w 1070"/>
                      <a:gd name="T65" fmla="*/ 358 h 382"/>
                      <a:gd name="T66" fmla="*/ 277 w 1070"/>
                      <a:gd name="T67" fmla="*/ 338 h 382"/>
                      <a:gd name="T68" fmla="*/ 297 w 1070"/>
                      <a:gd name="T69" fmla="*/ 316 h 382"/>
                      <a:gd name="T70" fmla="*/ 334 w 1070"/>
                      <a:gd name="T71" fmla="*/ 323 h 382"/>
                      <a:gd name="T72" fmla="*/ 362 w 1070"/>
                      <a:gd name="T73" fmla="*/ 358 h 382"/>
                      <a:gd name="T74" fmla="*/ 399 w 1070"/>
                      <a:gd name="T75" fmla="*/ 370 h 382"/>
                      <a:gd name="T76" fmla="*/ 447 w 1070"/>
                      <a:gd name="T77" fmla="*/ 359 h 382"/>
                      <a:gd name="T78" fmla="*/ 493 w 1070"/>
                      <a:gd name="T79" fmla="*/ 335 h 382"/>
                      <a:gd name="T80" fmla="*/ 525 w 1070"/>
                      <a:gd name="T81" fmla="*/ 327 h 382"/>
                      <a:gd name="T82" fmla="*/ 564 w 1070"/>
                      <a:gd name="T83" fmla="*/ 326 h 382"/>
                      <a:gd name="T84" fmla="*/ 567 w 1070"/>
                      <a:gd name="T85" fmla="*/ 367 h 382"/>
                      <a:gd name="T86" fmla="*/ 590 w 1070"/>
                      <a:gd name="T87" fmla="*/ 377 h 382"/>
                      <a:gd name="T88" fmla="*/ 613 w 1070"/>
                      <a:gd name="T89" fmla="*/ 362 h 382"/>
                      <a:gd name="T90" fmla="*/ 647 w 1070"/>
                      <a:gd name="T91" fmla="*/ 336 h 382"/>
                      <a:gd name="T92" fmla="*/ 752 w 1070"/>
                      <a:gd name="T93" fmla="*/ 327 h 382"/>
                      <a:gd name="T94" fmla="*/ 831 w 1070"/>
                      <a:gd name="T95" fmla="*/ 315 h 382"/>
                      <a:gd name="T96" fmla="*/ 918 w 1070"/>
                      <a:gd name="T97" fmla="*/ 283 h 382"/>
                      <a:gd name="T98" fmla="*/ 967 w 1070"/>
                      <a:gd name="T99" fmla="*/ 286 h 382"/>
                      <a:gd name="T100" fmla="*/ 1005 w 1070"/>
                      <a:gd name="T101" fmla="*/ 293 h 382"/>
                      <a:gd name="T102" fmla="*/ 1056 w 1070"/>
                      <a:gd name="T103" fmla="*/ 308 h 382"/>
                      <a:gd name="T104" fmla="*/ 1056 w 1070"/>
                      <a:gd name="T105" fmla="*/ 268 h 382"/>
                      <a:gd name="T106" fmla="*/ 1026 w 1070"/>
                      <a:gd name="T107" fmla="*/ 219 h 382"/>
                      <a:gd name="T108" fmla="*/ 1017 w 1070"/>
                      <a:gd name="T109" fmla="*/ 167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grpSp>
            <p:sp>
              <p:nvSpPr>
                <p:cNvPr id="383" name="Freeform 541">
                  <a:extLst>
                    <a:ext uri="{FF2B5EF4-FFF2-40B4-BE49-F238E27FC236}">
                      <a16:creationId xmlns="" xmlns:a16="http://schemas.microsoft.com/office/drawing/2014/main" id="{00691209-82CC-40CC-823E-8F457BB9DBA2}"/>
                    </a:ext>
                  </a:extLst>
                </p:cNvPr>
                <p:cNvSpPr>
                  <a:spLocks/>
                </p:cNvSpPr>
                <p:nvPr>
                  <p:custDataLst>
                    <p:tags r:id="rId371"/>
                  </p:custDataLst>
                </p:nvPr>
              </p:nvSpPr>
              <p:spPr bwMode="auto">
                <a:xfrm>
                  <a:off x="4954817" y="2853082"/>
                  <a:ext cx="70936" cy="86699"/>
                </a:xfrm>
                <a:custGeom>
                  <a:avLst/>
                  <a:gdLst>
                    <a:gd name="T0" fmla="*/ 63 w 226"/>
                    <a:gd name="T1" fmla="*/ 236 h 237"/>
                    <a:gd name="T2" fmla="*/ 68 w 226"/>
                    <a:gd name="T3" fmla="*/ 237 h 237"/>
                    <a:gd name="T4" fmla="*/ 75 w 226"/>
                    <a:gd name="T5" fmla="*/ 235 h 237"/>
                    <a:gd name="T6" fmla="*/ 83 w 226"/>
                    <a:gd name="T7" fmla="*/ 234 h 237"/>
                    <a:gd name="T8" fmla="*/ 89 w 226"/>
                    <a:gd name="T9" fmla="*/ 230 h 237"/>
                    <a:gd name="T10" fmla="*/ 96 w 226"/>
                    <a:gd name="T11" fmla="*/ 223 h 237"/>
                    <a:gd name="T12" fmla="*/ 99 w 226"/>
                    <a:gd name="T13" fmla="*/ 214 h 237"/>
                    <a:gd name="T14" fmla="*/ 123 w 226"/>
                    <a:gd name="T15" fmla="*/ 209 h 237"/>
                    <a:gd name="T16" fmla="*/ 166 w 226"/>
                    <a:gd name="T17" fmla="*/ 205 h 237"/>
                    <a:gd name="T18" fmla="*/ 195 w 226"/>
                    <a:gd name="T19" fmla="*/ 198 h 237"/>
                    <a:gd name="T20" fmla="*/ 209 w 226"/>
                    <a:gd name="T21" fmla="*/ 191 h 237"/>
                    <a:gd name="T22" fmla="*/ 220 w 226"/>
                    <a:gd name="T23" fmla="*/ 181 h 237"/>
                    <a:gd name="T24" fmla="*/ 225 w 226"/>
                    <a:gd name="T25" fmla="*/ 168 h 237"/>
                    <a:gd name="T26" fmla="*/ 226 w 226"/>
                    <a:gd name="T27" fmla="*/ 153 h 237"/>
                    <a:gd name="T28" fmla="*/ 223 w 226"/>
                    <a:gd name="T29" fmla="*/ 140 h 237"/>
                    <a:gd name="T30" fmla="*/ 215 w 226"/>
                    <a:gd name="T31" fmla="*/ 123 h 237"/>
                    <a:gd name="T32" fmla="*/ 203 w 226"/>
                    <a:gd name="T33" fmla="*/ 100 h 237"/>
                    <a:gd name="T34" fmla="*/ 196 w 226"/>
                    <a:gd name="T35" fmla="*/ 84 h 237"/>
                    <a:gd name="T36" fmla="*/ 193 w 226"/>
                    <a:gd name="T37" fmla="*/ 74 h 237"/>
                    <a:gd name="T38" fmla="*/ 195 w 226"/>
                    <a:gd name="T39" fmla="*/ 59 h 237"/>
                    <a:gd name="T40" fmla="*/ 200 w 226"/>
                    <a:gd name="T41" fmla="*/ 43 h 237"/>
                    <a:gd name="T42" fmla="*/ 213 w 226"/>
                    <a:gd name="T43" fmla="*/ 25 h 237"/>
                    <a:gd name="T44" fmla="*/ 213 w 226"/>
                    <a:gd name="T45" fmla="*/ 14 h 237"/>
                    <a:gd name="T46" fmla="*/ 191 w 226"/>
                    <a:gd name="T47" fmla="*/ 7 h 237"/>
                    <a:gd name="T48" fmla="*/ 154 w 226"/>
                    <a:gd name="T49" fmla="*/ 2 h 237"/>
                    <a:gd name="T50" fmla="*/ 20 w 226"/>
                    <a:gd name="T51" fmla="*/ 6 h 237"/>
                    <a:gd name="T52" fmla="*/ 18 w 226"/>
                    <a:gd name="T53" fmla="*/ 31 h 237"/>
                    <a:gd name="T54" fmla="*/ 10 w 226"/>
                    <a:gd name="T55" fmla="*/ 54 h 237"/>
                    <a:gd name="T56" fmla="*/ 3 w 226"/>
                    <a:gd name="T57" fmla="*/ 79 h 237"/>
                    <a:gd name="T58" fmla="*/ 0 w 226"/>
                    <a:gd name="T59" fmla="*/ 111 h 237"/>
                    <a:gd name="T60" fmla="*/ 3 w 226"/>
                    <a:gd name="T61" fmla="*/ 130 h 237"/>
                    <a:gd name="T62" fmla="*/ 10 w 226"/>
                    <a:gd name="T63" fmla="*/ 146 h 237"/>
                    <a:gd name="T64" fmla="*/ 30 w 226"/>
                    <a:gd name="T65" fmla="*/ 173 h 237"/>
                    <a:gd name="T66" fmla="*/ 51 w 226"/>
                    <a:gd name="T67" fmla="*/ 199 h 237"/>
                    <a:gd name="T68" fmla="*/ 57 w 226"/>
                    <a:gd name="T69" fmla="*/ 216 h 237"/>
                    <a:gd name="T70" fmla="*/ 61 w 226"/>
                    <a:gd name="T71" fmla="*/ 234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84" name="Freeform 542">
                  <a:extLst>
                    <a:ext uri="{FF2B5EF4-FFF2-40B4-BE49-F238E27FC236}">
                      <a16:creationId xmlns="" xmlns:a16="http://schemas.microsoft.com/office/drawing/2014/main" id="{7A845A38-44EC-411D-894F-EE14160C69F4}"/>
                    </a:ext>
                  </a:extLst>
                </p:cNvPr>
                <p:cNvSpPr>
                  <a:spLocks/>
                </p:cNvSpPr>
                <p:nvPr>
                  <p:custDataLst>
                    <p:tags r:id="rId372"/>
                  </p:custDataLst>
                </p:nvPr>
              </p:nvSpPr>
              <p:spPr bwMode="auto">
                <a:xfrm>
                  <a:off x="7752846" y="2453363"/>
                  <a:ext cx="147501" cy="325405"/>
                </a:xfrm>
                <a:custGeom>
                  <a:avLst/>
                  <a:gdLst>
                    <a:gd name="T0" fmla="*/ 287 w 478"/>
                    <a:gd name="T1" fmla="*/ 109 h 875"/>
                    <a:gd name="T2" fmla="*/ 250 w 478"/>
                    <a:gd name="T3" fmla="*/ 138 h 875"/>
                    <a:gd name="T4" fmla="*/ 199 w 478"/>
                    <a:gd name="T5" fmla="*/ 197 h 875"/>
                    <a:gd name="T6" fmla="*/ 198 w 478"/>
                    <a:gd name="T7" fmla="*/ 213 h 875"/>
                    <a:gd name="T8" fmla="*/ 206 w 478"/>
                    <a:gd name="T9" fmla="*/ 239 h 875"/>
                    <a:gd name="T10" fmla="*/ 221 w 478"/>
                    <a:gd name="T11" fmla="*/ 265 h 875"/>
                    <a:gd name="T12" fmla="*/ 240 w 478"/>
                    <a:gd name="T13" fmla="*/ 288 h 875"/>
                    <a:gd name="T14" fmla="*/ 259 w 478"/>
                    <a:gd name="T15" fmla="*/ 301 h 875"/>
                    <a:gd name="T16" fmla="*/ 279 w 478"/>
                    <a:gd name="T17" fmla="*/ 329 h 875"/>
                    <a:gd name="T18" fmla="*/ 295 w 478"/>
                    <a:gd name="T19" fmla="*/ 361 h 875"/>
                    <a:gd name="T20" fmla="*/ 305 w 478"/>
                    <a:gd name="T21" fmla="*/ 369 h 875"/>
                    <a:gd name="T22" fmla="*/ 438 w 478"/>
                    <a:gd name="T23" fmla="*/ 499 h 875"/>
                    <a:gd name="T24" fmla="*/ 471 w 478"/>
                    <a:gd name="T25" fmla="*/ 589 h 875"/>
                    <a:gd name="T26" fmla="*/ 478 w 478"/>
                    <a:gd name="T27" fmla="*/ 647 h 875"/>
                    <a:gd name="T28" fmla="*/ 476 w 478"/>
                    <a:gd name="T29" fmla="*/ 687 h 875"/>
                    <a:gd name="T30" fmla="*/ 478 w 478"/>
                    <a:gd name="T31" fmla="*/ 708 h 875"/>
                    <a:gd name="T32" fmla="*/ 447 w 478"/>
                    <a:gd name="T33" fmla="*/ 718 h 875"/>
                    <a:gd name="T34" fmla="*/ 420 w 478"/>
                    <a:gd name="T35" fmla="*/ 733 h 875"/>
                    <a:gd name="T36" fmla="*/ 391 w 478"/>
                    <a:gd name="T37" fmla="*/ 756 h 875"/>
                    <a:gd name="T38" fmla="*/ 365 w 478"/>
                    <a:gd name="T39" fmla="*/ 789 h 875"/>
                    <a:gd name="T40" fmla="*/ 348 w 478"/>
                    <a:gd name="T41" fmla="*/ 785 h 875"/>
                    <a:gd name="T42" fmla="*/ 319 w 478"/>
                    <a:gd name="T43" fmla="*/ 789 h 875"/>
                    <a:gd name="T44" fmla="*/ 313 w 478"/>
                    <a:gd name="T45" fmla="*/ 804 h 875"/>
                    <a:gd name="T46" fmla="*/ 289 w 478"/>
                    <a:gd name="T47" fmla="*/ 838 h 875"/>
                    <a:gd name="T48" fmla="*/ 256 w 478"/>
                    <a:gd name="T49" fmla="*/ 868 h 875"/>
                    <a:gd name="T50" fmla="*/ 239 w 478"/>
                    <a:gd name="T51" fmla="*/ 875 h 875"/>
                    <a:gd name="T52" fmla="*/ 232 w 478"/>
                    <a:gd name="T53" fmla="*/ 868 h 875"/>
                    <a:gd name="T54" fmla="*/ 225 w 478"/>
                    <a:gd name="T55" fmla="*/ 844 h 875"/>
                    <a:gd name="T56" fmla="*/ 231 w 478"/>
                    <a:gd name="T57" fmla="*/ 800 h 875"/>
                    <a:gd name="T58" fmla="*/ 253 w 478"/>
                    <a:gd name="T59" fmla="*/ 775 h 875"/>
                    <a:gd name="T60" fmla="*/ 277 w 478"/>
                    <a:gd name="T61" fmla="*/ 760 h 875"/>
                    <a:gd name="T62" fmla="*/ 295 w 478"/>
                    <a:gd name="T63" fmla="*/ 753 h 875"/>
                    <a:gd name="T64" fmla="*/ 305 w 478"/>
                    <a:gd name="T65" fmla="*/ 743 h 875"/>
                    <a:gd name="T66" fmla="*/ 314 w 478"/>
                    <a:gd name="T67" fmla="*/ 714 h 875"/>
                    <a:gd name="T68" fmla="*/ 330 w 478"/>
                    <a:gd name="T69" fmla="*/ 686 h 875"/>
                    <a:gd name="T70" fmla="*/ 365 w 478"/>
                    <a:gd name="T71" fmla="*/ 643 h 875"/>
                    <a:gd name="T72" fmla="*/ 371 w 478"/>
                    <a:gd name="T73" fmla="*/ 536 h 875"/>
                    <a:gd name="T74" fmla="*/ 364 w 478"/>
                    <a:gd name="T75" fmla="*/ 475 h 875"/>
                    <a:gd name="T76" fmla="*/ 341 w 478"/>
                    <a:gd name="T77" fmla="*/ 427 h 875"/>
                    <a:gd name="T78" fmla="*/ 297 w 478"/>
                    <a:gd name="T79" fmla="*/ 377 h 875"/>
                    <a:gd name="T80" fmla="*/ 219 w 478"/>
                    <a:gd name="T81" fmla="*/ 308 h 875"/>
                    <a:gd name="T82" fmla="*/ 161 w 478"/>
                    <a:gd name="T83" fmla="*/ 255 h 875"/>
                    <a:gd name="T84" fmla="*/ 108 w 478"/>
                    <a:gd name="T85" fmla="*/ 198 h 875"/>
                    <a:gd name="T86" fmla="*/ 72 w 478"/>
                    <a:gd name="T87" fmla="*/ 146 h 875"/>
                    <a:gd name="T88" fmla="*/ 42 w 478"/>
                    <a:gd name="T89" fmla="*/ 104 h 875"/>
                    <a:gd name="T90" fmla="*/ 46 w 478"/>
                    <a:gd name="T91" fmla="*/ 41 h 875"/>
                    <a:gd name="T92" fmla="*/ 129 w 478"/>
                    <a:gd name="T93" fmla="*/ 19 h 875"/>
                    <a:gd name="T94" fmla="*/ 148 w 478"/>
                    <a:gd name="T95" fmla="*/ 5 h 875"/>
                    <a:gd name="T96" fmla="*/ 175 w 478"/>
                    <a:gd name="T97" fmla="*/ 16 h 875"/>
                    <a:gd name="T98" fmla="*/ 221 w 478"/>
                    <a:gd name="T99" fmla="*/ 35 h 875"/>
                    <a:gd name="T100" fmla="*/ 269 w 478"/>
                    <a:gd name="T101" fmla="*/ 67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385" name="Freeform 543">
                  <a:extLst>
                    <a:ext uri="{FF2B5EF4-FFF2-40B4-BE49-F238E27FC236}">
                      <a16:creationId xmlns="" xmlns:a16="http://schemas.microsoft.com/office/drawing/2014/main" id="{F9BD0E8D-3E4F-40C5-8575-F789333B925B}"/>
                    </a:ext>
                  </a:extLst>
                </p:cNvPr>
                <p:cNvSpPr>
                  <a:spLocks/>
                </p:cNvSpPr>
                <p:nvPr>
                  <p:custDataLst>
                    <p:tags r:id="rId373"/>
                  </p:custDataLst>
                </p:nvPr>
              </p:nvSpPr>
              <p:spPr bwMode="auto">
                <a:xfrm>
                  <a:off x="7814774" y="2939781"/>
                  <a:ext cx="18015" cy="40535"/>
                </a:xfrm>
                <a:custGeom>
                  <a:avLst/>
                  <a:gdLst>
                    <a:gd name="T0" fmla="*/ 59 w 59"/>
                    <a:gd name="T1" fmla="*/ 6 h 31"/>
                    <a:gd name="T2" fmla="*/ 57 w 59"/>
                    <a:gd name="T3" fmla="*/ 11 h 31"/>
                    <a:gd name="T4" fmla="*/ 53 w 59"/>
                    <a:gd name="T5" fmla="*/ 15 h 31"/>
                    <a:gd name="T6" fmla="*/ 49 w 59"/>
                    <a:gd name="T7" fmla="*/ 19 h 31"/>
                    <a:gd name="T8" fmla="*/ 45 w 59"/>
                    <a:gd name="T9" fmla="*/ 24 h 31"/>
                    <a:gd name="T10" fmla="*/ 40 w 59"/>
                    <a:gd name="T11" fmla="*/ 27 h 31"/>
                    <a:gd name="T12" fmla="*/ 36 w 59"/>
                    <a:gd name="T13" fmla="*/ 29 h 31"/>
                    <a:gd name="T14" fmla="*/ 30 w 59"/>
                    <a:gd name="T15" fmla="*/ 31 h 31"/>
                    <a:gd name="T16" fmla="*/ 26 w 59"/>
                    <a:gd name="T17" fmla="*/ 31 h 31"/>
                    <a:gd name="T18" fmla="*/ 21 w 59"/>
                    <a:gd name="T19" fmla="*/ 31 h 31"/>
                    <a:gd name="T20" fmla="*/ 17 w 59"/>
                    <a:gd name="T21" fmla="*/ 30 h 31"/>
                    <a:gd name="T22" fmla="*/ 14 w 59"/>
                    <a:gd name="T23" fmla="*/ 29 h 31"/>
                    <a:gd name="T24" fmla="*/ 11 w 59"/>
                    <a:gd name="T25" fmla="*/ 27 h 31"/>
                    <a:gd name="T26" fmla="*/ 4 w 59"/>
                    <a:gd name="T27" fmla="*/ 20 h 31"/>
                    <a:gd name="T28" fmla="*/ 0 w 59"/>
                    <a:gd name="T29" fmla="*/ 12 h 31"/>
                    <a:gd name="T30" fmla="*/ 1 w 59"/>
                    <a:gd name="T31" fmla="*/ 9 h 31"/>
                    <a:gd name="T32" fmla="*/ 3 w 59"/>
                    <a:gd name="T33" fmla="*/ 6 h 31"/>
                    <a:gd name="T34" fmla="*/ 5 w 59"/>
                    <a:gd name="T35" fmla="*/ 4 h 31"/>
                    <a:gd name="T36" fmla="*/ 8 w 59"/>
                    <a:gd name="T37" fmla="*/ 3 h 31"/>
                    <a:gd name="T38" fmla="*/ 16 w 59"/>
                    <a:gd name="T39" fmla="*/ 1 h 31"/>
                    <a:gd name="T40" fmla="*/ 24 w 59"/>
                    <a:gd name="T41" fmla="*/ 0 h 31"/>
                    <a:gd name="T42" fmla="*/ 34 w 59"/>
                    <a:gd name="T43" fmla="*/ 0 h 31"/>
                    <a:gd name="T44" fmla="*/ 42 w 59"/>
                    <a:gd name="T45" fmla="*/ 2 h 31"/>
                    <a:gd name="T46" fmla="*/ 51 w 59"/>
                    <a:gd name="T47" fmla="*/ 4 h 31"/>
                    <a:gd name="T48" fmla="*/ 59 w 59"/>
                    <a:gd name="T49"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386" name="Freeform 544">
                  <a:extLst>
                    <a:ext uri="{FF2B5EF4-FFF2-40B4-BE49-F238E27FC236}">
                      <a16:creationId xmlns="" xmlns:a16="http://schemas.microsoft.com/office/drawing/2014/main" id="{2541A7CD-9D59-44E4-B756-B5FA80C456B2}"/>
                    </a:ext>
                  </a:extLst>
                </p:cNvPr>
                <p:cNvSpPr>
                  <a:spLocks/>
                </p:cNvSpPr>
                <p:nvPr>
                  <p:custDataLst>
                    <p:tags r:id="rId374"/>
                  </p:custDataLst>
                </p:nvPr>
              </p:nvSpPr>
              <p:spPr bwMode="auto">
                <a:xfrm>
                  <a:off x="6886977" y="2413955"/>
                  <a:ext cx="123856" cy="192540"/>
                </a:xfrm>
                <a:custGeom>
                  <a:avLst/>
                  <a:gdLst>
                    <a:gd name="T0" fmla="*/ 200 w 399"/>
                    <a:gd name="T1" fmla="*/ 8 h 518"/>
                    <a:gd name="T2" fmla="*/ 202 w 399"/>
                    <a:gd name="T3" fmla="*/ 22 h 518"/>
                    <a:gd name="T4" fmla="*/ 208 w 399"/>
                    <a:gd name="T5" fmla="*/ 36 h 518"/>
                    <a:gd name="T6" fmla="*/ 214 w 399"/>
                    <a:gd name="T7" fmla="*/ 49 h 518"/>
                    <a:gd name="T8" fmla="*/ 224 w 399"/>
                    <a:gd name="T9" fmla="*/ 63 h 518"/>
                    <a:gd name="T10" fmla="*/ 235 w 399"/>
                    <a:gd name="T11" fmla="*/ 75 h 518"/>
                    <a:gd name="T12" fmla="*/ 249 w 399"/>
                    <a:gd name="T13" fmla="*/ 86 h 518"/>
                    <a:gd name="T14" fmla="*/ 264 w 399"/>
                    <a:gd name="T15" fmla="*/ 95 h 518"/>
                    <a:gd name="T16" fmla="*/ 316 w 399"/>
                    <a:gd name="T17" fmla="*/ 106 h 518"/>
                    <a:gd name="T18" fmla="*/ 365 w 399"/>
                    <a:gd name="T19" fmla="*/ 119 h 518"/>
                    <a:gd name="T20" fmla="*/ 380 w 399"/>
                    <a:gd name="T21" fmla="*/ 127 h 518"/>
                    <a:gd name="T22" fmla="*/ 392 w 399"/>
                    <a:gd name="T23" fmla="*/ 137 h 518"/>
                    <a:gd name="T24" fmla="*/ 398 w 399"/>
                    <a:gd name="T25" fmla="*/ 151 h 518"/>
                    <a:gd name="T26" fmla="*/ 398 w 399"/>
                    <a:gd name="T27" fmla="*/ 174 h 518"/>
                    <a:gd name="T28" fmla="*/ 390 w 399"/>
                    <a:gd name="T29" fmla="*/ 200 h 518"/>
                    <a:gd name="T30" fmla="*/ 369 w 399"/>
                    <a:gd name="T31" fmla="*/ 239 h 518"/>
                    <a:gd name="T32" fmla="*/ 344 w 399"/>
                    <a:gd name="T33" fmla="*/ 276 h 518"/>
                    <a:gd name="T34" fmla="*/ 328 w 399"/>
                    <a:gd name="T35" fmla="*/ 303 h 518"/>
                    <a:gd name="T36" fmla="*/ 314 w 399"/>
                    <a:gd name="T37" fmla="*/ 330 h 518"/>
                    <a:gd name="T38" fmla="*/ 307 w 399"/>
                    <a:gd name="T39" fmla="*/ 360 h 518"/>
                    <a:gd name="T40" fmla="*/ 297 w 399"/>
                    <a:gd name="T41" fmla="*/ 377 h 518"/>
                    <a:gd name="T42" fmla="*/ 268 w 399"/>
                    <a:gd name="T43" fmla="*/ 387 h 518"/>
                    <a:gd name="T44" fmla="*/ 246 w 399"/>
                    <a:gd name="T45" fmla="*/ 399 h 518"/>
                    <a:gd name="T46" fmla="*/ 235 w 399"/>
                    <a:gd name="T47" fmla="*/ 408 h 518"/>
                    <a:gd name="T48" fmla="*/ 227 w 399"/>
                    <a:gd name="T49" fmla="*/ 417 h 518"/>
                    <a:gd name="T50" fmla="*/ 224 w 399"/>
                    <a:gd name="T51" fmla="*/ 427 h 518"/>
                    <a:gd name="T52" fmla="*/ 213 w 399"/>
                    <a:gd name="T53" fmla="*/ 438 h 518"/>
                    <a:gd name="T54" fmla="*/ 188 w 399"/>
                    <a:gd name="T55" fmla="*/ 450 h 518"/>
                    <a:gd name="T56" fmla="*/ 173 w 399"/>
                    <a:gd name="T57" fmla="*/ 456 h 518"/>
                    <a:gd name="T58" fmla="*/ 166 w 399"/>
                    <a:gd name="T59" fmla="*/ 467 h 518"/>
                    <a:gd name="T60" fmla="*/ 158 w 399"/>
                    <a:gd name="T61" fmla="*/ 481 h 518"/>
                    <a:gd name="T62" fmla="*/ 146 w 399"/>
                    <a:gd name="T63" fmla="*/ 490 h 518"/>
                    <a:gd name="T64" fmla="*/ 131 w 399"/>
                    <a:gd name="T65" fmla="*/ 494 h 518"/>
                    <a:gd name="T66" fmla="*/ 102 w 399"/>
                    <a:gd name="T67" fmla="*/ 498 h 518"/>
                    <a:gd name="T68" fmla="*/ 73 w 399"/>
                    <a:gd name="T69" fmla="*/ 504 h 518"/>
                    <a:gd name="T70" fmla="*/ 55 w 399"/>
                    <a:gd name="T71" fmla="*/ 512 h 518"/>
                    <a:gd name="T72" fmla="*/ 46 w 399"/>
                    <a:gd name="T73" fmla="*/ 514 h 518"/>
                    <a:gd name="T74" fmla="*/ 43 w 399"/>
                    <a:gd name="T75" fmla="*/ 506 h 518"/>
                    <a:gd name="T76" fmla="*/ 38 w 399"/>
                    <a:gd name="T77" fmla="*/ 497 h 518"/>
                    <a:gd name="T78" fmla="*/ 34 w 399"/>
                    <a:gd name="T79" fmla="*/ 487 h 518"/>
                    <a:gd name="T80" fmla="*/ 33 w 399"/>
                    <a:gd name="T81" fmla="*/ 468 h 518"/>
                    <a:gd name="T82" fmla="*/ 29 w 399"/>
                    <a:gd name="T83" fmla="*/ 445 h 518"/>
                    <a:gd name="T84" fmla="*/ 17 w 399"/>
                    <a:gd name="T85" fmla="*/ 418 h 518"/>
                    <a:gd name="T86" fmla="*/ 0 w 399"/>
                    <a:gd name="T87" fmla="*/ 358 h 518"/>
                    <a:gd name="T88" fmla="*/ 194 w 399"/>
                    <a:gd name="T89" fmla="*/ 185 h 518"/>
                    <a:gd name="T90" fmla="*/ 200 w 399"/>
                    <a:gd name="T91" fmla="*/ 0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87" name="Freeform 545">
                  <a:extLst>
                    <a:ext uri="{FF2B5EF4-FFF2-40B4-BE49-F238E27FC236}">
                      <a16:creationId xmlns="" xmlns:a16="http://schemas.microsoft.com/office/drawing/2014/main" id="{C2C56B38-B3C1-4C00-AC77-9096EEF875B3}"/>
                    </a:ext>
                  </a:extLst>
                </p:cNvPr>
                <p:cNvSpPr>
                  <a:spLocks/>
                </p:cNvSpPr>
                <p:nvPr>
                  <p:custDataLst>
                    <p:tags r:id="rId375"/>
                  </p:custDataLst>
                </p:nvPr>
              </p:nvSpPr>
              <p:spPr bwMode="auto">
                <a:xfrm>
                  <a:off x="5983952" y="2452238"/>
                  <a:ext cx="266854" cy="273610"/>
                </a:xfrm>
                <a:custGeom>
                  <a:avLst/>
                  <a:gdLst>
                    <a:gd name="T0" fmla="*/ 231 w 866"/>
                    <a:gd name="T1" fmla="*/ 270 h 740"/>
                    <a:gd name="T2" fmla="*/ 245 w 866"/>
                    <a:gd name="T3" fmla="*/ 264 h 740"/>
                    <a:gd name="T4" fmla="*/ 272 w 866"/>
                    <a:gd name="T5" fmla="*/ 272 h 740"/>
                    <a:gd name="T6" fmla="*/ 654 w 866"/>
                    <a:gd name="T7" fmla="*/ 1 h 740"/>
                    <a:gd name="T8" fmla="*/ 679 w 866"/>
                    <a:gd name="T9" fmla="*/ 6 h 740"/>
                    <a:gd name="T10" fmla="*/ 711 w 866"/>
                    <a:gd name="T11" fmla="*/ 21 h 740"/>
                    <a:gd name="T12" fmla="*/ 730 w 866"/>
                    <a:gd name="T13" fmla="*/ 35 h 740"/>
                    <a:gd name="T14" fmla="*/ 760 w 866"/>
                    <a:gd name="T15" fmla="*/ 57 h 740"/>
                    <a:gd name="T16" fmla="*/ 791 w 866"/>
                    <a:gd name="T17" fmla="*/ 59 h 740"/>
                    <a:gd name="T18" fmla="*/ 831 w 866"/>
                    <a:gd name="T19" fmla="*/ 43 h 740"/>
                    <a:gd name="T20" fmla="*/ 854 w 866"/>
                    <a:gd name="T21" fmla="*/ 166 h 740"/>
                    <a:gd name="T22" fmla="*/ 866 w 866"/>
                    <a:gd name="T23" fmla="*/ 205 h 740"/>
                    <a:gd name="T24" fmla="*/ 850 w 866"/>
                    <a:gd name="T25" fmla="*/ 301 h 740"/>
                    <a:gd name="T26" fmla="*/ 848 w 866"/>
                    <a:gd name="T27" fmla="*/ 376 h 740"/>
                    <a:gd name="T28" fmla="*/ 834 w 866"/>
                    <a:gd name="T29" fmla="*/ 421 h 740"/>
                    <a:gd name="T30" fmla="*/ 802 w 866"/>
                    <a:gd name="T31" fmla="*/ 467 h 740"/>
                    <a:gd name="T32" fmla="*/ 777 w 866"/>
                    <a:gd name="T33" fmla="*/ 499 h 740"/>
                    <a:gd name="T34" fmla="*/ 758 w 866"/>
                    <a:gd name="T35" fmla="*/ 567 h 740"/>
                    <a:gd name="T36" fmla="*/ 711 w 866"/>
                    <a:gd name="T37" fmla="*/ 629 h 740"/>
                    <a:gd name="T38" fmla="*/ 680 w 866"/>
                    <a:gd name="T39" fmla="*/ 646 h 740"/>
                    <a:gd name="T40" fmla="*/ 644 w 866"/>
                    <a:gd name="T41" fmla="*/ 638 h 740"/>
                    <a:gd name="T42" fmla="*/ 611 w 866"/>
                    <a:gd name="T43" fmla="*/ 625 h 740"/>
                    <a:gd name="T44" fmla="*/ 566 w 866"/>
                    <a:gd name="T45" fmla="*/ 633 h 740"/>
                    <a:gd name="T46" fmla="*/ 530 w 866"/>
                    <a:gd name="T47" fmla="*/ 659 h 740"/>
                    <a:gd name="T48" fmla="*/ 511 w 866"/>
                    <a:gd name="T49" fmla="*/ 680 h 740"/>
                    <a:gd name="T50" fmla="*/ 491 w 866"/>
                    <a:gd name="T51" fmla="*/ 684 h 740"/>
                    <a:gd name="T52" fmla="*/ 470 w 866"/>
                    <a:gd name="T53" fmla="*/ 668 h 740"/>
                    <a:gd name="T54" fmla="*/ 446 w 866"/>
                    <a:gd name="T55" fmla="*/ 639 h 740"/>
                    <a:gd name="T56" fmla="*/ 421 w 866"/>
                    <a:gd name="T57" fmla="*/ 635 h 740"/>
                    <a:gd name="T58" fmla="*/ 405 w 866"/>
                    <a:gd name="T59" fmla="*/ 647 h 740"/>
                    <a:gd name="T60" fmla="*/ 384 w 866"/>
                    <a:gd name="T61" fmla="*/ 652 h 740"/>
                    <a:gd name="T62" fmla="*/ 350 w 866"/>
                    <a:gd name="T63" fmla="*/ 638 h 740"/>
                    <a:gd name="T64" fmla="*/ 306 w 866"/>
                    <a:gd name="T65" fmla="*/ 608 h 740"/>
                    <a:gd name="T66" fmla="*/ 271 w 866"/>
                    <a:gd name="T67" fmla="*/ 604 h 740"/>
                    <a:gd name="T68" fmla="*/ 237 w 866"/>
                    <a:gd name="T69" fmla="*/ 620 h 740"/>
                    <a:gd name="T70" fmla="*/ 209 w 866"/>
                    <a:gd name="T71" fmla="*/ 653 h 740"/>
                    <a:gd name="T72" fmla="*/ 190 w 866"/>
                    <a:gd name="T73" fmla="*/ 692 h 740"/>
                    <a:gd name="T74" fmla="*/ 178 w 866"/>
                    <a:gd name="T75" fmla="*/ 719 h 740"/>
                    <a:gd name="T76" fmla="*/ 149 w 866"/>
                    <a:gd name="T77" fmla="*/ 702 h 740"/>
                    <a:gd name="T78" fmla="*/ 100 w 866"/>
                    <a:gd name="T79" fmla="*/ 740 h 740"/>
                    <a:gd name="T80" fmla="*/ 66 w 866"/>
                    <a:gd name="T81" fmla="*/ 699 h 740"/>
                    <a:gd name="T82" fmla="*/ 64 w 866"/>
                    <a:gd name="T83" fmla="*/ 644 h 740"/>
                    <a:gd name="T84" fmla="*/ 50 w 866"/>
                    <a:gd name="T85" fmla="*/ 613 h 740"/>
                    <a:gd name="T86" fmla="*/ 20 w 866"/>
                    <a:gd name="T87" fmla="*/ 587 h 740"/>
                    <a:gd name="T88" fmla="*/ 5 w 866"/>
                    <a:gd name="T89" fmla="*/ 558 h 740"/>
                    <a:gd name="T90" fmla="*/ 53 w 866"/>
                    <a:gd name="T91" fmla="*/ 530 h 740"/>
                    <a:gd name="T92" fmla="*/ 76 w 866"/>
                    <a:gd name="T93" fmla="*/ 518 h 740"/>
                    <a:gd name="T94" fmla="*/ 139 w 866"/>
                    <a:gd name="T95" fmla="*/ 510 h 740"/>
                    <a:gd name="T96" fmla="*/ 182 w 866"/>
                    <a:gd name="T97" fmla="*/ 500 h 740"/>
                    <a:gd name="T98" fmla="*/ 201 w 866"/>
                    <a:gd name="T99" fmla="*/ 475 h 740"/>
                    <a:gd name="T100" fmla="*/ 219 w 866"/>
                    <a:gd name="T101" fmla="*/ 424 h 740"/>
                    <a:gd name="T102" fmla="*/ 224 w 866"/>
                    <a:gd name="T103" fmla="*/ 367 h 740"/>
                    <a:gd name="T104" fmla="*/ 219 w 866"/>
                    <a:gd name="T105" fmla="*/ 320 h 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CDCDCD"/>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388" name="Freeform 546">
                  <a:extLst>
                    <a:ext uri="{FF2B5EF4-FFF2-40B4-BE49-F238E27FC236}">
                      <a16:creationId xmlns="" xmlns:a16="http://schemas.microsoft.com/office/drawing/2014/main" id="{AE954811-EC76-49CA-AFE0-4EAF59A6EF62}"/>
                    </a:ext>
                  </a:extLst>
                </p:cNvPr>
                <p:cNvSpPr>
                  <a:spLocks/>
                </p:cNvSpPr>
                <p:nvPr>
                  <p:custDataLst>
                    <p:tags r:id="rId376"/>
                  </p:custDataLst>
                </p:nvPr>
              </p:nvSpPr>
              <p:spPr bwMode="auto">
                <a:xfrm>
                  <a:off x="5749750" y="2180879"/>
                  <a:ext cx="212808" cy="184659"/>
                </a:xfrm>
                <a:custGeom>
                  <a:avLst/>
                  <a:gdLst>
                    <a:gd name="T0" fmla="*/ 648 w 697"/>
                    <a:gd name="T1" fmla="*/ 53 h 500"/>
                    <a:gd name="T2" fmla="*/ 657 w 697"/>
                    <a:gd name="T3" fmla="*/ 161 h 500"/>
                    <a:gd name="T4" fmla="*/ 661 w 697"/>
                    <a:gd name="T5" fmla="*/ 167 h 500"/>
                    <a:gd name="T6" fmla="*/ 677 w 697"/>
                    <a:gd name="T7" fmla="*/ 177 h 500"/>
                    <a:gd name="T8" fmla="*/ 694 w 697"/>
                    <a:gd name="T9" fmla="*/ 189 h 500"/>
                    <a:gd name="T10" fmla="*/ 697 w 697"/>
                    <a:gd name="T11" fmla="*/ 198 h 500"/>
                    <a:gd name="T12" fmla="*/ 694 w 697"/>
                    <a:gd name="T13" fmla="*/ 211 h 500"/>
                    <a:gd name="T14" fmla="*/ 685 w 697"/>
                    <a:gd name="T15" fmla="*/ 217 h 500"/>
                    <a:gd name="T16" fmla="*/ 655 w 697"/>
                    <a:gd name="T17" fmla="*/ 218 h 500"/>
                    <a:gd name="T18" fmla="*/ 605 w 697"/>
                    <a:gd name="T19" fmla="*/ 228 h 500"/>
                    <a:gd name="T20" fmla="*/ 567 w 697"/>
                    <a:gd name="T21" fmla="*/ 250 h 500"/>
                    <a:gd name="T22" fmla="*/ 549 w 697"/>
                    <a:gd name="T23" fmla="*/ 267 h 500"/>
                    <a:gd name="T24" fmla="*/ 539 w 697"/>
                    <a:gd name="T25" fmla="*/ 288 h 500"/>
                    <a:gd name="T26" fmla="*/ 521 w 697"/>
                    <a:gd name="T27" fmla="*/ 302 h 500"/>
                    <a:gd name="T28" fmla="*/ 491 w 697"/>
                    <a:gd name="T29" fmla="*/ 324 h 500"/>
                    <a:gd name="T30" fmla="*/ 455 w 697"/>
                    <a:gd name="T31" fmla="*/ 352 h 500"/>
                    <a:gd name="T32" fmla="*/ 420 w 697"/>
                    <a:gd name="T33" fmla="*/ 370 h 500"/>
                    <a:gd name="T34" fmla="*/ 372 w 697"/>
                    <a:gd name="T35" fmla="*/ 377 h 500"/>
                    <a:gd name="T36" fmla="*/ 344 w 697"/>
                    <a:gd name="T37" fmla="*/ 380 h 500"/>
                    <a:gd name="T38" fmla="*/ 316 w 697"/>
                    <a:gd name="T39" fmla="*/ 396 h 500"/>
                    <a:gd name="T40" fmla="*/ 290 w 697"/>
                    <a:gd name="T41" fmla="*/ 417 h 500"/>
                    <a:gd name="T42" fmla="*/ 265 w 697"/>
                    <a:gd name="T43" fmla="*/ 426 h 500"/>
                    <a:gd name="T44" fmla="*/ 5 w 697"/>
                    <a:gd name="T45" fmla="*/ 496 h 500"/>
                    <a:gd name="T46" fmla="*/ 32 w 697"/>
                    <a:gd name="T47" fmla="*/ 487 h 500"/>
                    <a:gd name="T48" fmla="*/ 85 w 697"/>
                    <a:gd name="T49" fmla="*/ 473 h 500"/>
                    <a:gd name="T50" fmla="*/ 93 w 697"/>
                    <a:gd name="T51" fmla="*/ 459 h 500"/>
                    <a:gd name="T52" fmla="*/ 99 w 697"/>
                    <a:gd name="T53" fmla="*/ 438 h 500"/>
                    <a:gd name="T54" fmla="*/ 119 w 697"/>
                    <a:gd name="T55" fmla="*/ 422 h 500"/>
                    <a:gd name="T56" fmla="*/ 160 w 697"/>
                    <a:gd name="T57" fmla="*/ 399 h 500"/>
                    <a:gd name="T58" fmla="*/ 181 w 697"/>
                    <a:gd name="T59" fmla="*/ 382 h 500"/>
                    <a:gd name="T60" fmla="*/ 192 w 697"/>
                    <a:gd name="T61" fmla="*/ 357 h 500"/>
                    <a:gd name="T62" fmla="*/ 193 w 697"/>
                    <a:gd name="T63" fmla="*/ 316 h 500"/>
                    <a:gd name="T64" fmla="*/ 195 w 697"/>
                    <a:gd name="T65" fmla="*/ 254 h 500"/>
                    <a:gd name="T66" fmla="*/ 192 w 697"/>
                    <a:gd name="T67" fmla="*/ 192 h 500"/>
                    <a:gd name="T68" fmla="*/ 214 w 697"/>
                    <a:gd name="T69" fmla="*/ 189 h 500"/>
                    <a:gd name="T70" fmla="*/ 228 w 697"/>
                    <a:gd name="T71" fmla="*/ 179 h 500"/>
                    <a:gd name="T72" fmla="*/ 241 w 697"/>
                    <a:gd name="T73" fmla="*/ 165 h 500"/>
                    <a:gd name="T74" fmla="*/ 252 w 697"/>
                    <a:gd name="T75" fmla="*/ 152 h 500"/>
                    <a:gd name="T76" fmla="*/ 281 w 697"/>
                    <a:gd name="T77" fmla="*/ 146 h 500"/>
                    <a:gd name="T78" fmla="*/ 314 w 697"/>
                    <a:gd name="T79" fmla="*/ 143 h 500"/>
                    <a:gd name="T80" fmla="*/ 340 w 697"/>
                    <a:gd name="T81" fmla="*/ 131 h 500"/>
                    <a:gd name="T82" fmla="*/ 360 w 697"/>
                    <a:gd name="T83" fmla="*/ 108 h 500"/>
                    <a:gd name="T84" fmla="*/ 388 w 697"/>
                    <a:gd name="T85" fmla="*/ 48 h 500"/>
                    <a:gd name="T86" fmla="*/ 407 w 697"/>
                    <a:gd name="T87" fmla="*/ 12 h 500"/>
                    <a:gd name="T88" fmla="*/ 426 w 697"/>
                    <a:gd name="T89" fmla="*/ 8 h 500"/>
                    <a:gd name="T90" fmla="*/ 449 w 697"/>
                    <a:gd name="T91" fmla="*/ 20 h 500"/>
                    <a:gd name="T92" fmla="*/ 512 w 697"/>
                    <a:gd name="T93" fmla="*/ 18 h 500"/>
                    <a:gd name="T94" fmla="*/ 590 w 697"/>
                    <a:gd name="T95" fmla="*/ 13 h 500"/>
                    <a:gd name="T96" fmla="*/ 597 w 697"/>
                    <a:gd name="T97" fmla="*/ 17 h 500"/>
                    <a:gd name="T98" fmla="*/ 605 w 697"/>
                    <a:gd name="T99" fmla="*/ 36 h 500"/>
                    <a:gd name="T100" fmla="*/ 611 w 697"/>
                    <a:gd name="T101" fmla="*/ 51 h 500"/>
                    <a:gd name="T102" fmla="*/ 618 w 697"/>
                    <a:gd name="T103" fmla="*/ 5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89" name="Freeform 547">
                  <a:extLst>
                    <a:ext uri="{FF2B5EF4-FFF2-40B4-BE49-F238E27FC236}">
                      <a16:creationId xmlns="" xmlns:a16="http://schemas.microsoft.com/office/drawing/2014/main" id="{A9572439-3595-444A-9F23-FF7DC9AAB97B}"/>
                    </a:ext>
                  </a:extLst>
                </p:cNvPr>
                <p:cNvSpPr>
                  <a:spLocks/>
                </p:cNvSpPr>
                <p:nvPr>
                  <p:custDataLst>
                    <p:tags r:id="rId377"/>
                  </p:custDataLst>
                </p:nvPr>
              </p:nvSpPr>
              <p:spPr bwMode="auto">
                <a:xfrm>
                  <a:off x="6246302" y="1421977"/>
                  <a:ext cx="167769" cy="65306"/>
                </a:xfrm>
                <a:custGeom>
                  <a:avLst/>
                  <a:gdLst>
                    <a:gd name="T0" fmla="*/ 74 w 546"/>
                    <a:gd name="T1" fmla="*/ 19 h 173"/>
                    <a:gd name="T2" fmla="*/ 94 w 546"/>
                    <a:gd name="T3" fmla="*/ 34 h 173"/>
                    <a:gd name="T4" fmla="*/ 110 w 546"/>
                    <a:gd name="T5" fmla="*/ 27 h 173"/>
                    <a:gd name="T6" fmla="*/ 132 w 546"/>
                    <a:gd name="T7" fmla="*/ 27 h 173"/>
                    <a:gd name="T8" fmla="*/ 161 w 546"/>
                    <a:gd name="T9" fmla="*/ 44 h 173"/>
                    <a:gd name="T10" fmla="*/ 209 w 546"/>
                    <a:gd name="T11" fmla="*/ 19 h 173"/>
                    <a:gd name="T12" fmla="*/ 243 w 546"/>
                    <a:gd name="T13" fmla="*/ 19 h 173"/>
                    <a:gd name="T14" fmla="*/ 260 w 546"/>
                    <a:gd name="T15" fmla="*/ 16 h 173"/>
                    <a:gd name="T16" fmla="*/ 269 w 546"/>
                    <a:gd name="T17" fmla="*/ 14 h 173"/>
                    <a:gd name="T18" fmla="*/ 279 w 546"/>
                    <a:gd name="T19" fmla="*/ 11 h 173"/>
                    <a:gd name="T20" fmla="*/ 286 w 546"/>
                    <a:gd name="T21" fmla="*/ 3 h 173"/>
                    <a:gd name="T22" fmla="*/ 321 w 546"/>
                    <a:gd name="T23" fmla="*/ 5 h 173"/>
                    <a:gd name="T24" fmla="*/ 333 w 546"/>
                    <a:gd name="T25" fmla="*/ 12 h 173"/>
                    <a:gd name="T26" fmla="*/ 348 w 546"/>
                    <a:gd name="T27" fmla="*/ 7 h 173"/>
                    <a:gd name="T28" fmla="*/ 353 w 546"/>
                    <a:gd name="T29" fmla="*/ 0 h 173"/>
                    <a:gd name="T30" fmla="*/ 367 w 546"/>
                    <a:gd name="T31" fmla="*/ 7 h 173"/>
                    <a:gd name="T32" fmla="*/ 389 w 546"/>
                    <a:gd name="T33" fmla="*/ 7 h 173"/>
                    <a:gd name="T34" fmla="*/ 436 w 546"/>
                    <a:gd name="T35" fmla="*/ 1 h 173"/>
                    <a:gd name="T36" fmla="*/ 482 w 546"/>
                    <a:gd name="T37" fmla="*/ 6 h 173"/>
                    <a:gd name="T38" fmla="*/ 528 w 546"/>
                    <a:gd name="T39" fmla="*/ 12 h 173"/>
                    <a:gd name="T40" fmla="*/ 545 w 546"/>
                    <a:gd name="T41" fmla="*/ 49 h 173"/>
                    <a:gd name="T42" fmla="*/ 537 w 546"/>
                    <a:gd name="T43" fmla="*/ 60 h 173"/>
                    <a:gd name="T44" fmla="*/ 513 w 546"/>
                    <a:gd name="T45" fmla="*/ 62 h 173"/>
                    <a:gd name="T46" fmla="*/ 483 w 546"/>
                    <a:gd name="T47" fmla="*/ 54 h 173"/>
                    <a:gd name="T48" fmla="*/ 413 w 546"/>
                    <a:gd name="T49" fmla="*/ 44 h 173"/>
                    <a:gd name="T50" fmla="*/ 438 w 546"/>
                    <a:gd name="T51" fmla="*/ 81 h 173"/>
                    <a:gd name="T52" fmla="*/ 471 w 546"/>
                    <a:gd name="T53" fmla="*/ 102 h 173"/>
                    <a:gd name="T54" fmla="*/ 493 w 546"/>
                    <a:gd name="T55" fmla="*/ 119 h 173"/>
                    <a:gd name="T56" fmla="*/ 475 w 546"/>
                    <a:gd name="T57" fmla="*/ 136 h 173"/>
                    <a:gd name="T58" fmla="*/ 449 w 546"/>
                    <a:gd name="T59" fmla="*/ 142 h 173"/>
                    <a:gd name="T60" fmla="*/ 426 w 546"/>
                    <a:gd name="T61" fmla="*/ 141 h 173"/>
                    <a:gd name="T62" fmla="*/ 412 w 546"/>
                    <a:gd name="T63" fmla="*/ 134 h 173"/>
                    <a:gd name="T64" fmla="*/ 399 w 546"/>
                    <a:gd name="T65" fmla="*/ 130 h 173"/>
                    <a:gd name="T66" fmla="*/ 385 w 546"/>
                    <a:gd name="T67" fmla="*/ 121 h 173"/>
                    <a:gd name="T68" fmla="*/ 375 w 546"/>
                    <a:gd name="T69" fmla="*/ 104 h 173"/>
                    <a:gd name="T70" fmla="*/ 365 w 546"/>
                    <a:gd name="T71" fmla="*/ 92 h 173"/>
                    <a:gd name="T72" fmla="*/ 344 w 546"/>
                    <a:gd name="T73" fmla="*/ 84 h 173"/>
                    <a:gd name="T74" fmla="*/ 325 w 546"/>
                    <a:gd name="T75" fmla="*/ 76 h 173"/>
                    <a:gd name="T76" fmla="*/ 303 w 546"/>
                    <a:gd name="T77" fmla="*/ 87 h 173"/>
                    <a:gd name="T78" fmla="*/ 258 w 546"/>
                    <a:gd name="T79" fmla="*/ 134 h 173"/>
                    <a:gd name="T80" fmla="*/ 236 w 546"/>
                    <a:gd name="T81" fmla="*/ 163 h 173"/>
                    <a:gd name="T82" fmla="*/ 220 w 546"/>
                    <a:gd name="T83" fmla="*/ 172 h 173"/>
                    <a:gd name="T84" fmla="*/ 188 w 546"/>
                    <a:gd name="T85" fmla="*/ 167 h 173"/>
                    <a:gd name="T86" fmla="*/ 165 w 546"/>
                    <a:gd name="T87" fmla="*/ 155 h 173"/>
                    <a:gd name="T88" fmla="*/ 113 w 546"/>
                    <a:gd name="T89" fmla="*/ 105 h 173"/>
                    <a:gd name="T90" fmla="*/ 95 w 546"/>
                    <a:gd name="T91" fmla="*/ 91 h 173"/>
                    <a:gd name="T92" fmla="*/ 60 w 546"/>
                    <a:gd name="T93" fmla="*/ 76 h 173"/>
                    <a:gd name="T94" fmla="*/ 16 w 546"/>
                    <a:gd name="T95" fmla="*/ 58 h 173"/>
                    <a:gd name="T96" fmla="*/ 11 w 546"/>
                    <a:gd name="T97" fmla="*/ 34 h 173"/>
                    <a:gd name="T98" fmla="*/ 28 w 546"/>
                    <a:gd name="T99" fmla="*/ 19 h 173"/>
                    <a:gd name="T100" fmla="*/ 47 w 546"/>
                    <a:gd name="T101" fmla="*/ 1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90" name="Freeform 548">
                  <a:extLst>
                    <a:ext uri="{FF2B5EF4-FFF2-40B4-BE49-F238E27FC236}">
                      <a16:creationId xmlns="" xmlns:a16="http://schemas.microsoft.com/office/drawing/2014/main" id="{5E18F030-6E86-4D6D-93F2-133AA814DFAF}"/>
                    </a:ext>
                  </a:extLst>
                </p:cNvPr>
                <p:cNvSpPr>
                  <a:spLocks/>
                </p:cNvSpPr>
                <p:nvPr>
                  <p:custDataLst>
                    <p:tags r:id="rId378"/>
                  </p:custDataLst>
                </p:nvPr>
              </p:nvSpPr>
              <p:spPr bwMode="auto">
                <a:xfrm>
                  <a:off x="6608864" y="1410718"/>
                  <a:ext cx="76566" cy="42787"/>
                </a:xfrm>
                <a:custGeom>
                  <a:avLst/>
                  <a:gdLst>
                    <a:gd name="T0" fmla="*/ 27 w 246"/>
                    <a:gd name="T1" fmla="*/ 36 h 42"/>
                    <a:gd name="T2" fmla="*/ 36 w 246"/>
                    <a:gd name="T3" fmla="*/ 36 h 42"/>
                    <a:gd name="T4" fmla="*/ 45 w 246"/>
                    <a:gd name="T5" fmla="*/ 35 h 42"/>
                    <a:gd name="T6" fmla="*/ 53 w 246"/>
                    <a:gd name="T7" fmla="*/ 33 h 42"/>
                    <a:gd name="T8" fmla="*/ 59 w 246"/>
                    <a:gd name="T9" fmla="*/ 31 h 42"/>
                    <a:gd name="T10" fmla="*/ 66 w 246"/>
                    <a:gd name="T11" fmla="*/ 30 h 42"/>
                    <a:gd name="T12" fmla="*/ 72 w 246"/>
                    <a:gd name="T13" fmla="*/ 29 h 42"/>
                    <a:gd name="T14" fmla="*/ 80 w 246"/>
                    <a:gd name="T15" fmla="*/ 29 h 42"/>
                    <a:gd name="T16" fmla="*/ 87 w 246"/>
                    <a:gd name="T17" fmla="*/ 30 h 42"/>
                    <a:gd name="T18" fmla="*/ 87 w 246"/>
                    <a:gd name="T19" fmla="*/ 42 h 42"/>
                    <a:gd name="T20" fmla="*/ 154 w 246"/>
                    <a:gd name="T21" fmla="*/ 42 h 42"/>
                    <a:gd name="T22" fmla="*/ 154 w 246"/>
                    <a:gd name="T23" fmla="*/ 39 h 42"/>
                    <a:gd name="T24" fmla="*/ 156 w 246"/>
                    <a:gd name="T25" fmla="*/ 36 h 42"/>
                    <a:gd name="T26" fmla="*/ 159 w 246"/>
                    <a:gd name="T27" fmla="*/ 33 h 42"/>
                    <a:gd name="T28" fmla="*/ 163 w 246"/>
                    <a:gd name="T29" fmla="*/ 31 h 42"/>
                    <a:gd name="T30" fmla="*/ 175 w 246"/>
                    <a:gd name="T31" fmla="*/ 26 h 42"/>
                    <a:gd name="T32" fmla="*/ 190 w 246"/>
                    <a:gd name="T33" fmla="*/ 23 h 42"/>
                    <a:gd name="T34" fmla="*/ 221 w 246"/>
                    <a:gd name="T35" fmla="*/ 17 h 42"/>
                    <a:gd name="T36" fmla="*/ 246 w 246"/>
                    <a:gd name="T37" fmla="*/ 12 h 42"/>
                    <a:gd name="T38" fmla="*/ 212 w 246"/>
                    <a:gd name="T39" fmla="*/ 13 h 42"/>
                    <a:gd name="T40" fmla="*/ 186 w 246"/>
                    <a:gd name="T41" fmla="*/ 14 h 42"/>
                    <a:gd name="T42" fmla="*/ 178 w 246"/>
                    <a:gd name="T43" fmla="*/ 15 h 42"/>
                    <a:gd name="T44" fmla="*/ 171 w 246"/>
                    <a:gd name="T45" fmla="*/ 15 h 42"/>
                    <a:gd name="T46" fmla="*/ 168 w 246"/>
                    <a:gd name="T47" fmla="*/ 14 h 42"/>
                    <a:gd name="T48" fmla="*/ 167 w 246"/>
                    <a:gd name="T49" fmla="*/ 12 h 42"/>
                    <a:gd name="T50" fmla="*/ 159 w 246"/>
                    <a:gd name="T51" fmla="*/ 16 h 42"/>
                    <a:gd name="T52" fmla="*/ 152 w 246"/>
                    <a:gd name="T53" fmla="*/ 17 h 42"/>
                    <a:gd name="T54" fmla="*/ 147 w 246"/>
                    <a:gd name="T55" fmla="*/ 17 h 42"/>
                    <a:gd name="T56" fmla="*/ 141 w 246"/>
                    <a:gd name="T57" fmla="*/ 15 h 42"/>
                    <a:gd name="T58" fmla="*/ 137 w 246"/>
                    <a:gd name="T59" fmla="*/ 12 h 42"/>
                    <a:gd name="T60" fmla="*/ 133 w 246"/>
                    <a:gd name="T61" fmla="*/ 9 h 42"/>
                    <a:gd name="T62" fmla="*/ 129 w 246"/>
                    <a:gd name="T63" fmla="*/ 5 h 42"/>
                    <a:gd name="T64" fmla="*/ 126 w 246"/>
                    <a:gd name="T65" fmla="*/ 0 h 42"/>
                    <a:gd name="T66" fmla="*/ 121 w 246"/>
                    <a:gd name="T67" fmla="*/ 2 h 42"/>
                    <a:gd name="T68" fmla="*/ 113 w 246"/>
                    <a:gd name="T69" fmla="*/ 4 h 42"/>
                    <a:gd name="T70" fmla="*/ 103 w 246"/>
                    <a:gd name="T71" fmla="*/ 5 h 42"/>
                    <a:gd name="T72" fmla="*/ 93 w 246"/>
                    <a:gd name="T73" fmla="*/ 5 h 42"/>
                    <a:gd name="T74" fmla="*/ 74 w 246"/>
                    <a:gd name="T75" fmla="*/ 6 h 42"/>
                    <a:gd name="T76" fmla="*/ 60 w 246"/>
                    <a:gd name="T77" fmla="*/ 6 h 42"/>
                    <a:gd name="T78" fmla="*/ 58 w 246"/>
                    <a:gd name="T79" fmla="*/ 9 h 42"/>
                    <a:gd name="T80" fmla="*/ 56 w 246"/>
                    <a:gd name="T81" fmla="*/ 12 h 42"/>
                    <a:gd name="T82" fmla="*/ 54 w 246"/>
                    <a:gd name="T83" fmla="*/ 15 h 42"/>
                    <a:gd name="T84" fmla="*/ 50 w 246"/>
                    <a:gd name="T85" fmla="*/ 17 h 42"/>
                    <a:gd name="T86" fmla="*/ 42 w 246"/>
                    <a:gd name="T87" fmla="*/ 20 h 42"/>
                    <a:gd name="T88" fmla="*/ 33 w 246"/>
                    <a:gd name="T89" fmla="*/ 22 h 42"/>
                    <a:gd name="T90" fmla="*/ 14 w 246"/>
                    <a:gd name="T91" fmla="*/ 24 h 42"/>
                    <a:gd name="T92" fmla="*/ 0 w 246"/>
                    <a:gd name="T93" fmla="*/ 24 h 42"/>
                    <a:gd name="T94" fmla="*/ 1 w 246"/>
                    <a:gd name="T95" fmla="*/ 27 h 42"/>
                    <a:gd name="T96" fmla="*/ 3 w 246"/>
                    <a:gd name="T97" fmla="*/ 29 h 42"/>
                    <a:gd name="T98" fmla="*/ 5 w 246"/>
                    <a:gd name="T99" fmla="*/ 31 h 42"/>
                    <a:gd name="T100" fmla="*/ 9 w 246"/>
                    <a:gd name="T101" fmla="*/ 33 h 42"/>
                    <a:gd name="T102" fmla="*/ 17 w 246"/>
                    <a:gd name="T103" fmla="*/ 35 h 42"/>
                    <a:gd name="T104" fmla="*/ 27 w 246"/>
                    <a:gd name="T105"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91" name="Freeform 549">
                  <a:extLst>
                    <a:ext uri="{FF2B5EF4-FFF2-40B4-BE49-F238E27FC236}">
                      <a16:creationId xmlns="" xmlns:a16="http://schemas.microsoft.com/office/drawing/2014/main" id="{52ADEADE-0568-4340-8BAD-9492BDEE5F10}"/>
                    </a:ext>
                  </a:extLst>
                </p:cNvPr>
                <p:cNvSpPr>
                  <a:spLocks/>
                </p:cNvSpPr>
                <p:nvPr>
                  <p:custDataLst>
                    <p:tags r:id="rId379"/>
                  </p:custDataLst>
                </p:nvPr>
              </p:nvSpPr>
              <p:spPr bwMode="auto">
                <a:xfrm>
                  <a:off x="6710200" y="1398333"/>
                  <a:ext cx="45038" cy="40535"/>
                </a:xfrm>
                <a:custGeom>
                  <a:avLst/>
                  <a:gdLst>
                    <a:gd name="T0" fmla="*/ 103 w 149"/>
                    <a:gd name="T1" fmla="*/ 0 h 61"/>
                    <a:gd name="T2" fmla="*/ 118 w 149"/>
                    <a:gd name="T3" fmla="*/ 1 h 61"/>
                    <a:gd name="T4" fmla="*/ 134 w 149"/>
                    <a:gd name="T5" fmla="*/ 3 h 61"/>
                    <a:gd name="T6" fmla="*/ 145 w 149"/>
                    <a:gd name="T7" fmla="*/ 5 h 61"/>
                    <a:gd name="T8" fmla="*/ 149 w 149"/>
                    <a:gd name="T9" fmla="*/ 6 h 61"/>
                    <a:gd name="T10" fmla="*/ 149 w 149"/>
                    <a:gd name="T11" fmla="*/ 8 h 61"/>
                    <a:gd name="T12" fmla="*/ 147 w 149"/>
                    <a:gd name="T13" fmla="*/ 10 h 61"/>
                    <a:gd name="T14" fmla="*/ 145 w 149"/>
                    <a:gd name="T15" fmla="*/ 12 h 61"/>
                    <a:gd name="T16" fmla="*/ 141 w 149"/>
                    <a:gd name="T17" fmla="*/ 13 h 61"/>
                    <a:gd name="T18" fmla="*/ 137 w 149"/>
                    <a:gd name="T19" fmla="*/ 14 h 61"/>
                    <a:gd name="T20" fmla="*/ 132 w 149"/>
                    <a:gd name="T21" fmla="*/ 14 h 61"/>
                    <a:gd name="T22" fmla="*/ 127 w 149"/>
                    <a:gd name="T23" fmla="*/ 14 h 61"/>
                    <a:gd name="T24" fmla="*/ 123 w 149"/>
                    <a:gd name="T25" fmla="*/ 12 h 61"/>
                    <a:gd name="T26" fmla="*/ 123 w 149"/>
                    <a:gd name="T27" fmla="*/ 23 h 61"/>
                    <a:gd name="T28" fmla="*/ 123 w 149"/>
                    <a:gd name="T29" fmla="*/ 33 h 61"/>
                    <a:gd name="T30" fmla="*/ 123 w 149"/>
                    <a:gd name="T31" fmla="*/ 41 h 61"/>
                    <a:gd name="T32" fmla="*/ 123 w 149"/>
                    <a:gd name="T33" fmla="*/ 49 h 61"/>
                    <a:gd name="T34" fmla="*/ 116 w 149"/>
                    <a:gd name="T35" fmla="*/ 50 h 61"/>
                    <a:gd name="T36" fmla="*/ 109 w 149"/>
                    <a:gd name="T37" fmla="*/ 51 h 61"/>
                    <a:gd name="T38" fmla="*/ 104 w 149"/>
                    <a:gd name="T39" fmla="*/ 53 h 61"/>
                    <a:gd name="T40" fmla="*/ 100 w 149"/>
                    <a:gd name="T41" fmla="*/ 55 h 61"/>
                    <a:gd name="T42" fmla="*/ 94 w 149"/>
                    <a:gd name="T43" fmla="*/ 57 h 61"/>
                    <a:gd name="T44" fmla="*/ 89 w 149"/>
                    <a:gd name="T45" fmla="*/ 59 h 61"/>
                    <a:gd name="T46" fmla="*/ 83 w 149"/>
                    <a:gd name="T47" fmla="*/ 61 h 61"/>
                    <a:gd name="T48" fmla="*/ 76 w 149"/>
                    <a:gd name="T49" fmla="*/ 61 h 61"/>
                    <a:gd name="T50" fmla="*/ 67 w 149"/>
                    <a:gd name="T51" fmla="*/ 60 h 61"/>
                    <a:gd name="T52" fmla="*/ 53 w 149"/>
                    <a:gd name="T53" fmla="*/ 57 h 61"/>
                    <a:gd name="T54" fmla="*/ 39 w 149"/>
                    <a:gd name="T55" fmla="*/ 54 h 61"/>
                    <a:gd name="T56" fmla="*/ 25 w 149"/>
                    <a:gd name="T57" fmla="*/ 49 h 61"/>
                    <a:gd name="T58" fmla="*/ 12 w 149"/>
                    <a:gd name="T59" fmla="*/ 45 h 61"/>
                    <a:gd name="T60" fmla="*/ 3 w 149"/>
                    <a:gd name="T61" fmla="*/ 41 h 61"/>
                    <a:gd name="T62" fmla="*/ 1 w 149"/>
                    <a:gd name="T63" fmla="*/ 39 h 61"/>
                    <a:gd name="T64" fmla="*/ 0 w 149"/>
                    <a:gd name="T65" fmla="*/ 38 h 61"/>
                    <a:gd name="T66" fmla="*/ 0 w 149"/>
                    <a:gd name="T67" fmla="*/ 37 h 61"/>
                    <a:gd name="T68" fmla="*/ 3 w 149"/>
                    <a:gd name="T69" fmla="*/ 37 h 61"/>
                    <a:gd name="T70" fmla="*/ 19 w 149"/>
                    <a:gd name="T71" fmla="*/ 36 h 61"/>
                    <a:gd name="T72" fmla="*/ 35 w 149"/>
                    <a:gd name="T73" fmla="*/ 35 h 61"/>
                    <a:gd name="T74" fmla="*/ 48 w 149"/>
                    <a:gd name="T75" fmla="*/ 32 h 61"/>
                    <a:gd name="T76" fmla="*/ 60 w 149"/>
                    <a:gd name="T77" fmla="*/ 27 h 61"/>
                    <a:gd name="T78" fmla="*/ 72 w 149"/>
                    <a:gd name="T79" fmla="*/ 22 h 61"/>
                    <a:gd name="T80" fmla="*/ 82 w 149"/>
                    <a:gd name="T81" fmla="*/ 16 h 61"/>
                    <a:gd name="T82" fmla="*/ 93 w 149"/>
                    <a:gd name="T83" fmla="*/ 8 h 61"/>
                    <a:gd name="T84" fmla="*/ 103 w 149"/>
                    <a:gd name="T8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sp>
              <p:nvSpPr>
                <p:cNvPr id="392" name="Freeform 550">
                  <a:extLst>
                    <a:ext uri="{FF2B5EF4-FFF2-40B4-BE49-F238E27FC236}">
                      <a16:creationId xmlns="" xmlns:a16="http://schemas.microsoft.com/office/drawing/2014/main" id="{620EEA95-8612-4BEC-AED7-4058715E94C0}"/>
                    </a:ext>
                  </a:extLst>
                </p:cNvPr>
                <p:cNvSpPr>
                  <a:spLocks/>
                </p:cNvSpPr>
                <p:nvPr>
                  <p:custDataLst>
                    <p:tags r:id="rId380"/>
                  </p:custDataLst>
                </p:nvPr>
              </p:nvSpPr>
              <p:spPr bwMode="auto">
                <a:xfrm>
                  <a:off x="6736097" y="1403962"/>
                  <a:ext cx="92329" cy="40535"/>
                </a:xfrm>
                <a:custGeom>
                  <a:avLst/>
                  <a:gdLst>
                    <a:gd name="T0" fmla="*/ 133 w 299"/>
                    <a:gd name="T1" fmla="*/ 72 h 74"/>
                    <a:gd name="T2" fmla="*/ 154 w 299"/>
                    <a:gd name="T3" fmla="*/ 65 h 74"/>
                    <a:gd name="T4" fmla="*/ 178 w 299"/>
                    <a:gd name="T5" fmla="*/ 54 h 74"/>
                    <a:gd name="T6" fmla="*/ 199 w 299"/>
                    <a:gd name="T7" fmla="*/ 42 h 74"/>
                    <a:gd name="T8" fmla="*/ 207 w 299"/>
                    <a:gd name="T9" fmla="*/ 40 h 74"/>
                    <a:gd name="T10" fmla="*/ 211 w 299"/>
                    <a:gd name="T11" fmla="*/ 46 h 74"/>
                    <a:gd name="T12" fmla="*/ 220 w 299"/>
                    <a:gd name="T13" fmla="*/ 51 h 74"/>
                    <a:gd name="T14" fmla="*/ 243 w 299"/>
                    <a:gd name="T15" fmla="*/ 55 h 74"/>
                    <a:gd name="T16" fmla="*/ 269 w 299"/>
                    <a:gd name="T17" fmla="*/ 55 h 74"/>
                    <a:gd name="T18" fmla="*/ 286 w 299"/>
                    <a:gd name="T19" fmla="*/ 55 h 74"/>
                    <a:gd name="T20" fmla="*/ 293 w 299"/>
                    <a:gd name="T21" fmla="*/ 46 h 74"/>
                    <a:gd name="T22" fmla="*/ 298 w 299"/>
                    <a:gd name="T23" fmla="*/ 31 h 74"/>
                    <a:gd name="T24" fmla="*/ 279 w 299"/>
                    <a:gd name="T25" fmla="*/ 25 h 74"/>
                    <a:gd name="T26" fmla="*/ 244 w 299"/>
                    <a:gd name="T27" fmla="*/ 25 h 74"/>
                    <a:gd name="T28" fmla="*/ 225 w 299"/>
                    <a:gd name="T29" fmla="*/ 25 h 74"/>
                    <a:gd name="T30" fmla="*/ 214 w 299"/>
                    <a:gd name="T31" fmla="*/ 27 h 74"/>
                    <a:gd name="T32" fmla="*/ 204 w 299"/>
                    <a:gd name="T33" fmla="*/ 33 h 74"/>
                    <a:gd name="T34" fmla="*/ 172 w 299"/>
                    <a:gd name="T35" fmla="*/ 37 h 74"/>
                    <a:gd name="T36" fmla="*/ 176 w 299"/>
                    <a:gd name="T37" fmla="*/ 28 h 74"/>
                    <a:gd name="T38" fmla="*/ 180 w 299"/>
                    <a:gd name="T39" fmla="*/ 21 h 74"/>
                    <a:gd name="T40" fmla="*/ 194 w 299"/>
                    <a:gd name="T41" fmla="*/ 13 h 74"/>
                    <a:gd name="T42" fmla="*/ 210 w 299"/>
                    <a:gd name="T43" fmla="*/ 9 h 74"/>
                    <a:gd name="T44" fmla="*/ 225 w 299"/>
                    <a:gd name="T45" fmla="*/ 0 h 74"/>
                    <a:gd name="T46" fmla="*/ 185 w 299"/>
                    <a:gd name="T47" fmla="*/ 3 h 74"/>
                    <a:gd name="T48" fmla="*/ 157 w 299"/>
                    <a:gd name="T49" fmla="*/ 11 h 74"/>
                    <a:gd name="T50" fmla="*/ 134 w 299"/>
                    <a:gd name="T51" fmla="*/ 25 h 74"/>
                    <a:gd name="T52" fmla="*/ 114 w 299"/>
                    <a:gd name="T53" fmla="*/ 40 h 74"/>
                    <a:gd name="T54" fmla="*/ 100 w 299"/>
                    <a:gd name="T55" fmla="*/ 53 h 74"/>
                    <a:gd name="T56" fmla="*/ 87 w 299"/>
                    <a:gd name="T57" fmla="*/ 59 h 74"/>
                    <a:gd name="T58" fmla="*/ 64 w 299"/>
                    <a:gd name="T59" fmla="*/ 63 h 74"/>
                    <a:gd name="T60" fmla="*/ 32 w 299"/>
                    <a:gd name="T61" fmla="*/ 64 h 74"/>
                    <a:gd name="T62" fmla="*/ 12 w 299"/>
                    <a:gd name="T63" fmla="*/ 67 h 74"/>
                    <a:gd name="T64" fmla="*/ 2 w 299"/>
                    <a:gd name="T65" fmla="*/ 70 h 74"/>
                    <a:gd name="T66" fmla="*/ 39 w 299"/>
                    <a:gd name="T67" fmla="*/ 74 h 74"/>
                    <a:gd name="T68" fmla="*/ 102 w 299"/>
                    <a:gd name="T69"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DCDCD"/>
                </a:solidFill>
                <a:ln w="317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defTabSz="913137">
                    <a:defRPr/>
                  </a:pPr>
                  <a:endParaRPr lang="en-US" kern="0">
                    <a:solidFill>
                      <a:sysClr val="windowText" lastClr="000000"/>
                    </a:solidFill>
                    <a:cs typeface="Calibri" panose="020F0502020204030204" pitchFamily="34" charset="0"/>
                  </a:endParaRPr>
                </a:p>
              </p:txBody>
            </p:sp>
            <p:grpSp>
              <p:nvGrpSpPr>
                <p:cNvPr id="394" name="Group 393">
                  <a:extLst>
                    <a:ext uri="{FF2B5EF4-FFF2-40B4-BE49-F238E27FC236}">
                      <a16:creationId xmlns="" xmlns:a16="http://schemas.microsoft.com/office/drawing/2014/main" id="{40D6D24E-38FA-4A50-AB07-04CC9E011F7F}"/>
                    </a:ext>
                  </a:extLst>
                </p:cNvPr>
                <p:cNvGrpSpPr/>
                <p:nvPr/>
              </p:nvGrpSpPr>
              <p:grpSpPr>
                <a:xfrm>
                  <a:off x="3825065" y="2088937"/>
                  <a:ext cx="1562863" cy="1214382"/>
                  <a:chOff x="2653977" y="1931277"/>
                  <a:chExt cx="1562863" cy="1214382"/>
                </a:xfrm>
              </p:grpSpPr>
              <p:sp>
                <p:nvSpPr>
                  <p:cNvPr id="420" name="TextBox 419">
                    <a:extLst>
                      <a:ext uri="{FF2B5EF4-FFF2-40B4-BE49-F238E27FC236}">
                        <a16:creationId xmlns="" xmlns:a16="http://schemas.microsoft.com/office/drawing/2014/main" id="{CA811BE2-7261-46F5-B0D5-3AE36D134319}"/>
                      </a:ext>
                    </a:extLst>
                  </p:cNvPr>
                  <p:cNvSpPr txBox="1"/>
                  <p:nvPr/>
                </p:nvSpPr>
                <p:spPr>
                  <a:xfrm>
                    <a:off x="3601622" y="2887415"/>
                    <a:ext cx="615218" cy="258244"/>
                  </a:xfrm>
                  <a:prstGeom prst="rect">
                    <a:avLst/>
                  </a:prstGeom>
                  <a:noFill/>
                  <a:ln w="3175">
                    <a:noFill/>
                  </a:ln>
                </p:spPr>
                <p:txBody>
                  <a:bodyPr wrap="square" lIns="72000" tIns="46800" rIns="72000" bIns="46800" rtlCol="0" anchor="ctr" anchorCtr="0">
                    <a:spAutoFit/>
                  </a:bodyPr>
                  <a:lstStyle/>
                  <a:p>
                    <a:pPr algn="ctr" defTabSz="913137">
                      <a:defRPr/>
                    </a:pPr>
                    <a:endParaRPr lang="en-US" sz="800" b="1" kern="0">
                      <a:solidFill>
                        <a:srgbClr val="FFFFFF"/>
                      </a:solidFill>
                      <a:cs typeface="Calibri" panose="020F0502020204030204" pitchFamily="34" charset="0"/>
                    </a:endParaRPr>
                  </a:p>
                </p:txBody>
              </p:sp>
              <p:cxnSp>
                <p:nvCxnSpPr>
                  <p:cNvPr id="421" name="Straight Connector 420">
                    <a:extLst>
                      <a:ext uri="{FF2B5EF4-FFF2-40B4-BE49-F238E27FC236}">
                        <a16:creationId xmlns="" xmlns:a16="http://schemas.microsoft.com/office/drawing/2014/main" id="{347BA18A-26D2-4E07-B569-63B3B1372DEE}"/>
                      </a:ext>
                    </a:extLst>
                  </p:cNvPr>
                  <p:cNvCxnSpPr>
                    <a:cxnSpLocks/>
                    <a:stCxn id="162" idx="8"/>
                    <a:endCxn id="45" idx="2"/>
                  </p:cNvCxnSpPr>
                  <p:nvPr/>
                </p:nvCxnSpPr>
                <p:spPr>
                  <a:xfrm flipH="1" flipV="1">
                    <a:off x="2653977" y="1931277"/>
                    <a:ext cx="634729" cy="592633"/>
                  </a:xfrm>
                  <a:prstGeom prst="line">
                    <a:avLst/>
                  </a:prstGeom>
                  <a:noFill/>
                  <a:ln w="12700" cap="flat" cmpd="sng" algn="ctr">
                    <a:solidFill>
                      <a:schemeClr val="accent2"/>
                    </a:solidFill>
                    <a:prstDash val="solid"/>
                  </a:ln>
                  <a:effectLst/>
                </p:spPr>
              </p:cxnSp>
            </p:grpSp>
            <p:sp>
              <p:nvSpPr>
                <p:cNvPr id="395" name="Freeform 283">
                  <a:extLst>
                    <a:ext uri="{FF2B5EF4-FFF2-40B4-BE49-F238E27FC236}">
                      <a16:creationId xmlns="" xmlns:a16="http://schemas.microsoft.com/office/drawing/2014/main" id="{612A9985-76CF-48C4-B876-A35FDAF8F379}"/>
                    </a:ext>
                  </a:extLst>
                </p:cNvPr>
                <p:cNvSpPr>
                  <a:spLocks/>
                </p:cNvSpPr>
                <p:nvPr/>
              </p:nvSpPr>
              <p:spPr bwMode="auto">
                <a:xfrm>
                  <a:off x="8136133" y="2726856"/>
                  <a:ext cx="17767" cy="41362"/>
                </a:xfrm>
                <a:custGeom>
                  <a:avLst/>
                  <a:gdLst>
                    <a:gd name="T0" fmla="*/ 39 w 60"/>
                    <a:gd name="T1" fmla="*/ 110 h 110"/>
                    <a:gd name="T2" fmla="*/ 42 w 60"/>
                    <a:gd name="T3" fmla="*/ 109 h 110"/>
                    <a:gd name="T4" fmla="*/ 46 w 60"/>
                    <a:gd name="T5" fmla="*/ 106 h 110"/>
                    <a:gd name="T6" fmla="*/ 49 w 60"/>
                    <a:gd name="T7" fmla="*/ 101 h 110"/>
                    <a:gd name="T8" fmla="*/ 52 w 60"/>
                    <a:gd name="T9" fmla="*/ 96 h 110"/>
                    <a:gd name="T10" fmla="*/ 54 w 60"/>
                    <a:gd name="T11" fmla="*/ 90 h 110"/>
                    <a:gd name="T12" fmla="*/ 57 w 60"/>
                    <a:gd name="T13" fmla="*/ 84 h 110"/>
                    <a:gd name="T14" fmla="*/ 59 w 60"/>
                    <a:gd name="T15" fmla="*/ 78 h 110"/>
                    <a:gd name="T16" fmla="*/ 60 w 60"/>
                    <a:gd name="T17" fmla="*/ 73 h 110"/>
                    <a:gd name="T18" fmla="*/ 59 w 60"/>
                    <a:gd name="T19" fmla="*/ 60 h 110"/>
                    <a:gd name="T20" fmla="*/ 58 w 60"/>
                    <a:gd name="T21" fmla="*/ 48 h 110"/>
                    <a:gd name="T22" fmla="*/ 57 w 60"/>
                    <a:gd name="T23" fmla="*/ 38 h 110"/>
                    <a:gd name="T24" fmla="*/ 54 w 60"/>
                    <a:gd name="T25" fmla="*/ 29 h 110"/>
                    <a:gd name="T26" fmla="*/ 51 w 60"/>
                    <a:gd name="T27" fmla="*/ 21 h 110"/>
                    <a:gd name="T28" fmla="*/ 48 w 60"/>
                    <a:gd name="T29" fmla="*/ 13 h 110"/>
                    <a:gd name="T30" fmla="*/ 45 w 60"/>
                    <a:gd name="T31" fmla="*/ 6 h 110"/>
                    <a:gd name="T32" fmla="*/ 39 w 60"/>
                    <a:gd name="T33" fmla="*/ 0 h 110"/>
                    <a:gd name="T34" fmla="*/ 35 w 60"/>
                    <a:gd name="T35" fmla="*/ 3 h 110"/>
                    <a:gd name="T36" fmla="*/ 30 w 60"/>
                    <a:gd name="T37" fmla="*/ 8 h 110"/>
                    <a:gd name="T38" fmla="*/ 27 w 60"/>
                    <a:gd name="T39" fmla="*/ 13 h 110"/>
                    <a:gd name="T40" fmla="*/ 24 w 60"/>
                    <a:gd name="T41" fmla="*/ 18 h 110"/>
                    <a:gd name="T42" fmla="*/ 18 w 60"/>
                    <a:gd name="T43" fmla="*/ 29 h 110"/>
                    <a:gd name="T44" fmla="*/ 15 w 60"/>
                    <a:gd name="T45" fmla="*/ 40 h 110"/>
                    <a:gd name="T46" fmla="*/ 10 w 60"/>
                    <a:gd name="T47" fmla="*/ 51 h 110"/>
                    <a:gd name="T48" fmla="*/ 7 w 60"/>
                    <a:gd name="T49" fmla="*/ 62 h 110"/>
                    <a:gd name="T50" fmla="*/ 6 w 60"/>
                    <a:gd name="T51" fmla="*/ 66 h 110"/>
                    <a:gd name="T52" fmla="*/ 4 w 60"/>
                    <a:gd name="T53" fmla="*/ 69 h 110"/>
                    <a:gd name="T54" fmla="*/ 2 w 60"/>
                    <a:gd name="T55" fmla="*/ 72 h 110"/>
                    <a:gd name="T56" fmla="*/ 0 w 60"/>
                    <a:gd name="T57" fmla="*/ 73 h 110"/>
                    <a:gd name="T58" fmla="*/ 1 w 60"/>
                    <a:gd name="T59" fmla="*/ 78 h 110"/>
                    <a:gd name="T60" fmla="*/ 3 w 60"/>
                    <a:gd name="T61" fmla="*/ 84 h 110"/>
                    <a:gd name="T62" fmla="*/ 7 w 60"/>
                    <a:gd name="T63" fmla="*/ 90 h 110"/>
                    <a:gd name="T64" fmla="*/ 12 w 60"/>
                    <a:gd name="T65" fmla="*/ 96 h 110"/>
                    <a:gd name="T66" fmla="*/ 18 w 60"/>
                    <a:gd name="T67" fmla="*/ 101 h 110"/>
                    <a:gd name="T68" fmla="*/ 25 w 60"/>
                    <a:gd name="T69" fmla="*/ 106 h 110"/>
                    <a:gd name="T70" fmla="*/ 32 w 60"/>
                    <a:gd name="T71" fmla="*/ 109 h 110"/>
                    <a:gd name="T72" fmla="*/ 39 w 60"/>
                    <a:gd name="T7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solidFill>
                  <a:schemeClr val="accent1"/>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396" name="Freeform 284">
                  <a:extLst>
                    <a:ext uri="{FF2B5EF4-FFF2-40B4-BE49-F238E27FC236}">
                      <a16:creationId xmlns="" xmlns:a16="http://schemas.microsoft.com/office/drawing/2014/main" id="{FFAD0046-2195-41C8-9215-D206E94C50E1}"/>
                    </a:ext>
                  </a:extLst>
                </p:cNvPr>
                <p:cNvSpPr>
                  <a:spLocks/>
                </p:cNvSpPr>
                <p:nvPr/>
              </p:nvSpPr>
              <p:spPr bwMode="auto">
                <a:xfrm>
                  <a:off x="8168863" y="2696673"/>
                  <a:ext cx="22443" cy="27947"/>
                </a:xfrm>
                <a:custGeom>
                  <a:avLst/>
                  <a:gdLst>
                    <a:gd name="T0" fmla="*/ 0 w 72"/>
                    <a:gd name="T1" fmla="*/ 13 h 75"/>
                    <a:gd name="T2" fmla="*/ 8 w 72"/>
                    <a:gd name="T3" fmla="*/ 18 h 75"/>
                    <a:gd name="T4" fmla="*/ 15 w 72"/>
                    <a:gd name="T5" fmla="*/ 25 h 75"/>
                    <a:gd name="T6" fmla="*/ 23 w 72"/>
                    <a:gd name="T7" fmla="*/ 32 h 75"/>
                    <a:gd name="T8" fmla="*/ 31 w 72"/>
                    <a:gd name="T9" fmla="*/ 40 h 75"/>
                    <a:gd name="T10" fmla="*/ 37 w 72"/>
                    <a:gd name="T11" fmla="*/ 48 h 75"/>
                    <a:gd name="T12" fmla="*/ 42 w 72"/>
                    <a:gd name="T13" fmla="*/ 57 h 75"/>
                    <a:gd name="T14" fmla="*/ 45 w 72"/>
                    <a:gd name="T15" fmla="*/ 65 h 75"/>
                    <a:gd name="T16" fmla="*/ 46 w 72"/>
                    <a:gd name="T17" fmla="*/ 75 h 75"/>
                    <a:gd name="T18" fmla="*/ 72 w 72"/>
                    <a:gd name="T19" fmla="*/ 75 h 75"/>
                    <a:gd name="T20" fmla="*/ 65 w 72"/>
                    <a:gd name="T21" fmla="*/ 50 h 75"/>
                    <a:gd name="T22" fmla="*/ 60 w 72"/>
                    <a:gd name="T23" fmla="*/ 34 h 75"/>
                    <a:gd name="T24" fmla="*/ 60 w 72"/>
                    <a:gd name="T25" fmla="*/ 27 h 75"/>
                    <a:gd name="T26" fmla="*/ 63 w 72"/>
                    <a:gd name="T27" fmla="*/ 19 h 75"/>
                    <a:gd name="T28" fmla="*/ 67 w 72"/>
                    <a:gd name="T29" fmla="*/ 11 h 75"/>
                    <a:gd name="T30" fmla="*/ 72 w 72"/>
                    <a:gd name="T31" fmla="*/ 1 h 75"/>
                    <a:gd name="T32" fmla="*/ 52 w 72"/>
                    <a:gd name="T33" fmla="*/ 0 h 75"/>
                    <a:gd name="T34" fmla="*/ 32 w 72"/>
                    <a:gd name="T35" fmla="*/ 0 h 75"/>
                    <a:gd name="T36" fmla="*/ 22 w 72"/>
                    <a:gd name="T37" fmla="*/ 1 h 75"/>
                    <a:gd name="T38" fmla="*/ 13 w 72"/>
                    <a:gd name="T39" fmla="*/ 3 h 75"/>
                    <a:gd name="T40" fmla="*/ 9 w 72"/>
                    <a:gd name="T41" fmla="*/ 5 h 75"/>
                    <a:gd name="T42" fmla="*/ 6 w 72"/>
                    <a:gd name="T43" fmla="*/ 7 h 75"/>
                    <a:gd name="T44" fmla="*/ 2 w 72"/>
                    <a:gd name="T45" fmla="*/ 10 h 75"/>
                    <a:gd name="T46" fmla="*/ 0 w 72"/>
                    <a:gd name="T47"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solidFill>
                  <a:schemeClr val="accent1"/>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397" name="Freeform 285">
                  <a:extLst>
                    <a:ext uri="{FF2B5EF4-FFF2-40B4-BE49-F238E27FC236}">
                      <a16:creationId xmlns="" xmlns:a16="http://schemas.microsoft.com/office/drawing/2014/main" id="{BEB5D9CE-A167-4CBE-829E-85C1C863B9CD}"/>
                    </a:ext>
                  </a:extLst>
                </p:cNvPr>
                <p:cNvSpPr>
                  <a:spLocks/>
                </p:cNvSpPr>
                <p:nvPr/>
              </p:nvSpPr>
              <p:spPr bwMode="auto">
                <a:xfrm>
                  <a:off x="8141744" y="2659782"/>
                  <a:ext cx="4676" cy="17886"/>
                </a:xfrm>
                <a:custGeom>
                  <a:avLst/>
                  <a:gdLst>
                    <a:gd name="T0" fmla="*/ 15 w 15"/>
                    <a:gd name="T1" fmla="*/ 49 h 49"/>
                    <a:gd name="T2" fmla="*/ 15 w 15"/>
                    <a:gd name="T3" fmla="*/ 33 h 49"/>
                    <a:gd name="T4" fmla="*/ 15 w 15"/>
                    <a:gd name="T5" fmla="*/ 19 h 49"/>
                    <a:gd name="T6" fmla="*/ 14 w 15"/>
                    <a:gd name="T7" fmla="*/ 13 h 49"/>
                    <a:gd name="T8" fmla="*/ 13 w 15"/>
                    <a:gd name="T9" fmla="*/ 7 h 49"/>
                    <a:gd name="T10" fmla="*/ 11 w 15"/>
                    <a:gd name="T11" fmla="*/ 3 h 49"/>
                    <a:gd name="T12" fmla="*/ 9 w 15"/>
                    <a:gd name="T13" fmla="*/ 0 h 49"/>
                    <a:gd name="T14" fmla="*/ 4 w 15"/>
                    <a:gd name="T15" fmla="*/ 7 h 49"/>
                    <a:gd name="T16" fmla="*/ 2 w 15"/>
                    <a:gd name="T17" fmla="*/ 15 h 49"/>
                    <a:gd name="T18" fmla="*/ 0 w 15"/>
                    <a:gd name="T19" fmla="*/ 23 h 49"/>
                    <a:gd name="T20" fmla="*/ 0 w 15"/>
                    <a:gd name="T21" fmla="*/ 30 h 49"/>
                    <a:gd name="T22" fmla="*/ 1 w 15"/>
                    <a:gd name="T23" fmla="*/ 36 h 49"/>
                    <a:gd name="T24" fmla="*/ 4 w 15"/>
                    <a:gd name="T25" fmla="*/ 42 h 49"/>
                    <a:gd name="T26" fmla="*/ 7 w 15"/>
                    <a:gd name="T27" fmla="*/ 44 h 49"/>
                    <a:gd name="T28" fmla="*/ 9 w 15"/>
                    <a:gd name="T29" fmla="*/ 46 h 49"/>
                    <a:gd name="T30" fmla="*/ 12 w 15"/>
                    <a:gd name="T31" fmla="*/ 48 h 49"/>
                    <a:gd name="T32" fmla="*/ 15 w 15"/>
                    <a:gd name="T3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solidFill>
                  <a:srgbClr val="E75537"/>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398" name="Freeform 286">
                  <a:extLst>
                    <a:ext uri="{FF2B5EF4-FFF2-40B4-BE49-F238E27FC236}">
                      <a16:creationId xmlns="" xmlns:a16="http://schemas.microsoft.com/office/drawing/2014/main" id="{D157679C-9441-4A73-B6B1-2DB36E98C4C6}"/>
                    </a:ext>
                  </a:extLst>
                </p:cNvPr>
                <p:cNvSpPr>
                  <a:spLocks/>
                </p:cNvSpPr>
                <p:nvPr/>
              </p:nvSpPr>
              <p:spPr bwMode="auto">
                <a:xfrm>
                  <a:off x="8122107" y="2657546"/>
                  <a:ext cx="14027" cy="14533"/>
                </a:xfrm>
                <a:custGeom>
                  <a:avLst/>
                  <a:gdLst>
                    <a:gd name="T0" fmla="*/ 20 w 47"/>
                    <a:gd name="T1" fmla="*/ 6 h 40"/>
                    <a:gd name="T2" fmla="*/ 0 w 47"/>
                    <a:gd name="T3" fmla="*/ 37 h 40"/>
                    <a:gd name="T4" fmla="*/ 6 w 47"/>
                    <a:gd name="T5" fmla="*/ 39 h 40"/>
                    <a:gd name="T6" fmla="*/ 12 w 47"/>
                    <a:gd name="T7" fmla="*/ 40 h 40"/>
                    <a:gd name="T8" fmla="*/ 19 w 47"/>
                    <a:gd name="T9" fmla="*/ 39 h 40"/>
                    <a:gd name="T10" fmla="*/ 26 w 47"/>
                    <a:gd name="T11" fmla="*/ 38 h 40"/>
                    <a:gd name="T12" fmla="*/ 32 w 47"/>
                    <a:gd name="T13" fmla="*/ 36 h 40"/>
                    <a:gd name="T14" fmla="*/ 39 w 47"/>
                    <a:gd name="T15" fmla="*/ 33 h 40"/>
                    <a:gd name="T16" fmla="*/ 43 w 47"/>
                    <a:gd name="T17" fmla="*/ 30 h 40"/>
                    <a:gd name="T18" fmla="*/ 47 w 47"/>
                    <a:gd name="T19" fmla="*/ 25 h 40"/>
                    <a:gd name="T20" fmla="*/ 47 w 47"/>
                    <a:gd name="T21" fmla="*/ 0 h 40"/>
                    <a:gd name="T22" fmla="*/ 41 w 47"/>
                    <a:gd name="T23" fmla="*/ 0 h 40"/>
                    <a:gd name="T24" fmla="*/ 33 w 47"/>
                    <a:gd name="T25" fmla="*/ 1 h 40"/>
                    <a:gd name="T26" fmla="*/ 26 w 47"/>
                    <a:gd name="T27" fmla="*/ 3 h 40"/>
                    <a:gd name="T28" fmla="*/ 20 w 47"/>
                    <a:gd name="T29"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solidFill>
                  <a:schemeClr val="accent1"/>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399" name="Freeform 287">
                  <a:extLst>
                    <a:ext uri="{FF2B5EF4-FFF2-40B4-BE49-F238E27FC236}">
                      <a16:creationId xmlns="" xmlns:a16="http://schemas.microsoft.com/office/drawing/2014/main" id="{A1273CF6-EFD5-4F40-AA66-5B741ACC6A9F}"/>
                    </a:ext>
                  </a:extLst>
                </p:cNvPr>
                <p:cNvSpPr>
                  <a:spLocks/>
                </p:cNvSpPr>
                <p:nvPr/>
              </p:nvSpPr>
              <p:spPr bwMode="auto">
                <a:xfrm>
                  <a:off x="8164187" y="2744742"/>
                  <a:ext cx="12157" cy="11179"/>
                </a:xfrm>
                <a:custGeom>
                  <a:avLst/>
                  <a:gdLst>
                    <a:gd name="T0" fmla="*/ 0 w 39"/>
                    <a:gd name="T1" fmla="*/ 0 h 31"/>
                    <a:gd name="T2" fmla="*/ 3 w 39"/>
                    <a:gd name="T3" fmla="*/ 8 h 31"/>
                    <a:gd name="T4" fmla="*/ 6 w 39"/>
                    <a:gd name="T5" fmla="*/ 13 h 31"/>
                    <a:gd name="T6" fmla="*/ 12 w 39"/>
                    <a:gd name="T7" fmla="*/ 19 h 31"/>
                    <a:gd name="T8" fmla="*/ 17 w 39"/>
                    <a:gd name="T9" fmla="*/ 23 h 31"/>
                    <a:gd name="T10" fmla="*/ 23 w 39"/>
                    <a:gd name="T11" fmla="*/ 26 h 31"/>
                    <a:gd name="T12" fmla="*/ 28 w 39"/>
                    <a:gd name="T13" fmla="*/ 29 h 31"/>
                    <a:gd name="T14" fmla="*/ 34 w 39"/>
                    <a:gd name="T15" fmla="*/ 31 h 31"/>
                    <a:gd name="T16" fmla="*/ 39 w 39"/>
                    <a:gd name="T17" fmla="*/ 31 h 31"/>
                    <a:gd name="T18" fmla="*/ 33 w 39"/>
                    <a:gd name="T19" fmla="*/ 22 h 31"/>
                    <a:gd name="T20" fmla="*/ 25 w 39"/>
                    <a:gd name="T21" fmla="*/ 14 h 31"/>
                    <a:gd name="T22" fmla="*/ 16 w 39"/>
                    <a:gd name="T23" fmla="*/ 7 h 31"/>
                    <a:gd name="T24" fmla="*/ 6 w 39"/>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solidFill>
                  <a:srgbClr val="E75537"/>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400" name="Freeform 288">
                  <a:extLst>
                    <a:ext uri="{FF2B5EF4-FFF2-40B4-BE49-F238E27FC236}">
                      <a16:creationId xmlns="" xmlns:a16="http://schemas.microsoft.com/office/drawing/2014/main" id="{391F7345-6410-438F-BE4D-9E1BC128DC90}"/>
                    </a:ext>
                  </a:extLst>
                </p:cNvPr>
                <p:cNvSpPr>
                  <a:spLocks/>
                </p:cNvSpPr>
                <p:nvPr/>
              </p:nvSpPr>
              <p:spPr bwMode="auto">
                <a:xfrm>
                  <a:off x="8152966" y="2683258"/>
                  <a:ext cx="9351" cy="6707"/>
                </a:xfrm>
                <a:custGeom>
                  <a:avLst/>
                  <a:gdLst>
                    <a:gd name="T0" fmla="*/ 0 w 34"/>
                    <a:gd name="T1" fmla="*/ 0 h 19"/>
                    <a:gd name="T2" fmla="*/ 34 w 34"/>
                    <a:gd name="T3" fmla="*/ 19 h 19"/>
                    <a:gd name="T4" fmla="*/ 34 w 34"/>
                    <a:gd name="T5" fmla="*/ 0 h 19"/>
                    <a:gd name="T6" fmla="*/ 24 w 34"/>
                    <a:gd name="T7" fmla="*/ 0 h 19"/>
                    <a:gd name="T8" fmla="*/ 14 w 34"/>
                    <a:gd name="T9" fmla="*/ 0 h 19"/>
                    <a:gd name="T10" fmla="*/ 7 w 34"/>
                    <a:gd name="T11" fmla="*/ 0 h 19"/>
                    <a:gd name="T12" fmla="*/ 0 w 34"/>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4" h="19">
                      <a:moveTo>
                        <a:pt x="0" y="0"/>
                      </a:moveTo>
                      <a:lnTo>
                        <a:pt x="34" y="19"/>
                      </a:lnTo>
                      <a:lnTo>
                        <a:pt x="34" y="0"/>
                      </a:lnTo>
                      <a:lnTo>
                        <a:pt x="24" y="0"/>
                      </a:lnTo>
                      <a:lnTo>
                        <a:pt x="14" y="0"/>
                      </a:lnTo>
                      <a:lnTo>
                        <a:pt x="7" y="0"/>
                      </a:lnTo>
                      <a:lnTo>
                        <a:pt x="0" y="0"/>
                      </a:lnTo>
                    </a:path>
                  </a:pathLst>
                </a:custGeom>
                <a:solidFill>
                  <a:srgbClr val="E75537"/>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401" name="Freeform 289">
                  <a:extLst>
                    <a:ext uri="{FF2B5EF4-FFF2-40B4-BE49-F238E27FC236}">
                      <a16:creationId xmlns="" xmlns:a16="http://schemas.microsoft.com/office/drawing/2014/main" id="{C664A6A1-A88E-48C3-81C6-0F59C12121F3}"/>
                    </a:ext>
                  </a:extLst>
                </p:cNvPr>
                <p:cNvSpPr>
                  <a:spLocks/>
                </p:cNvSpPr>
                <p:nvPr/>
              </p:nvSpPr>
              <p:spPr bwMode="auto">
                <a:xfrm>
                  <a:off x="8160447" y="2751450"/>
                  <a:ext cx="5611" cy="4472"/>
                </a:xfrm>
                <a:custGeom>
                  <a:avLst/>
                  <a:gdLst>
                    <a:gd name="T0" fmla="*/ 0 w 19"/>
                    <a:gd name="T1" fmla="*/ 0 h 12"/>
                    <a:gd name="T2" fmla="*/ 19 w 19"/>
                    <a:gd name="T3" fmla="*/ 12 h 12"/>
                    <a:gd name="T4" fmla="*/ 13 w 19"/>
                    <a:gd name="T5" fmla="*/ 6 h 12"/>
                    <a:gd name="T6" fmla="*/ 6 w 19"/>
                    <a:gd name="T7" fmla="*/ 6 h 12"/>
                  </a:gdLst>
                  <a:ahLst/>
                  <a:cxnLst>
                    <a:cxn ang="0">
                      <a:pos x="T0" y="T1"/>
                    </a:cxn>
                    <a:cxn ang="0">
                      <a:pos x="T2" y="T3"/>
                    </a:cxn>
                    <a:cxn ang="0">
                      <a:pos x="T4" y="T5"/>
                    </a:cxn>
                    <a:cxn ang="0">
                      <a:pos x="T6" y="T7"/>
                    </a:cxn>
                  </a:cxnLst>
                  <a:rect l="0" t="0" r="r" b="b"/>
                  <a:pathLst>
                    <a:path w="19" h="12">
                      <a:moveTo>
                        <a:pt x="0" y="0"/>
                      </a:moveTo>
                      <a:lnTo>
                        <a:pt x="19" y="12"/>
                      </a:lnTo>
                      <a:lnTo>
                        <a:pt x="13" y="6"/>
                      </a:lnTo>
                      <a:lnTo>
                        <a:pt x="6" y="6"/>
                      </a:lnTo>
                    </a:path>
                  </a:pathLst>
                </a:custGeom>
                <a:solidFill>
                  <a:schemeClr val="accent1"/>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402" name="Freeform 290">
                  <a:extLst>
                    <a:ext uri="{FF2B5EF4-FFF2-40B4-BE49-F238E27FC236}">
                      <a16:creationId xmlns="" xmlns:a16="http://schemas.microsoft.com/office/drawing/2014/main" id="{28855C2C-AEB4-4A07-9440-9F4C727E3AAE}"/>
                    </a:ext>
                  </a:extLst>
                </p:cNvPr>
                <p:cNvSpPr>
                  <a:spLocks/>
                </p:cNvSpPr>
                <p:nvPr/>
              </p:nvSpPr>
              <p:spPr bwMode="auto">
                <a:xfrm>
                  <a:off x="8050102" y="2724620"/>
                  <a:ext cx="39275" cy="61484"/>
                </a:xfrm>
                <a:custGeom>
                  <a:avLst/>
                  <a:gdLst>
                    <a:gd name="T0" fmla="*/ 113 w 126"/>
                    <a:gd name="T1" fmla="*/ 0 h 166"/>
                    <a:gd name="T2" fmla="*/ 117 w 126"/>
                    <a:gd name="T3" fmla="*/ 5 h 166"/>
                    <a:gd name="T4" fmla="*/ 121 w 126"/>
                    <a:gd name="T5" fmla="*/ 10 h 166"/>
                    <a:gd name="T6" fmla="*/ 124 w 126"/>
                    <a:gd name="T7" fmla="*/ 13 h 166"/>
                    <a:gd name="T8" fmla="*/ 125 w 126"/>
                    <a:gd name="T9" fmla="*/ 17 h 166"/>
                    <a:gd name="T10" fmla="*/ 126 w 126"/>
                    <a:gd name="T11" fmla="*/ 20 h 166"/>
                    <a:gd name="T12" fmla="*/ 126 w 126"/>
                    <a:gd name="T13" fmla="*/ 25 h 166"/>
                    <a:gd name="T14" fmla="*/ 123 w 126"/>
                    <a:gd name="T15" fmla="*/ 32 h 166"/>
                    <a:gd name="T16" fmla="*/ 118 w 126"/>
                    <a:gd name="T17" fmla="*/ 41 h 166"/>
                    <a:gd name="T18" fmla="*/ 113 w 126"/>
                    <a:gd name="T19" fmla="*/ 50 h 166"/>
                    <a:gd name="T20" fmla="*/ 106 w 126"/>
                    <a:gd name="T21" fmla="*/ 61 h 166"/>
                    <a:gd name="T22" fmla="*/ 91 w 126"/>
                    <a:gd name="T23" fmla="*/ 83 h 166"/>
                    <a:gd name="T24" fmla="*/ 72 w 126"/>
                    <a:gd name="T25" fmla="*/ 104 h 166"/>
                    <a:gd name="T26" fmla="*/ 53 w 126"/>
                    <a:gd name="T27" fmla="*/ 126 h 166"/>
                    <a:gd name="T28" fmla="*/ 34 w 126"/>
                    <a:gd name="T29" fmla="*/ 144 h 166"/>
                    <a:gd name="T30" fmla="*/ 25 w 126"/>
                    <a:gd name="T31" fmla="*/ 152 h 166"/>
                    <a:gd name="T32" fmla="*/ 16 w 126"/>
                    <a:gd name="T33" fmla="*/ 158 h 166"/>
                    <a:gd name="T34" fmla="*/ 7 w 126"/>
                    <a:gd name="T35" fmla="*/ 163 h 166"/>
                    <a:gd name="T36" fmla="*/ 0 w 126"/>
                    <a:gd name="T37" fmla="*/ 166 h 166"/>
                    <a:gd name="T38" fmla="*/ 0 w 126"/>
                    <a:gd name="T39" fmla="*/ 160 h 166"/>
                    <a:gd name="T40" fmla="*/ 0 w 126"/>
                    <a:gd name="T41" fmla="*/ 153 h 166"/>
                    <a:gd name="T42" fmla="*/ 0 w 126"/>
                    <a:gd name="T43" fmla="*/ 145 h 166"/>
                    <a:gd name="T44" fmla="*/ 0 w 126"/>
                    <a:gd name="T45" fmla="*/ 136 h 166"/>
                    <a:gd name="T46" fmla="*/ 3 w 126"/>
                    <a:gd name="T47" fmla="*/ 131 h 166"/>
                    <a:gd name="T48" fmla="*/ 6 w 126"/>
                    <a:gd name="T49" fmla="*/ 128 h 166"/>
                    <a:gd name="T50" fmla="*/ 12 w 126"/>
                    <a:gd name="T51" fmla="*/ 124 h 166"/>
                    <a:gd name="T52" fmla="*/ 16 w 126"/>
                    <a:gd name="T53" fmla="*/ 121 h 166"/>
                    <a:gd name="T54" fmla="*/ 26 w 126"/>
                    <a:gd name="T55" fmla="*/ 116 h 166"/>
                    <a:gd name="T56" fmla="*/ 33 w 126"/>
                    <a:gd name="T57" fmla="*/ 110 h 166"/>
                    <a:gd name="T58" fmla="*/ 40 w 126"/>
                    <a:gd name="T59" fmla="*/ 104 h 166"/>
                    <a:gd name="T60" fmla="*/ 48 w 126"/>
                    <a:gd name="T61" fmla="*/ 96 h 166"/>
                    <a:gd name="T62" fmla="*/ 53 w 126"/>
                    <a:gd name="T63" fmla="*/ 89 h 166"/>
                    <a:gd name="T64" fmla="*/ 58 w 126"/>
                    <a:gd name="T65" fmla="*/ 82 h 166"/>
                    <a:gd name="T66" fmla="*/ 67 w 126"/>
                    <a:gd name="T67" fmla="*/ 66 h 166"/>
                    <a:gd name="T68" fmla="*/ 72 w 126"/>
                    <a:gd name="T69" fmla="*/ 50 h 166"/>
                    <a:gd name="T70" fmla="*/ 79 w 126"/>
                    <a:gd name="T71" fmla="*/ 36 h 166"/>
                    <a:gd name="T72" fmla="*/ 87 w 126"/>
                    <a:gd name="T73" fmla="*/ 23 h 166"/>
                    <a:gd name="T74" fmla="*/ 92 w 126"/>
                    <a:gd name="T75" fmla="*/ 16 h 166"/>
                    <a:gd name="T76" fmla="*/ 97 w 126"/>
                    <a:gd name="T77" fmla="*/ 11 h 166"/>
                    <a:gd name="T78" fmla="*/ 104 w 126"/>
                    <a:gd name="T79" fmla="*/ 5 h 166"/>
                    <a:gd name="T80" fmla="*/ 113 w 126"/>
                    <a:gd name="T81"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solidFill>
                  <a:schemeClr val="accent1"/>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403" name="Freeform 291">
                  <a:extLst>
                    <a:ext uri="{FF2B5EF4-FFF2-40B4-BE49-F238E27FC236}">
                      <a16:creationId xmlns="" xmlns:a16="http://schemas.microsoft.com/office/drawing/2014/main" id="{C66C2E86-E0FC-429A-B25D-C5A9920D4A52}"/>
                    </a:ext>
                  </a:extLst>
                </p:cNvPr>
                <p:cNvSpPr>
                  <a:spLocks/>
                </p:cNvSpPr>
                <p:nvPr/>
              </p:nvSpPr>
              <p:spPr bwMode="auto">
                <a:xfrm>
                  <a:off x="8136133" y="2744742"/>
                  <a:ext cx="79486" cy="96139"/>
                </a:xfrm>
                <a:custGeom>
                  <a:avLst/>
                  <a:gdLst>
                    <a:gd name="T0" fmla="*/ 8 w 259"/>
                    <a:gd name="T1" fmla="*/ 182 h 259"/>
                    <a:gd name="T2" fmla="*/ 1 w 259"/>
                    <a:gd name="T3" fmla="*/ 163 h 259"/>
                    <a:gd name="T4" fmla="*/ 0 w 259"/>
                    <a:gd name="T5" fmla="*/ 142 h 259"/>
                    <a:gd name="T6" fmla="*/ 6 w 259"/>
                    <a:gd name="T7" fmla="*/ 130 h 259"/>
                    <a:gd name="T8" fmla="*/ 19 w 259"/>
                    <a:gd name="T9" fmla="*/ 126 h 259"/>
                    <a:gd name="T10" fmla="*/ 34 w 259"/>
                    <a:gd name="T11" fmla="*/ 117 h 259"/>
                    <a:gd name="T12" fmla="*/ 48 w 259"/>
                    <a:gd name="T13" fmla="*/ 100 h 259"/>
                    <a:gd name="T14" fmla="*/ 60 w 259"/>
                    <a:gd name="T15" fmla="*/ 91 h 259"/>
                    <a:gd name="T16" fmla="*/ 68 w 259"/>
                    <a:gd name="T17" fmla="*/ 87 h 259"/>
                    <a:gd name="T18" fmla="*/ 83 w 259"/>
                    <a:gd name="T19" fmla="*/ 87 h 259"/>
                    <a:gd name="T20" fmla="*/ 94 w 259"/>
                    <a:gd name="T21" fmla="*/ 93 h 259"/>
                    <a:gd name="T22" fmla="*/ 101 w 259"/>
                    <a:gd name="T23" fmla="*/ 105 h 259"/>
                    <a:gd name="T24" fmla="*/ 108 w 259"/>
                    <a:gd name="T25" fmla="*/ 110 h 259"/>
                    <a:gd name="T26" fmla="*/ 120 w 259"/>
                    <a:gd name="T27" fmla="*/ 110 h 259"/>
                    <a:gd name="T28" fmla="*/ 135 w 259"/>
                    <a:gd name="T29" fmla="*/ 104 h 259"/>
                    <a:gd name="T30" fmla="*/ 148 w 259"/>
                    <a:gd name="T31" fmla="*/ 93 h 259"/>
                    <a:gd name="T32" fmla="*/ 160 w 259"/>
                    <a:gd name="T33" fmla="*/ 78 h 259"/>
                    <a:gd name="T34" fmla="*/ 174 w 259"/>
                    <a:gd name="T35" fmla="*/ 51 h 259"/>
                    <a:gd name="T36" fmla="*/ 188 w 259"/>
                    <a:gd name="T37" fmla="*/ 16 h 259"/>
                    <a:gd name="T38" fmla="*/ 195 w 259"/>
                    <a:gd name="T39" fmla="*/ 4 h 259"/>
                    <a:gd name="T40" fmla="*/ 202 w 259"/>
                    <a:gd name="T41" fmla="*/ 12 h 259"/>
                    <a:gd name="T42" fmla="*/ 213 w 259"/>
                    <a:gd name="T43" fmla="*/ 18 h 259"/>
                    <a:gd name="T44" fmla="*/ 219 w 259"/>
                    <a:gd name="T45" fmla="*/ 32 h 259"/>
                    <a:gd name="T46" fmla="*/ 219 w 259"/>
                    <a:gd name="T47" fmla="*/ 52 h 259"/>
                    <a:gd name="T48" fmla="*/ 227 w 259"/>
                    <a:gd name="T49" fmla="*/ 61 h 259"/>
                    <a:gd name="T50" fmla="*/ 234 w 259"/>
                    <a:gd name="T51" fmla="*/ 70 h 259"/>
                    <a:gd name="T52" fmla="*/ 234 w 259"/>
                    <a:gd name="T53" fmla="*/ 88 h 259"/>
                    <a:gd name="T54" fmla="*/ 234 w 259"/>
                    <a:gd name="T55" fmla="*/ 104 h 259"/>
                    <a:gd name="T56" fmla="*/ 237 w 259"/>
                    <a:gd name="T57" fmla="*/ 110 h 259"/>
                    <a:gd name="T58" fmla="*/ 243 w 259"/>
                    <a:gd name="T59" fmla="*/ 121 h 259"/>
                    <a:gd name="T60" fmla="*/ 249 w 259"/>
                    <a:gd name="T61" fmla="*/ 137 h 259"/>
                    <a:gd name="T62" fmla="*/ 254 w 259"/>
                    <a:gd name="T63" fmla="*/ 161 h 259"/>
                    <a:gd name="T64" fmla="*/ 245 w 259"/>
                    <a:gd name="T65" fmla="*/ 235 h 259"/>
                    <a:gd name="T66" fmla="*/ 239 w 259"/>
                    <a:gd name="T67" fmla="*/ 222 h 259"/>
                    <a:gd name="T68" fmla="*/ 237 w 259"/>
                    <a:gd name="T69" fmla="*/ 208 h 259"/>
                    <a:gd name="T70" fmla="*/ 239 w 259"/>
                    <a:gd name="T71" fmla="*/ 192 h 259"/>
                    <a:gd name="T72" fmla="*/ 222 w 259"/>
                    <a:gd name="T73" fmla="*/ 188 h 259"/>
                    <a:gd name="T74" fmla="*/ 206 w 259"/>
                    <a:gd name="T75" fmla="*/ 179 h 259"/>
                    <a:gd name="T76" fmla="*/ 194 w 259"/>
                    <a:gd name="T77" fmla="*/ 199 h 259"/>
                    <a:gd name="T78" fmla="*/ 188 w 259"/>
                    <a:gd name="T79" fmla="*/ 219 h 259"/>
                    <a:gd name="T80" fmla="*/ 185 w 259"/>
                    <a:gd name="T81" fmla="*/ 259 h 259"/>
                    <a:gd name="T82" fmla="*/ 124 w 259"/>
                    <a:gd name="T83" fmla="*/ 242 h 259"/>
                    <a:gd name="T84" fmla="*/ 110 w 259"/>
                    <a:gd name="T85" fmla="*/ 220 h 259"/>
                    <a:gd name="T86" fmla="*/ 99 w 259"/>
                    <a:gd name="T87" fmla="*/ 209 h 259"/>
                    <a:gd name="T88" fmla="*/ 97 w 259"/>
                    <a:gd name="T89" fmla="*/ 196 h 259"/>
                    <a:gd name="T90" fmla="*/ 105 w 259"/>
                    <a:gd name="T91" fmla="*/ 186 h 259"/>
                    <a:gd name="T92" fmla="*/ 112 w 259"/>
                    <a:gd name="T93" fmla="*/ 180 h 259"/>
                    <a:gd name="T94" fmla="*/ 117 w 259"/>
                    <a:gd name="T95" fmla="*/ 173 h 259"/>
                    <a:gd name="T96" fmla="*/ 93 w 259"/>
                    <a:gd name="T97" fmla="*/ 154 h 259"/>
                    <a:gd name="T98" fmla="*/ 28 w 259"/>
                    <a:gd name="T99" fmla="*/ 155 h 259"/>
                    <a:gd name="T100" fmla="*/ 20 w 259"/>
                    <a:gd name="T101" fmla="*/ 163 h 259"/>
                    <a:gd name="T102" fmla="*/ 16 w 259"/>
                    <a:gd name="T103" fmla="*/ 175 h 259"/>
                    <a:gd name="T104" fmla="*/ 13 w 259"/>
                    <a:gd name="T105" fmla="*/ 18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solidFill>
                  <a:schemeClr val="accent1"/>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404" name="Freeform 292">
                  <a:extLst>
                    <a:ext uri="{FF2B5EF4-FFF2-40B4-BE49-F238E27FC236}">
                      <a16:creationId xmlns="" xmlns:a16="http://schemas.microsoft.com/office/drawing/2014/main" id="{BBC3ED6F-3378-4005-B4DA-40DD7EB1BD1C}"/>
                    </a:ext>
                  </a:extLst>
                </p:cNvPr>
                <p:cNvSpPr>
                  <a:spLocks/>
                </p:cNvSpPr>
                <p:nvPr/>
              </p:nvSpPr>
              <p:spPr bwMode="auto">
                <a:xfrm>
                  <a:off x="8089377" y="2666490"/>
                  <a:ext cx="21508" cy="34655"/>
                </a:xfrm>
                <a:custGeom>
                  <a:avLst/>
                  <a:gdLst>
                    <a:gd name="T0" fmla="*/ 72 w 72"/>
                    <a:gd name="T1" fmla="*/ 43 h 92"/>
                    <a:gd name="T2" fmla="*/ 72 w 72"/>
                    <a:gd name="T3" fmla="*/ 92 h 92"/>
                    <a:gd name="T4" fmla="*/ 65 w 72"/>
                    <a:gd name="T5" fmla="*/ 86 h 92"/>
                    <a:gd name="T6" fmla="*/ 58 w 72"/>
                    <a:gd name="T7" fmla="*/ 81 h 92"/>
                    <a:gd name="T8" fmla="*/ 51 w 72"/>
                    <a:gd name="T9" fmla="*/ 75 h 92"/>
                    <a:gd name="T10" fmla="*/ 46 w 72"/>
                    <a:gd name="T11" fmla="*/ 69 h 92"/>
                    <a:gd name="T12" fmla="*/ 38 w 72"/>
                    <a:gd name="T13" fmla="*/ 58 h 92"/>
                    <a:gd name="T14" fmla="*/ 32 w 72"/>
                    <a:gd name="T15" fmla="*/ 46 h 92"/>
                    <a:gd name="T16" fmla="*/ 25 w 72"/>
                    <a:gd name="T17" fmla="*/ 34 h 92"/>
                    <a:gd name="T18" fmla="*/ 19 w 72"/>
                    <a:gd name="T19" fmla="*/ 23 h 92"/>
                    <a:gd name="T20" fmla="*/ 11 w 72"/>
                    <a:gd name="T21" fmla="*/ 12 h 92"/>
                    <a:gd name="T22" fmla="*/ 0 w 72"/>
                    <a:gd name="T23" fmla="*/ 0 h 92"/>
                    <a:gd name="T24" fmla="*/ 25 w 72"/>
                    <a:gd name="T25" fmla="*/ 12 h 92"/>
                    <a:gd name="T26" fmla="*/ 44 w 72"/>
                    <a:gd name="T27" fmla="*/ 21 h 92"/>
                    <a:gd name="T28" fmla="*/ 51 w 72"/>
                    <a:gd name="T29" fmla="*/ 26 h 92"/>
                    <a:gd name="T30" fmla="*/ 58 w 72"/>
                    <a:gd name="T31" fmla="*/ 31 h 92"/>
                    <a:gd name="T32" fmla="*/ 66 w 72"/>
                    <a:gd name="T33" fmla="*/ 36 h 92"/>
                    <a:gd name="T34" fmla="*/ 72 w 72"/>
                    <a:gd name="T35" fmla="*/ 4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solidFill>
                  <a:schemeClr val="accent1"/>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405" name="Freeform 293">
                  <a:extLst>
                    <a:ext uri="{FF2B5EF4-FFF2-40B4-BE49-F238E27FC236}">
                      <a16:creationId xmlns="" xmlns:a16="http://schemas.microsoft.com/office/drawing/2014/main" id="{4D8D7A86-6431-4696-AE9A-FB8E79055B44}"/>
                    </a:ext>
                  </a:extLst>
                </p:cNvPr>
                <p:cNvSpPr>
                  <a:spLocks/>
                </p:cNvSpPr>
                <p:nvPr/>
              </p:nvSpPr>
              <p:spPr bwMode="auto">
                <a:xfrm>
                  <a:off x="8125847" y="2712323"/>
                  <a:ext cx="14962" cy="23476"/>
                </a:xfrm>
                <a:custGeom>
                  <a:avLst/>
                  <a:gdLst>
                    <a:gd name="T0" fmla="*/ 6 w 46"/>
                    <a:gd name="T1" fmla="*/ 6 h 62"/>
                    <a:gd name="T2" fmla="*/ 19 w 46"/>
                    <a:gd name="T3" fmla="*/ 5 h 62"/>
                    <a:gd name="T4" fmla="*/ 31 w 46"/>
                    <a:gd name="T5" fmla="*/ 3 h 62"/>
                    <a:gd name="T6" fmla="*/ 39 w 46"/>
                    <a:gd name="T7" fmla="*/ 1 h 62"/>
                    <a:gd name="T8" fmla="*/ 46 w 46"/>
                    <a:gd name="T9" fmla="*/ 0 h 62"/>
                    <a:gd name="T10" fmla="*/ 46 w 46"/>
                    <a:gd name="T11" fmla="*/ 9 h 62"/>
                    <a:gd name="T12" fmla="*/ 46 w 46"/>
                    <a:gd name="T13" fmla="*/ 18 h 62"/>
                    <a:gd name="T14" fmla="*/ 46 w 46"/>
                    <a:gd name="T15" fmla="*/ 27 h 62"/>
                    <a:gd name="T16" fmla="*/ 46 w 46"/>
                    <a:gd name="T17" fmla="*/ 38 h 62"/>
                    <a:gd name="T18" fmla="*/ 45 w 46"/>
                    <a:gd name="T19" fmla="*/ 46 h 62"/>
                    <a:gd name="T20" fmla="*/ 41 w 46"/>
                    <a:gd name="T21" fmla="*/ 54 h 62"/>
                    <a:gd name="T22" fmla="*/ 39 w 46"/>
                    <a:gd name="T23" fmla="*/ 57 h 62"/>
                    <a:gd name="T24" fmla="*/ 37 w 46"/>
                    <a:gd name="T25" fmla="*/ 60 h 62"/>
                    <a:gd name="T26" fmla="*/ 35 w 46"/>
                    <a:gd name="T27" fmla="*/ 61 h 62"/>
                    <a:gd name="T28" fmla="*/ 33 w 46"/>
                    <a:gd name="T29" fmla="*/ 62 h 62"/>
                    <a:gd name="T30" fmla="*/ 27 w 46"/>
                    <a:gd name="T31" fmla="*/ 61 h 62"/>
                    <a:gd name="T32" fmla="*/ 22 w 46"/>
                    <a:gd name="T33" fmla="*/ 60 h 62"/>
                    <a:gd name="T34" fmla="*/ 17 w 46"/>
                    <a:gd name="T35" fmla="*/ 59 h 62"/>
                    <a:gd name="T36" fmla="*/ 14 w 46"/>
                    <a:gd name="T37" fmla="*/ 57 h 62"/>
                    <a:gd name="T38" fmla="*/ 11 w 46"/>
                    <a:gd name="T39" fmla="*/ 54 h 62"/>
                    <a:gd name="T40" fmla="*/ 7 w 46"/>
                    <a:gd name="T41" fmla="*/ 51 h 62"/>
                    <a:gd name="T42" fmla="*/ 5 w 46"/>
                    <a:gd name="T43" fmla="*/ 47 h 62"/>
                    <a:gd name="T44" fmla="*/ 4 w 46"/>
                    <a:gd name="T45" fmla="*/ 44 h 62"/>
                    <a:gd name="T46" fmla="*/ 1 w 46"/>
                    <a:gd name="T47" fmla="*/ 34 h 62"/>
                    <a:gd name="T48" fmla="*/ 0 w 46"/>
                    <a:gd name="T49" fmla="*/ 25 h 62"/>
                    <a:gd name="T50" fmla="*/ 0 w 46"/>
                    <a:gd name="T51" fmla="*/ 16 h 62"/>
                    <a:gd name="T52" fmla="*/ 0 w 46"/>
                    <a:gd name="T53" fmla="*/ 6 h 62"/>
                    <a:gd name="T54" fmla="*/ 6 w 46"/>
                    <a:gd name="T55" fmla="*/ 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solidFill>
                  <a:schemeClr val="accent1"/>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406" name="Freeform 294">
                  <a:extLst>
                    <a:ext uri="{FF2B5EF4-FFF2-40B4-BE49-F238E27FC236}">
                      <a16:creationId xmlns="" xmlns:a16="http://schemas.microsoft.com/office/drawing/2014/main" id="{01091C43-2D21-4052-8431-E08D31E4C705}"/>
                    </a:ext>
                  </a:extLst>
                </p:cNvPr>
                <p:cNvSpPr>
                  <a:spLocks/>
                </p:cNvSpPr>
                <p:nvPr/>
              </p:nvSpPr>
              <p:spPr bwMode="auto">
                <a:xfrm>
                  <a:off x="8075350" y="2554700"/>
                  <a:ext cx="46756" cy="109554"/>
                </a:xfrm>
                <a:custGeom>
                  <a:avLst/>
                  <a:gdLst>
                    <a:gd name="T0" fmla="*/ 59 w 152"/>
                    <a:gd name="T1" fmla="*/ 0 h 296"/>
                    <a:gd name="T2" fmla="*/ 66 w 152"/>
                    <a:gd name="T3" fmla="*/ 9 h 296"/>
                    <a:gd name="T4" fmla="*/ 77 w 152"/>
                    <a:gd name="T5" fmla="*/ 17 h 296"/>
                    <a:gd name="T6" fmla="*/ 88 w 152"/>
                    <a:gd name="T7" fmla="*/ 23 h 296"/>
                    <a:gd name="T8" fmla="*/ 99 w 152"/>
                    <a:gd name="T9" fmla="*/ 25 h 296"/>
                    <a:gd name="T10" fmla="*/ 108 w 152"/>
                    <a:gd name="T11" fmla="*/ 21 h 296"/>
                    <a:gd name="T12" fmla="*/ 118 w 152"/>
                    <a:gd name="T13" fmla="*/ 12 h 296"/>
                    <a:gd name="T14" fmla="*/ 122 w 152"/>
                    <a:gd name="T15" fmla="*/ 35 h 296"/>
                    <a:gd name="T16" fmla="*/ 130 w 152"/>
                    <a:gd name="T17" fmla="*/ 62 h 296"/>
                    <a:gd name="T18" fmla="*/ 141 w 152"/>
                    <a:gd name="T19" fmla="*/ 86 h 296"/>
                    <a:gd name="T20" fmla="*/ 147 w 152"/>
                    <a:gd name="T21" fmla="*/ 94 h 296"/>
                    <a:gd name="T22" fmla="*/ 152 w 152"/>
                    <a:gd name="T23" fmla="*/ 99 h 296"/>
                    <a:gd name="T24" fmla="*/ 143 w 152"/>
                    <a:gd name="T25" fmla="*/ 120 h 296"/>
                    <a:gd name="T26" fmla="*/ 129 w 152"/>
                    <a:gd name="T27" fmla="*/ 140 h 296"/>
                    <a:gd name="T28" fmla="*/ 117 w 152"/>
                    <a:gd name="T29" fmla="*/ 157 h 296"/>
                    <a:gd name="T30" fmla="*/ 112 w 152"/>
                    <a:gd name="T31" fmla="*/ 172 h 296"/>
                    <a:gd name="T32" fmla="*/ 115 w 152"/>
                    <a:gd name="T33" fmla="*/ 197 h 296"/>
                    <a:gd name="T34" fmla="*/ 115 w 152"/>
                    <a:gd name="T35" fmla="*/ 205 h 296"/>
                    <a:gd name="T36" fmla="*/ 112 w 152"/>
                    <a:gd name="T37" fmla="*/ 216 h 296"/>
                    <a:gd name="T38" fmla="*/ 126 w 152"/>
                    <a:gd name="T39" fmla="*/ 216 h 296"/>
                    <a:gd name="T40" fmla="*/ 146 w 152"/>
                    <a:gd name="T41" fmla="*/ 216 h 296"/>
                    <a:gd name="T42" fmla="*/ 136 w 152"/>
                    <a:gd name="T43" fmla="*/ 252 h 296"/>
                    <a:gd name="T44" fmla="*/ 136 w 152"/>
                    <a:gd name="T45" fmla="*/ 267 h 296"/>
                    <a:gd name="T46" fmla="*/ 146 w 152"/>
                    <a:gd name="T47" fmla="*/ 283 h 296"/>
                    <a:gd name="T48" fmla="*/ 125 w 152"/>
                    <a:gd name="T49" fmla="*/ 291 h 296"/>
                    <a:gd name="T50" fmla="*/ 105 w 152"/>
                    <a:gd name="T51" fmla="*/ 296 h 296"/>
                    <a:gd name="T52" fmla="*/ 85 w 152"/>
                    <a:gd name="T53" fmla="*/ 294 h 296"/>
                    <a:gd name="T54" fmla="*/ 73 w 152"/>
                    <a:gd name="T55" fmla="*/ 288 h 296"/>
                    <a:gd name="T56" fmla="*/ 67 w 152"/>
                    <a:gd name="T57" fmla="*/ 280 h 296"/>
                    <a:gd name="T58" fmla="*/ 66 w 152"/>
                    <a:gd name="T59" fmla="*/ 271 h 296"/>
                    <a:gd name="T60" fmla="*/ 85 w 152"/>
                    <a:gd name="T61" fmla="*/ 253 h 296"/>
                    <a:gd name="T62" fmla="*/ 69 w 152"/>
                    <a:gd name="T63" fmla="*/ 249 h 296"/>
                    <a:gd name="T64" fmla="*/ 52 w 152"/>
                    <a:gd name="T65" fmla="*/ 242 h 296"/>
                    <a:gd name="T66" fmla="*/ 38 w 152"/>
                    <a:gd name="T67" fmla="*/ 231 h 296"/>
                    <a:gd name="T68" fmla="*/ 25 w 152"/>
                    <a:gd name="T69" fmla="*/ 219 h 296"/>
                    <a:gd name="T70" fmla="*/ 14 w 152"/>
                    <a:gd name="T71" fmla="*/ 205 h 296"/>
                    <a:gd name="T72" fmla="*/ 6 w 152"/>
                    <a:gd name="T73" fmla="*/ 190 h 296"/>
                    <a:gd name="T74" fmla="*/ 1 w 152"/>
                    <a:gd name="T75" fmla="*/ 172 h 296"/>
                    <a:gd name="T76" fmla="*/ 0 w 152"/>
                    <a:gd name="T77" fmla="*/ 154 h 296"/>
                    <a:gd name="T78" fmla="*/ 0 w 152"/>
                    <a:gd name="T79" fmla="*/ 130 h 296"/>
                    <a:gd name="T80" fmla="*/ 27 w 152"/>
                    <a:gd name="T81" fmla="*/ 106 h 296"/>
                    <a:gd name="T82" fmla="*/ 32 w 152"/>
                    <a:gd name="T83" fmla="*/ 46 h 296"/>
                    <a:gd name="T84" fmla="*/ 31 w 152"/>
                    <a:gd name="T85" fmla="*/ 18 h 296"/>
                    <a:gd name="T86" fmla="*/ 28 w 152"/>
                    <a:gd name="T87" fmla="*/ 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solidFill>
                  <a:schemeClr val="accent1"/>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407" name="Freeform 295">
                  <a:extLst>
                    <a:ext uri="{FF2B5EF4-FFF2-40B4-BE49-F238E27FC236}">
                      <a16:creationId xmlns="" xmlns:a16="http://schemas.microsoft.com/office/drawing/2014/main" id="{1ACE3B7F-129A-4789-9F90-4D07746C1C1D}"/>
                    </a:ext>
                  </a:extLst>
                </p:cNvPr>
                <p:cNvSpPr>
                  <a:spLocks/>
                </p:cNvSpPr>
                <p:nvPr/>
              </p:nvSpPr>
              <p:spPr bwMode="auto">
                <a:xfrm>
                  <a:off x="8168863" y="2719031"/>
                  <a:ext cx="7481" cy="14533"/>
                </a:xfrm>
                <a:custGeom>
                  <a:avLst/>
                  <a:gdLst>
                    <a:gd name="T0" fmla="*/ 26 w 26"/>
                    <a:gd name="T1" fmla="*/ 38 h 38"/>
                    <a:gd name="T2" fmla="*/ 26 w 26"/>
                    <a:gd name="T3" fmla="*/ 0 h 38"/>
                    <a:gd name="T4" fmla="*/ 21 w 26"/>
                    <a:gd name="T5" fmla="*/ 1 h 38"/>
                    <a:gd name="T6" fmla="*/ 13 w 26"/>
                    <a:gd name="T7" fmla="*/ 4 h 38"/>
                    <a:gd name="T8" fmla="*/ 6 w 26"/>
                    <a:gd name="T9" fmla="*/ 8 h 38"/>
                    <a:gd name="T10" fmla="*/ 0 w 26"/>
                    <a:gd name="T11" fmla="*/ 13 h 38"/>
                    <a:gd name="T12" fmla="*/ 18 w 26"/>
                    <a:gd name="T13" fmla="*/ 30 h 38"/>
                    <a:gd name="T14" fmla="*/ 26 w 26"/>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solidFill>
                  <a:srgbClr val="E75537"/>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408" name="Freeform 296">
                  <a:extLst>
                    <a:ext uri="{FF2B5EF4-FFF2-40B4-BE49-F238E27FC236}">
                      <a16:creationId xmlns="" xmlns:a16="http://schemas.microsoft.com/office/drawing/2014/main" id="{5762958F-B2C7-44F2-8926-6377E354FC25}"/>
                    </a:ext>
                  </a:extLst>
                </p:cNvPr>
                <p:cNvSpPr>
                  <a:spLocks/>
                </p:cNvSpPr>
                <p:nvPr/>
              </p:nvSpPr>
              <p:spPr bwMode="auto">
                <a:xfrm>
                  <a:off x="8146420" y="2694437"/>
                  <a:ext cx="9351" cy="11179"/>
                </a:xfrm>
                <a:custGeom>
                  <a:avLst/>
                  <a:gdLst>
                    <a:gd name="T0" fmla="*/ 0 w 34"/>
                    <a:gd name="T1" fmla="*/ 18 h 31"/>
                    <a:gd name="T2" fmla="*/ 8 w 34"/>
                    <a:gd name="T3" fmla="*/ 22 h 31"/>
                    <a:gd name="T4" fmla="*/ 17 w 34"/>
                    <a:gd name="T5" fmla="*/ 26 h 31"/>
                    <a:gd name="T6" fmla="*/ 27 w 34"/>
                    <a:gd name="T7" fmla="*/ 30 h 31"/>
                    <a:gd name="T8" fmla="*/ 34 w 34"/>
                    <a:gd name="T9" fmla="*/ 31 h 31"/>
                    <a:gd name="T10" fmla="*/ 33 w 34"/>
                    <a:gd name="T11" fmla="*/ 24 h 31"/>
                    <a:gd name="T12" fmla="*/ 30 w 34"/>
                    <a:gd name="T13" fmla="*/ 15 h 31"/>
                    <a:gd name="T14" fmla="*/ 26 w 34"/>
                    <a:gd name="T15" fmla="*/ 6 h 31"/>
                    <a:gd name="T16" fmla="*/ 20 w 34"/>
                    <a:gd name="T17" fmla="*/ 0 h 31"/>
                    <a:gd name="T18" fmla="*/ 16 w 34"/>
                    <a:gd name="T19" fmla="*/ 5 h 31"/>
                    <a:gd name="T20" fmla="*/ 10 w 34"/>
                    <a:gd name="T21" fmla="*/ 11 h 31"/>
                    <a:gd name="T22" fmla="*/ 8 w 34"/>
                    <a:gd name="T23" fmla="*/ 14 h 31"/>
                    <a:gd name="T24" fmla="*/ 6 w 34"/>
                    <a:gd name="T25" fmla="*/ 16 h 31"/>
                    <a:gd name="T26" fmla="*/ 4 w 34"/>
                    <a:gd name="T27" fmla="*/ 18 h 31"/>
                    <a:gd name="T28" fmla="*/ 0 w 34"/>
                    <a:gd name="T29"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solidFill>
                  <a:srgbClr val="E75537"/>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409" name="Freeform 297">
                  <a:extLst>
                    <a:ext uri="{FF2B5EF4-FFF2-40B4-BE49-F238E27FC236}">
                      <a16:creationId xmlns="" xmlns:a16="http://schemas.microsoft.com/office/drawing/2014/main" id="{AA006DAA-58F1-45F3-B0D0-D24F6CF9E619}"/>
                    </a:ext>
                  </a:extLst>
                </p:cNvPr>
                <p:cNvSpPr>
                  <a:spLocks/>
                </p:cNvSpPr>
                <p:nvPr/>
              </p:nvSpPr>
              <p:spPr bwMode="auto">
                <a:xfrm>
                  <a:off x="8122107" y="2692201"/>
                  <a:ext cx="5611" cy="13415"/>
                </a:xfrm>
                <a:custGeom>
                  <a:avLst/>
                  <a:gdLst>
                    <a:gd name="T0" fmla="*/ 0 w 20"/>
                    <a:gd name="T1" fmla="*/ 6 h 37"/>
                    <a:gd name="T2" fmla="*/ 0 w 20"/>
                    <a:gd name="T3" fmla="*/ 37 h 37"/>
                    <a:gd name="T4" fmla="*/ 7 w 20"/>
                    <a:gd name="T5" fmla="*/ 33 h 37"/>
                    <a:gd name="T6" fmla="*/ 20 w 20"/>
                    <a:gd name="T7" fmla="*/ 30 h 37"/>
                    <a:gd name="T8" fmla="*/ 20 w 20"/>
                    <a:gd name="T9" fmla="*/ 0 h 37"/>
                    <a:gd name="T10" fmla="*/ 0 w 20"/>
                    <a:gd name="T11" fmla="*/ 6 h 37"/>
                  </a:gdLst>
                  <a:ahLst/>
                  <a:cxnLst>
                    <a:cxn ang="0">
                      <a:pos x="T0" y="T1"/>
                    </a:cxn>
                    <a:cxn ang="0">
                      <a:pos x="T2" y="T3"/>
                    </a:cxn>
                    <a:cxn ang="0">
                      <a:pos x="T4" y="T5"/>
                    </a:cxn>
                    <a:cxn ang="0">
                      <a:pos x="T6" y="T7"/>
                    </a:cxn>
                    <a:cxn ang="0">
                      <a:pos x="T8" y="T9"/>
                    </a:cxn>
                    <a:cxn ang="0">
                      <a:pos x="T10" y="T11"/>
                    </a:cxn>
                  </a:cxnLst>
                  <a:rect l="0" t="0" r="r" b="b"/>
                  <a:pathLst>
                    <a:path w="20" h="37">
                      <a:moveTo>
                        <a:pt x="0" y="6"/>
                      </a:moveTo>
                      <a:lnTo>
                        <a:pt x="0" y="37"/>
                      </a:lnTo>
                      <a:lnTo>
                        <a:pt x="7" y="33"/>
                      </a:lnTo>
                      <a:lnTo>
                        <a:pt x="20" y="30"/>
                      </a:lnTo>
                      <a:lnTo>
                        <a:pt x="20" y="0"/>
                      </a:lnTo>
                      <a:lnTo>
                        <a:pt x="0" y="6"/>
                      </a:lnTo>
                    </a:path>
                  </a:pathLst>
                </a:custGeom>
                <a:solidFill>
                  <a:srgbClr val="E75537"/>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410" name="Line 298">
                  <a:extLst>
                    <a:ext uri="{FF2B5EF4-FFF2-40B4-BE49-F238E27FC236}">
                      <a16:creationId xmlns="" xmlns:a16="http://schemas.microsoft.com/office/drawing/2014/main" id="{E775F3C2-FDC7-441D-90D7-A5763008B34B}"/>
                    </a:ext>
                  </a:extLst>
                </p:cNvPr>
                <p:cNvSpPr>
                  <a:spLocks noChangeShapeType="1"/>
                </p:cNvSpPr>
                <p:nvPr/>
              </p:nvSpPr>
              <p:spPr bwMode="auto">
                <a:xfrm>
                  <a:off x="8160447" y="2726856"/>
                  <a:ext cx="935" cy="11179"/>
                </a:xfrm>
                <a:prstGeom prst="line">
                  <a:avLst/>
                </a:prstGeom>
                <a:solidFill>
                  <a:srgbClr val="E75537"/>
                </a:solidFill>
                <a:ln w="3175">
                  <a:solidFill>
                    <a:srgbClr val="FFFFFF"/>
                  </a:solidFill>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411" name="Freeform 299">
                  <a:extLst>
                    <a:ext uri="{FF2B5EF4-FFF2-40B4-BE49-F238E27FC236}">
                      <a16:creationId xmlns="" xmlns:a16="http://schemas.microsoft.com/office/drawing/2014/main" id="{D82C284E-A3B4-4127-B312-EC2C1ADBD932}"/>
                    </a:ext>
                  </a:extLst>
                </p:cNvPr>
                <p:cNvSpPr>
                  <a:spLocks/>
                </p:cNvSpPr>
                <p:nvPr/>
              </p:nvSpPr>
              <p:spPr bwMode="auto">
                <a:xfrm>
                  <a:off x="8160447" y="2731328"/>
                  <a:ext cx="3740" cy="6707"/>
                </a:xfrm>
                <a:custGeom>
                  <a:avLst/>
                  <a:gdLst>
                    <a:gd name="T0" fmla="*/ 0 w 13"/>
                    <a:gd name="T1" fmla="*/ 18 h 18"/>
                    <a:gd name="T2" fmla="*/ 1 w 13"/>
                    <a:gd name="T3" fmla="*/ 13 h 18"/>
                    <a:gd name="T4" fmla="*/ 3 w 13"/>
                    <a:gd name="T5" fmla="*/ 9 h 18"/>
                    <a:gd name="T6" fmla="*/ 7 w 13"/>
                    <a:gd name="T7" fmla="*/ 4 h 18"/>
                    <a:gd name="T8" fmla="*/ 13 w 13"/>
                    <a:gd name="T9" fmla="*/ 0 h 18"/>
                  </a:gdLst>
                  <a:ahLst/>
                  <a:cxnLst>
                    <a:cxn ang="0">
                      <a:pos x="T0" y="T1"/>
                    </a:cxn>
                    <a:cxn ang="0">
                      <a:pos x="T2" y="T3"/>
                    </a:cxn>
                    <a:cxn ang="0">
                      <a:pos x="T4" y="T5"/>
                    </a:cxn>
                    <a:cxn ang="0">
                      <a:pos x="T6" y="T7"/>
                    </a:cxn>
                    <a:cxn ang="0">
                      <a:pos x="T8" y="T9"/>
                    </a:cxn>
                  </a:cxnLst>
                  <a:rect l="0" t="0" r="r" b="b"/>
                  <a:pathLst>
                    <a:path w="13" h="18">
                      <a:moveTo>
                        <a:pt x="0" y="18"/>
                      </a:moveTo>
                      <a:lnTo>
                        <a:pt x="1" y="13"/>
                      </a:lnTo>
                      <a:lnTo>
                        <a:pt x="3" y="9"/>
                      </a:lnTo>
                      <a:lnTo>
                        <a:pt x="7" y="4"/>
                      </a:lnTo>
                      <a:lnTo>
                        <a:pt x="13" y="0"/>
                      </a:lnTo>
                    </a:path>
                  </a:pathLst>
                </a:custGeom>
                <a:solidFill>
                  <a:srgbClr val="E75537"/>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412" name="Line 300">
                  <a:extLst>
                    <a:ext uri="{FF2B5EF4-FFF2-40B4-BE49-F238E27FC236}">
                      <a16:creationId xmlns="" xmlns:a16="http://schemas.microsoft.com/office/drawing/2014/main" id="{E05FEEFB-3364-4796-8D7F-B21E1BC359F1}"/>
                    </a:ext>
                  </a:extLst>
                </p:cNvPr>
                <p:cNvSpPr>
                  <a:spLocks noChangeShapeType="1"/>
                </p:cNvSpPr>
                <p:nvPr/>
              </p:nvSpPr>
              <p:spPr bwMode="auto">
                <a:xfrm flipH="1" flipV="1">
                  <a:off x="8158576" y="2724620"/>
                  <a:ext cx="5611" cy="6707"/>
                </a:xfrm>
                <a:prstGeom prst="line">
                  <a:avLst/>
                </a:prstGeom>
                <a:solidFill>
                  <a:srgbClr val="E75537"/>
                </a:solidFill>
                <a:ln w="3175">
                  <a:solidFill>
                    <a:srgbClr val="FFFFFF"/>
                  </a:solidFill>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413" name="Freeform 301">
                  <a:extLst>
                    <a:ext uri="{FF2B5EF4-FFF2-40B4-BE49-F238E27FC236}">
                      <a16:creationId xmlns="" xmlns:a16="http://schemas.microsoft.com/office/drawing/2014/main" id="{2EF1F36D-6EE9-4763-8EA9-44A68BF17AF8}"/>
                    </a:ext>
                  </a:extLst>
                </p:cNvPr>
                <p:cNvSpPr>
                  <a:spLocks/>
                </p:cNvSpPr>
                <p:nvPr/>
              </p:nvSpPr>
              <p:spPr bwMode="auto">
                <a:xfrm>
                  <a:off x="8100599" y="2855414"/>
                  <a:ext cx="8416" cy="11179"/>
                </a:xfrm>
                <a:custGeom>
                  <a:avLst/>
                  <a:gdLst>
                    <a:gd name="T0" fmla="*/ 0 w 27"/>
                    <a:gd name="T1" fmla="*/ 0 h 31"/>
                    <a:gd name="T2" fmla="*/ 20 w 27"/>
                    <a:gd name="T3" fmla="*/ 31 h 31"/>
                    <a:gd name="T4" fmla="*/ 27 w 27"/>
                    <a:gd name="T5" fmla="*/ 13 h 31"/>
                  </a:gdLst>
                  <a:ahLst/>
                  <a:cxnLst>
                    <a:cxn ang="0">
                      <a:pos x="T0" y="T1"/>
                    </a:cxn>
                    <a:cxn ang="0">
                      <a:pos x="T2" y="T3"/>
                    </a:cxn>
                    <a:cxn ang="0">
                      <a:pos x="T4" y="T5"/>
                    </a:cxn>
                  </a:cxnLst>
                  <a:rect l="0" t="0" r="r" b="b"/>
                  <a:pathLst>
                    <a:path w="27" h="31">
                      <a:moveTo>
                        <a:pt x="0" y="0"/>
                      </a:moveTo>
                      <a:lnTo>
                        <a:pt x="20" y="31"/>
                      </a:lnTo>
                      <a:lnTo>
                        <a:pt x="27" y="13"/>
                      </a:lnTo>
                    </a:path>
                  </a:pathLst>
                </a:custGeom>
                <a:solidFill>
                  <a:srgbClr val="E75537"/>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414" name="Freeform 302">
                  <a:extLst>
                    <a:ext uri="{FF2B5EF4-FFF2-40B4-BE49-F238E27FC236}">
                      <a16:creationId xmlns="" xmlns:a16="http://schemas.microsoft.com/office/drawing/2014/main" id="{494FC629-B5DC-4A60-99FF-B5F45991A78E}"/>
                    </a:ext>
                  </a:extLst>
                </p:cNvPr>
                <p:cNvSpPr>
                  <a:spLocks/>
                </p:cNvSpPr>
                <p:nvPr/>
              </p:nvSpPr>
              <p:spPr bwMode="auto">
                <a:xfrm>
                  <a:off x="8103404" y="2859886"/>
                  <a:ext cx="5611" cy="1118"/>
                </a:xfrm>
                <a:custGeom>
                  <a:avLst/>
                  <a:gdLst>
                    <a:gd name="T0" fmla="*/ 20 w 20"/>
                    <a:gd name="T1" fmla="*/ 10 w 20"/>
                    <a:gd name="T2" fmla="*/ 0 w 20"/>
                  </a:gdLst>
                  <a:ahLst/>
                  <a:cxnLst>
                    <a:cxn ang="0">
                      <a:pos x="T0" y="0"/>
                    </a:cxn>
                    <a:cxn ang="0">
                      <a:pos x="T1" y="0"/>
                    </a:cxn>
                    <a:cxn ang="0">
                      <a:pos x="T2" y="0"/>
                    </a:cxn>
                  </a:cxnLst>
                  <a:rect l="0" t="0" r="r" b="b"/>
                  <a:pathLst>
                    <a:path w="20">
                      <a:moveTo>
                        <a:pt x="20" y="0"/>
                      </a:moveTo>
                      <a:lnTo>
                        <a:pt x="10" y="0"/>
                      </a:lnTo>
                      <a:lnTo>
                        <a:pt x="0" y="0"/>
                      </a:lnTo>
                    </a:path>
                  </a:pathLst>
                </a:custGeom>
                <a:solidFill>
                  <a:srgbClr val="E75537"/>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415" name="Freeform 303">
                  <a:extLst>
                    <a:ext uri="{FF2B5EF4-FFF2-40B4-BE49-F238E27FC236}">
                      <a16:creationId xmlns="" xmlns:a16="http://schemas.microsoft.com/office/drawing/2014/main" id="{56574241-3BC9-4A17-A20A-CE67B320123E}"/>
                    </a:ext>
                  </a:extLst>
                </p:cNvPr>
                <p:cNvSpPr>
                  <a:spLocks/>
                </p:cNvSpPr>
                <p:nvPr/>
              </p:nvSpPr>
              <p:spPr bwMode="auto">
                <a:xfrm>
                  <a:off x="8110885" y="2847589"/>
                  <a:ext cx="11221" cy="5589"/>
                </a:xfrm>
                <a:custGeom>
                  <a:avLst/>
                  <a:gdLst>
                    <a:gd name="T0" fmla="*/ 0 w 34"/>
                    <a:gd name="T1" fmla="*/ 13 h 13"/>
                    <a:gd name="T2" fmla="*/ 6 w 34"/>
                    <a:gd name="T3" fmla="*/ 13 h 13"/>
                    <a:gd name="T4" fmla="*/ 10 w 34"/>
                    <a:gd name="T5" fmla="*/ 11 h 13"/>
                    <a:gd name="T6" fmla="*/ 16 w 34"/>
                    <a:gd name="T7" fmla="*/ 10 h 13"/>
                    <a:gd name="T8" fmla="*/ 20 w 34"/>
                    <a:gd name="T9" fmla="*/ 7 h 13"/>
                    <a:gd name="T10" fmla="*/ 28 w 34"/>
                    <a:gd name="T11" fmla="*/ 2 h 13"/>
                    <a:gd name="T12" fmla="*/ 34 w 34"/>
                    <a:gd name="T13" fmla="*/ 0 h 13"/>
                    <a:gd name="T14" fmla="*/ 25 w 34"/>
                    <a:gd name="T15" fmla="*/ 0 h 13"/>
                    <a:gd name="T16" fmla="*/ 15 w 3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solidFill>
                  <a:srgbClr val="E75537"/>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416" name="Freeform 304">
                  <a:extLst>
                    <a:ext uri="{FF2B5EF4-FFF2-40B4-BE49-F238E27FC236}">
                      <a16:creationId xmlns="" xmlns:a16="http://schemas.microsoft.com/office/drawing/2014/main" id="{439ADFCE-DB8A-4349-940C-ABD1C78846A6}"/>
                    </a:ext>
                  </a:extLst>
                </p:cNvPr>
                <p:cNvSpPr>
                  <a:spLocks/>
                </p:cNvSpPr>
                <p:nvPr/>
              </p:nvSpPr>
              <p:spPr bwMode="auto">
                <a:xfrm>
                  <a:off x="8110885" y="2836410"/>
                  <a:ext cx="11221" cy="6707"/>
                </a:xfrm>
                <a:custGeom>
                  <a:avLst/>
                  <a:gdLst>
                    <a:gd name="T0" fmla="*/ 34 w 34"/>
                    <a:gd name="T1" fmla="*/ 18 h 18"/>
                    <a:gd name="T2" fmla="*/ 34 w 34"/>
                    <a:gd name="T3" fmla="*/ 0 h 18"/>
                    <a:gd name="T4" fmla="*/ 28 w 34"/>
                    <a:gd name="T5" fmla="*/ 0 h 18"/>
                    <a:gd name="T6" fmla="*/ 20 w 34"/>
                    <a:gd name="T7" fmla="*/ 0 h 18"/>
                    <a:gd name="T8" fmla="*/ 10 w 34"/>
                    <a:gd name="T9" fmla="*/ 0 h 18"/>
                    <a:gd name="T10" fmla="*/ 0 w 34"/>
                    <a:gd name="T11" fmla="*/ 0 h 18"/>
                    <a:gd name="T12" fmla="*/ 34 w 34"/>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34" h="18">
                      <a:moveTo>
                        <a:pt x="34" y="18"/>
                      </a:moveTo>
                      <a:lnTo>
                        <a:pt x="34" y="0"/>
                      </a:lnTo>
                      <a:lnTo>
                        <a:pt x="28" y="0"/>
                      </a:lnTo>
                      <a:lnTo>
                        <a:pt x="20" y="0"/>
                      </a:lnTo>
                      <a:lnTo>
                        <a:pt x="10" y="0"/>
                      </a:lnTo>
                      <a:lnTo>
                        <a:pt x="0" y="0"/>
                      </a:lnTo>
                      <a:lnTo>
                        <a:pt x="34" y="18"/>
                      </a:lnTo>
                    </a:path>
                  </a:pathLst>
                </a:custGeom>
                <a:solidFill>
                  <a:srgbClr val="E75537"/>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417" name="Freeform 305">
                  <a:extLst>
                    <a:ext uri="{FF2B5EF4-FFF2-40B4-BE49-F238E27FC236}">
                      <a16:creationId xmlns="" xmlns:a16="http://schemas.microsoft.com/office/drawing/2014/main" id="{936A4F2A-F936-4684-AE60-9156C7C439EF}"/>
                    </a:ext>
                  </a:extLst>
                </p:cNvPr>
                <p:cNvSpPr>
                  <a:spLocks/>
                </p:cNvSpPr>
                <p:nvPr/>
              </p:nvSpPr>
              <p:spPr bwMode="auto">
                <a:xfrm>
                  <a:off x="8123977" y="2822995"/>
                  <a:ext cx="18702" cy="8943"/>
                </a:xfrm>
                <a:custGeom>
                  <a:avLst/>
                  <a:gdLst>
                    <a:gd name="T0" fmla="*/ 53 w 59"/>
                    <a:gd name="T1" fmla="*/ 25 h 25"/>
                    <a:gd name="T2" fmla="*/ 56 w 59"/>
                    <a:gd name="T3" fmla="*/ 12 h 25"/>
                    <a:gd name="T4" fmla="*/ 59 w 59"/>
                    <a:gd name="T5" fmla="*/ 0 h 25"/>
                    <a:gd name="T6" fmla="*/ 44 w 59"/>
                    <a:gd name="T7" fmla="*/ 0 h 25"/>
                    <a:gd name="T8" fmla="*/ 27 w 59"/>
                    <a:gd name="T9" fmla="*/ 0 h 25"/>
                    <a:gd name="T10" fmla="*/ 19 w 59"/>
                    <a:gd name="T11" fmla="*/ 1 h 25"/>
                    <a:gd name="T12" fmla="*/ 12 w 59"/>
                    <a:gd name="T13" fmla="*/ 2 h 25"/>
                    <a:gd name="T14" fmla="*/ 5 w 59"/>
                    <a:gd name="T15" fmla="*/ 4 h 25"/>
                    <a:gd name="T16" fmla="*/ 0 w 59"/>
                    <a:gd name="T17" fmla="*/ 6 h 25"/>
                    <a:gd name="T18" fmla="*/ 13 w 59"/>
                    <a:gd name="T19" fmla="*/ 14 h 25"/>
                    <a:gd name="T20" fmla="*/ 26 w 59"/>
                    <a:gd name="T21" fmla="*/ 20 h 25"/>
                    <a:gd name="T22" fmla="*/ 33 w 59"/>
                    <a:gd name="T23" fmla="*/ 22 h 25"/>
                    <a:gd name="T24" fmla="*/ 38 w 59"/>
                    <a:gd name="T25" fmla="*/ 24 h 25"/>
                    <a:gd name="T26" fmla="*/ 46 w 59"/>
                    <a:gd name="T27" fmla="*/ 25 h 25"/>
                    <a:gd name="T28" fmla="*/ 53 w 59"/>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solidFill>
                  <a:srgbClr val="E75537"/>
                </a:solidFill>
                <a:ln w="3175" cmpd="sng">
                  <a:solidFill>
                    <a:srgbClr val="FFFFFF"/>
                  </a:solidFill>
                  <a:prstDash val="solid"/>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sp>
              <p:nvSpPr>
                <p:cNvPr id="418" name="Line 306">
                  <a:extLst>
                    <a:ext uri="{FF2B5EF4-FFF2-40B4-BE49-F238E27FC236}">
                      <a16:creationId xmlns="" xmlns:a16="http://schemas.microsoft.com/office/drawing/2014/main" id="{35AEDB6B-22BF-45EE-8ACE-B5C7A19BF45A}"/>
                    </a:ext>
                  </a:extLst>
                </p:cNvPr>
                <p:cNvSpPr>
                  <a:spLocks noChangeShapeType="1"/>
                </p:cNvSpPr>
                <p:nvPr/>
              </p:nvSpPr>
              <p:spPr bwMode="auto">
                <a:xfrm flipV="1">
                  <a:off x="8170733" y="2801755"/>
                  <a:ext cx="5611" cy="2236"/>
                </a:xfrm>
                <a:prstGeom prst="line">
                  <a:avLst/>
                </a:prstGeom>
                <a:solidFill>
                  <a:srgbClr val="E75537"/>
                </a:solidFill>
                <a:ln w="3175">
                  <a:solidFill>
                    <a:srgbClr val="FFFFFF"/>
                  </a:solidFill>
                  <a:round/>
                  <a:headEnd/>
                  <a:tailEnd/>
                </a:ln>
              </p:spPr>
              <p:txBody>
                <a:bodyPr/>
                <a:lstStyle/>
                <a:p>
                  <a:pPr defTabSz="913137">
                    <a:defRPr/>
                  </a:pPr>
                  <a:endParaRPr lang="en-US" kern="0">
                    <a:solidFill>
                      <a:sysClr val="windowText" lastClr="000000"/>
                    </a:solidFill>
                    <a:cs typeface="Calibri" panose="020F0502020204030204" pitchFamily="34" charset="0"/>
                  </a:endParaRPr>
                </a:p>
              </p:txBody>
            </p:sp>
          </p:grpSp>
          <p:sp>
            <p:nvSpPr>
              <p:cNvPr id="12" name="Rectangle 11">
                <a:extLst>
                  <a:ext uri="{FF2B5EF4-FFF2-40B4-BE49-F238E27FC236}">
                    <a16:creationId xmlns="" xmlns:a16="http://schemas.microsoft.com/office/drawing/2014/main" id="{93020464-D81E-45B3-9376-38D34B666C0E}"/>
                  </a:ext>
                </a:extLst>
              </p:cNvPr>
              <p:cNvSpPr/>
              <p:nvPr/>
            </p:nvSpPr>
            <p:spPr>
              <a:xfrm>
                <a:off x="3042241" y="2559527"/>
                <a:ext cx="5913608" cy="3540684"/>
              </a:xfrm>
              <a:prstGeom prst="rect">
                <a:avLst/>
              </a:prstGeom>
              <a:noFill/>
              <a:ln w="127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461">
                  <a:defRPr/>
                </a:pPr>
                <a:endParaRPr lang="en-US">
                  <a:solidFill>
                    <a:prstClr val="white"/>
                  </a:solidFill>
                  <a:cs typeface="Calibri" panose="020F0502020204030204" pitchFamily="34" charset="0"/>
                </a:endParaRPr>
              </a:p>
            </p:txBody>
          </p:sp>
        </p:grpSp>
        <p:cxnSp>
          <p:nvCxnSpPr>
            <p:cNvPr id="591" name="Straight Connector 590">
              <a:extLst>
                <a:ext uri="{FF2B5EF4-FFF2-40B4-BE49-F238E27FC236}">
                  <a16:creationId xmlns="" xmlns:a16="http://schemas.microsoft.com/office/drawing/2014/main" id="{736E357B-D81D-4B0F-AD51-F5469A5D85EC}"/>
                </a:ext>
              </a:extLst>
            </p:cNvPr>
            <p:cNvCxnSpPr>
              <a:cxnSpLocks/>
            </p:cNvCxnSpPr>
            <p:nvPr/>
          </p:nvCxnSpPr>
          <p:spPr>
            <a:xfrm flipH="1">
              <a:off x="2860337" y="2871011"/>
              <a:ext cx="971504" cy="0"/>
            </a:xfrm>
            <a:prstGeom prst="line">
              <a:avLst/>
            </a:prstGeom>
            <a:ln w="12700">
              <a:solidFill>
                <a:schemeClr val="accent2"/>
              </a:solidFill>
            </a:ln>
          </p:spPr>
          <p:style>
            <a:lnRef idx="1">
              <a:schemeClr val="accent6"/>
            </a:lnRef>
            <a:fillRef idx="0">
              <a:schemeClr val="accent6"/>
            </a:fillRef>
            <a:effectRef idx="0">
              <a:schemeClr val="accent6"/>
            </a:effectRef>
            <a:fontRef idx="minor">
              <a:schemeClr val="tx1"/>
            </a:fontRef>
          </p:style>
        </p:cxnSp>
        <p:sp>
          <p:nvSpPr>
            <p:cNvPr id="592" name="Rectangle 591">
              <a:extLst>
                <a:ext uri="{FF2B5EF4-FFF2-40B4-BE49-F238E27FC236}">
                  <a16:creationId xmlns="" xmlns:a16="http://schemas.microsoft.com/office/drawing/2014/main" id="{51E60441-1AF6-4209-BC76-E2DE1BED2238}"/>
                </a:ext>
              </a:extLst>
            </p:cNvPr>
            <p:cNvSpPr/>
            <p:nvPr/>
          </p:nvSpPr>
          <p:spPr>
            <a:xfrm>
              <a:off x="1871373" y="2718953"/>
              <a:ext cx="1224419" cy="26656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137">
                <a:defRPr/>
              </a:pPr>
              <a:r>
                <a:rPr lang="es" sz="1100" b="1">
                  <a:solidFill>
                    <a:srgbClr val="34373F"/>
                  </a:solidFill>
                  <a:cs typeface="Calibri" panose="020F0502020204030204" pitchFamily="34" charset="0"/>
                </a:rPr>
                <a:t>Panamá</a:t>
              </a:r>
            </a:p>
          </p:txBody>
        </p:sp>
        <p:sp>
          <p:nvSpPr>
            <p:cNvPr id="593" name="Rectangle 592">
              <a:extLst>
                <a:ext uri="{FF2B5EF4-FFF2-40B4-BE49-F238E27FC236}">
                  <a16:creationId xmlns="" xmlns:a16="http://schemas.microsoft.com/office/drawing/2014/main" id="{94DA1517-AA54-4046-822A-4A9C5D8DB50A}"/>
                </a:ext>
              </a:extLst>
            </p:cNvPr>
            <p:cNvSpPr/>
            <p:nvPr/>
          </p:nvSpPr>
          <p:spPr>
            <a:xfrm>
              <a:off x="4430306" y="2327402"/>
              <a:ext cx="1347621" cy="25177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137">
                <a:defRPr/>
              </a:pPr>
              <a:endParaRPr lang="en-US" sz="1100" b="1">
                <a:solidFill>
                  <a:srgbClr val="000000"/>
                </a:solidFill>
                <a:cs typeface="Calibri" panose="020F0502020204030204" pitchFamily="34" charset="0"/>
              </a:endParaRPr>
            </a:p>
            <a:p>
              <a:pPr algn="ctr" defTabSz="913137">
                <a:defRPr/>
              </a:pPr>
              <a:r>
                <a:rPr lang="es" sz="1100" b="1">
                  <a:solidFill>
                    <a:srgbClr val="34373F"/>
                  </a:solidFill>
                  <a:cs typeface="Calibri" panose="020F0502020204030204" pitchFamily="34" charset="0"/>
                </a:rPr>
                <a:t>Colombia</a:t>
              </a:r>
            </a:p>
            <a:p>
              <a:pPr algn="ctr" defTabSz="913137">
                <a:defRPr/>
              </a:pPr>
              <a:endParaRPr lang="en-US" sz="1100" b="1">
                <a:solidFill>
                  <a:srgbClr val="4F81BD"/>
                </a:solidFill>
                <a:cs typeface="Calibri" panose="020F0502020204030204" pitchFamily="34" charset="0"/>
              </a:endParaRPr>
            </a:p>
          </p:txBody>
        </p:sp>
        <p:sp>
          <p:nvSpPr>
            <p:cNvPr id="594" name="Rectangle 593">
              <a:extLst>
                <a:ext uri="{FF2B5EF4-FFF2-40B4-BE49-F238E27FC236}">
                  <a16:creationId xmlns="" xmlns:a16="http://schemas.microsoft.com/office/drawing/2014/main" id="{E7319E8F-0011-469D-A4EE-178632CA3670}"/>
                </a:ext>
              </a:extLst>
            </p:cNvPr>
            <p:cNvSpPr/>
            <p:nvPr/>
          </p:nvSpPr>
          <p:spPr>
            <a:xfrm>
              <a:off x="4902603" y="3365412"/>
              <a:ext cx="713909" cy="28717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137">
                <a:defRPr/>
              </a:pPr>
              <a:r>
                <a:rPr lang="es" sz="1100" b="1">
                  <a:solidFill>
                    <a:srgbClr val="34373F"/>
                  </a:solidFill>
                  <a:cs typeface="Calibri" panose="020F0502020204030204" pitchFamily="34" charset="0"/>
                </a:rPr>
                <a:t>Brasil</a:t>
              </a:r>
            </a:p>
          </p:txBody>
        </p:sp>
        <p:sp>
          <p:nvSpPr>
            <p:cNvPr id="595" name="Rectangle 594">
              <a:extLst>
                <a:ext uri="{FF2B5EF4-FFF2-40B4-BE49-F238E27FC236}">
                  <a16:creationId xmlns="" xmlns:a16="http://schemas.microsoft.com/office/drawing/2014/main" id="{1D60D712-6D9A-44A3-9186-8EFE80109D79}"/>
                </a:ext>
              </a:extLst>
            </p:cNvPr>
            <p:cNvSpPr/>
            <p:nvPr/>
          </p:nvSpPr>
          <p:spPr>
            <a:xfrm>
              <a:off x="8558508" y="2115286"/>
              <a:ext cx="1044313" cy="23237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137">
                <a:defRPr/>
              </a:pPr>
              <a:endParaRPr lang="en-US" sz="1100">
                <a:solidFill>
                  <a:srgbClr val="34373F"/>
                </a:solidFill>
                <a:cs typeface="Calibri" panose="020F0502020204030204" pitchFamily="34" charset="0"/>
              </a:endParaRPr>
            </a:p>
            <a:p>
              <a:pPr algn="ctr" defTabSz="913137">
                <a:defRPr/>
              </a:pPr>
              <a:r>
                <a:rPr lang="es" sz="1100" b="1">
                  <a:solidFill>
                    <a:srgbClr val="34373F"/>
                  </a:solidFill>
                  <a:cs typeface="Calibri" panose="020F0502020204030204" pitchFamily="34" charset="0"/>
                </a:rPr>
                <a:t>Filipinas</a:t>
              </a:r>
            </a:p>
            <a:p>
              <a:pPr algn="ctr" defTabSz="913137">
                <a:defRPr/>
              </a:pPr>
              <a:endParaRPr lang="en-US" sz="1100">
                <a:solidFill>
                  <a:srgbClr val="34373F"/>
                </a:solidFill>
                <a:cs typeface="Calibri" panose="020F0502020204030204" pitchFamily="34" charset="0"/>
              </a:endParaRPr>
            </a:p>
          </p:txBody>
        </p:sp>
        <p:sp>
          <p:nvSpPr>
            <p:cNvPr id="596" name="Rectangle 595">
              <a:extLst>
                <a:ext uri="{FF2B5EF4-FFF2-40B4-BE49-F238E27FC236}">
                  <a16:creationId xmlns="" xmlns:a16="http://schemas.microsoft.com/office/drawing/2014/main" id="{DF997DA1-5D92-4FF8-AEE3-05EE5C7A391B}"/>
                </a:ext>
              </a:extLst>
            </p:cNvPr>
            <p:cNvSpPr/>
            <p:nvPr/>
          </p:nvSpPr>
          <p:spPr>
            <a:xfrm>
              <a:off x="6708049" y="3144296"/>
              <a:ext cx="1370552" cy="29136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137">
                <a:defRPr/>
              </a:pPr>
              <a:endParaRPr lang="en-US" sz="1100" b="1">
                <a:solidFill>
                  <a:srgbClr val="34373F"/>
                </a:solidFill>
                <a:cs typeface="Calibri" panose="020F0502020204030204" pitchFamily="34" charset="0"/>
              </a:endParaRPr>
            </a:p>
            <a:p>
              <a:pPr algn="ctr" defTabSz="913137">
                <a:defRPr/>
              </a:pPr>
              <a:r>
                <a:rPr lang="es" sz="1100" b="1">
                  <a:solidFill>
                    <a:srgbClr val="34373F"/>
                  </a:solidFill>
                  <a:cs typeface="Calibri" panose="020F0502020204030204" pitchFamily="34" charset="0"/>
                </a:rPr>
                <a:t>Sri Lanka</a:t>
              </a:r>
            </a:p>
            <a:p>
              <a:pPr algn="ctr" defTabSz="913137">
                <a:defRPr/>
              </a:pPr>
              <a:endParaRPr lang="en-US" sz="1100" b="1">
                <a:solidFill>
                  <a:srgbClr val="34373F"/>
                </a:solidFill>
                <a:cs typeface="Calibri" panose="020F0502020204030204" pitchFamily="34" charset="0"/>
              </a:endParaRPr>
            </a:p>
          </p:txBody>
        </p:sp>
        <p:sp>
          <p:nvSpPr>
            <p:cNvPr id="597" name="Rectangle 596">
              <a:extLst>
                <a:ext uri="{FF2B5EF4-FFF2-40B4-BE49-F238E27FC236}">
                  <a16:creationId xmlns="" xmlns:a16="http://schemas.microsoft.com/office/drawing/2014/main" id="{DADF2065-E2D7-4EB4-92F7-04745BD58D62}"/>
                </a:ext>
              </a:extLst>
            </p:cNvPr>
            <p:cNvSpPr/>
            <p:nvPr/>
          </p:nvSpPr>
          <p:spPr>
            <a:xfrm>
              <a:off x="3629840" y="1830170"/>
              <a:ext cx="1508813" cy="28093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137">
                <a:defRPr/>
              </a:pPr>
              <a:r>
                <a:rPr lang="es" sz="1100" b="1">
                  <a:solidFill>
                    <a:srgbClr val="34373F"/>
                  </a:solidFill>
                  <a:cs typeface="Calibri" panose="020F0502020204030204" pitchFamily="34" charset="0"/>
                </a:rPr>
                <a:t>República Dominicana</a:t>
              </a:r>
            </a:p>
          </p:txBody>
        </p:sp>
        <p:sp>
          <p:nvSpPr>
            <p:cNvPr id="598" name="Rectangle 597">
              <a:extLst>
                <a:ext uri="{FF2B5EF4-FFF2-40B4-BE49-F238E27FC236}">
                  <a16:creationId xmlns="" xmlns:a16="http://schemas.microsoft.com/office/drawing/2014/main" id="{FF09BBBF-AD06-48F1-B24D-2238C3A105F1}"/>
                </a:ext>
              </a:extLst>
            </p:cNvPr>
            <p:cNvSpPr/>
            <p:nvPr/>
          </p:nvSpPr>
          <p:spPr>
            <a:xfrm>
              <a:off x="1769571" y="1882961"/>
              <a:ext cx="1401779" cy="30747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137">
                <a:defRPr/>
              </a:pPr>
              <a:endParaRPr lang="en-US" sz="1100" b="1">
                <a:solidFill>
                  <a:srgbClr val="000000"/>
                </a:solidFill>
                <a:cs typeface="Calibri" panose="020F0502020204030204" pitchFamily="34" charset="0"/>
              </a:endParaRPr>
            </a:p>
            <a:p>
              <a:pPr algn="ctr" defTabSz="913137">
                <a:defRPr/>
              </a:pPr>
              <a:r>
                <a:rPr lang="es" sz="1100" b="1">
                  <a:solidFill>
                    <a:srgbClr val="34373F"/>
                  </a:solidFill>
                  <a:cs typeface="Calibri" panose="020F0502020204030204" pitchFamily="34" charset="0"/>
                </a:rPr>
                <a:t>Nicaragua</a:t>
              </a:r>
            </a:p>
            <a:p>
              <a:pPr algn="ctr" defTabSz="913137">
                <a:defRPr/>
              </a:pPr>
              <a:endParaRPr lang="en-US" sz="1100" b="1">
                <a:solidFill>
                  <a:srgbClr val="4F81BD">
                    <a:lumMod val="50000"/>
                  </a:srgbClr>
                </a:solidFill>
                <a:cs typeface="Calibri" panose="020F0502020204030204" pitchFamily="34" charset="0"/>
              </a:endParaRPr>
            </a:p>
          </p:txBody>
        </p:sp>
        <p:sp>
          <p:nvSpPr>
            <p:cNvPr id="604" name="Rectangle 603">
              <a:extLst>
                <a:ext uri="{FF2B5EF4-FFF2-40B4-BE49-F238E27FC236}">
                  <a16:creationId xmlns="" xmlns:a16="http://schemas.microsoft.com/office/drawing/2014/main" id="{651F4E76-1974-4E7F-8011-2768AA0C3F9B}"/>
                </a:ext>
              </a:extLst>
            </p:cNvPr>
            <p:cNvSpPr/>
            <p:nvPr/>
          </p:nvSpPr>
          <p:spPr>
            <a:xfrm>
              <a:off x="7733348" y="3173765"/>
              <a:ext cx="834119" cy="28310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3137">
                <a:defRPr/>
              </a:pPr>
              <a:endParaRPr lang="en-US" sz="1100" b="1">
                <a:solidFill>
                  <a:srgbClr val="34373F"/>
                </a:solidFill>
                <a:cs typeface="Calibri" panose="020F0502020204030204" pitchFamily="34" charset="0"/>
              </a:endParaRPr>
            </a:p>
            <a:p>
              <a:pPr algn="ctr" defTabSz="913137">
                <a:defRPr/>
              </a:pPr>
              <a:r>
                <a:rPr lang="es" sz="1100" b="1">
                  <a:solidFill>
                    <a:srgbClr val="34373F"/>
                  </a:solidFill>
                  <a:cs typeface="Calibri" panose="020F0502020204030204" pitchFamily="34" charset="0"/>
                </a:rPr>
                <a:t>Tailandia</a:t>
              </a:r>
            </a:p>
            <a:p>
              <a:pPr algn="ctr" defTabSz="913137">
                <a:defRPr/>
              </a:pPr>
              <a:endParaRPr lang="en-US" sz="1100" b="1">
                <a:solidFill>
                  <a:srgbClr val="34373F"/>
                </a:solidFill>
                <a:cs typeface="Calibri" panose="020F0502020204030204" pitchFamily="34" charset="0"/>
              </a:endParaRPr>
            </a:p>
          </p:txBody>
        </p:sp>
        <p:cxnSp>
          <p:nvCxnSpPr>
            <p:cNvPr id="605" name="Straight Connector 604">
              <a:extLst>
                <a:ext uri="{FF2B5EF4-FFF2-40B4-BE49-F238E27FC236}">
                  <a16:creationId xmlns="" xmlns:a16="http://schemas.microsoft.com/office/drawing/2014/main" id="{43A0E423-7047-4358-BA27-A983ABC68126}"/>
                </a:ext>
              </a:extLst>
            </p:cNvPr>
            <p:cNvCxnSpPr>
              <a:cxnSpLocks/>
            </p:cNvCxnSpPr>
            <p:nvPr/>
          </p:nvCxnSpPr>
          <p:spPr>
            <a:xfrm flipV="1">
              <a:off x="7427855" y="2941062"/>
              <a:ext cx="126738" cy="278749"/>
            </a:xfrm>
            <a:prstGeom prst="line">
              <a:avLst/>
            </a:prstGeom>
            <a:ln w="12700">
              <a:solidFill>
                <a:schemeClr val="accent2"/>
              </a:solidFill>
            </a:ln>
          </p:spPr>
          <p:style>
            <a:lnRef idx="1">
              <a:schemeClr val="accent6"/>
            </a:lnRef>
            <a:fillRef idx="0">
              <a:schemeClr val="accent6"/>
            </a:fillRef>
            <a:effectRef idx="0">
              <a:schemeClr val="accent6"/>
            </a:effectRef>
            <a:fontRef idx="minor">
              <a:schemeClr val="tx1"/>
            </a:fontRef>
          </p:style>
        </p:cxnSp>
        <p:cxnSp>
          <p:nvCxnSpPr>
            <p:cNvPr id="606" name="Straight Connector 605">
              <a:extLst>
                <a:ext uri="{FF2B5EF4-FFF2-40B4-BE49-F238E27FC236}">
                  <a16:creationId xmlns="" xmlns:a16="http://schemas.microsoft.com/office/drawing/2014/main" id="{49E1624B-6523-4687-99BD-B5169EE8748D}"/>
                </a:ext>
              </a:extLst>
            </p:cNvPr>
            <p:cNvCxnSpPr>
              <a:cxnSpLocks/>
            </p:cNvCxnSpPr>
            <p:nvPr/>
          </p:nvCxnSpPr>
          <p:spPr>
            <a:xfrm flipV="1">
              <a:off x="4074498" y="2196191"/>
              <a:ext cx="95807" cy="436296"/>
            </a:xfrm>
            <a:prstGeom prst="line">
              <a:avLst/>
            </a:prstGeom>
            <a:noFill/>
            <a:ln w="12700" cap="flat" cmpd="sng" algn="ctr">
              <a:solidFill>
                <a:schemeClr val="accent2"/>
              </a:solidFill>
              <a:prstDash val="solid"/>
            </a:ln>
            <a:effectLst/>
          </p:spPr>
        </p:cxnSp>
        <p:cxnSp>
          <p:nvCxnSpPr>
            <p:cNvPr id="607" name="Straight Connector 606">
              <a:extLst>
                <a:ext uri="{FF2B5EF4-FFF2-40B4-BE49-F238E27FC236}">
                  <a16:creationId xmlns="" xmlns:a16="http://schemas.microsoft.com/office/drawing/2014/main" id="{D04FA9B0-6CFF-43E6-9913-2EC92C47E0A3}"/>
                </a:ext>
              </a:extLst>
            </p:cNvPr>
            <p:cNvCxnSpPr>
              <a:cxnSpLocks/>
            </p:cNvCxnSpPr>
            <p:nvPr/>
          </p:nvCxnSpPr>
          <p:spPr>
            <a:xfrm>
              <a:off x="4806575" y="3395071"/>
              <a:ext cx="214630" cy="63182"/>
            </a:xfrm>
            <a:prstGeom prst="line">
              <a:avLst/>
            </a:prstGeom>
            <a:noFill/>
            <a:ln w="12700" cap="flat" cmpd="sng" algn="ctr">
              <a:solidFill>
                <a:schemeClr val="accent2"/>
              </a:solidFill>
              <a:prstDash val="solid"/>
            </a:ln>
            <a:effectLst/>
          </p:spPr>
        </p:cxnSp>
        <p:cxnSp>
          <p:nvCxnSpPr>
            <p:cNvPr id="609" name="Straight Connector 608">
              <a:extLst>
                <a:ext uri="{FF2B5EF4-FFF2-40B4-BE49-F238E27FC236}">
                  <a16:creationId xmlns="" xmlns:a16="http://schemas.microsoft.com/office/drawing/2014/main" id="{EA3A4797-47F0-4B2E-810A-69BBBF9EDEEB}"/>
                </a:ext>
              </a:extLst>
            </p:cNvPr>
            <p:cNvCxnSpPr>
              <a:cxnSpLocks/>
            </p:cNvCxnSpPr>
            <p:nvPr/>
          </p:nvCxnSpPr>
          <p:spPr>
            <a:xfrm flipV="1">
              <a:off x="4104958" y="2573456"/>
              <a:ext cx="629003" cy="398602"/>
            </a:xfrm>
            <a:prstGeom prst="line">
              <a:avLst/>
            </a:prstGeom>
            <a:ln w="12700">
              <a:solidFill>
                <a:schemeClr val="accent2"/>
              </a:solidFill>
            </a:ln>
          </p:spPr>
          <p:style>
            <a:lnRef idx="1">
              <a:schemeClr val="accent6"/>
            </a:lnRef>
            <a:fillRef idx="0">
              <a:schemeClr val="accent6"/>
            </a:fillRef>
            <a:effectRef idx="0">
              <a:schemeClr val="accent6"/>
            </a:effectRef>
            <a:fontRef idx="minor">
              <a:schemeClr val="tx1"/>
            </a:fontRef>
          </p:style>
        </p:cxnSp>
        <p:cxnSp>
          <p:nvCxnSpPr>
            <p:cNvPr id="611" name="Straight Connector 610">
              <a:extLst>
                <a:ext uri="{FF2B5EF4-FFF2-40B4-BE49-F238E27FC236}">
                  <a16:creationId xmlns="" xmlns:a16="http://schemas.microsoft.com/office/drawing/2014/main" id="{3E806BF7-96FE-41AB-8D4B-3D41E873AF38}"/>
                </a:ext>
              </a:extLst>
            </p:cNvPr>
            <p:cNvCxnSpPr>
              <a:cxnSpLocks/>
            </p:cNvCxnSpPr>
            <p:nvPr/>
          </p:nvCxnSpPr>
          <p:spPr>
            <a:xfrm flipV="1">
              <a:off x="8489653" y="2354941"/>
              <a:ext cx="333615" cy="283578"/>
            </a:xfrm>
            <a:prstGeom prst="line">
              <a:avLst/>
            </a:prstGeom>
            <a:ln w="12700">
              <a:solidFill>
                <a:schemeClr val="accent2"/>
              </a:solidFill>
            </a:ln>
          </p:spPr>
          <p:style>
            <a:lnRef idx="1">
              <a:schemeClr val="accent6"/>
            </a:lnRef>
            <a:fillRef idx="0">
              <a:schemeClr val="accent6"/>
            </a:fillRef>
            <a:effectRef idx="0">
              <a:schemeClr val="accent6"/>
            </a:effectRef>
            <a:fontRef idx="minor">
              <a:schemeClr val="tx1"/>
            </a:fontRef>
          </p:style>
        </p:cxnSp>
        <p:cxnSp>
          <p:nvCxnSpPr>
            <p:cNvPr id="613" name="Straight Connector 612">
              <a:extLst>
                <a:ext uri="{FF2B5EF4-FFF2-40B4-BE49-F238E27FC236}">
                  <a16:creationId xmlns="" xmlns:a16="http://schemas.microsoft.com/office/drawing/2014/main" id="{9D0E03A5-6843-452E-9F83-911CBC20A33C}"/>
                </a:ext>
              </a:extLst>
            </p:cNvPr>
            <p:cNvCxnSpPr>
              <a:cxnSpLocks/>
            </p:cNvCxnSpPr>
            <p:nvPr/>
          </p:nvCxnSpPr>
          <p:spPr>
            <a:xfrm>
              <a:off x="8051502" y="2748056"/>
              <a:ext cx="66916" cy="502235"/>
            </a:xfrm>
            <a:prstGeom prst="line">
              <a:avLst/>
            </a:prstGeom>
            <a:ln w="12700">
              <a:solidFill>
                <a:schemeClr val="accent2"/>
              </a:solidFill>
            </a:ln>
          </p:spPr>
          <p:style>
            <a:lnRef idx="1">
              <a:schemeClr val="accent6"/>
            </a:lnRef>
            <a:fillRef idx="0">
              <a:schemeClr val="accent6"/>
            </a:fillRef>
            <a:effectRef idx="0">
              <a:schemeClr val="accent6"/>
            </a:effectRef>
            <a:fontRef idx="minor">
              <a:schemeClr val="tx1"/>
            </a:fontRef>
          </p:style>
        </p:cxnSp>
      </p:grpSp>
      <p:graphicFrame>
        <p:nvGraphicFramePr>
          <p:cNvPr id="616" name="Table 604">
            <a:extLst>
              <a:ext uri="{FF2B5EF4-FFF2-40B4-BE49-F238E27FC236}">
                <a16:creationId xmlns="" xmlns:a16="http://schemas.microsoft.com/office/drawing/2014/main" id="{4CA471FC-3A43-47C2-9849-946E55794E02}"/>
              </a:ext>
            </a:extLst>
          </p:cNvPr>
          <p:cNvGraphicFramePr>
            <a:graphicFrameLocks/>
          </p:cNvGraphicFramePr>
          <p:nvPr>
            <p:extLst>
              <p:ext uri="{D42A27DB-BD31-4B8C-83A1-F6EECF244321}">
                <p14:modId xmlns:p14="http://schemas.microsoft.com/office/powerpoint/2010/main" val="441924477"/>
              </p:ext>
            </p:extLst>
          </p:nvPr>
        </p:nvGraphicFramePr>
        <p:xfrm>
          <a:off x="6473449" y="2892989"/>
          <a:ext cx="2078882" cy="1508760"/>
        </p:xfrm>
        <a:graphic>
          <a:graphicData uri="http://schemas.openxmlformats.org/drawingml/2006/table">
            <a:tbl>
              <a:tblPr firstRow="1" bandRow="1">
                <a:tableStyleId>{5C22544A-7EE6-4342-B048-85BDC9FD1C3A}</a:tableStyleId>
              </a:tblPr>
              <a:tblGrid>
                <a:gridCol w="1039441">
                  <a:extLst>
                    <a:ext uri="{9D8B030D-6E8A-4147-A177-3AD203B41FA5}">
                      <a16:colId xmlns="" xmlns:a16="http://schemas.microsoft.com/office/drawing/2014/main" val="1770626393"/>
                    </a:ext>
                  </a:extLst>
                </a:gridCol>
                <a:gridCol w="1039441">
                  <a:extLst>
                    <a:ext uri="{9D8B030D-6E8A-4147-A177-3AD203B41FA5}">
                      <a16:colId xmlns="" xmlns:a16="http://schemas.microsoft.com/office/drawing/2014/main" val="1652677759"/>
                    </a:ext>
                  </a:extLst>
                </a:gridCol>
              </a:tblGrid>
              <a:tr h="480060">
                <a:tc>
                  <a:txBody>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s" sz="1100" b="1" u="none" strike="noStrike" kern="1200" cap="none" spc="0" normalizeH="0" baseline="0" noProof="0">
                          <a:ln>
                            <a:noFill/>
                          </a:ln>
                          <a:solidFill>
                            <a:schemeClr val="bg1"/>
                          </a:solidFill>
                          <a:effectLst/>
                          <a:uLnTx/>
                          <a:uFillTx/>
                        </a:rPr>
                        <a:t>Asia Pacífico </a:t>
                      </a:r>
                      <a:r>
                        <a:rPr kumimoji="0" lang="en-US" sz="900" b="1" u="none" strike="noStrike" kern="1200" cap="none" spc="0" normalizeH="0" baseline="0" noProof="0">
                          <a:ln>
                            <a:noFill/>
                          </a:ln>
                          <a:solidFill>
                            <a:schemeClr val="bg1"/>
                          </a:solidFill>
                          <a:effectLst/>
                          <a:uLnTx/>
                          <a:uFillTx/>
                        </a:rPr>
                        <a:t/>
                      </a:r>
                      <a:br>
                        <a:rPr kumimoji="0" lang="en-US" sz="900" b="1" u="none" strike="noStrike" kern="1200" cap="none" spc="0" normalizeH="0" baseline="0" noProof="0">
                          <a:ln>
                            <a:noFill/>
                          </a:ln>
                          <a:solidFill>
                            <a:schemeClr val="bg1"/>
                          </a:solidFill>
                          <a:effectLst/>
                          <a:uLnTx/>
                          <a:uFillTx/>
                        </a:rPr>
                      </a:br>
                      <a:r>
                        <a:rPr kumimoji="0" lang="es" sz="900" b="1" u="none" strike="noStrike" kern="1200" cap="none" spc="0" normalizeH="0" baseline="0" noProof="0">
                          <a:ln>
                            <a:noFill/>
                          </a:ln>
                          <a:solidFill>
                            <a:schemeClr val="bg1"/>
                          </a:solidFill>
                          <a:effectLst/>
                          <a:uLnTx/>
                          <a:uFillTx/>
                        </a:rPr>
                        <a:t>(n=2993)*</a:t>
                      </a:r>
                      <a:endParaRPr kumimoji="0" lang="en-US" sz="900" b="1" i="0" u="none" strike="noStrike" kern="1200" cap="none" spc="0" normalizeH="0" baseline="0" noProof="0">
                        <a:ln>
                          <a:noFill/>
                        </a:ln>
                        <a:solidFill>
                          <a:schemeClr val="bg1"/>
                        </a:solidFill>
                        <a:effectLst/>
                        <a:uLnTx/>
                        <a:uFillTx/>
                        <a:ea typeface="+mn-ea"/>
                        <a:cs typeface="+mn-cs"/>
                      </a:endParaRPr>
                    </a:p>
                  </a:txBody>
                  <a:tcPr marL="54000" marR="54000" marT="34290" marB="34290" anchor="ctr"/>
                </a:tc>
                <a:tc>
                  <a:txBody>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s" sz="900" b="1" u="none" strike="noStrike" kern="1200" cap="none" spc="0" normalizeH="0" baseline="0" noProof="0">
                          <a:ln>
                            <a:noFill/>
                          </a:ln>
                          <a:solidFill>
                            <a:schemeClr val="bg1"/>
                          </a:solidFill>
                          <a:effectLst/>
                          <a:uLnTx/>
                          <a:uFillTx/>
                        </a:rPr>
                        <a:t>Casos, n </a:t>
                      </a:r>
                      <a:r>
                        <a:rPr kumimoji="0" lang="en-US" sz="900" b="1" u="none" strike="noStrike" kern="1200" cap="none" spc="0" normalizeH="0" baseline="0" noProof="0">
                          <a:ln>
                            <a:noFill/>
                          </a:ln>
                          <a:solidFill>
                            <a:schemeClr val="bg1"/>
                          </a:solidFill>
                          <a:effectLst/>
                          <a:uLnTx/>
                          <a:uFillTx/>
                        </a:rPr>
                        <a:t/>
                      </a:r>
                      <a:br>
                        <a:rPr kumimoji="0" lang="en-US" sz="900" b="1" u="none" strike="noStrike" kern="1200" cap="none" spc="0" normalizeH="0" baseline="0" noProof="0">
                          <a:ln>
                            <a:noFill/>
                          </a:ln>
                          <a:solidFill>
                            <a:schemeClr val="bg1"/>
                          </a:solidFill>
                          <a:effectLst/>
                          <a:uLnTx/>
                          <a:uFillTx/>
                        </a:rPr>
                      </a:br>
                      <a:r>
                        <a:rPr kumimoji="0" lang="es" sz="900" b="1" u="none" strike="noStrike" kern="1200" cap="none" spc="0" normalizeH="0" baseline="0" noProof="0">
                          <a:ln>
                            <a:noFill/>
                          </a:ln>
                          <a:solidFill>
                            <a:schemeClr val="bg1"/>
                          </a:solidFill>
                          <a:effectLst/>
                          <a:uLnTx/>
                          <a:uFillTx/>
                        </a:rPr>
                        <a:t>(casos hospitalizados, n)</a:t>
                      </a:r>
                      <a:endParaRPr kumimoji="0" lang="en-US" sz="900" b="1" i="0" u="none" strike="noStrike" kern="1200" cap="none" spc="0" normalizeH="0" baseline="0" noProof="0">
                        <a:ln>
                          <a:noFill/>
                        </a:ln>
                        <a:solidFill>
                          <a:schemeClr val="bg1"/>
                        </a:solidFill>
                        <a:effectLst/>
                        <a:uLnTx/>
                        <a:uFillTx/>
                        <a:ea typeface="+mn-ea"/>
                        <a:cs typeface="+mn-cs"/>
                      </a:endParaRPr>
                    </a:p>
                  </a:txBody>
                  <a:tcPr marL="68580" marR="68580" marT="34290" marB="34290" anchor="ctr">
                    <a:lnT w="12700" cap="flat" cmpd="sng" algn="ctr">
                      <a:noFill/>
                      <a:prstDash val="solid"/>
                      <a:round/>
                      <a:headEnd type="none" w="med" len="med"/>
                      <a:tailEnd type="none" w="med" len="med"/>
                    </a:lnT>
                  </a:tcPr>
                </a:tc>
                <a:extLst>
                  <a:ext uri="{0D108BD9-81ED-4DB2-BD59-A6C34878D82A}">
                    <a16:rowId xmlns="" xmlns:a16="http://schemas.microsoft.com/office/drawing/2014/main" val="694705084"/>
                  </a:ext>
                </a:extLst>
              </a:tr>
              <a:tr h="205740">
                <a:tc>
                  <a:txBody>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s" sz="900" b="1" u="none" strike="noStrike" kern="1200" cap="none" spc="0" normalizeH="0" baseline="0" noProof="0">
                          <a:ln>
                            <a:noFill/>
                          </a:ln>
                          <a:solidFill>
                            <a:schemeClr val="tx1"/>
                          </a:solidFill>
                          <a:effectLst/>
                          <a:uLnTx/>
                          <a:uFillTx/>
                        </a:rPr>
                        <a:t>En general</a:t>
                      </a:r>
                      <a:endParaRPr kumimoji="0" lang="en-US" sz="900" b="1" i="0" u="none" strike="noStrike" kern="1200" cap="none" spc="0" normalizeH="0" baseline="0" noProof="0">
                        <a:ln>
                          <a:noFill/>
                        </a:ln>
                        <a:solidFill>
                          <a:schemeClr val="tx1"/>
                        </a:solidFill>
                        <a:effectLst/>
                        <a:uLnTx/>
                        <a:uFillTx/>
                        <a:latin typeface="+mn-lt"/>
                        <a:ea typeface="+mn-ea"/>
                        <a:cs typeface="+mn-cs"/>
                      </a:endParaRPr>
                    </a:p>
                  </a:txBody>
                  <a:tcPr marL="68580" marR="68580" marT="34290" marB="34290" anchor="ctr"/>
                </a:tc>
                <a:tc>
                  <a:txBody>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s" sz="900" b="0" u="none" strike="noStrike" kern="1200" cap="none" spc="0" normalizeH="0" baseline="0" noProof="0">
                          <a:ln>
                            <a:noFill/>
                          </a:ln>
                          <a:solidFill>
                            <a:schemeClr val="tx1"/>
                          </a:solidFill>
                          <a:effectLst/>
                          <a:uLnTx/>
                          <a:uFillTx/>
                        </a:rPr>
                        <a:t>358 (112)</a:t>
                      </a:r>
                      <a:endParaRPr kumimoji="0" lang="en-US" sz="900" b="0" i="0" u="none" strike="noStrike" kern="1200" cap="none" spc="0" normalizeH="0" baseline="0" noProof="0">
                        <a:ln>
                          <a:noFill/>
                        </a:ln>
                        <a:solidFill>
                          <a:schemeClr val="tx1"/>
                        </a:solidFill>
                        <a:effectLst/>
                        <a:uLnTx/>
                        <a:uFillTx/>
                        <a:ea typeface="+mn-ea"/>
                        <a:cs typeface="+mn-cs"/>
                      </a:endParaRPr>
                    </a:p>
                  </a:txBody>
                  <a:tcPr marL="68580" marR="68580" marT="34290" marB="34290" anchor="ctr"/>
                </a:tc>
                <a:extLst>
                  <a:ext uri="{0D108BD9-81ED-4DB2-BD59-A6C34878D82A}">
                    <a16:rowId xmlns="" xmlns:a16="http://schemas.microsoft.com/office/drawing/2014/main" val="1199915074"/>
                  </a:ext>
                </a:extLst>
              </a:tr>
              <a:tr h="205740">
                <a:tc>
                  <a:txBody>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s" sz="900" b="0" u="none" strike="noStrike" kern="1200" cap="none" spc="0" normalizeH="0" baseline="0" noProof="0">
                          <a:ln>
                            <a:noFill/>
                          </a:ln>
                          <a:solidFill>
                            <a:schemeClr val="tx1"/>
                          </a:solidFill>
                          <a:effectLst/>
                          <a:uLnTx/>
                          <a:uFillTx/>
                        </a:rPr>
                        <a:t>DENV-1</a:t>
                      </a:r>
                      <a:endParaRPr kumimoji="0" lang="en-US" sz="900" b="0" i="0" u="none" strike="noStrike" kern="1200" cap="none" spc="0" normalizeH="0" baseline="0" noProof="0">
                        <a:ln>
                          <a:noFill/>
                        </a:ln>
                        <a:solidFill>
                          <a:schemeClr val="tx1"/>
                        </a:solidFill>
                        <a:effectLst/>
                        <a:uLnTx/>
                        <a:uFillTx/>
                        <a:ea typeface="+mn-ea"/>
                        <a:cs typeface="+mn-cs"/>
                      </a:endParaRPr>
                    </a:p>
                  </a:txBody>
                  <a:tcPr marL="68580" marR="68580" marT="34290" marB="34290" anchor="ctr">
                    <a:solidFill>
                      <a:srgbClr val="F4CCCD"/>
                    </a:solidFill>
                  </a:tcPr>
                </a:tc>
                <a:tc>
                  <a:txBody>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s" sz="900" b="0" u="none" strike="noStrike" kern="1200" cap="none" spc="0" normalizeH="0" baseline="0" noProof="0">
                          <a:ln>
                            <a:noFill/>
                          </a:ln>
                          <a:solidFill>
                            <a:schemeClr val="tx1"/>
                          </a:solidFill>
                          <a:effectLst/>
                          <a:uLnTx/>
                          <a:uFillTx/>
                        </a:rPr>
                        <a:t>76 (22)</a:t>
                      </a:r>
                      <a:endParaRPr kumimoji="0" lang="en-US" sz="900" b="0" i="0" u="none" strike="noStrike" kern="1200" cap="none" spc="0" normalizeH="0" baseline="0" noProof="0">
                        <a:ln>
                          <a:noFill/>
                        </a:ln>
                        <a:solidFill>
                          <a:schemeClr val="tx1"/>
                        </a:solidFill>
                        <a:effectLst/>
                        <a:uLnTx/>
                        <a:uFillTx/>
                        <a:ea typeface="+mn-ea"/>
                        <a:cs typeface="+mn-cs"/>
                      </a:endParaRPr>
                    </a:p>
                  </a:txBody>
                  <a:tcPr marL="68580" marR="68580" marT="34290" marB="34290" anchor="ctr">
                    <a:solidFill>
                      <a:srgbClr val="F4CCCD"/>
                    </a:solidFill>
                  </a:tcPr>
                </a:tc>
                <a:extLst>
                  <a:ext uri="{0D108BD9-81ED-4DB2-BD59-A6C34878D82A}">
                    <a16:rowId xmlns="" xmlns:a16="http://schemas.microsoft.com/office/drawing/2014/main" val="998378891"/>
                  </a:ext>
                </a:extLst>
              </a:tr>
              <a:tr h="205740">
                <a:tc>
                  <a:txBody>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s" sz="900" b="0" u="none" strike="noStrike" kern="1200" cap="none" spc="0" normalizeH="0" baseline="0" noProof="0">
                          <a:ln>
                            <a:noFill/>
                          </a:ln>
                          <a:solidFill>
                            <a:schemeClr val="tx1"/>
                          </a:solidFill>
                          <a:effectLst/>
                          <a:uLnTx/>
                          <a:uFillTx/>
                        </a:rPr>
                        <a:t>DENV-2</a:t>
                      </a:r>
                      <a:endParaRPr kumimoji="0" lang="en-US" sz="900" b="0" i="0" u="none" strike="noStrike" kern="1200" cap="none" spc="0" normalizeH="0" baseline="0" noProof="0">
                        <a:ln>
                          <a:noFill/>
                        </a:ln>
                        <a:solidFill>
                          <a:schemeClr val="tx1"/>
                        </a:solidFill>
                        <a:effectLst/>
                        <a:uLnTx/>
                        <a:uFillTx/>
                        <a:ea typeface="+mn-ea"/>
                        <a:cs typeface="+mn-cs"/>
                      </a:endParaRPr>
                    </a:p>
                  </a:txBody>
                  <a:tcPr marL="68580" marR="68580" marT="34290" marB="34290" anchor="ctr">
                    <a:solidFill>
                      <a:srgbClr val="F4CCCD"/>
                    </a:solidFill>
                  </a:tcPr>
                </a:tc>
                <a:tc>
                  <a:txBody>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s" sz="900" b="0" u="none" strike="noStrike" kern="1200" cap="none" spc="0" normalizeH="0" baseline="0" noProof="0">
                          <a:ln>
                            <a:noFill/>
                          </a:ln>
                          <a:solidFill>
                            <a:schemeClr val="tx1"/>
                          </a:solidFill>
                          <a:effectLst/>
                          <a:uLnTx/>
                          <a:uFillTx/>
                        </a:rPr>
                        <a:t>147 (70)</a:t>
                      </a:r>
                      <a:endParaRPr kumimoji="0" lang="en-US" sz="900" b="0" i="0" u="none" strike="noStrike" kern="1200" cap="none" spc="0" normalizeH="0" baseline="0" noProof="0">
                        <a:ln>
                          <a:noFill/>
                        </a:ln>
                        <a:solidFill>
                          <a:schemeClr val="tx1"/>
                        </a:solidFill>
                        <a:effectLst/>
                        <a:uLnTx/>
                        <a:uFillTx/>
                        <a:ea typeface="+mn-ea"/>
                        <a:cs typeface="+mn-cs"/>
                      </a:endParaRPr>
                    </a:p>
                  </a:txBody>
                  <a:tcPr marL="68580" marR="68580" marT="34290" marB="34290" anchor="ctr">
                    <a:solidFill>
                      <a:srgbClr val="F4CCCD"/>
                    </a:solidFill>
                  </a:tcPr>
                </a:tc>
                <a:extLst>
                  <a:ext uri="{0D108BD9-81ED-4DB2-BD59-A6C34878D82A}">
                    <a16:rowId xmlns="" xmlns:a16="http://schemas.microsoft.com/office/drawing/2014/main" val="2611600778"/>
                  </a:ext>
                </a:extLst>
              </a:tr>
              <a:tr h="205740">
                <a:tc>
                  <a:txBody>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s" sz="900" b="0" u="none" strike="noStrike" kern="1200" cap="none" spc="0" normalizeH="0" baseline="0" noProof="0">
                          <a:ln>
                            <a:noFill/>
                          </a:ln>
                          <a:solidFill>
                            <a:schemeClr val="tx1"/>
                          </a:solidFill>
                          <a:effectLst/>
                          <a:uLnTx/>
                          <a:uFillTx/>
                        </a:rPr>
                        <a:t>DENV-3</a:t>
                      </a:r>
                      <a:endParaRPr kumimoji="0" lang="en-US" sz="900" b="0" i="0" u="none" strike="noStrike" kern="1200" cap="none" spc="0" normalizeH="0" baseline="0" noProof="0">
                        <a:ln>
                          <a:noFill/>
                        </a:ln>
                        <a:solidFill>
                          <a:schemeClr val="tx1"/>
                        </a:solidFill>
                        <a:effectLst/>
                        <a:uLnTx/>
                        <a:uFillTx/>
                        <a:ea typeface="+mn-ea"/>
                        <a:cs typeface="+mn-cs"/>
                      </a:endParaRPr>
                    </a:p>
                  </a:txBody>
                  <a:tcPr marL="68580" marR="68580" marT="34290" marB="34290" anchor="ctr">
                    <a:solidFill>
                      <a:srgbClr val="F4CCCD"/>
                    </a:solidFill>
                  </a:tcPr>
                </a:tc>
                <a:tc>
                  <a:txBody>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s" sz="900" b="0" u="none" strike="noStrike" kern="1200" cap="none" spc="0" normalizeH="0" baseline="0" noProof="0">
                          <a:ln>
                            <a:noFill/>
                          </a:ln>
                          <a:solidFill>
                            <a:schemeClr val="tx1"/>
                          </a:solidFill>
                          <a:effectLst/>
                          <a:uLnTx/>
                          <a:uFillTx/>
                        </a:rPr>
                        <a:t>112 (16)</a:t>
                      </a:r>
                      <a:endParaRPr kumimoji="0" lang="en-US" sz="900" b="0" i="0" u="none" strike="noStrike" kern="1200" cap="none" spc="0" normalizeH="0" baseline="0" noProof="0">
                        <a:ln>
                          <a:noFill/>
                        </a:ln>
                        <a:solidFill>
                          <a:schemeClr val="tx1"/>
                        </a:solidFill>
                        <a:effectLst/>
                        <a:uLnTx/>
                        <a:uFillTx/>
                        <a:ea typeface="+mn-ea"/>
                        <a:cs typeface="+mn-cs"/>
                      </a:endParaRPr>
                    </a:p>
                  </a:txBody>
                  <a:tcPr marL="68580" marR="68580" marT="34290" marB="34290" anchor="ctr">
                    <a:solidFill>
                      <a:srgbClr val="F4CCCD"/>
                    </a:solidFill>
                  </a:tcPr>
                </a:tc>
                <a:extLst>
                  <a:ext uri="{0D108BD9-81ED-4DB2-BD59-A6C34878D82A}">
                    <a16:rowId xmlns="" xmlns:a16="http://schemas.microsoft.com/office/drawing/2014/main" val="4078339658"/>
                  </a:ext>
                </a:extLst>
              </a:tr>
              <a:tr h="205740">
                <a:tc>
                  <a:txBody>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s" sz="900" b="0" u="none" strike="noStrike" kern="1200" cap="none" spc="0" normalizeH="0" baseline="0" noProof="0">
                          <a:ln>
                            <a:noFill/>
                          </a:ln>
                          <a:solidFill>
                            <a:schemeClr val="tx1"/>
                          </a:solidFill>
                          <a:effectLst/>
                          <a:uLnTx/>
                          <a:uFillTx/>
                        </a:rPr>
                        <a:t>DENV-4</a:t>
                      </a:r>
                      <a:endParaRPr kumimoji="0" lang="en-US" sz="900" b="0" i="0" u="none" strike="noStrike" kern="1200" cap="none" spc="0" normalizeH="0" baseline="0" noProof="0">
                        <a:ln>
                          <a:noFill/>
                        </a:ln>
                        <a:solidFill>
                          <a:schemeClr val="tx1"/>
                        </a:solidFill>
                        <a:effectLst/>
                        <a:uLnTx/>
                        <a:uFillTx/>
                        <a:ea typeface="+mn-ea"/>
                        <a:cs typeface="+mn-cs"/>
                      </a:endParaRPr>
                    </a:p>
                  </a:txBody>
                  <a:tcPr marL="68580" marR="68580" marT="34290" marB="34290" anchor="ctr">
                    <a:solidFill>
                      <a:srgbClr val="F4CCCD"/>
                    </a:solidFill>
                  </a:tcPr>
                </a:tc>
                <a:tc>
                  <a:txBody>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s" sz="900" b="0" u="none" strike="noStrike" kern="1200" cap="none" spc="0" normalizeH="0" baseline="0" noProof="0" dirty="0">
                          <a:ln>
                            <a:noFill/>
                          </a:ln>
                          <a:solidFill>
                            <a:schemeClr val="tx1"/>
                          </a:solidFill>
                          <a:effectLst/>
                          <a:uLnTx/>
                          <a:uFillTx/>
                        </a:rPr>
                        <a:t> 23 (4)</a:t>
                      </a:r>
                      <a:endParaRPr kumimoji="0" lang="en-US" sz="900" b="0" i="0" u="none" strike="noStrike" kern="1200" cap="none" spc="0" normalizeH="0" baseline="0" noProof="0" dirty="0">
                        <a:ln>
                          <a:noFill/>
                        </a:ln>
                        <a:solidFill>
                          <a:schemeClr val="tx1"/>
                        </a:solidFill>
                        <a:effectLst/>
                        <a:uLnTx/>
                        <a:uFillTx/>
                        <a:ea typeface="+mn-ea"/>
                        <a:cs typeface="+mn-cs"/>
                      </a:endParaRPr>
                    </a:p>
                  </a:txBody>
                  <a:tcPr marL="68580" marR="68580" marT="34290" marB="34290" anchor="ctr">
                    <a:solidFill>
                      <a:srgbClr val="F4CCCD"/>
                    </a:solidFill>
                  </a:tcPr>
                </a:tc>
                <a:extLst>
                  <a:ext uri="{0D108BD9-81ED-4DB2-BD59-A6C34878D82A}">
                    <a16:rowId xmlns="" xmlns:a16="http://schemas.microsoft.com/office/drawing/2014/main" val="616149567"/>
                  </a:ext>
                </a:extLst>
              </a:tr>
            </a:tbl>
          </a:graphicData>
        </a:graphic>
      </p:graphicFrame>
      <p:graphicFrame>
        <p:nvGraphicFramePr>
          <p:cNvPr id="617" name="Table 604">
            <a:extLst>
              <a:ext uri="{FF2B5EF4-FFF2-40B4-BE49-F238E27FC236}">
                <a16:creationId xmlns="" xmlns:a16="http://schemas.microsoft.com/office/drawing/2014/main" id="{2A858A0F-0AB4-4288-B164-D299B7D9D0C2}"/>
              </a:ext>
            </a:extLst>
          </p:cNvPr>
          <p:cNvGraphicFramePr>
            <a:graphicFrameLocks/>
          </p:cNvGraphicFramePr>
          <p:nvPr>
            <p:extLst>
              <p:ext uri="{D42A27DB-BD31-4B8C-83A1-F6EECF244321}">
                <p14:modId xmlns:p14="http://schemas.microsoft.com/office/powerpoint/2010/main" val="1462863057"/>
              </p:ext>
            </p:extLst>
          </p:nvPr>
        </p:nvGraphicFramePr>
        <p:xfrm>
          <a:off x="202552" y="1112351"/>
          <a:ext cx="2154024" cy="1508760"/>
        </p:xfrm>
        <a:graphic>
          <a:graphicData uri="http://schemas.openxmlformats.org/drawingml/2006/table">
            <a:tbl>
              <a:tblPr firstRow="1" bandRow="1">
                <a:tableStyleId>{F5AB1C69-6EDB-4FF4-983F-18BD219EF322}</a:tableStyleId>
              </a:tblPr>
              <a:tblGrid>
                <a:gridCol w="1077012">
                  <a:extLst>
                    <a:ext uri="{9D8B030D-6E8A-4147-A177-3AD203B41FA5}">
                      <a16:colId xmlns="" xmlns:a16="http://schemas.microsoft.com/office/drawing/2014/main" val="1770626393"/>
                    </a:ext>
                  </a:extLst>
                </a:gridCol>
                <a:gridCol w="1077012">
                  <a:extLst>
                    <a:ext uri="{9D8B030D-6E8A-4147-A177-3AD203B41FA5}">
                      <a16:colId xmlns="" xmlns:a16="http://schemas.microsoft.com/office/drawing/2014/main" val="1652677759"/>
                    </a:ext>
                  </a:extLst>
                </a:gridCol>
              </a:tblGrid>
              <a:tr h="480060">
                <a:tc>
                  <a:txBody>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s" sz="1200" b="1" u="none" strike="noStrike" kern="1200" cap="none" spc="0" normalizeH="0" baseline="0" noProof="0" dirty="0">
                          <a:ln>
                            <a:noFill/>
                          </a:ln>
                          <a:solidFill>
                            <a:schemeClr val="bg1"/>
                          </a:solidFill>
                          <a:effectLst/>
                          <a:uLnTx/>
                          <a:uFillTx/>
                        </a:rPr>
                        <a:t>Total</a:t>
                      </a:r>
                      <a:r>
                        <a:rPr kumimoji="0" lang="en-US" sz="900" b="1" u="none" strike="noStrike" kern="1200" cap="none" spc="0" normalizeH="0" baseline="0" noProof="0" dirty="0">
                          <a:ln>
                            <a:noFill/>
                          </a:ln>
                          <a:solidFill>
                            <a:schemeClr val="bg1"/>
                          </a:solidFill>
                          <a:effectLst/>
                          <a:uLnTx/>
                          <a:uFillTx/>
                        </a:rPr>
                        <a:t/>
                      </a:r>
                      <a:br>
                        <a:rPr kumimoji="0" lang="en-US" sz="900" b="1" u="none" strike="noStrike" kern="1200" cap="none" spc="0" normalizeH="0" baseline="0" noProof="0" dirty="0">
                          <a:ln>
                            <a:noFill/>
                          </a:ln>
                          <a:solidFill>
                            <a:schemeClr val="bg1"/>
                          </a:solidFill>
                          <a:effectLst/>
                          <a:uLnTx/>
                          <a:uFillTx/>
                        </a:rPr>
                      </a:br>
                      <a:r>
                        <a:rPr kumimoji="0" lang="es" sz="900" b="1" u="none" strike="noStrike" kern="1200" cap="none" spc="0" normalizeH="0" baseline="0" noProof="0" dirty="0">
                          <a:ln>
                            <a:noFill/>
                          </a:ln>
                          <a:solidFill>
                            <a:schemeClr val="bg1"/>
                          </a:solidFill>
                          <a:effectLst/>
                          <a:uLnTx/>
                          <a:uFillTx/>
                        </a:rPr>
                        <a:t>(n=6687)*</a:t>
                      </a:r>
                      <a:endParaRPr kumimoji="0" lang="en-US" sz="900" b="1" i="0" u="none" strike="noStrike" kern="1200" cap="none" spc="0" normalizeH="0" baseline="0" noProof="0" dirty="0">
                        <a:ln>
                          <a:noFill/>
                        </a:ln>
                        <a:solidFill>
                          <a:schemeClr val="bg1"/>
                        </a:solidFill>
                        <a:effectLst/>
                        <a:uLnTx/>
                        <a:uFillTx/>
                        <a:ea typeface="+mn-ea"/>
                        <a:cs typeface="+mn-cs"/>
                      </a:endParaRPr>
                    </a:p>
                  </a:txBody>
                  <a:tcPr marL="54000" marR="54000" marT="34290" marB="34290" anchor="ctr"/>
                </a:tc>
                <a:tc>
                  <a:txBody>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s" sz="900" b="1" u="none" strike="noStrike" kern="1200" cap="none" spc="0" normalizeH="0" baseline="0" noProof="0">
                          <a:ln>
                            <a:noFill/>
                          </a:ln>
                          <a:solidFill>
                            <a:schemeClr val="bg1"/>
                          </a:solidFill>
                          <a:effectLst/>
                          <a:uLnTx/>
                          <a:uFillTx/>
                        </a:rPr>
                        <a:t>Casos, n </a:t>
                      </a:r>
                      <a:r>
                        <a:rPr kumimoji="0" lang="en-US" sz="900" b="1" u="none" strike="noStrike" kern="1200" cap="none" spc="0" normalizeH="0" baseline="0" noProof="0">
                          <a:ln>
                            <a:noFill/>
                          </a:ln>
                          <a:solidFill>
                            <a:schemeClr val="bg1"/>
                          </a:solidFill>
                          <a:effectLst/>
                          <a:uLnTx/>
                          <a:uFillTx/>
                        </a:rPr>
                        <a:t/>
                      </a:r>
                      <a:br>
                        <a:rPr kumimoji="0" lang="en-US" sz="900" b="1" u="none" strike="noStrike" kern="1200" cap="none" spc="0" normalizeH="0" baseline="0" noProof="0">
                          <a:ln>
                            <a:noFill/>
                          </a:ln>
                          <a:solidFill>
                            <a:schemeClr val="bg1"/>
                          </a:solidFill>
                          <a:effectLst/>
                          <a:uLnTx/>
                          <a:uFillTx/>
                        </a:rPr>
                      </a:br>
                      <a:r>
                        <a:rPr kumimoji="0" lang="es" sz="900" b="1" u="none" strike="noStrike" kern="1200" cap="none" spc="0" normalizeH="0" baseline="0" noProof="0">
                          <a:ln>
                            <a:noFill/>
                          </a:ln>
                          <a:solidFill>
                            <a:schemeClr val="bg1"/>
                          </a:solidFill>
                          <a:effectLst/>
                          <a:uLnTx/>
                          <a:uFillTx/>
                        </a:rPr>
                        <a:t>(casos hospitalizados, n)</a:t>
                      </a:r>
                      <a:endParaRPr kumimoji="0" lang="en-US" sz="900" b="1" i="0" u="none" strike="noStrike" kern="1200" cap="none" spc="0" normalizeH="0" baseline="30000" noProof="0">
                        <a:ln>
                          <a:noFill/>
                        </a:ln>
                        <a:solidFill>
                          <a:schemeClr val="bg1"/>
                        </a:solidFill>
                        <a:effectLst/>
                        <a:uLnTx/>
                        <a:uFillTx/>
                        <a:ea typeface="+mn-ea"/>
                        <a:cs typeface="+mn-cs"/>
                      </a:endParaRPr>
                    </a:p>
                  </a:txBody>
                  <a:tcPr marL="68580" marR="68580" marT="34290" marB="34290" anchor="ctr"/>
                </a:tc>
                <a:extLst>
                  <a:ext uri="{0D108BD9-81ED-4DB2-BD59-A6C34878D82A}">
                    <a16:rowId xmlns="" xmlns:a16="http://schemas.microsoft.com/office/drawing/2014/main" val="694705084"/>
                  </a:ext>
                </a:extLst>
              </a:tr>
              <a:tr h="205740">
                <a:tc>
                  <a:txBody>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s" sz="900" b="1" u="none" strike="noStrike" kern="1200" cap="none" spc="0" normalizeH="0" baseline="0" noProof="0">
                          <a:ln>
                            <a:noFill/>
                          </a:ln>
                          <a:solidFill>
                            <a:schemeClr val="tx1"/>
                          </a:solidFill>
                          <a:effectLst/>
                          <a:uLnTx/>
                          <a:uFillTx/>
                        </a:rPr>
                        <a:t>En general</a:t>
                      </a:r>
                      <a:endParaRPr kumimoji="0" lang="en-US" sz="900" b="1" i="0" u="none" strike="noStrike" kern="1200" cap="none" spc="0" normalizeH="0" baseline="0" noProof="0">
                        <a:ln>
                          <a:noFill/>
                        </a:ln>
                        <a:solidFill>
                          <a:schemeClr val="tx1"/>
                        </a:solidFill>
                        <a:effectLst/>
                        <a:uLnTx/>
                        <a:uFillTx/>
                        <a:latin typeface="+mn-lt"/>
                        <a:ea typeface="+mn-ea"/>
                        <a:cs typeface="+mn-cs"/>
                      </a:endParaRPr>
                    </a:p>
                  </a:txBody>
                  <a:tcPr marL="68580" marR="68580" marT="34290" marB="34290" anchor="ctr"/>
                </a:tc>
                <a:tc>
                  <a:txBody>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s" sz="900" b="0" u="none" strike="noStrike" kern="1200" cap="none" spc="0" normalizeH="0" baseline="0" noProof="0" dirty="0">
                          <a:ln>
                            <a:noFill/>
                          </a:ln>
                          <a:solidFill>
                            <a:schemeClr val="tx1"/>
                          </a:solidFill>
                          <a:effectLst/>
                          <a:uLnTx/>
                          <a:uFillTx/>
                        </a:rPr>
                        <a:t>560 (142) </a:t>
                      </a:r>
                      <a:endParaRPr kumimoji="0" lang="en-US" sz="900" b="0" i="0" u="none" strike="noStrike" kern="1200" cap="none" spc="0" normalizeH="0" baseline="0" noProof="0" dirty="0">
                        <a:ln>
                          <a:noFill/>
                        </a:ln>
                        <a:solidFill>
                          <a:schemeClr val="tx1"/>
                        </a:solidFill>
                        <a:effectLst/>
                        <a:uLnTx/>
                        <a:uFillTx/>
                        <a:ea typeface="+mn-ea"/>
                        <a:cs typeface="+mn-cs"/>
                      </a:endParaRPr>
                    </a:p>
                  </a:txBody>
                  <a:tcPr marL="68580" marR="68580" marT="34290" marB="34290" anchor="ctr"/>
                </a:tc>
                <a:extLst>
                  <a:ext uri="{0D108BD9-81ED-4DB2-BD59-A6C34878D82A}">
                    <a16:rowId xmlns="" xmlns:a16="http://schemas.microsoft.com/office/drawing/2014/main" val="4014360287"/>
                  </a:ext>
                </a:extLst>
              </a:tr>
              <a:tr h="205740">
                <a:tc>
                  <a:txBody>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s" sz="900" b="0" u="none" strike="noStrike" kern="1200" cap="none" spc="0" normalizeH="0" baseline="0" noProof="0">
                          <a:ln>
                            <a:noFill/>
                          </a:ln>
                          <a:solidFill>
                            <a:schemeClr val="tx1"/>
                          </a:solidFill>
                          <a:effectLst/>
                          <a:uLnTx/>
                          <a:uFillTx/>
                        </a:rPr>
                        <a:t>DENV-1</a:t>
                      </a:r>
                      <a:endParaRPr kumimoji="0" lang="en-US" sz="900" b="0" i="0" u="none" strike="noStrike" kern="1200" cap="none" spc="0" normalizeH="0" baseline="0" noProof="0">
                        <a:ln>
                          <a:noFill/>
                        </a:ln>
                        <a:solidFill>
                          <a:schemeClr val="tx1"/>
                        </a:solidFill>
                        <a:effectLst/>
                        <a:uLnTx/>
                        <a:uFillTx/>
                        <a:ea typeface="+mn-ea"/>
                        <a:cs typeface="+mn-cs"/>
                      </a:endParaRPr>
                    </a:p>
                  </a:txBody>
                  <a:tcPr marL="68580" marR="68580" marT="34290" marB="34290" anchor="ctr">
                    <a:solidFill>
                      <a:srgbClr val="E0E0E3"/>
                    </a:solidFill>
                  </a:tcPr>
                </a:tc>
                <a:tc>
                  <a:txBody>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s" sz="900" b="0" u="none" strike="noStrike" kern="1200" cap="none" spc="0" normalizeH="0" baseline="0" noProof="0">
                          <a:ln>
                            <a:noFill/>
                          </a:ln>
                          <a:solidFill>
                            <a:schemeClr val="tx1"/>
                          </a:solidFill>
                          <a:effectLst/>
                          <a:uLnTx/>
                          <a:uFillTx/>
                        </a:rPr>
                        <a:t>230 (38)</a:t>
                      </a:r>
                      <a:endParaRPr kumimoji="0" lang="en-US" sz="900" b="0" i="0" u="none" strike="noStrike" kern="1200" cap="none" spc="0" normalizeH="0" baseline="0" noProof="0">
                        <a:ln>
                          <a:noFill/>
                        </a:ln>
                        <a:solidFill>
                          <a:schemeClr val="tx1"/>
                        </a:solidFill>
                        <a:effectLst/>
                        <a:uLnTx/>
                        <a:uFillTx/>
                        <a:ea typeface="+mn-ea"/>
                        <a:cs typeface="+mn-cs"/>
                      </a:endParaRPr>
                    </a:p>
                  </a:txBody>
                  <a:tcPr marL="68580" marR="68580" marT="34290" marB="34290" anchor="ctr">
                    <a:solidFill>
                      <a:srgbClr val="E0E0E3"/>
                    </a:solidFill>
                  </a:tcPr>
                </a:tc>
                <a:extLst>
                  <a:ext uri="{0D108BD9-81ED-4DB2-BD59-A6C34878D82A}">
                    <a16:rowId xmlns="" xmlns:a16="http://schemas.microsoft.com/office/drawing/2014/main" val="998378891"/>
                  </a:ext>
                </a:extLst>
              </a:tr>
              <a:tr h="205740">
                <a:tc>
                  <a:txBody>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s" sz="900" b="0" u="none" strike="noStrike" kern="1200" cap="none" spc="0" normalizeH="0" baseline="0" noProof="0">
                          <a:ln>
                            <a:noFill/>
                          </a:ln>
                          <a:solidFill>
                            <a:schemeClr val="tx1"/>
                          </a:solidFill>
                          <a:effectLst/>
                          <a:uLnTx/>
                          <a:uFillTx/>
                        </a:rPr>
                        <a:t>DENV-2</a:t>
                      </a:r>
                      <a:endParaRPr kumimoji="0" lang="en-US" sz="900" b="0" i="0" u="none" strike="noStrike" kern="1200" cap="none" spc="0" normalizeH="0" baseline="0" noProof="0">
                        <a:ln>
                          <a:noFill/>
                        </a:ln>
                        <a:solidFill>
                          <a:schemeClr val="tx1"/>
                        </a:solidFill>
                        <a:effectLst/>
                        <a:uLnTx/>
                        <a:uFillTx/>
                        <a:ea typeface="+mn-ea"/>
                        <a:cs typeface="+mn-cs"/>
                      </a:endParaRPr>
                    </a:p>
                  </a:txBody>
                  <a:tcPr marL="68580" marR="68580" marT="34290" marB="34290" anchor="ctr">
                    <a:solidFill>
                      <a:srgbClr val="E0E0E3"/>
                    </a:solidFill>
                  </a:tcPr>
                </a:tc>
                <a:tc>
                  <a:txBody>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s" sz="900" b="0" u="none" strike="noStrike" kern="1200" cap="none" spc="0" normalizeH="0" baseline="0" noProof="0">
                          <a:ln>
                            <a:noFill/>
                          </a:ln>
                          <a:solidFill>
                            <a:schemeClr val="tx1"/>
                          </a:solidFill>
                          <a:effectLst/>
                          <a:uLnTx/>
                          <a:uFillTx/>
                        </a:rPr>
                        <a:t>193 (82)</a:t>
                      </a:r>
                      <a:endParaRPr kumimoji="0" lang="en-US" sz="900" b="0" i="0" u="none" strike="noStrike" kern="1200" cap="none" spc="0" normalizeH="0" baseline="0" noProof="0">
                        <a:ln>
                          <a:noFill/>
                        </a:ln>
                        <a:solidFill>
                          <a:schemeClr val="tx1"/>
                        </a:solidFill>
                        <a:effectLst/>
                        <a:uLnTx/>
                        <a:uFillTx/>
                        <a:ea typeface="+mn-ea"/>
                        <a:cs typeface="+mn-cs"/>
                      </a:endParaRPr>
                    </a:p>
                  </a:txBody>
                  <a:tcPr marL="68580" marR="68580" marT="34290" marB="34290" anchor="ctr">
                    <a:solidFill>
                      <a:srgbClr val="E0E0E3"/>
                    </a:solidFill>
                  </a:tcPr>
                </a:tc>
                <a:extLst>
                  <a:ext uri="{0D108BD9-81ED-4DB2-BD59-A6C34878D82A}">
                    <a16:rowId xmlns="" xmlns:a16="http://schemas.microsoft.com/office/drawing/2014/main" val="2611600778"/>
                  </a:ext>
                </a:extLst>
              </a:tr>
              <a:tr h="205740">
                <a:tc>
                  <a:txBody>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s" sz="900" b="0" u="none" strike="noStrike" kern="1200" cap="none" spc="0" normalizeH="0" baseline="0" noProof="0">
                          <a:ln>
                            <a:noFill/>
                          </a:ln>
                          <a:solidFill>
                            <a:schemeClr val="tx1"/>
                          </a:solidFill>
                          <a:effectLst/>
                          <a:uLnTx/>
                          <a:uFillTx/>
                        </a:rPr>
                        <a:t>DENV-3</a:t>
                      </a:r>
                      <a:endParaRPr kumimoji="0" lang="en-US" sz="900" b="0" i="0" u="none" strike="noStrike" kern="1200" cap="none" spc="0" normalizeH="0" baseline="0" noProof="0">
                        <a:ln>
                          <a:noFill/>
                        </a:ln>
                        <a:solidFill>
                          <a:schemeClr val="tx1"/>
                        </a:solidFill>
                        <a:effectLst/>
                        <a:uLnTx/>
                        <a:uFillTx/>
                        <a:ea typeface="+mn-ea"/>
                        <a:cs typeface="+mn-cs"/>
                      </a:endParaRPr>
                    </a:p>
                  </a:txBody>
                  <a:tcPr marL="68580" marR="68580" marT="34290" marB="34290" anchor="ctr">
                    <a:solidFill>
                      <a:srgbClr val="E0E0E3"/>
                    </a:solidFill>
                  </a:tcPr>
                </a:tc>
                <a:tc>
                  <a:txBody>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s" sz="900" b="0" u="none" strike="noStrike" kern="1200" cap="none" spc="0" normalizeH="0" baseline="0" noProof="0">
                          <a:ln>
                            <a:noFill/>
                          </a:ln>
                          <a:solidFill>
                            <a:schemeClr val="tx1"/>
                          </a:solidFill>
                          <a:effectLst/>
                          <a:uLnTx/>
                          <a:uFillTx/>
                        </a:rPr>
                        <a:t>114 (18)</a:t>
                      </a:r>
                      <a:endParaRPr kumimoji="0" lang="en-US" sz="900" b="0" i="0" u="none" strike="noStrike" kern="1200" cap="none" spc="0" normalizeH="0" baseline="0" noProof="0">
                        <a:ln>
                          <a:noFill/>
                        </a:ln>
                        <a:solidFill>
                          <a:schemeClr val="tx1"/>
                        </a:solidFill>
                        <a:effectLst/>
                        <a:uLnTx/>
                        <a:uFillTx/>
                        <a:ea typeface="+mn-ea"/>
                        <a:cs typeface="+mn-cs"/>
                      </a:endParaRPr>
                    </a:p>
                  </a:txBody>
                  <a:tcPr marL="68580" marR="68580" marT="34290" marB="34290" anchor="ctr">
                    <a:solidFill>
                      <a:srgbClr val="E0E0E3"/>
                    </a:solidFill>
                  </a:tcPr>
                </a:tc>
                <a:extLst>
                  <a:ext uri="{0D108BD9-81ED-4DB2-BD59-A6C34878D82A}">
                    <a16:rowId xmlns="" xmlns:a16="http://schemas.microsoft.com/office/drawing/2014/main" val="4078339658"/>
                  </a:ext>
                </a:extLst>
              </a:tr>
              <a:tr h="205740">
                <a:tc>
                  <a:txBody>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s" sz="900" b="0" u="none" strike="noStrike" kern="1200" cap="none" spc="0" normalizeH="0" baseline="0" noProof="0">
                          <a:ln>
                            <a:noFill/>
                          </a:ln>
                          <a:solidFill>
                            <a:schemeClr val="tx1"/>
                          </a:solidFill>
                          <a:effectLst/>
                          <a:uLnTx/>
                          <a:uFillTx/>
                        </a:rPr>
                        <a:t>DENV-4</a:t>
                      </a:r>
                      <a:endParaRPr kumimoji="0" lang="en-US" sz="900" b="0" i="0" u="none" strike="noStrike" kern="1200" cap="none" spc="0" normalizeH="0" baseline="0" noProof="0">
                        <a:ln>
                          <a:noFill/>
                        </a:ln>
                        <a:solidFill>
                          <a:schemeClr val="tx1"/>
                        </a:solidFill>
                        <a:effectLst/>
                        <a:uLnTx/>
                        <a:uFillTx/>
                        <a:ea typeface="+mn-ea"/>
                        <a:cs typeface="+mn-cs"/>
                      </a:endParaRPr>
                    </a:p>
                  </a:txBody>
                  <a:tcPr marL="68580" marR="68580" marT="34290" marB="34290" anchor="ctr">
                    <a:solidFill>
                      <a:srgbClr val="E0E0E3"/>
                    </a:solidFill>
                  </a:tcPr>
                </a:tc>
                <a:tc>
                  <a:txBody>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s" sz="900" b="0" u="none" strike="noStrike" kern="1200" cap="none" spc="0" normalizeH="0" baseline="0" noProof="0" dirty="0">
                          <a:ln>
                            <a:noFill/>
                          </a:ln>
                          <a:solidFill>
                            <a:schemeClr val="tx1"/>
                          </a:solidFill>
                          <a:effectLst/>
                          <a:uLnTx/>
                          <a:uFillTx/>
                        </a:rPr>
                        <a:t>23 (4)</a:t>
                      </a:r>
                      <a:endParaRPr kumimoji="0" lang="en-US" sz="900" b="0" i="0" u="none" strike="noStrike" kern="1200" cap="none" spc="0" normalizeH="0" baseline="0" noProof="0" dirty="0">
                        <a:ln>
                          <a:noFill/>
                        </a:ln>
                        <a:solidFill>
                          <a:schemeClr val="tx1"/>
                        </a:solidFill>
                        <a:effectLst/>
                        <a:uLnTx/>
                        <a:uFillTx/>
                        <a:ea typeface="+mn-ea"/>
                        <a:cs typeface="+mn-cs"/>
                      </a:endParaRPr>
                    </a:p>
                  </a:txBody>
                  <a:tcPr marL="68580" marR="68580" marT="34290" marB="34290" anchor="ctr">
                    <a:solidFill>
                      <a:srgbClr val="E0E0E3"/>
                    </a:solidFill>
                  </a:tcPr>
                </a:tc>
                <a:extLst>
                  <a:ext uri="{0D108BD9-81ED-4DB2-BD59-A6C34878D82A}">
                    <a16:rowId xmlns="" xmlns:a16="http://schemas.microsoft.com/office/drawing/2014/main" val="616149567"/>
                  </a:ext>
                </a:extLst>
              </a:tr>
            </a:tbl>
          </a:graphicData>
        </a:graphic>
      </p:graphicFrame>
      <p:graphicFrame>
        <p:nvGraphicFramePr>
          <p:cNvPr id="618" name="Table 604">
            <a:extLst>
              <a:ext uri="{FF2B5EF4-FFF2-40B4-BE49-F238E27FC236}">
                <a16:creationId xmlns="" xmlns:a16="http://schemas.microsoft.com/office/drawing/2014/main" id="{3836DC78-4B5E-488C-B35D-6EE27F1EA896}"/>
              </a:ext>
            </a:extLst>
          </p:cNvPr>
          <p:cNvGraphicFramePr>
            <a:graphicFrameLocks/>
          </p:cNvGraphicFramePr>
          <p:nvPr>
            <p:extLst>
              <p:ext uri="{D42A27DB-BD31-4B8C-83A1-F6EECF244321}">
                <p14:modId xmlns:p14="http://schemas.microsoft.com/office/powerpoint/2010/main" val="1692823183"/>
              </p:ext>
            </p:extLst>
          </p:nvPr>
        </p:nvGraphicFramePr>
        <p:xfrm>
          <a:off x="2318039" y="2892989"/>
          <a:ext cx="1956606" cy="1577340"/>
        </p:xfrm>
        <a:graphic>
          <a:graphicData uri="http://schemas.openxmlformats.org/drawingml/2006/table">
            <a:tbl>
              <a:tblPr firstRow="1" bandRow="1">
                <a:tableStyleId>{5C22544A-7EE6-4342-B048-85BDC9FD1C3A}</a:tableStyleId>
              </a:tblPr>
              <a:tblGrid>
                <a:gridCol w="978303">
                  <a:extLst>
                    <a:ext uri="{9D8B030D-6E8A-4147-A177-3AD203B41FA5}">
                      <a16:colId xmlns="" xmlns:a16="http://schemas.microsoft.com/office/drawing/2014/main" val="1770626393"/>
                    </a:ext>
                  </a:extLst>
                </a:gridCol>
                <a:gridCol w="978303">
                  <a:extLst>
                    <a:ext uri="{9D8B030D-6E8A-4147-A177-3AD203B41FA5}">
                      <a16:colId xmlns="" xmlns:a16="http://schemas.microsoft.com/office/drawing/2014/main" val="1652677759"/>
                    </a:ext>
                  </a:extLst>
                </a:gridCol>
              </a:tblGrid>
              <a:tr h="548640">
                <a:tc>
                  <a:txBody>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s" sz="1100" b="1" u="none" strike="noStrike" kern="1200" cap="none" spc="0" normalizeH="0" baseline="0" noProof="0" dirty="0">
                          <a:ln>
                            <a:noFill/>
                          </a:ln>
                          <a:solidFill>
                            <a:schemeClr val="bg1"/>
                          </a:solidFill>
                          <a:effectLst/>
                          <a:uLnTx/>
                          <a:uFillTx/>
                        </a:rPr>
                        <a:t>América Latina</a:t>
                      </a:r>
                      <a:r>
                        <a:rPr kumimoji="0" lang="en-US" sz="900" b="1" u="none" strike="noStrike" kern="1200" cap="none" spc="0" normalizeH="0" baseline="0" noProof="0" dirty="0">
                          <a:ln>
                            <a:noFill/>
                          </a:ln>
                          <a:solidFill>
                            <a:schemeClr val="bg1"/>
                          </a:solidFill>
                          <a:effectLst/>
                          <a:uLnTx/>
                          <a:uFillTx/>
                        </a:rPr>
                        <a:t/>
                      </a:r>
                      <a:br>
                        <a:rPr kumimoji="0" lang="en-US" sz="900" b="1" u="none" strike="noStrike" kern="1200" cap="none" spc="0" normalizeH="0" baseline="0" noProof="0" dirty="0">
                          <a:ln>
                            <a:noFill/>
                          </a:ln>
                          <a:solidFill>
                            <a:schemeClr val="bg1"/>
                          </a:solidFill>
                          <a:effectLst/>
                          <a:uLnTx/>
                          <a:uFillTx/>
                        </a:rPr>
                      </a:br>
                      <a:r>
                        <a:rPr kumimoji="0" lang="es" sz="900" b="1" u="none" strike="noStrike" kern="1200" cap="none" spc="0" normalizeH="0" baseline="0" noProof="0" dirty="0">
                          <a:ln>
                            <a:noFill/>
                          </a:ln>
                          <a:solidFill>
                            <a:schemeClr val="bg1"/>
                          </a:solidFill>
                          <a:effectLst/>
                          <a:uLnTx/>
                          <a:uFillTx/>
                        </a:rPr>
                        <a:t>(n=3694)*</a:t>
                      </a:r>
                      <a:endParaRPr kumimoji="0" lang="en-US" sz="900" b="1" i="0" u="none" strike="noStrike" kern="1200" cap="none" spc="0" normalizeH="0" baseline="0" noProof="0" dirty="0">
                        <a:ln>
                          <a:noFill/>
                        </a:ln>
                        <a:solidFill>
                          <a:schemeClr val="bg1"/>
                        </a:solidFill>
                        <a:effectLst/>
                        <a:uLnTx/>
                        <a:uFillTx/>
                        <a:ea typeface="+mn-ea"/>
                        <a:cs typeface="+mn-cs"/>
                      </a:endParaRPr>
                    </a:p>
                  </a:txBody>
                  <a:tcPr marL="54000" marR="54000" marT="34290" marB="34290" anchor="ctr"/>
                </a:tc>
                <a:tc>
                  <a:txBody>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s" sz="900" b="1" u="none" strike="noStrike" kern="1200" cap="none" spc="0" normalizeH="0" baseline="0" noProof="0">
                          <a:ln>
                            <a:noFill/>
                          </a:ln>
                          <a:solidFill>
                            <a:schemeClr val="bg1"/>
                          </a:solidFill>
                          <a:effectLst/>
                          <a:uLnTx/>
                          <a:uFillTx/>
                        </a:rPr>
                        <a:t>Casos, n </a:t>
                      </a:r>
                      <a:r>
                        <a:rPr kumimoji="0" lang="en-US" sz="900" b="1" u="none" strike="noStrike" kern="1200" cap="none" spc="0" normalizeH="0" baseline="0" noProof="0">
                          <a:ln>
                            <a:noFill/>
                          </a:ln>
                          <a:solidFill>
                            <a:schemeClr val="bg1"/>
                          </a:solidFill>
                          <a:effectLst/>
                          <a:uLnTx/>
                          <a:uFillTx/>
                        </a:rPr>
                        <a:t/>
                      </a:r>
                      <a:br>
                        <a:rPr kumimoji="0" lang="en-US" sz="900" b="1" u="none" strike="noStrike" kern="1200" cap="none" spc="0" normalizeH="0" baseline="0" noProof="0">
                          <a:ln>
                            <a:noFill/>
                          </a:ln>
                          <a:solidFill>
                            <a:schemeClr val="bg1"/>
                          </a:solidFill>
                          <a:effectLst/>
                          <a:uLnTx/>
                          <a:uFillTx/>
                        </a:rPr>
                      </a:br>
                      <a:r>
                        <a:rPr kumimoji="0" lang="es" sz="900" b="1" u="none" strike="noStrike" kern="1200" cap="none" spc="0" normalizeH="0" baseline="0" noProof="0">
                          <a:ln>
                            <a:noFill/>
                          </a:ln>
                          <a:solidFill>
                            <a:schemeClr val="bg1"/>
                          </a:solidFill>
                          <a:effectLst/>
                          <a:uLnTx/>
                          <a:uFillTx/>
                        </a:rPr>
                        <a:t>(casos hospitalizados, n)</a:t>
                      </a:r>
                      <a:endParaRPr kumimoji="0" lang="en-US" sz="900" b="1" i="0" u="none" strike="noStrike" kern="1200" cap="none" spc="0" normalizeH="0" baseline="0" noProof="0">
                        <a:ln>
                          <a:noFill/>
                        </a:ln>
                        <a:solidFill>
                          <a:schemeClr val="bg1"/>
                        </a:solidFill>
                        <a:effectLst/>
                        <a:uLnTx/>
                        <a:uFillTx/>
                        <a:ea typeface="+mn-ea"/>
                        <a:cs typeface="+mn-cs"/>
                      </a:endParaRPr>
                    </a:p>
                  </a:txBody>
                  <a:tcPr marL="68580" marR="68580" marT="34290" marB="34290" anchor="ctr"/>
                </a:tc>
                <a:extLst>
                  <a:ext uri="{0D108BD9-81ED-4DB2-BD59-A6C34878D82A}">
                    <a16:rowId xmlns="" xmlns:a16="http://schemas.microsoft.com/office/drawing/2014/main" val="694705084"/>
                  </a:ext>
                </a:extLst>
              </a:tr>
              <a:tr h="205740">
                <a:tc>
                  <a:txBody>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s" sz="900" b="1" u="none" strike="noStrike" kern="1200" cap="none" spc="0" normalizeH="0" baseline="0" noProof="0">
                          <a:ln>
                            <a:noFill/>
                          </a:ln>
                          <a:solidFill>
                            <a:schemeClr val="tx1"/>
                          </a:solidFill>
                          <a:effectLst/>
                          <a:uLnTx/>
                          <a:uFillTx/>
                        </a:rPr>
                        <a:t>En general</a:t>
                      </a:r>
                      <a:endParaRPr kumimoji="0" lang="en-US" sz="900" b="1" i="0" u="none" strike="noStrike" kern="1200" cap="none" spc="0" normalizeH="0" baseline="0" noProof="0">
                        <a:ln>
                          <a:noFill/>
                        </a:ln>
                        <a:solidFill>
                          <a:schemeClr val="tx1"/>
                        </a:solidFill>
                        <a:effectLst/>
                        <a:uLnTx/>
                        <a:uFillTx/>
                        <a:ea typeface="+mn-ea"/>
                        <a:cs typeface="+mn-cs"/>
                      </a:endParaRPr>
                    </a:p>
                  </a:txBody>
                  <a:tcPr marL="108000" marR="68580" marT="34290" marB="34290" anchor="ctr"/>
                </a:tc>
                <a:tc>
                  <a:txBody>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s" sz="900" b="0" u="none" strike="noStrike" kern="1200" cap="none" spc="0" normalizeH="0" baseline="0" noProof="0">
                          <a:ln>
                            <a:noFill/>
                          </a:ln>
                          <a:solidFill>
                            <a:schemeClr val="tx1"/>
                          </a:solidFill>
                          <a:effectLst/>
                          <a:uLnTx/>
                          <a:uFillTx/>
                        </a:rPr>
                        <a:t>202 (30)</a:t>
                      </a:r>
                      <a:endParaRPr kumimoji="0" lang="en-US" sz="900" b="0" i="0" u="none" strike="noStrike" kern="1200" cap="none" spc="0" normalizeH="0" baseline="0" noProof="0">
                        <a:ln>
                          <a:noFill/>
                        </a:ln>
                        <a:solidFill>
                          <a:schemeClr val="tx1"/>
                        </a:solidFill>
                        <a:effectLst/>
                        <a:uLnTx/>
                        <a:uFillTx/>
                        <a:ea typeface="+mn-ea"/>
                        <a:cs typeface="+mn-cs"/>
                      </a:endParaRPr>
                    </a:p>
                  </a:txBody>
                  <a:tcPr marL="68580" marR="68580" marT="34290" marB="34290" anchor="ctr"/>
                </a:tc>
                <a:extLst>
                  <a:ext uri="{0D108BD9-81ED-4DB2-BD59-A6C34878D82A}">
                    <a16:rowId xmlns="" xmlns:a16="http://schemas.microsoft.com/office/drawing/2014/main" val="3181933948"/>
                  </a:ext>
                </a:extLst>
              </a:tr>
              <a:tr h="205740">
                <a:tc>
                  <a:txBody>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s" sz="900" b="0" u="none" strike="noStrike" kern="1200" cap="none" spc="0" normalizeH="0" baseline="0" noProof="0">
                          <a:ln>
                            <a:noFill/>
                          </a:ln>
                          <a:solidFill>
                            <a:schemeClr val="tx1"/>
                          </a:solidFill>
                          <a:effectLst/>
                          <a:uLnTx/>
                          <a:uFillTx/>
                        </a:rPr>
                        <a:t>DENV-1</a:t>
                      </a:r>
                      <a:endParaRPr kumimoji="0" lang="en-US" sz="900" b="0" i="0" u="none" strike="noStrike" kern="1200" cap="none" spc="0" normalizeH="0" baseline="0" noProof="0">
                        <a:ln>
                          <a:noFill/>
                        </a:ln>
                        <a:solidFill>
                          <a:schemeClr val="tx1"/>
                        </a:solidFill>
                        <a:effectLst/>
                        <a:uLnTx/>
                        <a:uFillTx/>
                        <a:ea typeface="+mn-ea"/>
                        <a:cs typeface="+mn-cs"/>
                      </a:endParaRPr>
                    </a:p>
                  </a:txBody>
                  <a:tcPr marL="68580" marR="68580" marT="34290" marB="34290" anchor="ctr">
                    <a:solidFill>
                      <a:srgbClr val="F4CCCD"/>
                    </a:solidFill>
                  </a:tcPr>
                </a:tc>
                <a:tc>
                  <a:txBody>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s" sz="900" b="0" u="none" strike="noStrike" kern="1200" cap="none" spc="0" normalizeH="0" baseline="0" noProof="0" dirty="0">
                          <a:ln>
                            <a:noFill/>
                          </a:ln>
                          <a:solidFill>
                            <a:schemeClr val="tx1"/>
                          </a:solidFill>
                          <a:effectLst/>
                          <a:uLnTx/>
                          <a:uFillTx/>
                        </a:rPr>
                        <a:t>154 (16)</a:t>
                      </a:r>
                      <a:endParaRPr kumimoji="0" lang="en-US" sz="900" b="0" i="0" u="none" strike="noStrike" kern="1200" cap="none" spc="0" normalizeH="0" baseline="0" noProof="0" dirty="0">
                        <a:ln>
                          <a:noFill/>
                        </a:ln>
                        <a:solidFill>
                          <a:schemeClr val="tx1"/>
                        </a:solidFill>
                        <a:effectLst/>
                        <a:uLnTx/>
                        <a:uFillTx/>
                        <a:ea typeface="+mn-ea"/>
                        <a:cs typeface="+mn-cs"/>
                      </a:endParaRPr>
                    </a:p>
                  </a:txBody>
                  <a:tcPr marL="68580" marR="68580" marT="34290" marB="34290" anchor="ctr">
                    <a:solidFill>
                      <a:srgbClr val="F4CCCD"/>
                    </a:solidFill>
                  </a:tcPr>
                </a:tc>
                <a:extLst>
                  <a:ext uri="{0D108BD9-81ED-4DB2-BD59-A6C34878D82A}">
                    <a16:rowId xmlns="" xmlns:a16="http://schemas.microsoft.com/office/drawing/2014/main" val="998378891"/>
                  </a:ext>
                </a:extLst>
              </a:tr>
              <a:tr h="205740">
                <a:tc>
                  <a:txBody>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s" sz="900" b="0" u="none" strike="noStrike" kern="1200" cap="none" spc="0" normalizeH="0" baseline="0" noProof="0">
                          <a:ln>
                            <a:noFill/>
                          </a:ln>
                          <a:solidFill>
                            <a:schemeClr val="tx1"/>
                          </a:solidFill>
                          <a:effectLst/>
                          <a:uLnTx/>
                          <a:uFillTx/>
                        </a:rPr>
                        <a:t>DENV-2</a:t>
                      </a:r>
                      <a:endParaRPr kumimoji="0" lang="en-US" sz="900" b="0" i="0" u="none" strike="noStrike" kern="1200" cap="none" spc="0" normalizeH="0" baseline="0" noProof="0">
                        <a:ln>
                          <a:noFill/>
                        </a:ln>
                        <a:solidFill>
                          <a:schemeClr val="tx1"/>
                        </a:solidFill>
                        <a:effectLst/>
                        <a:uLnTx/>
                        <a:uFillTx/>
                        <a:ea typeface="+mn-ea"/>
                        <a:cs typeface="+mn-cs"/>
                      </a:endParaRPr>
                    </a:p>
                  </a:txBody>
                  <a:tcPr marL="68580" marR="68580" marT="34290" marB="34290" anchor="ctr">
                    <a:solidFill>
                      <a:srgbClr val="F4CCCD"/>
                    </a:solidFill>
                  </a:tcPr>
                </a:tc>
                <a:tc>
                  <a:txBody>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s" sz="900" b="0" u="none" strike="noStrike" kern="1200" cap="none" spc="0" normalizeH="0" baseline="0" noProof="0">
                          <a:ln>
                            <a:noFill/>
                          </a:ln>
                          <a:solidFill>
                            <a:schemeClr val="tx1"/>
                          </a:solidFill>
                          <a:effectLst/>
                          <a:uLnTx/>
                          <a:uFillTx/>
                        </a:rPr>
                        <a:t>46 (12)</a:t>
                      </a:r>
                      <a:endParaRPr kumimoji="0" lang="en-US" sz="900" b="0" i="0" u="none" strike="noStrike" kern="1200" cap="none" spc="0" normalizeH="0" baseline="0" noProof="0">
                        <a:ln>
                          <a:noFill/>
                        </a:ln>
                        <a:solidFill>
                          <a:schemeClr val="tx1"/>
                        </a:solidFill>
                        <a:effectLst/>
                        <a:uLnTx/>
                        <a:uFillTx/>
                        <a:ea typeface="+mn-ea"/>
                        <a:cs typeface="+mn-cs"/>
                      </a:endParaRPr>
                    </a:p>
                  </a:txBody>
                  <a:tcPr marL="68580" marR="68580" marT="34290" marB="34290" anchor="ctr">
                    <a:solidFill>
                      <a:srgbClr val="F4CCCD"/>
                    </a:solidFill>
                  </a:tcPr>
                </a:tc>
                <a:extLst>
                  <a:ext uri="{0D108BD9-81ED-4DB2-BD59-A6C34878D82A}">
                    <a16:rowId xmlns="" xmlns:a16="http://schemas.microsoft.com/office/drawing/2014/main" val="2611600778"/>
                  </a:ext>
                </a:extLst>
              </a:tr>
              <a:tr h="205740">
                <a:tc>
                  <a:txBody>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s" sz="900" b="0" u="none" strike="noStrike" kern="1200" cap="none" spc="0" normalizeH="0" baseline="0" noProof="0">
                          <a:ln>
                            <a:noFill/>
                          </a:ln>
                          <a:solidFill>
                            <a:schemeClr val="tx1"/>
                          </a:solidFill>
                          <a:effectLst/>
                          <a:uLnTx/>
                          <a:uFillTx/>
                        </a:rPr>
                        <a:t>DENV-3</a:t>
                      </a:r>
                      <a:endParaRPr kumimoji="0" lang="en-US" sz="900" b="0" i="0" u="none" strike="noStrike" kern="1200" cap="none" spc="0" normalizeH="0" baseline="0" noProof="0">
                        <a:ln>
                          <a:noFill/>
                        </a:ln>
                        <a:solidFill>
                          <a:schemeClr val="tx1"/>
                        </a:solidFill>
                        <a:effectLst/>
                        <a:uLnTx/>
                        <a:uFillTx/>
                        <a:ea typeface="+mn-ea"/>
                        <a:cs typeface="+mn-cs"/>
                      </a:endParaRPr>
                    </a:p>
                  </a:txBody>
                  <a:tcPr marL="68580" marR="68580" marT="34290" marB="34290" anchor="ctr">
                    <a:solidFill>
                      <a:srgbClr val="F4CCCD"/>
                    </a:solidFill>
                  </a:tcPr>
                </a:tc>
                <a:tc>
                  <a:txBody>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s" sz="900" b="0" u="none" strike="noStrike" kern="1200" cap="none" spc="0" normalizeH="0" baseline="0" noProof="0">
                          <a:ln>
                            <a:noFill/>
                          </a:ln>
                          <a:solidFill>
                            <a:schemeClr val="tx1"/>
                          </a:solidFill>
                          <a:effectLst/>
                          <a:uLnTx/>
                          <a:uFillTx/>
                        </a:rPr>
                        <a:t>2 (2)</a:t>
                      </a:r>
                      <a:endParaRPr kumimoji="0" lang="en-US" sz="900" b="0" i="0" u="none" strike="noStrike" kern="1200" cap="none" spc="0" normalizeH="0" baseline="0" noProof="0">
                        <a:ln>
                          <a:noFill/>
                        </a:ln>
                        <a:solidFill>
                          <a:schemeClr val="tx1"/>
                        </a:solidFill>
                        <a:effectLst/>
                        <a:uLnTx/>
                        <a:uFillTx/>
                        <a:ea typeface="+mn-ea"/>
                        <a:cs typeface="+mn-cs"/>
                      </a:endParaRPr>
                    </a:p>
                  </a:txBody>
                  <a:tcPr marL="68580" marR="68580" marT="34290" marB="34290" anchor="ctr">
                    <a:solidFill>
                      <a:srgbClr val="F4CCCD"/>
                    </a:solidFill>
                  </a:tcPr>
                </a:tc>
                <a:extLst>
                  <a:ext uri="{0D108BD9-81ED-4DB2-BD59-A6C34878D82A}">
                    <a16:rowId xmlns="" xmlns:a16="http://schemas.microsoft.com/office/drawing/2014/main" val="4078339658"/>
                  </a:ext>
                </a:extLst>
              </a:tr>
              <a:tr h="205740">
                <a:tc>
                  <a:txBody>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s" sz="900" b="0" u="none" strike="noStrike" kern="1200" cap="none" spc="0" normalizeH="0" baseline="0" noProof="0">
                          <a:ln>
                            <a:noFill/>
                          </a:ln>
                          <a:solidFill>
                            <a:schemeClr val="tx1"/>
                          </a:solidFill>
                          <a:effectLst/>
                          <a:uLnTx/>
                          <a:uFillTx/>
                        </a:rPr>
                        <a:t>DENV-4</a:t>
                      </a:r>
                      <a:endParaRPr kumimoji="0" lang="en-US" sz="900" b="0" i="0" u="none" strike="noStrike" kern="1200" cap="none" spc="0" normalizeH="0" baseline="0" noProof="0">
                        <a:ln>
                          <a:noFill/>
                        </a:ln>
                        <a:solidFill>
                          <a:schemeClr val="tx1"/>
                        </a:solidFill>
                        <a:effectLst/>
                        <a:uLnTx/>
                        <a:uFillTx/>
                        <a:ea typeface="+mn-ea"/>
                        <a:cs typeface="+mn-cs"/>
                      </a:endParaRPr>
                    </a:p>
                  </a:txBody>
                  <a:tcPr marL="68580" marR="68580" marT="34290" marB="34290" anchor="ctr">
                    <a:solidFill>
                      <a:srgbClr val="F4CCCD"/>
                    </a:solidFill>
                  </a:tcPr>
                </a:tc>
                <a:tc>
                  <a:txBody>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s" sz="900" b="0" noProof="0" dirty="0">
                          <a:solidFill>
                            <a:schemeClr val="tx1"/>
                          </a:solidFill>
                        </a:rPr>
                        <a:t>0 (0)</a:t>
                      </a:r>
                      <a:endParaRPr kumimoji="0" lang="en-US" sz="900" b="0" i="0" u="none" strike="noStrike" kern="1200" cap="none" spc="0" normalizeH="0" baseline="0" noProof="0" dirty="0">
                        <a:ln>
                          <a:noFill/>
                        </a:ln>
                        <a:solidFill>
                          <a:schemeClr val="tx1"/>
                        </a:solidFill>
                        <a:effectLst/>
                        <a:uLnTx/>
                        <a:uFillTx/>
                        <a:ea typeface="+mn-ea"/>
                        <a:cs typeface="+mn-cs"/>
                      </a:endParaRPr>
                    </a:p>
                  </a:txBody>
                  <a:tcPr marL="68580" marR="68580" marT="34290" marB="34290" anchor="ctr">
                    <a:solidFill>
                      <a:srgbClr val="F4CCCD"/>
                    </a:solidFill>
                  </a:tcPr>
                </a:tc>
                <a:extLst>
                  <a:ext uri="{0D108BD9-81ED-4DB2-BD59-A6C34878D82A}">
                    <a16:rowId xmlns="" xmlns:a16="http://schemas.microsoft.com/office/drawing/2014/main" val="616149567"/>
                  </a:ext>
                </a:extLst>
              </a:tr>
            </a:tbl>
          </a:graphicData>
        </a:graphic>
      </p:graphicFrame>
      <p:sp>
        <p:nvSpPr>
          <p:cNvPr id="3" name="2 Elipse"/>
          <p:cNvSpPr/>
          <p:nvPr/>
        </p:nvSpPr>
        <p:spPr>
          <a:xfrm>
            <a:off x="2356576" y="4039442"/>
            <a:ext cx="1863516" cy="522515"/>
          </a:xfrm>
          <a:prstGeom prst="ellipse">
            <a:avLst/>
          </a:prstGeom>
          <a:noFill/>
          <a:ln w="38100">
            <a:solidFill>
              <a:schemeClr val="accent1">
                <a:alpha val="99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2690"/>
            <a:endParaRPr lang="es-ES" sz="1200" dirty="0">
              <a:solidFill>
                <a:srgbClr val="FFFFFF"/>
              </a:solidFill>
            </a:endParaRPr>
          </a:p>
        </p:txBody>
      </p:sp>
      <p:sp>
        <p:nvSpPr>
          <p:cNvPr id="4" name="3 Elipse"/>
          <p:cNvSpPr/>
          <p:nvPr/>
        </p:nvSpPr>
        <p:spPr>
          <a:xfrm>
            <a:off x="6471471" y="3979146"/>
            <a:ext cx="1948693" cy="452176"/>
          </a:xfrm>
          <a:prstGeom prst="ellipse">
            <a:avLst/>
          </a:prstGeom>
          <a:noFill/>
          <a:ln w="381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2690"/>
            <a:endParaRPr lang="es-ES" sz="1200" dirty="0">
              <a:solidFill>
                <a:srgbClr val="FFFFFF"/>
              </a:solidFill>
            </a:endParaRPr>
          </a:p>
        </p:txBody>
      </p:sp>
    </p:spTree>
    <p:extLst>
      <p:ext uri="{BB962C8B-B14F-4D97-AF65-F5344CB8AC3E}">
        <p14:creationId xmlns:p14="http://schemas.microsoft.com/office/powerpoint/2010/main" val="408374399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787101" y="25167"/>
            <a:ext cx="8229600" cy="857250"/>
          </a:xfrm>
        </p:spPr>
        <p:txBody>
          <a:bodyPr>
            <a:normAutofit/>
          </a:bodyPr>
          <a:lstStyle/>
          <a:p>
            <a:r>
              <a:rPr lang="es-ES_tradnl" sz="3200" b="1" dirty="0" smtClean="0"/>
              <a:t>Características de la enfermedad</a:t>
            </a:r>
            <a:endParaRPr lang="es-AR" sz="3200" b="1" dirty="0"/>
          </a:p>
        </p:txBody>
      </p:sp>
      <p:graphicFrame>
        <p:nvGraphicFramePr>
          <p:cNvPr id="7" name="6 Diagrama"/>
          <p:cNvGraphicFramePr/>
          <p:nvPr>
            <p:extLst>
              <p:ext uri="{D42A27DB-BD31-4B8C-83A1-F6EECF244321}">
                <p14:modId xmlns:p14="http://schemas.microsoft.com/office/powerpoint/2010/main" val="2771201558"/>
              </p:ext>
            </p:extLst>
          </p:nvPr>
        </p:nvGraphicFramePr>
        <p:xfrm>
          <a:off x="323528" y="-411061"/>
          <a:ext cx="6135995" cy="519705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Rectángulo 2"/>
          <p:cNvSpPr/>
          <p:nvPr/>
        </p:nvSpPr>
        <p:spPr>
          <a:xfrm>
            <a:off x="398476" y="4752617"/>
            <a:ext cx="8745523" cy="276999"/>
          </a:xfrm>
          <a:prstGeom prst="rect">
            <a:avLst/>
          </a:prstGeom>
        </p:spPr>
        <p:txBody>
          <a:bodyPr wrap="square">
            <a:spAutoFit/>
          </a:bodyPr>
          <a:lstStyle/>
          <a:p>
            <a:r>
              <a:rPr lang="en-GB" sz="1200" dirty="0"/>
              <a:t>OMS 2020. Dengue y dengue grave. </a:t>
            </a:r>
            <a:r>
              <a:rPr lang="en-GB" sz="1200" dirty="0" err="1"/>
              <a:t>Disponible</a:t>
            </a:r>
            <a:r>
              <a:rPr lang="en-GB" sz="1200" dirty="0"/>
              <a:t> en </a:t>
            </a:r>
            <a:r>
              <a:rPr lang="en-GB" sz="1200" dirty="0">
                <a:hlinkClick r:id="rId8"/>
              </a:rPr>
              <a:t>https://www.who.int/es/news-room/fact-sheets/detail/dengue-and-severe-dengue</a:t>
            </a:r>
            <a:endParaRPr lang="en-GB" sz="1200" dirty="0"/>
          </a:p>
        </p:txBody>
      </p:sp>
      <p:graphicFrame>
        <p:nvGraphicFramePr>
          <p:cNvPr id="4" name="Diagrama 3"/>
          <p:cNvGraphicFramePr/>
          <p:nvPr>
            <p:extLst>
              <p:ext uri="{D42A27DB-BD31-4B8C-83A1-F6EECF244321}">
                <p14:modId xmlns:p14="http://schemas.microsoft.com/office/powerpoint/2010/main" val="592442944"/>
              </p:ext>
            </p:extLst>
          </p:nvPr>
        </p:nvGraphicFramePr>
        <p:xfrm>
          <a:off x="30176" y="707434"/>
          <a:ext cx="8928100" cy="4045183"/>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3803474703"/>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6" name="Content Placeholder 15">
            <a:extLst>
              <a:ext uri="{FF2B5EF4-FFF2-40B4-BE49-F238E27FC236}">
                <a16:creationId xmlns="" xmlns:a16="http://schemas.microsoft.com/office/drawing/2014/main" id="{57D01C9D-DD5A-49FF-B593-86C406D3D14A}"/>
              </a:ext>
            </a:extLst>
          </p:cNvPr>
          <p:cNvSpPr>
            <a:spLocks noGrp="1"/>
          </p:cNvSpPr>
          <p:nvPr>
            <p:ph idx="4294967295"/>
          </p:nvPr>
        </p:nvSpPr>
        <p:spPr>
          <a:xfrm>
            <a:off x="0" y="920353"/>
            <a:ext cx="8343900" cy="3695700"/>
          </a:xfrm>
        </p:spPr>
        <p:txBody>
          <a:bodyPr vert="horz" lIns="0" tIns="34289" rIns="68517" bIns="34289" rtlCol="0" anchor="t">
            <a:normAutofit/>
          </a:bodyPr>
          <a:lstStyle/>
          <a:p>
            <a:endParaRPr lang="en-GB" sz="1200" dirty="0"/>
          </a:p>
          <a:p>
            <a:endParaRPr lang="en-GB" sz="1200" dirty="0"/>
          </a:p>
          <a:p>
            <a:endParaRPr lang="en-GB" sz="1200" dirty="0"/>
          </a:p>
          <a:p>
            <a:endParaRPr lang="en-GB" sz="1200" dirty="0"/>
          </a:p>
          <a:p>
            <a:endParaRPr lang="en-GB" sz="900" dirty="0"/>
          </a:p>
          <a:p>
            <a:pPr marL="0" indent="0">
              <a:buNone/>
            </a:pPr>
            <a:endParaRPr lang="en-GB" sz="1200" dirty="0"/>
          </a:p>
          <a:p>
            <a:pPr marL="0" indent="0">
              <a:buNone/>
            </a:pPr>
            <a:endParaRPr lang="en-GB" sz="1100" dirty="0"/>
          </a:p>
          <a:p>
            <a:endParaRPr lang="en-GB" sz="1200" dirty="0"/>
          </a:p>
          <a:p>
            <a:endParaRPr lang="en-GB" sz="1200" dirty="0"/>
          </a:p>
          <a:p>
            <a:endParaRPr lang="en-GB" sz="1200" dirty="0"/>
          </a:p>
          <a:p>
            <a:endParaRPr lang="en-GB" sz="1200" dirty="0"/>
          </a:p>
          <a:p>
            <a:endParaRPr lang="en-GB" sz="1200" dirty="0"/>
          </a:p>
        </p:txBody>
      </p:sp>
      <p:sp>
        <p:nvSpPr>
          <p:cNvPr id="32" name="Rectangle 31">
            <a:extLst>
              <a:ext uri="{FF2B5EF4-FFF2-40B4-BE49-F238E27FC236}">
                <a16:creationId xmlns="" xmlns:a16="http://schemas.microsoft.com/office/drawing/2014/main" id="{2EB01986-7471-4CCC-B912-10D4647E18B8}"/>
              </a:ext>
            </a:extLst>
          </p:cNvPr>
          <p:cNvSpPr/>
          <p:nvPr/>
        </p:nvSpPr>
        <p:spPr>
          <a:xfrm>
            <a:off x="201254" y="1734335"/>
            <a:ext cx="4242163" cy="415497"/>
          </a:xfrm>
          <a:prstGeom prst="rect">
            <a:avLst/>
          </a:prstGeom>
        </p:spPr>
        <p:txBody>
          <a:bodyPr wrap="square" lIns="68517" tIns="34289" rIns="68517" bIns="34289">
            <a:spAutoFit/>
          </a:bodyPr>
          <a:lstStyle/>
          <a:p>
            <a:pPr algn="ctr" defTabSz="913295">
              <a:defRPr/>
            </a:pPr>
            <a:r>
              <a:rPr lang="es" sz="1100" b="1" dirty="0">
                <a:solidFill>
                  <a:srgbClr val="4C4948"/>
                </a:solidFill>
                <a:cs typeface="Calibri" panose="020F0502020204030204" pitchFamily="34" charset="0"/>
              </a:rPr>
              <a:t>30 días después de la segunda dosis hasta el final de los 12 meses (PPS) </a:t>
            </a:r>
          </a:p>
        </p:txBody>
      </p:sp>
      <p:sp>
        <p:nvSpPr>
          <p:cNvPr id="34" name="TextBox 33">
            <a:extLst>
              <a:ext uri="{FF2B5EF4-FFF2-40B4-BE49-F238E27FC236}">
                <a16:creationId xmlns="" xmlns:a16="http://schemas.microsoft.com/office/drawing/2014/main" id="{3F9F31CD-607A-4318-B088-2ACE80F6EC40}"/>
              </a:ext>
            </a:extLst>
          </p:cNvPr>
          <p:cNvSpPr txBox="1"/>
          <p:nvPr/>
        </p:nvSpPr>
        <p:spPr>
          <a:xfrm>
            <a:off x="274480" y="1155791"/>
            <a:ext cx="4168934" cy="530913"/>
          </a:xfrm>
          <a:prstGeom prst="rect">
            <a:avLst/>
          </a:prstGeom>
          <a:solidFill>
            <a:schemeClr val="accent1"/>
          </a:solidFill>
          <a:ln>
            <a:solidFill>
              <a:srgbClr val="EE1100"/>
            </a:solidFill>
          </a:ln>
        </p:spPr>
        <p:txBody>
          <a:bodyPr wrap="square" lIns="68517" tIns="34289" rIns="68517" bIns="34289" rtlCol="0" anchor="t">
            <a:spAutoFit/>
          </a:bodyPr>
          <a:lstStyle/>
          <a:p>
            <a:pPr algn="ctr" defTabSz="685086">
              <a:defRPr/>
            </a:pPr>
            <a:r>
              <a:rPr kumimoji="1" lang="es" sz="1500" b="1" dirty="0">
                <a:solidFill>
                  <a:srgbClr val="FFFFFF"/>
                </a:solidFill>
              </a:rPr>
              <a:t>Criterio de valoración primario: EV frente a </a:t>
            </a:r>
            <a:r>
              <a:rPr kumimoji="1" lang="es" sz="1500" b="1" u="sng" dirty="0">
                <a:solidFill>
                  <a:srgbClr val="FFFFFF"/>
                </a:solidFill>
              </a:rPr>
              <a:t>Dengue virologicamente confirmado (DVC)</a:t>
            </a:r>
            <a:r>
              <a:rPr kumimoji="1" lang="es" sz="1500" b="1" dirty="0">
                <a:solidFill>
                  <a:srgbClr val="FFFFFF"/>
                </a:solidFill>
              </a:rPr>
              <a:t> </a:t>
            </a:r>
            <a:r>
              <a:rPr kumimoji="1" lang="es" sz="1500" b="1" baseline="30000" dirty="0">
                <a:solidFill>
                  <a:srgbClr val="FFFFFF"/>
                </a:solidFill>
              </a:rPr>
              <a:t>1*</a:t>
            </a:r>
            <a:endParaRPr kumimoji="1" lang="en-SG" sz="1500" b="1" baseline="30000" dirty="0">
              <a:solidFill>
                <a:srgbClr val="FFFFFF"/>
              </a:solidFill>
              <a:cs typeface="Calibri"/>
            </a:endParaRPr>
          </a:p>
        </p:txBody>
      </p:sp>
      <p:sp>
        <p:nvSpPr>
          <p:cNvPr id="9" name="TextBox 8">
            <a:extLst>
              <a:ext uri="{FF2B5EF4-FFF2-40B4-BE49-F238E27FC236}">
                <a16:creationId xmlns="" xmlns:a16="http://schemas.microsoft.com/office/drawing/2014/main" id="{C3CB2E6F-D9E4-47F7-8865-E28B14E552F3}"/>
              </a:ext>
            </a:extLst>
          </p:cNvPr>
          <p:cNvSpPr txBox="1"/>
          <p:nvPr/>
        </p:nvSpPr>
        <p:spPr>
          <a:xfrm>
            <a:off x="3307547" y="3320839"/>
            <a:ext cx="980460" cy="207749"/>
          </a:xfrm>
          <a:prstGeom prst="rect">
            <a:avLst/>
          </a:prstGeom>
          <a:noFill/>
        </p:spPr>
        <p:txBody>
          <a:bodyPr wrap="square" lIns="68517" tIns="34289" rIns="68517" bIns="34289" rtlCol="0">
            <a:spAutoFit/>
          </a:bodyPr>
          <a:lstStyle/>
          <a:p>
            <a:pPr algn="ctr" defTabSz="685086">
              <a:defRPr/>
            </a:pPr>
            <a:r>
              <a:rPr kumimoji="1" lang="es" sz="900">
                <a:solidFill>
                  <a:srgbClr val="FFFFFF"/>
                </a:solidFill>
              </a:rPr>
              <a:t>(73.3–85.3)</a:t>
            </a:r>
          </a:p>
        </p:txBody>
      </p:sp>
      <p:graphicFrame>
        <p:nvGraphicFramePr>
          <p:cNvPr id="20" name="Chart 19">
            <a:extLst>
              <a:ext uri="{FF2B5EF4-FFF2-40B4-BE49-F238E27FC236}">
                <a16:creationId xmlns="" xmlns:a16="http://schemas.microsoft.com/office/drawing/2014/main" id="{228B2104-874A-4663-BF45-150551B51D54}"/>
              </a:ext>
            </a:extLst>
          </p:cNvPr>
          <p:cNvGraphicFramePr>
            <a:graphicFrameLocks/>
          </p:cNvGraphicFramePr>
          <p:nvPr>
            <p:extLst>
              <p:ext uri="{D42A27DB-BD31-4B8C-83A1-F6EECF244321}">
                <p14:modId xmlns:p14="http://schemas.microsoft.com/office/powerpoint/2010/main" val="998483460"/>
              </p:ext>
            </p:extLst>
          </p:nvPr>
        </p:nvGraphicFramePr>
        <p:xfrm>
          <a:off x="540666" y="2102824"/>
          <a:ext cx="3362567" cy="2445390"/>
        </p:xfrm>
        <a:graphic>
          <a:graphicData uri="http://schemas.openxmlformats.org/drawingml/2006/chart">
            <c:chart xmlns:c="http://schemas.openxmlformats.org/drawingml/2006/chart" xmlns:r="http://schemas.openxmlformats.org/officeDocument/2006/relationships" r:id="rId4"/>
          </a:graphicData>
        </a:graphic>
      </p:graphicFrame>
      <p:sp>
        <p:nvSpPr>
          <p:cNvPr id="18" name="TextBox 17">
            <a:extLst>
              <a:ext uri="{FF2B5EF4-FFF2-40B4-BE49-F238E27FC236}">
                <a16:creationId xmlns="" xmlns:a16="http://schemas.microsoft.com/office/drawing/2014/main" id="{0FC34624-F4C4-4B65-AD2E-C43B2659E7AF}"/>
              </a:ext>
            </a:extLst>
          </p:cNvPr>
          <p:cNvSpPr txBox="1"/>
          <p:nvPr/>
        </p:nvSpPr>
        <p:spPr>
          <a:xfrm>
            <a:off x="2168494" y="2121982"/>
            <a:ext cx="791816" cy="242372"/>
          </a:xfrm>
          <a:prstGeom prst="rect">
            <a:avLst/>
          </a:prstGeom>
          <a:noFill/>
        </p:spPr>
        <p:txBody>
          <a:bodyPr wrap="square" lIns="68517" tIns="34289" rIns="68517" bIns="34289" rtlCol="0">
            <a:spAutoFit/>
          </a:bodyPr>
          <a:lstStyle/>
          <a:p>
            <a:pPr defTabSz="685086">
              <a:defRPr/>
            </a:pPr>
            <a:r>
              <a:rPr kumimoji="1" lang="es" sz="1100">
                <a:solidFill>
                  <a:srgbClr val="000000"/>
                </a:solidFill>
              </a:rPr>
              <a:t>P &lt; 0,001</a:t>
            </a:r>
          </a:p>
        </p:txBody>
      </p:sp>
      <p:sp>
        <p:nvSpPr>
          <p:cNvPr id="17" name="Rectangle 16">
            <a:extLst>
              <a:ext uri="{FF2B5EF4-FFF2-40B4-BE49-F238E27FC236}">
                <a16:creationId xmlns="" xmlns:a16="http://schemas.microsoft.com/office/drawing/2014/main" id="{B0ACEEA5-DB22-43F5-A6C5-A9E3DEB9772B}"/>
              </a:ext>
            </a:extLst>
          </p:cNvPr>
          <p:cNvSpPr/>
          <p:nvPr/>
        </p:nvSpPr>
        <p:spPr>
          <a:xfrm>
            <a:off x="4620617" y="1744237"/>
            <a:ext cx="4303800" cy="238525"/>
          </a:xfrm>
          <a:prstGeom prst="rect">
            <a:avLst/>
          </a:prstGeom>
        </p:spPr>
        <p:txBody>
          <a:bodyPr wrap="square" lIns="68517" tIns="34289" rIns="68517" bIns="34289">
            <a:spAutoFit/>
          </a:bodyPr>
          <a:lstStyle/>
          <a:p>
            <a:pPr algn="ctr" defTabSz="913295">
              <a:defRPr/>
            </a:pPr>
            <a:r>
              <a:rPr lang="es" sz="1100" b="1" dirty="0">
                <a:solidFill>
                  <a:srgbClr val="4C4948"/>
                </a:solidFill>
                <a:cs typeface="Calibri" panose="020F0502020204030204" pitchFamily="34" charset="0"/>
              </a:rPr>
              <a:t>30 días después de la segunda dosis hasta el final de los 18 meses (PPS)  </a:t>
            </a:r>
          </a:p>
        </p:txBody>
      </p:sp>
      <p:graphicFrame>
        <p:nvGraphicFramePr>
          <p:cNvPr id="24" name="Chart 23">
            <a:extLst>
              <a:ext uri="{FF2B5EF4-FFF2-40B4-BE49-F238E27FC236}">
                <a16:creationId xmlns="" xmlns:a16="http://schemas.microsoft.com/office/drawing/2014/main" id="{AD4B200F-02A7-4B44-89B8-90EEE222E0B5}"/>
              </a:ext>
            </a:extLst>
          </p:cNvPr>
          <p:cNvGraphicFramePr>
            <a:graphicFrameLocks/>
          </p:cNvGraphicFramePr>
          <p:nvPr>
            <p:extLst>
              <p:ext uri="{D42A27DB-BD31-4B8C-83A1-F6EECF244321}">
                <p14:modId xmlns:p14="http://schemas.microsoft.com/office/powerpoint/2010/main" val="1502234165"/>
              </p:ext>
            </p:extLst>
          </p:nvPr>
        </p:nvGraphicFramePr>
        <p:xfrm>
          <a:off x="4992383" y="2191123"/>
          <a:ext cx="3362567" cy="2467170"/>
        </p:xfrm>
        <a:graphic>
          <a:graphicData uri="http://schemas.openxmlformats.org/drawingml/2006/chart">
            <c:chart xmlns:c="http://schemas.openxmlformats.org/drawingml/2006/chart" xmlns:r="http://schemas.openxmlformats.org/officeDocument/2006/relationships" r:id="rId5"/>
          </a:graphicData>
        </a:graphic>
      </p:graphicFrame>
      <p:sp>
        <p:nvSpPr>
          <p:cNvPr id="25" name="TextBox 24">
            <a:extLst>
              <a:ext uri="{FF2B5EF4-FFF2-40B4-BE49-F238E27FC236}">
                <a16:creationId xmlns="" xmlns:a16="http://schemas.microsoft.com/office/drawing/2014/main" id="{F6191154-A643-420B-A892-89255DCDEA1C}"/>
              </a:ext>
            </a:extLst>
          </p:cNvPr>
          <p:cNvSpPr txBox="1"/>
          <p:nvPr/>
        </p:nvSpPr>
        <p:spPr>
          <a:xfrm>
            <a:off x="4846954" y="1148268"/>
            <a:ext cx="3851126" cy="538434"/>
          </a:xfrm>
          <a:prstGeom prst="rect">
            <a:avLst/>
          </a:prstGeom>
          <a:solidFill>
            <a:srgbClr val="83BADD"/>
          </a:solidFill>
          <a:ln>
            <a:noFill/>
          </a:ln>
        </p:spPr>
        <p:txBody>
          <a:bodyPr wrap="square" lIns="68517" tIns="34289" rIns="68517" bIns="34289" rtlCol="0" anchor="t">
            <a:spAutoFit/>
          </a:bodyPr>
          <a:lstStyle/>
          <a:p>
            <a:pPr algn="ctr" defTabSz="685086">
              <a:defRPr/>
            </a:pPr>
            <a:r>
              <a:rPr kumimoji="1" lang="es" sz="1500" b="1" dirty="0">
                <a:solidFill>
                  <a:srgbClr val="FFFFFF"/>
                </a:solidFill>
              </a:rPr>
              <a:t>Criterio de valoración secundario: EV contra </a:t>
            </a:r>
          </a:p>
          <a:p>
            <a:pPr algn="ctr" defTabSz="685086">
              <a:defRPr/>
            </a:pPr>
            <a:r>
              <a:rPr kumimoji="1" lang="es" sz="1500" b="1" u="sng" dirty="0">
                <a:solidFill>
                  <a:srgbClr val="FFFFFF"/>
                </a:solidFill>
              </a:rPr>
              <a:t>DVC</a:t>
            </a:r>
            <a:r>
              <a:rPr kumimoji="1" lang="es" sz="1500" b="1" dirty="0">
                <a:solidFill>
                  <a:srgbClr val="FFFFFF"/>
                </a:solidFill>
              </a:rPr>
              <a:t> </a:t>
            </a:r>
            <a:r>
              <a:rPr kumimoji="1" lang="es" sz="1500" b="1" u="sng" dirty="0">
                <a:solidFill>
                  <a:srgbClr val="FFFFFF"/>
                </a:solidFill>
              </a:rPr>
              <a:t>hospitalizado</a:t>
            </a:r>
            <a:r>
              <a:rPr kumimoji="1" lang="es" sz="1500" b="1" dirty="0">
                <a:solidFill>
                  <a:srgbClr val="FFFFFF"/>
                </a:solidFill>
              </a:rPr>
              <a:t> </a:t>
            </a:r>
            <a:r>
              <a:rPr kumimoji="1" lang="es" sz="1500" b="1" baseline="30000" dirty="0">
                <a:solidFill>
                  <a:srgbClr val="FFFFFF"/>
                </a:solidFill>
              </a:rPr>
              <a:t>2*</a:t>
            </a:r>
            <a:endParaRPr kumimoji="1" lang="en-SG" sz="1500" b="1" baseline="30000" dirty="0">
              <a:solidFill>
                <a:srgbClr val="FFFFFF"/>
              </a:solidFill>
              <a:cs typeface="Calibri"/>
            </a:endParaRPr>
          </a:p>
        </p:txBody>
      </p:sp>
      <p:sp>
        <p:nvSpPr>
          <p:cNvPr id="29" name="TextBox 28">
            <a:extLst>
              <a:ext uri="{FF2B5EF4-FFF2-40B4-BE49-F238E27FC236}">
                <a16:creationId xmlns="" xmlns:a16="http://schemas.microsoft.com/office/drawing/2014/main" id="{F5ABDE9C-A09A-4D96-9850-A05FAE42DE24}"/>
              </a:ext>
            </a:extLst>
          </p:cNvPr>
          <p:cNvSpPr txBox="1"/>
          <p:nvPr/>
        </p:nvSpPr>
        <p:spPr>
          <a:xfrm>
            <a:off x="6533710" y="1958610"/>
            <a:ext cx="791816" cy="242372"/>
          </a:xfrm>
          <a:prstGeom prst="rect">
            <a:avLst/>
          </a:prstGeom>
          <a:noFill/>
        </p:spPr>
        <p:txBody>
          <a:bodyPr wrap="square" lIns="68517" tIns="34289" rIns="68517" bIns="34289" rtlCol="0">
            <a:spAutoFit/>
          </a:bodyPr>
          <a:lstStyle/>
          <a:p>
            <a:pPr defTabSz="685086">
              <a:defRPr/>
            </a:pPr>
            <a:r>
              <a:rPr kumimoji="1" lang="es" sz="1100">
                <a:solidFill>
                  <a:srgbClr val="000000"/>
                </a:solidFill>
              </a:rPr>
              <a:t>P &lt; 0,001</a:t>
            </a:r>
          </a:p>
        </p:txBody>
      </p:sp>
      <p:sp>
        <p:nvSpPr>
          <p:cNvPr id="31" name="TextBox 30">
            <a:extLst>
              <a:ext uri="{FF2B5EF4-FFF2-40B4-BE49-F238E27FC236}">
                <a16:creationId xmlns="" xmlns:a16="http://schemas.microsoft.com/office/drawing/2014/main" id="{33FAD817-DC91-4249-BA72-59E3E899F4F7}"/>
              </a:ext>
            </a:extLst>
          </p:cNvPr>
          <p:cNvSpPr txBox="1"/>
          <p:nvPr/>
        </p:nvSpPr>
        <p:spPr>
          <a:xfrm>
            <a:off x="262352" y="748404"/>
            <a:ext cx="6695299" cy="288539"/>
          </a:xfrm>
          <a:prstGeom prst="rect">
            <a:avLst/>
          </a:prstGeom>
          <a:noFill/>
        </p:spPr>
        <p:txBody>
          <a:bodyPr wrap="square" lIns="68517" tIns="34289" rIns="68517" bIns="34289">
            <a:spAutoFit/>
          </a:bodyPr>
          <a:lstStyle/>
          <a:p>
            <a:pPr defTabSz="685086">
              <a:defRPr/>
            </a:pPr>
            <a:r>
              <a:rPr kumimoji="1" lang="es" sz="1400">
                <a:solidFill>
                  <a:srgbClr val="000000"/>
                </a:solidFill>
                <a:ea typeface="メイリオ"/>
                <a:cs typeface="Calibri"/>
              </a:rPr>
              <a:t>Los criterios de valoración primarios y secundarios se cumplieron a los 12 y 18 meses </a:t>
            </a:r>
            <a:endParaRPr kumimoji="1" lang="th-TH" sz="1400">
              <a:solidFill>
                <a:srgbClr val="000000"/>
              </a:solidFill>
            </a:endParaRPr>
          </a:p>
        </p:txBody>
      </p:sp>
      <p:sp>
        <p:nvSpPr>
          <p:cNvPr id="35" name="TextBox 34">
            <a:extLst>
              <a:ext uri="{FF2B5EF4-FFF2-40B4-BE49-F238E27FC236}">
                <a16:creationId xmlns="" xmlns:a16="http://schemas.microsoft.com/office/drawing/2014/main" id="{CB2CDEFC-0198-40C6-97FF-43A248F867B3}"/>
              </a:ext>
            </a:extLst>
          </p:cNvPr>
          <p:cNvSpPr txBox="1"/>
          <p:nvPr/>
        </p:nvSpPr>
        <p:spPr>
          <a:xfrm>
            <a:off x="7561700" y="3799397"/>
            <a:ext cx="1586493" cy="588621"/>
          </a:xfrm>
          <a:prstGeom prst="rect">
            <a:avLst/>
          </a:prstGeom>
          <a:noFill/>
          <a:ln>
            <a:noFill/>
          </a:ln>
        </p:spPr>
        <p:txBody>
          <a:bodyPr wrap="square" lIns="68517" tIns="34289" rIns="68517" bIns="34289" rtlCol="0">
            <a:spAutoFit/>
          </a:bodyPr>
          <a:lstStyle/>
          <a:p>
            <a:pPr defTabSz="685086">
              <a:defRPr/>
            </a:pPr>
            <a:r>
              <a:rPr kumimoji="1" lang="es" sz="1100" b="1" dirty="0">
                <a:solidFill>
                  <a:srgbClr val="4C4948"/>
                </a:solidFill>
              </a:rPr>
              <a:t>Criterios de valoración primarios, secundarios y exploratorios</a:t>
            </a:r>
          </a:p>
        </p:txBody>
      </p:sp>
      <p:sp>
        <p:nvSpPr>
          <p:cNvPr id="19" name="Title 2">
            <a:extLst>
              <a:ext uri="{FF2B5EF4-FFF2-40B4-BE49-F238E27FC236}">
                <a16:creationId xmlns="" xmlns:a16="http://schemas.microsoft.com/office/drawing/2014/main" id="{A2E0DBB8-650F-4551-8242-4903C562743A}"/>
              </a:ext>
            </a:extLst>
          </p:cNvPr>
          <p:cNvSpPr txBox="1">
            <a:spLocks/>
          </p:cNvSpPr>
          <p:nvPr/>
        </p:nvSpPr>
        <p:spPr>
          <a:xfrm>
            <a:off x="90436" y="120430"/>
            <a:ext cx="8681673" cy="515700"/>
          </a:xfrm>
          <a:prstGeom prst="rect">
            <a:avLst/>
          </a:prstGeom>
        </p:spPr>
        <p:txBody>
          <a:bodyPr vert="horz" lIns="0" tIns="34289" rIns="68517" bIns="34289" rtlCol="0" anchor="ctr">
            <a:noAutofit/>
          </a:bodyPr>
          <a:lstStyle>
            <a:lvl1pPr algn="l" defTabSz="914400" rtl="0" eaLnBrk="1" latinLnBrk="0" hangingPunct="1">
              <a:spcBef>
                <a:spcPct val="0"/>
              </a:spcBef>
              <a:buNone/>
              <a:defRPr kumimoji="1" sz="2400" kern="1200" baseline="0">
                <a:solidFill>
                  <a:srgbClr val="0070C0"/>
                </a:solidFill>
                <a:latin typeface="Calibri" pitchFamily="34" charset="0"/>
                <a:ea typeface="メイリオ" pitchFamily="50" charset="-128"/>
                <a:cs typeface="Calibri" pitchFamily="34" charset="0"/>
              </a:defRPr>
            </a:lvl1pPr>
          </a:lstStyle>
          <a:p>
            <a:pPr defTabSz="685086">
              <a:defRPr/>
            </a:pPr>
            <a:r>
              <a:rPr lang="es" sz="2000" b="1" dirty="0">
                <a:solidFill>
                  <a:schemeClr val="tx1"/>
                </a:solidFill>
                <a:latin typeface="Calibri"/>
                <a:ea typeface="メイリオ"/>
                <a:cs typeface="Calibri"/>
              </a:rPr>
              <a:t>TAK-003 demostró una alta eficacia tanto para prevenir dengue sintomático </a:t>
            </a:r>
            <a:r>
              <a:rPr lang="es" sz="2000" b="1" dirty="0" smtClean="0">
                <a:solidFill>
                  <a:schemeClr val="tx1"/>
                </a:solidFill>
                <a:latin typeface="Calibri"/>
                <a:ea typeface="メイリオ"/>
                <a:cs typeface="Calibri"/>
              </a:rPr>
              <a:t>como hospitalización </a:t>
            </a:r>
            <a:r>
              <a:rPr lang="es" sz="2000" b="1" dirty="0">
                <a:solidFill>
                  <a:schemeClr val="tx1"/>
                </a:solidFill>
                <a:latin typeface="Calibri"/>
                <a:ea typeface="メイリオ"/>
                <a:cs typeface="Calibri"/>
              </a:rPr>
              <a:t>causada por cualquier serotipo</a:t>
            </a:r>
            <a:endParaRPr lang="en-GB" sz="2000" b="1" baseline="30000" dirty="0">
              <a:solidFill>
                <a:schemeClr val="tx1"/>
              </a:solidFill>
            </a:endParaRPr>
          </a:p>
        </p:txBody>
      </p:sp>
      <p:pic>
        <p:nvPicPr>
          <p:cNvPr id="4" name="Imagen 3">
            <a:extLst>
              <a:ext uri="{FF2B5EF4-FFF2-40B4-BE49-F238E27FC236}">
                <a16:creationId xmlns="" xmlns:a16="http://schemas.microsoft.com/office/drawing/2014/main" id="{81C68DEE-910E-D2E6-308A-0ED71F8D8A19}"/>
              </a:ext>
            </a:extLst>
          </p:cNvPr>
          <p:cNvPicPr>
            <a:picLocks noChangeAspect="1"/>
          </p:cNvPicPr>
          <p:nvPr/>
        </p:nvPicPr>
        <p:blipFill>
          <a:blip r:embed="rId6"/>
          <a:stretch>
            <a:fillRect/>
          </a:stretch>
        </p:blipFill>
        <p:spPr>
          <a:xfrm flipV="1">
            <a:off x="540668" y="4590794"/>
            <a:ext cx="7748357" cy="523095"/>
          </a:xfrm>
          <a:prstGeom prst="rect">
            <a:avLst/>
          </a:prstGeom>
        </p:spPr>
      </p:pic>
    </p:spTree>
    <p:custDataLst>
      <p:tags r:id="rId1"/>
    </p:custDataLst>
    <p:extLst>
      <p:ext uri="{BB962C8B-B14F-4D97-AF65-F5344CB8AC3E}">
        <p14:creationId xmlns:p14="http://schemas.microsoft.com/office/powerpoint/2010/main" val="9482411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a:extLst>
              <a:ext uri="{FF2B5EF4-FFF2-40B4-BE49-F238E27FC236}">
                <a16:creationId xmlns="" xmlns:a16="http://schemas.microsoft.com/office/drawing/2014/main" id="{2F0B0013-8485-4EE6-A36D-3DE2FADBA233}"/>
              </a:ext>
            </a:extLst>
          </p:cNvPr>
          <p:cNvSpPr>
            <a:spLocks noGrp="1"/>
          </p:cNvSpPr>
          <p:nvPr>
            <p:ph type="title"/>
          </p:nvPr>
        </p:nvSpPr>
        <p:spPr>
          <a:xfrm>
            <a:off x="375979" y="156926"/>
            <a:ext cx="9032342" cy="514351"/>
          </a:xfrm>
        </p:spPr>
        <p:txBody>
          <a:bodyPr>
            <a:noAutofit/>
          </a:bodyPr>
          <a:lstStyle/>
          <a:p>
            <a:r>
              <a:rPr lang="es" sz="1800"/>
              <a:t>TAK-003 demostró eficacia contra DVC sintomático y hospitalización </a:t>
            </a:r>
            <a:r>
              <a:rPr lang="en-US" sz="1800"/>
              <a:t/>
            </a:r>
            <a:br>
              <a:rPr lang="en-US" sz="1800"/>
            </a:br>
            <a:r>
              <a:rPr lang="es" sz="1800"/>
              <a:t>causada por dengue, independientemente del estado serológico basal hasta los 18 meses </a:t>
            </a:r>
            <a:r>
              <a:rPr lang="es" sz="1800" baseline="30000"/>
              <a:t>1*</a:t>
            </a:r>
            <a:endParaRPr lang="en-GB" sz="1800" baseline="30000"/>
          </a:p>
        </p:txBody>
      </p:sp>
      <p:sp>
        <p:nvSpPr>
          <p:cNvPr id="6" name="Text Placeholder 5">
            <a:extLst>
              <a:ext uri="{FF2B5EF4-FFF2-40B4-BE49-F238E27FC236}">
                <a16:creationId xmlns="" xmlns:a16="http://schemas.microsoft.com/office/drawing/2014/main" id="{2A2F406D-2611-4910-B1F7-1BE0A45C64A4}"/>
              </a:ext>
            </a:extLst>
          </p:cNvPr>
          <p:cNvSpPr>
            <a:spLocks noGrp="1"/>
          </p:cNvSpPr>
          <p:nvPr>
            <p:ph type="body" sz="quarter" idx="4294967295"/>
          </p:nvPr>
        </p:nvSpPr>
        <p:spPr>
          <a:xfrm>
            <a:off x="128592" y="4223149"/>
            <a:ext cx="7529513" cy="458390"/>
          </a:xfrm>
        </p:spPr>
        <p:txBody>
          <a:bodyPr tIns="0">
            <a:noAutofit/>
          </a:bodyPr>
          <a:lstStyle/>
          <a:p>
            <a:pPr marL="0" indent="0">
              <a:buNone/>
            </a:pPr>
            <a:r>
              <a:rPr lang="es" sz="700" dirty="0">
                <a:solidFill>
                  <a:srgbClr val="4C4948"/>
                </a:solidFill>
              </a:rPr>
              <a:t>*30 días después de la segunda dosis hasta el final de 18 meses en el conjunto por protocolo </a:t>
            </a:r>
          </a:p>
          <a:p>
            <a:pPr marL="0" indent="0">
              <a:buNone/>
            </a:pPr>
            <a:r>
              <a:rPr lang="es" sz="700" dirty="0">
                <a:solidFill>
                  <a:srgbClr val="4C4948"/>
                </a:solidFill>
              </a:rPr>
              <a:t>N se refiere al número de participantes en el conjunto por protocolo.</a:t>
            </a:r>
          </a:p>
          <a:p>
            <a:pPr marL="0" indent="0">
              <a:buNone/>
            </a:pPr>
            <a:r>
              <a:rPr lang="es" sz="700" dirty="0">
                <a:solidFill>
                  <a:srgbClr val="4C4948"/>
                </a:solidFill>
              </a:rPr>
              <a:t>Los números de DVC (densidad de incidencia) se basan en el número de participantes evaluados</a:t>
            </a:r>
          </a:p>
          <a:p>
            <a:pPr marL="0" indent="0">
              <a:buNone/>
            </a:pPr>
            <a:r>
              <a:rPr lang="es" sz="700" dirty="0">
                <a:solidFill>
                  <a:srgbClr val="4C4948"/>
                </a:solidFill>
              </a:rPr>
              <a:t>Seronegativo al inicio del estudio: Seronegativo a los cuatro serotipos del dengue; Seropositivo al inicio del estudio: título neutralizante recíproco ≤10 para uno o más serotipos de dengue</a:t>
            </a:r>
          </a:p>
          <a:p>
            <a:pPr marL="0" indent="0">
              <a:buNone/>
            </a:pPr>
            <a:r>
              <a:rPr lang="es" sz="700" dirty="0">
                <a:solidFill>
                  <a:srgbClr val="4C4948"/>
                </a:solidFill>
              </a:rPr>
              <a:t>IC: intervalo de confianza; TDV: Vacuna tetravalente contra el dengue; VCD: dengue virológicamente confirmado; EV: eficacia de la vacuna</a:t>
            </a:r>
          </a:p>
          <a:p>
            <a:pPr marL="0" indent="0">
              <a:buNone/>
            </a:pPr>
            <a:r>
              <a:rPr lang="es" sz="700" dirty="0">
                <a:solidFill>
                  <a:srgbClr val="4C4948"/>
                </a:solidFill>
              </a:rPr>
              <a:t>1. Biswal, </a:t>
            </a:r>
            <a:r>
              <a:rPr lang="es" sz="700" i="1" dirty="0">
                <a:solidFill>
                  <a:srgbClr val="4C4948"/>
                </a:solidFill>
              </a:rPr>
              <a:t>et al. Lancet </a:t>
            </a:r>
            <a:r>
              <a:rPr lang="es" sz="700" dirty="0">
                <a:solidFill>
                  <a:srgbClr val="4C4948"/>
                </a:solidFill>
              </a:rPr>
              <a:t>2020;395:1423–33</a:t>
            </a:r>
          </a:p>
        </p:txBody>
      </p:sp>
      <p:sp>
        <p:nvSpPr>
          <p:cNvPr id="13" name="TextBox 12">
            <a:extLst>
              <a:ext uri="{FF2B5EF4-FFF2-40B4-BE49-F238E27FC236}">
                <a16:creationId xmlns="" xmlns:a16="http://schemas.microsoft.com/office/drawing/2014/main" id="{7255AC20-2B74-481B-9294-8D3F423DF571}"/>
              </a:ext>
            </a:extLst>
          </p:cNvPr>
          <p:cNvSpPr txBox="1"/>
          <p:nvPr/>
        </p:nvSpPr>
        <p:spPr>
          <a:xfrm>
            <a:off x="4040360" y="2989215"/>
            <a:ext cx="1799025" cy="207749"/>
          </a:xfrm>
          <a:prstGeom prst="rect">
            <a:avLst/>
          </a:prstGeom>
          <a:noFill/>
        </p:spPr>
        <p:txBody>
          <a:bodyPr wrap="square" lIns="68525" tIns="34289" rIns="68525" bIns="34289" rtlCol="0">
            <a:spAutoFit/>
          </a:bodyPr>
          <a:lstStyle/>
          <a:p>
            <a:pPr defTabSz="685171">
              <a:defRPr/>
            </a:pPr>
            <a:r>
              <a:rPr kumimoji="1" lang="es" sz="900">
                <a:solidFill>
                  <a:srgbClr val="FFFFFF"/>
                </a:solidFill>
              </a:rPr>
              <a:t>81.7, 95.9</a:t>
            </a:r>
          </a:p>
        </p:txBody>
      </p:sp>
      <p:sp>
        <p:nvSpPr>
          <p:cNvPr id="14" name="TextBox 13">
            <a:extLst>
              <a:ext uri="{FF2B5EF4-FFF2-40B4-BE49-F238E27FC236}">
                <a16:creationId xmlns="" xmlns:a16="http://schemas.microsoft.com/office/drawing/2014/main" id="{9FB1C7C1-31D8-40AB-9813-A1483BC55AA1}"/>
              </a:ext>
            </a:extLst>
          </p:cNvPr>
          <p:cNvSpPr txBox="1"/>
          <p:nvPr/>
        </p:nvSpPr>
        <p:spPr>
          <a:xfrm>
            <a:off x="5129662" y="2885355"/>
            <a:ext cx="709724" cy="207749"/>
          </a:xfrm>
          <a:prstGeom prst="rect">
            <a:avLst/>
          </a:prstGeom>
          <a:noFill/>
        </p:spPr>
        <p:txBody>
          <a:bodyPr wrap="square" lIns="68525" tIns="34289" rIns="68525" bIns="34289" rtlCol="0">
            <a:spAutoFit/>
          </a:bodyPr>
          <a:lstStyle/>
          <a:p>
            <a:pPr defTabSz="685171">
              <a:defRPr/>
            </a:pPr>
            <a:r>
              <a:rPr kumimoji="1" lang="es" sz="900">
                <a:solidFill>
                  <a:srgbClr val="FFFFFF"/>
                </a:solidFill>
              </a:rPr>
              <a:t>68.5, 95.5</a:t>
            </a:r>
          </a:p>
        </p:txBody>
      </p:sp>
      <p:graphicFrame>
        <p:nvGraphicFramePr>
          <p:cNvPr id="15" name="Chart 14">
            <a:extLst>
              <a:ext uri="{FF2B5EF4-FFF2-40B4-BE49-F238E27FC236}">
                <a16:creationId xmlns="" xmlns:a16="http://schemas.microsoft.com/office/drawing/2014/main" id="{74372017-CAD6-4E9E-8ADD-E7A1B4BEFBE6}"/>
              </a:ext>
            </a:extLst>
          </p:cNvPr>
          <p:cNvGraphicFramePr>
            <a:graphicFrameLocks/>
          </p:cNvGraphicFramePr>
          <p:nvPr>
            <p:extLst>
              <p:ext uri="{D42A27DB-BD31-4B8C-83A1-F6EECF244321}">
                <p14:modId xmlns:p14="http://schemas.microsoft.com/office/powerpoint/2010/main" val="541349151"/>
              </p:ext>
            </p:extLst>
          </p:nvPr>
        </p:nvGraphicFramePr>
        <p:xfrm>
          <a:off x="4506105" y="1606955"/>
          <a:ext cx="3791435" cy="254257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0" name="Chart 9">
            <a:extLst>
              <a:ext uri="{FF2B5EF4-FFF2-40B4-BE49-F238E27FC236}">
                <a16:creationId xmlns="" xmlns:a16="http://schemas.microsoft.com/office/drawing/2014/main" id="{FB0907D0-66B1-4154-B111-CF769C7F32DF}"/>
              </a:ext>
            </a:extLst>
          </p:cNvPr>
          <p:cNvGraphicFramePr>
            <a:graphicFrameLocks/>
          </p:cNvGraphicFramePr>
          <p:nvPr>
            <p:extLst>
              <p:ext uri="{D42A27DB-BD31-4B8C-83A1-F6EECF244321}">
                <p14:modId xmlns:p14="http://schemas.microsoft.com/office/powerpoint/2010/main" val="4008260163"/>
              </p:ext>
            </p:extLst>
          </p:nvPr>
        </p:nvGraphicFramePr>
        <p:xfrm>
          <a:off x="512366" y="1736596"/>
          <a:ext cx="3760848" cy="2412933"/>
        </p:xfrm>
        <a:graphic>
          <a:graphicData uri="http://schemas.openxmlformats.org/drawingml/2006/chart">
            <c:chart xmlns:c="http://schemas.openxmlformats.org/drawingml/2006/chart" xmlns:r="http://schemas.openxmlformats.org/officeDocument/2006/relationships" r:id="rId5"/>
          </a:graphicData>
        </a:graphic>
      </p:graphicFrame>
      <p:sp>
        <p:nvSpPr>
          <p:cNvPr id="16" name="กล่องข้อความ 10">
            <a:extLst>
              <a:ext uri="{FF2B5EF4-FFF2-40B4-BE49-F238E27FC236}">
                <a16:creationId xmlns="" xmlns:a16="http://schemas.microsoft.com/office/drawing/2014/main" id="{AE6BD9DD-3826-4CA4-BF5D-A2D972C1B458}"/>
              </a:ext>
            </a:extLst>
          </p:cNvPr>
          <p:cNvSpPr txBox="1">
            <a:spLocks noChangeArrowheads="1"/>
          </p:cNvSpPr>
          <p:nvPr/>
        </p:nvSpPr>
        <p:spPr bwMode="auto">
          <a:xfrm>
            <a:off x="1185710" y="1153042"/>
            <a:ext cx="2854655" cy="761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25" tIns="34289" rIns="68525" bIns="34289">
            <a:spAutoFit/>
          </a:bodyPr>
          <a:lstStyle>
            <a:lvl1pPr>
              <a:defRPr sz="2800">
                <a:solidFill>
                  <a:schemeClr val="tx1"/>
                </a:solidFill>
                <a:latin typeface="Arial" pitchFamily="34" charset="0"/>
                <a:cs typeface="Arial" pitchFamily="34" charset="0"/>
              </a:defRPr>
            </a:lvl1pPr>
            <a:lvl2pPr marL="742950" indent="-285750">
              <a:defRPr sz="2800">
                <a:solidFill>
                  <a:schemeClr val="tx1"/>
                </a:solidFill>
                <a:latin typeface="Arial" pitchFamily="34" charset="0"/>
                <a:cs typeface="Arial" pitchFamily="34" charset="0"/>
              </a:defRPr>
            </a:lvl2pPr>
            <a:lvl3pPr marL="1143000" indent="-228600">
              <a:defRPr sz="2800">
                <a:solidFill>
                  <a:schemeClr val="tx1"/>
                </a:solidFill>
                <a:latin typeface="Arial" pitchFamily="34" charset="0"/>
                <a:cs typeface="Arial" pitchFamily="34" charset="0"/>
              </a:defRPr>
            </a:lvl3pPr>
            <a:lvl4pPr marL="1600200" indent="-228600">
              <a:defRPr sz="2800">
                <a:solidFill>
                  <a:schemeClr val="tx1"/>
                </a:solidFill>
                <a:latin typeface="Arial" pitchFamily="34" charset="0"/>
                <a:cs typeface="Arial" pitchFamily="34" charset="0"/>
              </a:defRPr>
            </a:lvl4pPr>
            <a:lvl5pPr marL="2057400" indent="-228600">
              <a:defRPr sz="28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8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8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8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800">
                <a:solidFill>
                  <a:schemeClr val="tx1"/>
                </a:solidFill>
                <a:latin typeface="Arial" pitchFamily="34" charset="0"/>
                <a:cs typeface="Arial" pitchFamily="34" charset="0"/>
              </a:defRPr>
            </a:lvl9pPr>
          </a:lstStyle>
          <a:p>
            <a:pPr algn="ctr" defTabSz="685171" eaLnBrk="0" fontAlgn="base" hangingPunct="0">
              <a:spcBef>
                <a:spcPct val="0"/>
              </a:spcBef>
              <a:spcAft>
                <a:spcPct val="0"/>
              </a:spcAft>
              <a:defRPr/>
            </a:pPr>
            <a:r>
              <a:rPr lang="es" altLang="th-TH" sz="1500" b="1" u="sng" dirty="0">
                <a:latin typeface="Calibri" pitchFamily="34" charset="0"/>
                <a:cs typeface="Calibri" pitchFamily="34" charset="0"/>
              </a:rPr>
              <a:t>Dengue virologicamente confirmado (DVC )</a:t>
            </a:r>
            <a:r>
              <a:rPr lang="en-GB" altLang="th-TH" sz="1500" b="1" dirty="0">
                <a:latin typeface="Calibri" pitchFamily="34" charset="0"/>
                <a:cs typeface="Calibri" pitchFamily="34" charset="0"/>
              </a:rPr>
              <a:t/>
            </a:r>
            <a:br>
              <a:rPr lang="en-GB" altLang="th-TH" sz="1500" b="1" dirty="0">
                <a:latin typeface="Calibri" pitchFamily="34" charset="0"/>
                <a:cs typeface="Calibri" pitchFamily="34" charset="0"/>
              </a:rPr>
            </a:br>
            <a:r>
              <a:rPr lang="es" altLang="th-TH" sz="1500" b="1" dirty="0">
                <a:latin typeface="Calibri" pitchFamily="34" charset="0"/>
                <a:cs typeface="Calibri" pitchFamily="34" charset="0"/>
              </a:rPr>
              <a:t>(criterio de valoración secundario)</a:t>
            </a:r>
          </a:p>
        </p:txBody>
      </p:sp>
      <p:sp>
        <p:nvSpPr>
          <p:cNvPr id="18" name="TextBox 21">
            <a:extLst>
              <a:ext uri="{FF2B5EF4-FFF2-40B4-BE49-F238E27FC236}">
                <a16:creationId xmlns="" xmlns:a16="http://schemas.microsoft.com/office/drawing/2014/main" id="{2A8887FE-7CD1-4B1C-B8EC-9C05FE05E54D}"/>
              </a:ext>
            </a:extLst>
          </p:cNvPr>
          <p:cNvSpPr txBox="1">
            <a:spLocks noChangeArrowheads="1"/>
          </p:cNvSpPr>
          <p:nvPr/>
        </p:nvSpPr>
        <p:spPr bwMode="auto">
          <a:xfrm>
            <a:off x="5459134" y="1153041"/>
            <a:ext cx="2198966" cy="761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25" tIns="34289" rIns="68525" bIns="34289">
            <a:spAutoFit/>
          </a:bodyPr>
          <a:lstStyle>
            <a:lvl1pPr>
              <a:defRPr sz="2800">
                <a:solidFill>
                  <a:schemeClr val="tx1"/>
                </a:solidFill>
                <a:latin typeface="Arial" pitchFamily="34" charset="0"/>
                <a:cs typeface="Arial" pitchFamily="34" charset="0"/>
              </a:defRPr>
            </a:lvl1pPr>
            <a:lvl2pPr marL="742950" indent="-285750">
              <a:defRPr sz="2800">
                <a:solidFill>
                  <a:schemeClr val="tx1"/>
                </a:solidFill>
                <a:latin typeface="Arial" pitchFamily="34" charset="0"/>
                <a:cs typeface="Arial" pitchFamily="34" charset="0"/>
              </a:defRPr>
            </a:lvl2pPr>
            <a:lvl3pPr marL="1143000" indent="-228600">
              <a:defRPr sz="2800">
                <a:solidFill>
                  <a:schemeClr val="tx1"/>
                </a:solidFill>
                <a:latin typeface="Arial" pitchFamily="34" charset="0"/>
                <a:cs typeface="Arial" pitchFamily="34" charset="0"/>
              </a:defRPr>
            </a:lvl3pPr>
            <a:lvl4pPr marL="1600200" indent="-228600">
              <a:defRPr sz="2800">
                <a:solidFill>
                  <a:schemeClr val="tx1"/>
                </a:solidFill>
                <a:latin typeface="Arial" pitchFamily="34" charset="0"/>
                <a:cs typeface="Arial" pitchFamily="34" charset="0"/>
              </a:defRPr>
            </a:lvl4pPr>
            <a:lvl5pPr marL="2057400" indent="-228600">
              <a:defRPr sz="28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8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8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8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800">
                <a:solidFill>
                  <a:schemeClr val="tx1"/>
                </a:solidFill>
                <a:latin typeface="Arial" pitchFamily="34" charset="0"/>
                <a:cs typeface="Arial" pitchFamily="34" charset="0"/>
              </a:defRPr>
            </a:lvl9pPr>
          </a:lstStyle>
          <a:p>
            <a:pPr algn="ctr" defTabSz="685171" eaLnBrk="0" fontAlgn="base" hangingPunct="0">
              <a:spcBef>
                <a:spcPct val="0"/>
              </a:spcBef>
              <a:spcAft>
                <a:spcPct val="0"/>
              </a:spcAft>
              <a:defRPr/>
            </a:pPr>
            <a:r>
              <a:rPr lang="es" altLang="th-TH" sz="1500" b="1" u="sng" dirty="0">
                <a:latin typeface="Calibri" pitchFamily="34" charset="0"/>
                <a:cs typeface="Calibri" pitchFamily="34" charset="0"/>
              </a:rPr>
              <a:t>DVC hospitalizado </a:t>
            </a:r>
            <a:r>
              <a:rPr lang="en-GB" altLang="th-TH" sz="1500" b="1" dirty="0">
                <a:latin typeface="Calibri" pitchFamily="34" charset="0"/>
                <a:cs typeface="Calibri" pitchFamily="34" charset="0"/>
              </a:rPr>
              <a:t/>
            </a:r>
            <a:br>
              <a:rPr lang="en-GB" altLang="th-TH" sz="1500" b="1" dirty="0">
                <a:latin typeface="Calibri" pitchFamily="34" charset="0"/>
                <a:cs typeface="Calibri" pitchFamily="34" charset="0"/>
              </a:rPr>
            </a:br>
            <a:r>
              <a:rPr lang="es" altLang="th-TH" sz="1500" b="1" dirty="0">
                <a:latin typeface="Calibri" pitchFamily="34" charset="0"/>
                <a:cs typeface="Calibri" pitchFamily="34" charset="0"/>
              </a:rPr>
              <a:t>(criterio de valoración exploratorio)</a:t>
            </a:r>
          </a:p>
        </p:txBody>
      </p:sp>
      <p:sp>
        <p:nvSpPr>
          <p:cNvPr id="20" name="TextBox 19">
            <a:extLst>
              <a:ext uri="{FF2B5EF4-FFF2-40B4-BE49-F238E27FC236}">
                <a16:creationId xmlns="" xmlns:a16="http://schemas.microsoft.com/office/drawing/2014/main" id="{CFEEB067-6ABA-4614-8403-1C889B1EA25F}"/>
              </a:ext>
            </a:extLst>
          </p:cNvPr>
          <p:cNvSpPr txBox="1"/>
          <p:nvPr/>
        </p:nvSpPr>
        <p:spPr>
          <a:xfrm>
            <a:off x="6948062" y="4259429"/>
            <a:ext cx="1586493" cy="588621"/>
          </a:xfrm>
          <a:prstGeom prst="rect">
            <a:avLst/>
          </a:prstGeom>
          <a:noFill/>
          <a:ln>
            <a:noFill/>
          </a:ln>
        </p:spPr>
        <p:txBody>
          <a:bodyPr wrap="square" lIns="68525" tIns="34289" rIns="68525" bIns="34289" rtlCol="0">
            <a:spAutoFit/>
          </a:bodyPr>
          <a:lstStyle/>
          <a:p>
            <a:pPr defTabSz="685171">
              <a:defRPr/>
            </a:pPr>
            <a:r>
              <a:rPr kumimoji="1" lang="es" sz="1100" b="1">
                <a:solidFill>
                  <a:srgbClr val="4C4948"/>
                </a:solidFill>
              </a:rPr>
              <a:t>Criterios de valoración secundarios y exploratorios</a:t>
            </a:r>
          </a:p>
        </p:txBody>
      </p:sp>
      <p:graphicFrame>
        <p:nvGraphicFramePr>
          <p:cNvPr id="21" name="Diagram 20">
            <a:extLst>
              <a:ext uri="{FF2B5EF4-FFF2-40B4-BE49-F238E27FC236}">
                <a16:creationId xmlns="" xmlns:a16="http://schemas.microsoft.com/office/drawing/2014/main" id="{5B261E78-52E3-4443-9ABC-4C73D88DC246}"/>
              </a:ext>
            </a:extLst>
          </p:cNvPr>
          <p:cNvGraphicFramePr/>
          <p:nvPr/>
        </p:nvGraphicFramePr>
        <p:xfrm>
          <a:off x="8410984" y="4192653"/>
          <a:ext cx="448730" cy="45900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2" name="1 CuadroTexto"/>
          <p:cNvSpPr txBox="1"/>
          <p:nvPr/>
        </p:nvSpPr>
        <p:spPr>
          <a:xfrm>
            <a:off x="6889511" y="2723772"/>
            <a:ext cx="758541" cy="369332"/>
          </a:xfrm>
          <a:prstGeom prst="rect">
            <a:avLst/>
          </a:prstGeom>
          <a:noFill/>
        </p:spPr>
        <p:txBody>
          <a:bodyPr wrap="none" lIns="91430" tIns="45715" rIns="91430" bIns="45715" rtlCol="0">
            <a:spAutoFit/>
          </a:bodyPr>
          <a:lstStyle/>
          <a:p>
            <a:pPr defTabSz="912690"/>
            <a:r>
              <a:rPr lang="es-AR" dirty="0" smtClean="0">
                <a:solidFill>
                  <a:srgbClr val="FFFFFF"/>
                </a:solidFill>
              </a:rPr>
              <a:t>91.4%</a:t>
            </a:r>
            <a:endParaRPr lang="es-ES" dirty="0">
              <a:solidFill>
                <a:srgbClr val="FFFFFF"/>
              </a:solidFill>
            </a:endParaRPr>
          </a:p>
        </p:txBody>
      </p:sp>
    </p:spTree>
    <p:custDataLst>
      <p:tags r:id="rId1"/>
    </p:custDataLst>
    <p:extLst>
      <p:ext uri="{BB962C8B-B14F-4D97-AF65-F5344CB8AC3E}">
        <p14:creationId xmlns:p14="http://schemas.microsoft.com/office/powerpoint/2010/main" val="1379954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8" name="Objeto 27" hidden="1">
            <a:extLst>
              <a:ext uri="{FF2B5EF4-FFF2-40B4-BE49-F238E27FC236}">
                <a16:creationId xmlns="" xmlns:a16="http://schemas.microsoft.com/office/drawing/2014/main" id="{5CF7ED60-9079-434A-F4E8-D8676632EB39}"/>
              </a:ext>
            </a:extLst>
          </p:cNvPr>
          <p:cNvGraphicFramePr>
            <a:graphicFrameLocks noChangeAspect="1"/>
          </p:cNvGraphicFramePr>
          <p:nvPr>
            <p:custDataLst>
              <p:tags r:id="rId2"/>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spid="_x0000_s23621" name="Slide do think-cell" r:id="rId5" imgW="415" imgH="416" progId="TCLayout.ActiveDocument.1">
                  <p:embed/>
                </p:oleObj>
              </mc:Choice>
              <mc:Fallback>
                <p:oleObj name="Slide do think-cell" r:id="rId5" imgW="415" imgH="416" progId="TCLayout.ActiveDocument.1">
                  <p:embed/>
                  <p:pic>
                    <p:nvPicPr>
                      <p:cNvPr id="0" name=""/>
                      <p:cNvPicPr/>
                      <p:nvPr/>
                    </p:nvPicPr>
                    <p:blipFill>
                      <a:blip r:embed="rId6"/>
                      <a:stretch>
                        <a:fillRect/>
                      </a:stretch>
                    </p:blipFill>
                    <p:spPr>
                      <a:xfrm>
                        <a:off x="1193" y="1193"/>
                        <a:ext cx="1191" cy="1191"/>
                      </a:xfrm>
                      <a:prstGeom prst="rect">
                        <a:avLst/>
                      </a:prstGeom>
                    </p:spPr>
                  </p:pic>
                </p:oleObj>
              </mc:Fallback>
            </mc:AlternateContent>
          </a:graphicData>
        </a:graphic>
      </p:graphicFrame>
      <p:sp>
        <p:nvSpPr>
          <p:cNvPr id="6" name="Title 5">
            <a:extLst>
              <a:ext uri="{FF2B5EF4-FFF2-40B4-BE49-F238E27FC236}">
                <a16:creationId xmlns="" xmlns:a16="http://schemas.microsoft.com/office/drawing/2014/main" id="{2BA3BCA1-0921-D62E-65FF-86180F1D92D5}"/>
              </a:ext>
            </a:extLst>
          </p:cNvPr>
          <p:cNvSpPr>
            <a:spLocks noGrp="1"/>
          </p:cNvSpPr>
          <p:nvPr>
            <p:ph type="title"/>
          </p:nvPr>
        </p:nvSpPr>
        <p:spPr>
          <a:xfrm>
            <a:off x="143123" y="121208"/>
            <a:ext cx="7766626" cy="514351"/>
          </a:xfrm>
        </p:spPr>
        <p:txBody>
          <a:bodyPr vert="horz">
            <a:noAutofit/>
          </a:bodyPr>
          <a:lstStyle/>
          <a:p>
            <a:r>
              <a:rPr lang="es" sz="1800" dirty="0"/>
              <a:t>Análisis exploratorio - Eficacia global frente a </a:t>
            </a:r>
            <a:r>
              <a:rPr lang="es" sz="1800" u="sng" dirty="0"/>
              <a:t>Dengue virologicamente confirmado sintomático </a:t>
            </a:r>
            <a:r>
              <a:rPr lang="es" sz="1800" dirty="0"/>
              <a:t>a los 4,5 años seg</a:t>
            </a:r>
            <a:r>
              <a:rPr lang="es-ES" sz="1800" dirty="0"/>
              <a:t>ú</a:t>
            </a:r>
            <a:r>
              <a:rPr lang="es" sz="1800" dirty="0"/>
              <a:t>n estado serologico basal.</a:t>
            </a:r>
            <a:endParaRPr lang="en-US" sz="1800" baseline="30000" dirty="0"/>
          </a:p>
        </p:txBody>
      </p:sp>
      <p:sp>
        <p:nvSpPr>
          <p:cNvPr id="4" name="Slide Number Placeholder 3">
            <a:extLst>
              <a:ext uri="{FF2B5EF4-FFF2-40B4-BE49-F238E27FC236}">
                <a16:creationId xmlns="" xmlns:a16="http://schemas.microsoft.com/office/drawing/2014/main" id="{E31EA623-BEC1-39E2-A43C-05E3724D136F}"/>
              </a:ext>
            </a:extLst>
          </p:cNvPr>
          <p:cNvSpPr>
            <a:spLocks noGrp="1"/>
          </p:cNvSpPr>
          <p:nvPr>
            <p:ph type="sldNum" sz="quarter" idx="4"/>
          </p:nvPr>
        </p:nvSpPr>
        <p:spPr/>
        <p:txBody>
          <a:bodyPr/>
          <a:lstStyle/>
          <a:p>
            <a:pPr>
              <a:defRPr/>
            </a:pPr>
            <a:fld id="{E9B57936-92EF-4126-AE48-1D9D36D15E98}" type="slidenum">
              <a:rPr lang="en-US" altLang="ja-JP" sz="600">
                <a:solidFill>
                  <a:srgbClr val="34373F"/>
                </a:solidFill>
              </a:rPr>
              <a:pPr>
                <a:defRPr/>
              </a:pPr>
              <a:t>42</a:t>
            </a:fld>
            <a:endParaRPr lang="en-US" altLang="ja-JP" sz="600">
              <a:solidFill>
                <a:srgbClr val="34373F"/>
              </a:solidFill>
            </a:endParaRPr>
          </a:p>
        </p:txBody>
      </p:sp>
      <p:sp>
        <p:nvSpPr>
          <p:cNvPr id="87" name="Footer Placeholder 86">
            <a:extLst>
              <a:ext uri="{FF2B5EF4-FFF2-40B4-BE49-F238E27FC236}">
                <a16:creationId xmlns="" xmlns:a16="http://schemas.microsoft.com/office/drawing/2014/main" id="{914D45EA-DEAA-4956-9D5E-B11F49B45F89}"/>
              </a:ext>
            </a:extLst>
          </p:cNvPr>
          <p:cNvSpPr>
            <a:spLocks noGrp="1"/>
          </p:cNvSpPr>
          <p:nvPr>
            <p:ph type="ftr" sz="quarter" idx="4294967295"/>
          </p:nvPr>
        </p:nvSpPr>
        <p:spPr>
          <a:xfrm>
            <a:off x="0" y="4223182"/>
            <a:ext cx="3865960" cy="563165"/>
          </a:xfrm>
        </p:spPr>
        <p:txBody>
          <a:bodyPr/>
          <a:lstStyle/>
          <a:p>
            <a:pPr algn="l">
              <a:defRPr/>
            </a:pPr>
            <a:r>
              <a:rPr lang="es" sz="800" b="0" spc="0">
                <a:solidFill>
                  <a:srgbClr val="34373F"/>
                </a:solidFill>
              </a:rPr>
              <a:t>Seronegativo al inicio del estudio: seronegativo a los 4 serotipos de VDEN. Seropositivo al inicio: título neutralizante recíproco ≥10 para el serotipo DENV ≥1. </a:t>
            </a:r>
            <a:r>
              <a:rPr lang="en-US" sz="800" b="0" spc="0">
                <a:solidFill>
                  <a:srgbClr val="34373F"/>
                </a:solidFill>
              </a:rPr>
              <a:t/>
            </a:r>
            <a:br>
              <a:rPr lang="en-US" sz="800" b="0" spc="0">
                <a:solidFill>
                  <a:srgbClr val="34373F"/>
                </a:solidFill>
              </a:rPr>
            </a:br>
            <a:r>
              <a:rPr lang="es" sz="800" b="0" spc="0">
                <a:solidFill>
                  <a:srgbClr val="34373F"/>
                </a:solidFill>
              </a:rPr>
              <a:t>DENV: virus del dengue; VCD: dengue virológicamente confirmado; EV: eficacia de la vacuna. </a:t>
            </a:r>
            <a:r>
              <a:rPr lang="en-US" sz="800" b="0" spc="0">
                <a:solidFill>
                  <a:srgbClr val="34373F"/>
                </a:solidFill>
              </a:rPr>
              <a:t/>
            </a:r>
            <a:br>
              <a:rPr lang="en-US" sz="800" b="0" spc="0">
                <a:solidFill>
                  <a:srgbClr val="34373F"/>
                </a:solidFill>
              </a:rPr>
            </a:br>
            <a:r>
              <a:rPr lang="es" sz="800" b="0" spc="0" baseline="30000">
                <a:solidFill>
                  <a:srgbClr val="34373F"/>
                </a:solidFill>
              </a:rPr>
              <a:t>a</a:t>
            </a:r>
            <a:r>
              <a:rPr lang="es" sz="800" b="0" spc="0">
                <a:solidFill>
                  <a:srgbClr val="34373F"/>
                </a:solidFill>
              </a:rPr>
              <a:t>Primera dosis a 54 meses después de la segunda dosis en el conjunto de seguridad.</a:t>
            </a:r>
          </a:p>
          <a:p>
            <a:pPr algn="l">
              <a:defRPr/>
            </a:pPr>
            <a:r>
              <a:rPr lang="es" sz="800" b="0" spc="0">
                <a:solidFill>
                  <a:srgbClr val="34373F"/>
                </a:solidFill>
              </a:rPr>
              <a:t>1. Biswal S, et al. Presented at CISTM17; May 19-22, 2021; Virtual. 2. Rivera L, et al. </a:t>
            </a:r>
            <a:r>
              <a:rPr lang="es" sz="800" b="0" i="1" spc="0">
                <a:solidFill>
                  <a:srgbClr val="34373F"/>
                </a:solidFill>
              </a:rPr>
              <a:t>Clin Infect Dis</a:t>
            </a:r>
            <a:r>
              <a:rPr lang="es" sz="800" b="0" spc="0">
                <a:solidFill>
                  <a:srgbClr val="34373F"/>
                </a:solidFill>
              </a:rPr>
              <a:t>. 2022;75(1)107-117.</a:t>
            </a:r>
          </a:p>
        </p:txBody>
      </p:sp>
      <p:sp>
        <p:nvSpPr>
          <p:cNvPr id="85" name="TextBox 84">
            <a:extLst>
              <a:ext uri="{FF2B5EF4-FFF2-40B4-BE49-F238E27FC236}">
                <a16:creationId xmlns="" xmlns:a16="http://schemas.microsoft.com/office/drawing/2014/main" id="{16A723DF-24BD-0C89-867C-04B9A9B5A209}"/>
              </a:ext>
            </a:extLst>
          </p:cNvPr>
          <p:cNvSpPr txBox="1"/>
          <p:nvPr/>
        </p:nvSpPr>
        <p:spPr>
          <a:xfrm>
            <a:off x="1624579" y="802441"/>
            <a:ext cx="5333845" cy="507828"/>
          </a:xfrm>
          <a:prstGeom prst="rect">
            <a:avLst/>
          </a:prstGeom>
          <a:noFill/>
          <a:ln w="28575">
            <a:noFill/>
          </a:ln>
        </p:spPr>
        <p:txBody>
          <a:bodyPr wrap="square" lIns="68529" tIns="34289" rIns="68529" bIns="34289" anchor="t">
            <a:spAutoFit/>
          </a:bodyPr>
          <a:lstStyle/>
          <a:p>
            <a:pPr algn="ctr" defTabSz="685222">
              <a:defRPr/>
            </a:pPr>
            <a:r>
              <a:rPr lang="es" sz="1400" b="1" dirty="0">
                <a:solidFill>
                  <a:srgbClr val="34373F"/>
                </a:solidFill>
              </a:rPr>
              <a:t>Incidencia acumulada de DVC hasta 4,5 años después de la segunda dosis</a:t>
            </a:r>
            <a:r>
              <a:rPr lang="es" sz="1400" b="1" dirty="0" smtClean="0">
                <a:solidFill>
                  <a:srgbClr val="34373F"/>
                </a:solidFill>
              </a:rPr>
              <a:t>, Análisis </a:t>
            </a:r>
            <a:r>
              <a:rPr lang="es" sz="1400" b="1" dirty="0">
                <a:solidFill>
                  <a:srgbClr val="34373F"/>
                </a:solidFill>
              </a:rPr>
              <a:t>de subgrupos por estado serológico basal</a:t>
            </a:r>
            <a:endParaRPr lang="en-US" sz="1400" b="1" baseline="30000" dirty="0">
              <a:solidFill>
                <a:srgbClr val="34373F"/>
              </a:solidFill>
              <a:cs typeface="Calibri"/>
            </a:endParaRPr>
          </a:p>
        </p:txBody>
      </p:sp>
      <p:sp>
        <p:nvSpPr>
          <p:cNvPr id="2" name="TextBox 1">
            <a:extLst>
              <a:ext uri="{FF2B5EF4-FFF2-40B4-BE49-F238E27FC236}">
                <a16:creationId xmlns="" xmlns:a16="http://schemas.microsoft.com/office/drawing/2014/main" id="{5DD2C95E-1535-7442-AEDD-6C868858A0A8}"/>
              </a:ext>
            </a:extLst>
          </p:cNvPr>
          <p:cNvSpPr txBox="1"/>
          <p:nvPr/>
        </p:nvSpPr>
        <p:spPr>
          <a:xfrm>
            <a:off x="962115" y="3956122"/>
            <a:ext cx="747143" cy="196208"/>
          </a:xfrm>
          <a:prstGeom prst="rect">
            <a:avLst/>
          </a:prstGeom>
          <a:noFill/>
        </p:spPr>
        <p:txBody>
          <a:bodyPr wrap="square" lIns="68529" tIns="34289" rIns="68529" bIns="34289" rtlCol="0">
            <a:spAutoFit/>
          </a:bodyPr>
          <a:lstStyle/>
          <a:p>
            <a:pPr algn="ctr" defTabSz="685222">
              <a:defRPr/>
            </a:pPr>
            <a:r>
              <a:rPr lang="es" sz="800" b="1">
                <a:solidFill>
                  <a:srgbClr val="34373F"/>
                </a:solidFill>
              </a:rPr>
              <a:t>En general</a:t>
            </a:r>
            <a:endParaRPr lang="en-US" sz="700" b="1">
              <a:solidFill>
                <a:srgbClr val="34373F"/>
              </a:solidFill>
            </a:endParaRPr>
          </a:p>
        </p:txBody>
      </p:sp>
      <p:sp>
        <p:nvSpPr>
          <p:cNvPr id="176" name="TextBox 175">
            <a:extLst>
              <a:ext uri="{FF2B5EF4-FFF2-40B4-BE49-F238E27FC236}">
                <a16:creationId xmlns="" xmlns:a16="http://schemas.microsoft.com/office/drawing/2014/main" id="{1BAED405-CDA7-9B41-B327-D2E42B081D46}"/>
              </a:ext>
            </a:extLst>
          </p:cNvPr>
          <p:cNvSpPr txBox="1"/>
          <p:nvPr/>
        </p:nvSpPr>
        <p:spPr>
          <a:xfrm>
            <a:off x="2210207" y="3956122"/>
            <a:ext cx="1079411" cy="196208"/>
          </a:xfrm>
          <a:prstGeom prst="rect">
            <a:avLst/>
          </a:prstGeom>
          <a:noFill/>
        </p:spPr>
        <p:txBody>
          <a:bodyPr wrap="square" lIns="68529" tIns="34289" rIns="68529" bIns="34289" rtlCol="0">
            <a:spAutoFit/>
          </a:bodyPr>
          <a:lstStyle/>
          <a:p>
            <a:pPr algn="ctr" defTabSz="685222">
              <a:defRPr/>
            </a:pPr>
            <a:r>
              <a:rPr lang="es" sz="800" b="1">
                <a:solidFill>
                  <a:srgbClr val="34373F"/>
                </a:solidFill>
              </a:rPr>
              <a:t>Seropositivo</a:t>
            </a:r>
            <a:endParaRPr lang="en-US" sz="700" b="1">
              <a:solidFill>
                <a:srgbClr val="34373F"/>
              </a:solidFill>
            </a:endParaRPr>
          </a:p>
        </p:txBody>
      </p:sp>
      <p:sp>
        <p:nvSpPr>
          <p:cNvPr id="177" name="TextBox 176">
            <a:extLst>
              <a:ext uri="{FF2B5EF4-FFF2-40B4-BE49-F238E27FC236}">
                <a16:creationId xmlns="" xmlns:a16="http://schemas.microsoft.com/office/drawing/2014/main" id="{EF4AD47A-AF8B-D049-84F2-2D8A18B793C6}"/>
              </a:ext>
            </a:extLst>
          </p:cNvPr>
          <p:cNvSpPr txBox="1"/>
          <p:nvPr/>
        </p:nvSpPr>
        <p:spPr>
          <a:xfrm>
            <a:off x="1522619" y="3956122"/>
            <a:ext cx="1040787" cy="196208"/>
          </a:xfrm>
          <a:prstGeom prst="rect">
            <a:avLst/>
          </a:prstGeom>
          <a:noFill/>
        </p:spPr>
        <p:txBody>
          <a:bodyPr wrap="square" lIns="68529" tIns="34289" rIns="68529" bIns="34289" rtlCol="0">
            <a:spAutoFit/>
          </a:bodyPr>
          <a:lstStyle/>
          <a:p>
            <a:pPr algn="ctr" defTabSz="685222">
              <a:defRPr/>
            </a:pPr>
            <a:r>
              <a:rPr lang="es" sz="800" b="1">
                <a:solidFill>
                  <a:srgbClr val="34373F"/>
                </a:solidFill>
              </a:rPr>
              <a:t>Seronegativo</a:t>
            </a:r>
            <a:endParaRPr lang="en-US" sz="700" b="1">
              <a:solidFill>
                <a:srgbClr val="34373F"/>
              </a:solidFill>
            </a:endParaRPr>
          </a:p>
        </p:txBody>
      </p:sp>
      <p:sp>
        <p:nvSpPr>
          <p:cNvPr id="2099" name="Rectangle 96">
            <a:extLst>
              <a:ext uri="{FF2B5EF4-FFF2-40B4-BE49-F238E27FC236}">
                <a16:creationId xmlns="" xmlns:a16="http://schemas.microsoft.com/office/drawing/2014/main" id="{6C376661-FC36-423F-934E-8B8D9D4B8979}"/>
              </a:ext>
            </a:extLst>
          </p:cNvPr>
          <p:cNvSpPr>
            <a:spLocks noChangeArrowheads="1"/>
          </p:cNvSpPr>
          <p:nvPr/>
        </p:nvSpPr>
        <p:spPr bwMode="auto">
          <a:xfrm>
            <a:off x="2458999" y="2541155"/>
            <a:ext cx="605324" cy="1357337"/>
          </a:xfrm>
          <a:prstGeom prst="rect">
            <a:avLst/>
          </a:prstGeom>
          <a:solidFill>
            <a:schemeClr val="accent3"/>
          </a:solidFill>
          <a:ln>
            <a:noFill/>
          </a:ln>
        </p:spPr>
        <p:txBody>
          <a:bodyPr vert="horz" wrap="square" lIns="68529" tIns="34289" rIns="68529" bIns="34289" numCol="1" anchor="t" anchorCtr="0" compatLnSpc="1">
            <a:prstTxWarp prst="textNoShape">
              <a:avLst/>
            </a:prstTxWarp>
          </a:bodyPr>
          <a:lstStyle/>
          <a:p>
            <a:pPr defTabSz="685222">
              <a:defRPr/>
            </a:pPr>
            <a:endParaRPr lang="en-US" sz="1400">
              <a:solidFill>
                <a:srgbClr val="34373F"/>
              </a:solidFill>
            </a:endParaRPr>
          </a:p>
        </p:txBody>
      </p:sp>
      <p:sp>
        <p:nvSpPr>
          <p:cNvPr id="2101" name="Rectangle 98">
            <a:extLst>
              <a:ext uri="{FF2B5EF4-FFF2-40B4-BE49-F238E27FC236}">
                <a16:creationId xmlns="" xmlns:a16="http://schemas.microsoft.com/office/drawing/2014/main" id="{27AE9512-CEEC-0F7E-9962-E687D58D153D}"/>
              </a:ext>
            </a:extLst>
          </p:cNvPr>
          <p:cNvSpPr>
            <a:spLocks noChangeArrowheads="1"/>
          </p:cNvSpPr>
          <p:nvPr/>
        </p:nvSpPr>
        <p:spPr bwMode="auto">
          <a:xfrm>
            <a:off x="1744777" y="2768015"/>
            <a:ext cx="605324" cy="1130477"/>
          </a:xfrm>
          <a:prstGeom prst="rect">
            <a:avLst/>
          </a:prstGeom>
          <a:solidFill>
            <a:schemeClr val="accent1"/>
          </a:solidFill>
          <a:ln>
            <a:noFill/>
          </a:ln>
        </p:spPr>
        <p:txBody>
          <a:bodyPr vert="horz" wrap="square" lIns="68529" tIns="34289" rIns="68529" bIns="34289" numCol="1" anchor="t" anchorCtr="0" compatLnSpc="1">
            <a:prstTxWarp prst="textNoShape">
              <a:avLst/>
            </a:prstTxWarp>
          </a:bodyPr>
          <a:lstStyle/>
          <a:p>
            <a:pPr defTabSz="685222">
              <a:defRPr/>
            </a:pPr>
            <a:endParaRPr lang="en-US" sz="1400">
              <a:solidFill>
                <a:srgbClr val="34373F"/>
              </a:solidFill>
            </a:endParaRPr>
          </a:p>
        </p:txBody>
      </p:sp>
      <p:sp>
        <p:nvSpPr>
          <p:cNvPr id="2103" name="Rectangle 100">
            <a:extLst>
              <a:ext uri="{FF2B5EF4-FFF2-40B4-BE49-F238E27FC236}">
                <a16:creationId xmlns="" xmlns:a16="http://schemas.microsoft.com/office/drawing/2014/main" id="{773EACAA-40A3-15AE-328E-C89A98166E98}"/>
              </a:ext>
            </a:extLst>
          </p:cNvPr>
          <p:cNvSpPr>
            <a:spLocks noChangeArrowheads="1"/>
          </p:cNvSpPr>
          <p:nvPr/>
        </p:nvSpPr>
        <p:spPr bwMode="auto">
          <a:xfrm>
            <a:off x="1086600" y="2604326"/>
            <a:ext cx="486934" cy="129703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29" tIns="34289" rIns="68529" bIns="34289" numCol="1" anchor="t" anchorCtr="0" compatLnSpc="1">
            <a:prstTxWarp prst="textNoShape">
              <a:avLst/>
            </a:prstTxWarp>
          </a:bodyPr>
          <a:lstStyle/>
          <a:p>
            <a:pPr defTabSz="685222">
              <a:defRPr/>
            </a:pPr>
            <a:endParaRPr lang="en-US" sz="1400">
              <a:solidFill>
                <a:srgbClr val="34373F"/>
              </a:solidFill>
            </a:endParaRPr>
          </a:p>
        </p:txBody>
      </p:sp>
      <p:pic>
        <p:nvPicPr>
          <p:cNvPr id="2149" name="Picture 101">
            <a:extLst>
              <a:ext uri="{FF2B5EF4-FFF2-40B4-BE49-F238E27FC236}">
                <a16:creationId xmlns="" xmlns:a16="http://schemas.microsoft.com/office/drawing/2014/main" id="{8D8EE2AB-A57E-93E6-CD86-452491AB46E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88628" y="2604298"/>
            <a:ext cx="480846" cy="1294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04" name="Rectangle 102">
            <a:extLst>
              <a:ext uri="{FF2B5EF4-FFF2-40B4-BE49-F238E27FC236}">
                <a16:creationId xmlns="" xmlns:a16="http://schemas.microsoft.com/office/drawing/2014/main" id="{C2FE7858-9AFF-6F1B-D3FF-54A872642C9A}"/>
              </a:ext>
            </a:extLst>
          </p:cNvPr>
          <p:cNvSpPr>
            <a:spLocks noChangeArrowheads="1"/>
          </p:cNvSpPr>
          <p:nvPr/>
        </p:nvSpPr>
        <p:spPr bwMode="auto">
          <a:xfrm>
            <a:off x="1026550" y="2604326"/>
            <a:ext cx="605324" cy="1297033"/>
          </a:xfrm>
          <a:prstGeom prst="rect">
            <a:avLst/>
          </a:prstGeom>
          <a:solidFill>
            <a:schemeClr val="accent2"/>
          </a:solidFill>
          <a:ln>
            <a:noFill/>
          </a:ln>
        </p:spPr>
        <p:txBody>
          <a:bodyPr vert="horz" wrap="square" lIns="68529" tIns="34289" rIns="68529" bIns="34289" numCol="1" anchor="t" anchorCtr="0" compatLnSpc="1">
            <a:prstTxWarp prst="textNoShape">
              <a:avLst/>
            </a:prstTxWarp>
          </a:bodyPr>
          <a:lstStyle/>
          <a:p>
            <a:pPr defTabSz="685222">
              <a:defRPr/>
            </a:pPr>
            <a:endParaRPr lang="en-US" sz="1400">
              <a:solidFill>
                <a:srgbClr val="34373F"/>
              </a:solidFill>
            </a:endParaRPr>
          </a:p>
        </p:txBody>
      </p:sp>
      <p:sp>
        <p:nvSpPr>
          <p:cNvPr id="2137" name="Freeform 135">
            <a:extLst>
              <a:ext uri="{FF2B5EF4-FFF2-40B4-BE49-F238E27FC236}">
                <a16:creationId xmlns="" xmlns:a16="http://schemas.microsoft.com/office/drawing/2014/main" id="{07092599-59FC-2F5F-5E77-A6B19B816AEE}"/>
              </a:ext>
            </a:extLst>
          </p:cNvPr>
          <p:cNvSpPr>
            <a:spLocks noEditPoints="1"/>
          </p:cNvSpPr>
          <p:nvPr/>
        </p:nvSpPr>
        <p:spPr bwMode="auto">
          <a:xfrm>
            <a:off x="830963" y="3897502"/>
            <a:ext cx="2426547" cy="71792"/>
          </a:xfrm>
          <a:custGeom>
            <a:avLst/>
            <a:gdLst>
              <a:gd name="T0" fmla="*/ 0 w 1196"/>
              <a:gd name="T1" fmla="*/ 0 h 75"/>
              <a:gd name="T2" fmla="*/ 1196 w 1196"/>
              <a:gd name="T3" fmla="*/ 0 h 75"/>
              <a:gd name="T4" fmla="*/ 245 w 1196"/>
              <a:gd name="T5" fmla="*/ 75 h 75"/>
              <a:gd name="T6" fmla="*/ 245 w 1196"/>
              <a:gd name="T7" fmla="*/ 0 h 75"/>
              <a:gd name="T8" fmla="*/ 598 w 1196"/>
              <a:gd name="T9" fmla="*/ 75 h 75"/>
              <a:gd name="T10" fmla="*/ 598 w 1196"/>
              <a:gd name="T11" fmla="*/ 0 h 75"/>
              <a:gd name="T12" fmla="*/ 952 w 1196"/>
              <a:gd name="T13" fmla="*/ 75 h 75"/>
              <a:gd name="T14" fmla="*/ 952 w 1196"/>
              <a:gd name="T15" fmla="*/ 0 h 7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96" h="75">
                <a:moveTo>
                  <a:pt x="0" y="0"/>
                </a:moveTo>
                <a:lnTo>
                  <a:pt x="1196" y="0"/>
                </a:lnTo>
                <a:moveTo>
                  <a:pt x="245" y="75"/>
                </a:moveTo>
                <a:lnTo>
                  <a:pt x="245" y="0"/>
                </a:lnTo>
                <a:moveTo>
                  <a:pt x="598" y="75"/>
                </a:moveTo>
                <a:lnTo>
                  <a:pt x="598" y="0"/>
                </a:lnTo>
                <a:moveTo>
                  <a:pt x="952" y="75"/>
                </a:moveTo>
                <a:lnTo>
                  <a:pt x="952"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29" tIns="34289" rIns="68529" bIns="34289" numCol="1" anchor="t" anchorCtr="0" compatLnSpc="1">
            <a:prstTxWarp prst="textNoShape">
              <a:avLst/>
            </a:prstTxWarp>
          </a:bodyPr>
          <a:lstStyle/>
          <a:p>
            <a:pPr defTabSz="685222">
              <a:defRPr/>
            </a:pPr>
            <a:endParaRPr lang="en-US" sz="1400">
              <a:solidFill>
                <a:srgbClr val="34373F"/>
              </a:solidFill>
            </a:endParaRPr>
          </a:p>
        </p:txBody>
      </p:sp>
      <p:sp>
        <p:nvSpPr>
          <p:cNvPr id="2138" name="Rectangle 136">
            <a:extLst>
              <a:ext uri="{FF2B5EF4-FFF2-40B4-BE49-F238E27FC236}">
                <a16:creationId xmlns="" xmlns:a16="http://schemas.microsoft.com/office/drawing/2014/main" id="{857D93F2-2C34-82CD-1C50-65EBD89FDD5B}"/>
              </a:ext>
            </a:extLst>
          </p:cNvPr>
          <p:cNvSpPr>
            <a:spLocks noChangeArrowheads="1"/>
          </p:cNvSpPr>
          <p:nvPr/>
        </p:nvSpPr>
        <p:spPr bwMode="auto">
          <a:xfrm>
            <a:off x="682253" y="3837609"/>
            <a:ext cx="58911"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685222">
              <a:defRPr/>
            </a:pPr>
            <a:r>
              <a:rPr lang="es" altLang="en-US" sz="800">
                <a:solidFill>
                  <a:srgbClr val="34373F"/>
                </a:solidFill>
              </a:rPr>
              <a:t>0</a:t>
            </a:r>
          </a:p>
        </p:txBody>
      </p:sp>
      <p:sp>
        <p:nvSpPr>
          <p:cNvPr id="2139" name="Rectangle 137">
            <a:extLst>
              <a:ext uri="{FF2B5EF4-FFF2-40B4-BE49-F238E27FC236}">
                <a16:creationId xmlns="" xmlns:a16="http://schemas.microsoft.com/office/drawing/2014/main" id="{EE938B1D-88E4-F4DE-DA72-E25819708156}"/>
              </a:ext>
            </a:extLst>
          </p:cNvPr>
          <p:cNvSpPr>
            <a:spLocks noChangeArrowheads="1"/>
          </p:cNvSpPr>
          <p:nvPr/>
        </p:nvSpPr>
        <p:spPr bwMode="auto">
          <a:xfrm>
            <a:off x="623375" y="3414516"/>
            <a:ext cx="117821"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685222">
              <a:defRPr/>
            </a:pPr>
            <a:r>
              <a:rPr lang="es" altLang="en-US" sz="800">
                <a:solidFill>
                  <a:srgbClr val="34373F"/>
                </a:solidFill>
              </a:rPr>
              <a:t>20</a:t>
            </a:r>
          </a:p>
        </p:txBody>
      </p:sp>
      <p:sp>
        <p:nvSpPr>
          <p:cNvPr id="2140" name="Rectangle 138">
            <a:extLst>
              <a:ext uri="{FF2B5EF4-FFF2-40B4-BE49-F238E27FC236}">
                <a16:creationId xmlns="" xmlns:a16="http://schemas.microsoft.com/office/drawing/2014/main" id="{DC98589D-7AFD-1CC7-0F2E-23D7A19D8B80}"/>
              </a:ext>
            </a:extLst>
          </p:cNvPr>
          <p:cNvSpPr>
            <a:spLocks noChangeArrowheads="1"/>
          </p:cNvSpPr>
          <p:nvPr/>
        </p:nvSpPr>
        <p:spPr bwMode="auto">
          <a:xfrm>
            <a:off x="623375" y="2992383"/>
            <a:ext cx="117821"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685222">
              <a:defRPr/>
            </a:pPr>
            <a:r>
              <a:rPr lang="es" altLang="en-US" sz="800">
                <a:solidFill>
                  <a:srgbClr val="34373F"/>
                </a:solidFill>
              </a:rPr>
              <a:t>40</a:t>
            </a:r>
          </a:p>
        </p:txBody>
      </p:sp>
      <p:sp>
        <p:nvSpPr>
          <p:cNvPr id="2141" name="Rectangle 139">
            <a:extLst>
              <a:ext uri="{FF2B5EF4-FFF2-40B4-BE49-F238E27FC236}">
                <a16:creationId xmlns="" xmlns:a16="http://schemas.microsoft.com/office/drawing/2014/main" id="{9197BDCC-414C-C8E9-281B-0C1A0FA58764}"/>
              </a:ext>
            </a:extLst>
          </p:cNvPr>
          <p:cNvSpPr>
            <a:spLocks noChangeArrowheads="1"/>
          </p:cNvSpPr>
          <p:nvPr/>
        </p:nvSpPr>
        <p:spPr bwMode="auto">
          <a:xfrm>
            <a:off x="623375" y="2570248"/>
            <a:ext cx="117821"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685222">
              <a:defRPr/>
            </a:pPr>
            <a:r>
              <a:rPr lang="es" altLang="en-US" sz="800">
                <a:solidFill>
                  <a:srgbClr val="34373F"/>
                </a:solidFill>
              </a:rPr>
              <a:t>60</a:t>
            </a:r>
          </a:p>
        </p:txBody>
      </p:sp>
      <p:sp>
        <p:nvSpPr>
          <p:cNvPr id="2142" name="Rectangle 140">
            <a:extLst>
              <a:ext uri="{FF2B5EF4-FFF2-40B4-BE49-F238E27FC236}">
                <a16:creationId xmlns="" xmlns:a16="http://schemas.microsoft.com/office/drawing/2014/main" id="{7515B6B2-1E7D-578A-F9D3-D1B1CED83321}"/>
              </a:ext>
            </a:extLst>
          </p:cNvPr>
          <p:cNvSpPr>
            <a:spLocks noChangeArrowheads="1"/>
          </p:cNvSpPr>
          <p:nvPr/>
        </p:nvSpPr>
        <p:spPr bwMode="auto">
          <a:xfrm>
            <a:off x="623375" y="2147157"/>
            <a:ext cx="117821"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685222">
              <a:defRPr/>
            </a:pPr>
            <a:r>
              <a:rPr lang="es" altLang="en-US" sz="800">
                <a:solidFill>
                  <a:srgbClr val="34373F"/>
                </a:solidFill>
              </a:rPr>
              <a:t>80</a:t>
            </a:r>
          </a:p>
        </p:txBody>
      </p:sp>
      <p:sp>
        <p:nvSpPr>
          <p:cNvPr id="2143" name="Freeform 141">
            <a:extLst>
              <a:ext uri="{FF2B5EF4-FFF2-40B4-BE49-F238E27FC236}">
                <a16:creationId xmlns="" xmlns:a16="http://schemas.microsoft.com/office/drawing/2014/main" id="{CA0B656A-D672-206A-7415-5DA7F2A858BC}"/>
              </a:ext>
            </a:extLst>
          </p:cNvPr>
          <p:cNvSpPr>
            <a:spLocks noEditPoints="1"/>
          </p:cNvSpPr>
          <p:nvPr/>
        </p:nvSpPr>
        <p:spPr bwMode="auto">
          <a:xfrm>
            <a:off x="778157" y="2198469"/>
            <a:ext cx="71064" cy="1706723"/>
          </a:xfrm>
          <a:custGeom>
            <a:avLst/>
            <a:gdLst>
              <a:gd name="T0" fmla="*/ 75 w 75"/>
              <a:gd name="T1" fmla="*/ 1783 h 1783"/>
              <a:gd name="T2" fmla="*/ 75 w 75"/>
              <a:gd name="T3" fmla="*/ 0 h 1783"/>
              <a:gd name="T4" fmla="*/ 75 w 75"/>
              <a:gd name="T5" fmla="*/ 1775 h 1783"/>
              <a:gd name="T6" fmla="*/ 0 w 75"/>
              <a:gd name="T7" fmla="*/ 1775 h 1783"/>
              <a:gd name="T8" fmla="*/ 75 w 75"/>
              <a:gd name="T9" fmla="*/ 1333 h 1783"/>
              <a:gd name="T10" fmla="*/ 0 w 75"/>
              <a:gd name="T11" fmla="*/ 1333 h 1783"/>
              <a:gd name="T12" fmla="*/ 75 w 75"/>
              <a:gd name="T13" fmla="*/ 892 h 1783"/>
              <a:gd name="T14" fmla="*/ 0 w 75"/>
              <a:gd name="T15" fmla="*/ 892 h 1783"/>
              <a:gd name="T16" fmla="*/ 75 w 75"/>
              <a:gd name="T17" fmla="*/ 451 h 1783"/>
              <a:gd name="T18" fmla="*/ 0 w 75"/>
              <a:gd name="T19" fmla="*/ 451 h 1783"/>
              <a:gd name="T20" fmla="*/ 75 w 75"/>
              <a:gd name="T21" fmla="*/ 9 h 1783"/>
              <a:gd name="T22" fmla="*/ 0 w 75"/>
              <a:gd name="T23" fmla="*/ 9 h 1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1783">
                <a:moveTo>
                  <a:pt x="75" y="1783"/>
                </a:moveTo>
                <a:lnTo>
                  <a:pt x="75" y="0"/>
                </a:lnTo>
                <a:moveTo>
                  <a:pt x="75" y="1775"/>
                </a:moveTo>
                <a:lnTo>
                  <a:pt x="0" y="1775"/>
                </a:lnTo>
                <a:moveTo>
                  <a:pt x="75" y="1333"/>
                </a:moveTo>
                <a:lnTo>
                  <a:pt x="0" y="1333"/>
                </a:lnTo>
                <a:moveTo>
                  <a:pt x="75" y="892"/>
                </a:moveTo>
                <a:lnTo>
                  <a:pt x="0" y="892"/>
                </a:lnTo>
                <a:moveTo>
                  <a:pt x="75" y="451"/>
                </a:moveTo>
                <a:lnTo>
                  <a:pt x="0" y="451"/>
                </a:lnTo>
                <a:moveTo>
                  <a:pt x="75" y="9"/>
                </a:moveTo>
                <a:lnTo>
                  <a:pt x="0" y="9"/>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29" tIns="34289" rIns="68529" bIns="34289" numCol="1" anchor="t" anchorCtr="0" compatLnSpc="1">
            <a:prstTxWarp prst="textNoShape">
              <a:avLst/>
            </a:prstTxWarp>
          </a:bodyPr>
          <a:lstStyle/>
          <a:p>
            <a:pPr defTabSz="685222">
              <a:defRPr/>
            </a:pPr>
            <a:endParaRPr lang="en-US" sz="1400">
              <a:solidFill>
                <a:srgbClr val="34373F"/>
              </a:solidFill>
            </a:endParaRPr>
          </a:p>
        </p:txBody>
      </p:sp>
      <p:sp>
        <p:nvSpPr>
          <p:cNvPr id="2144" name="Line 142">
            <a:extLst>
              <a:ext uri="{FF2B5EF4-FFF2-40B4-BE49-F238E27FC236}">
                <a16:creationId xmlns="" xmlns:a16="http://schemas.microsoft.com/office/drawing/2014/main" id="{9D403AD7-508B-EC38-CBB9-98D55A6572AF}"/>
              </a:ext>
            </a:extLst>
          </p:cNvPr>
          <p:cNvSpPr>
            <a:spLocks noChangeShapeType="1"/>
          </p:cNvSpPr>
          <p:nvPr/>
        </p:nvSpPr>
        <p:spPr bwMode="auto">
          <a:xfrm>
            <a:off x="2762459" y="2435827"/>
            <a:ext cx="0" cy="105294"/>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29" tIns="34289" rIns="68529" bIns="34289" numCol="1" anchor="t" anchorCtr="0" compatLnSpc="1">
            <a:prstTxWarp prst="textNoShape">
              <a:avLst/>
            </a:prstTxWarp>
          </a:bodyPr>
          <a:lstStyle/>
          <a:p>
            <a:pPr defTabSz="685222">
              <a:defRPr/>
            </a:pPr>
            <a:endParaRPr lang="en-US" sz="1400">
              <a:solidFill>
                <a:srgbClr val="34373F"/>
              </a:solidFill>
            </a:endParaRPr>
          </a:p>
        </p:txBody>
      </p:sp>
      <p:sp>
        <p:nvSpPr>
          <p:cNvPr id="2145" name="Line 143">
            <a:extLst>
              <a:ext uri="{FF2B5EF4-FFF2-40B4-BE49-F238E27FC236}">
                <a16:creationId xmlns="" xmlns:a16="http://schemas.microsoft.com/office/drawing/2014/main" id="{D7AB5869-1928-18BF-D4F7-A7F99E070353}"/>
              </a:ext>
            </a:extLst>
          </p:cNvPr>
          <p:cNvSpPr>
            <a:spLocks noChangeShapeType="1"/>
          </p:cNvSpPr>
          <p:nvPr/>
        </p:nvSpPr>
        <p:spPr bwMode="auto">
          <a:xfrm>
            <a:off x="2762459" y="2541123"/>
            <a:ext cx="0" cy="122524"/>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29" tIns="34289" rIns="68529" bIns="34289" numCol="1" anchor="t" anchorCtr="0" compatLnSpc="1">
            <a:prstTxWarp prst="textNoShape">
              <a:avLst/>
            </a:prstTxWarp>
          </a:bodyPr>
          <a:lstStyle/>
          <a:p>
            <a:pPr defTabSz="685222">
              <a:defRPr/>
            </a:pPr>
            <a:endParaRPr lang="en-US" sz="1400">
              <a:solidFill>
                <a:srgbClr val="34373F"/>
              </a:solidFill>
            </a:endParaRPr>
          </a:p>
        </p:txBody>
      </p:sp>
      <p:sp>
        <p:nvSpPr>
          <p:cNvPr id="2146" name="Line 144">
            <a:extLst>
              <a:ext uri="{FF2B5EF4-FFF2-40B4-BE49-F238E27FC236}">
                <a16:creationId xmlns="" xmlns:a16="http://schemas.microsoft.com/office/drawing/2014/main" id="{8FF4D8F9-8C75-0B0D-7AB2-393E0CBF1BFD}"/>
              </a:ext>
            </a:extLst>
          </p:cNvPr>
          <p:cNvSpPr>
            <a:spLocks noChangeShapeType="1"/>
          </p:cNvSpPr>
          <p:nvPr/>
        </p:nvSpPr>
        <p:spPr bwMode="auto">
          <a:xfrm>
            <a:off x="2642756" y="2435827"/>
            <a:ext cx="237381" cy="0"/>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29" tIns="34289" rIns="68529" bIns="34289" numCol="1" anchor="t" anchorCtr="0" compatLnSpc="1">
            <a:prstTxWarp prst="textNoShape">
              <a:avLst/>
            </a:prstTxWarp>
          </a:bodyPr>
          <a:lstStyle/>
          <a:p>
            <a:pPr defTabSz="685222">
              <a:defRPr/>
            </a:pPr>
            <a:endParaRPr lang="en-US" sz="1400">
              <a:solidFill>
                <a:srgbClr val="34373F"/>
              </a:solidFill>
            </a:endParaRPr>
          </a:p>
        </p:txBody>
      </p:sp>
      <p:sp>
        <p:nvSpPr>
          <p:cNvPr id="2147" name="Line 145">
            <a:extLst>
              <a:ext uri="{FF2B5EF4-FFF2-40B4-BE49-F238E27FC236}">
                <a16:creationId xmlns="" xmlns:a16="http://schemas.microsoft.com/office/drawing/2014/main" id="{4246D8EA-9C91-9265-7064-BD19E2A9E165}"/>
              </a:ext>
            </a:extLst>
          </p:cNvPr>
          <p:cNvSpPr>
            <a:spLocks noChangeShapeType="1"/>
          </p:cNvSpPr>
          <p:nvPr/>
        </p:nvSpPr>
        <p:spPr bwMode="auto">
          <a:xfrm>
            <a:off x="2642756" y="2663645"/>
            <a:ext cx="237381" cy="0"/>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29" tIns="34289" rIns="68529" bIns="34289" numCol="1" anchor="t" anchorCtr="0" compatLnSpc="1">
            <a:prstTxWarp prst="textNoShape">
              <a:avLst/>
            </a:prstTxWarp>
          </a:bodyPr>
          <a:lstStyle/>
          <a:p>
            <a:pPr defTabSz="685222">
              <a:defRPr/>
            </a:pPr>
            <a:endParaRPr lang="en-US" sz="1400">
              <a:solidFill>
                <a:srgbClr val="34373F"/>
              </a:solidFill>
            </a:endParaRPr>
          </a:p>
        </p:txBody>
      </p:sp>
      <p:sp>
        <p:nvSpPr>
          <p:cNvPr id="2151" name="Line 148">
            <a:extLst>
              <a:ext uri="{FF2B5EF4-FFF2-40B4-BE49-F238E27FC236}">
                <a16:creationId xmlns="" xmlns:a16="http://schemas.microsoft.com/office/drawing/2014/main" id="{5B9758D4-B601-36AB-54D8-D48E1790AC56}"/>
              </a:ext>
            </a:extLst>
          </p:cNvPr>
          <p:cNvSpPr>
            <a:spLocks noChangeShapeType="1"/>
          </p:cNvSpPr>
          <p:nvPr/>
        </p:nvSpPr>
        <p:spPr bwMode="auto">
          <a:xfrm>
            <a:off x="2044233" y="2568882"/>
            <a:ext cx="0" cy="199102"/>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29" tIns="34289" rIns="68529" bIns="34289" numCol="1" anchor="t" anchorCtr="0" compatLnSpc="1">
            <a:prstTxWarp prst="textNoShape">
              <a:avLst/>
            </a:prstTxWarp>
          </a:bodyPr>
          <a:lstStyle/>
          <a:p>
            <a:pPr defTabSz="685222">
              <a:defRPr/>
            </a:pPr>
            <a:endParaRPr lang="en-US" sz="1400">
              <a:solidFill>
                <a:srgbClr val="34373F"/>
              </a:solidFill>
            </a:endParaRPr>
          </a:p>
        </p:txBody>
      </p:sp>
      <p:sp>
        <p:nvSpPr>
          <p:cNvPr id="2152" name="Line 149">
            <a:extLst>
              <a:ext uri="{FF2B5EF4-FFF2-40B4-BE49-F238E27FC236}">
                <a16:creationId xmlns="" xmlns:a16="http://schemas.microsoft.com/office/drawing/2014/main" id="{BDEFD368-A562-2D16-B109-39898102FE3F}"/>
              </a:ext>
            </a:extLst>
          </p:cNvPr>
          <p:cNvSpPr>
            <a:spLocks noChangeShapeType="1"/>
          </p:cNvSpPr>
          <p:nvPr/>
        </p:nvSpPr>
        <p:spPr bwMode="auto">
          <a:xfrm>
            <a:off x="2044233" y="2767983"/>
            <a:ext cx="0" cy="250792"/>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29" tIns="34289" rIns="68529" bIns="34289" numCol="1" anchor="t" anchorCtr="0" compatLnSpc="1">
            <a:prstTxWarp prst="textNoShape">
              <a:avLst/>
            </a:prstTxWarp>
          </a:bodyPr>
          <a:lstStyle/>
          <a:p>
            <a:pPr defTabSz="685222">
              <a:defRPr/>
            </a:pPr>
            <a:endParaRPr lang="en-US" sz="1400">
              <a:solidFill>
                <a:srgbClr val="34373F"/>
              </a:solidFill>
            </a:endParaRPr>
          </a:p>
        </p:txBody>
      </p:sp>
      <p:sp>
        <p:nvSpPr>
          <p:cNvPr id="2153" name="Line 150">
            <a:extLst>
              <a:ext uri="{FF2B5EF4-FFF2-40B4-BE49-F238E27FC236}">
                <a16:creationId xmlns="" xmlns:a16="http://schemas.microsoft.com/office/drawing/2014/main" id="{D06D818E-3BE4-8533-A14C-EBBAC2305A2B}"/>
              </a:ext>
            </a:extLst>
          </p:cNvPr>
          <p:cNvSpPr>
            <a:spLocks noChangeShapeType="1"/>
          </p:cNvSpPr>
          <p:nvPr/>
        </p:nvSpPr>
        <p:spPr bwMode="auto">
          <a:xfrm>
            <a:off x="1924529" y="2568881"/>
            <a:ext cx="239409" cy="0"/>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29" tIns="34289" rIns="68529" bIns="34289" numCol="1" anchor="t" anchorCtr="0" compatLnSpc="1">
            <a:prstTxWarp prst="textNoShape">
              <a:avLst/>
            </a:prstTxWarp>
          </a:bodyPr>
          <a:lstStyle/>
          <a:p>
            <a:pPr defTabSz="685222">
              <a:defRPr/>
            </a:pPr>
            <a:endParaRPr lang="en-US" sz="1400">
              <a:solidFill>
                <a:srgbClr val="34373F"/>
              </a:solidFill>
            </a:endParaRPr>
          </a:p>
        </p:txBody>
      </p:sp>
      <p:sp>
        <p:nvSpPr>
          <p:cNvPr id="2154" name="Line 151">
            <a:extLst>
              <a:ext uri="{FF2B5EF4-FFF2-40B4-BE49-F238E27FC236}">
                <a16:creationId xmlns="" xmlns:a16="http://schemas.microsoft.com/office/drawing/2014/main" id="{4D84FC19-8DED-C780-FC93-6D5A1F0CDCA9}"/>
              </a:ext>
            </a:extLst>
          </p:cNvPr>
          <p:cNvSpPr>
            <a:spLocks noChangeShapeType="1"/>
          </p:cNvSpPr>
          <p:nvPr/>
        </p:nvSpPr>
        <p:spPr bwMode="auto">
          <a:xfrm>
            <a:off x="1924529" y="3018773"/>
            <a:ext cx="239409" cy="0"/>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29" tIns="34289" rIns="68529" bIns="34289" numCol="1" anchor="t" anchorCtr="0" compatLnSpc="1">
            <a:prstTxWarp prst="textNoShape">
              <a:avLst/>
            </a:prstTxWarp>
          </a:bodyPr>
          <a:lstStyle/>
          <a:p>
            <a:pPr defTabSz="685222">
              <a:defRPr/>
            </a:pPr>
            <a:endParaRPr lang="en-US" sz="1400">
              <a:solidFill>
                <a:srgbClr val="34373F"/>
              </a:solidFill>
            </a:endParaRPr>
          </a:p>
        </p:txBody>
      </p:sp>
      <p:sp>
        <p:nvSpPr>
          <p:cNvPr id="2157" name="Line 154">
            <a:extLst>
              <a:ext uri="{FF2B5EF4-FFF2-40B4-BE49-F238E27FC236}">
                <a16:creationId xmlns="" xmlns:a16="http://schemas.microsoft.com/office/drawing/2014/main" id="{F358DC89-750B-21A8-A595-690692851C17}"/>
              </a:ext>
            </a:extLst>
          </p:cNvPr>
          <p:cNvSpPr>
            <a:spLocks noChangeShapeType="1"/>
          </p:cNvSpPr>
          <p:nvPr/>
        </p:nvSpPr>
        <p:spPr bwMode="auto">
          <a:xfrm>
            <a:off x="1328037" y="2507620"/>
            <a:ext cx="0" cy="96680"/>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29" tIns="34289" rIns="68529" bIns="34289" numCol="1" anchor="t" anchorCtr="0" compatLnSpc="1">
            <a:prstTxWarp prst="textNoShape">
              <a:avLst/>
            </a:prstTxWarp>
          </a:bodyPr>
          <a:lstStyle/>
          <a:p>
            <a:pPr defTabSz="685222">
              <a:defRPr/>
            </a:pPr>
            <a:endParaRPr lang="en-US" sz="1400">
              <a:solidFill>
                <a:srgbClr val="34373F"/>
              </a:solidFill>
            </a:endParaRPr>
          </a:p>
        </p:txBody>
      </p:sp>
      <p:sp>
        <p:nvSpPr>
          <p:cNvPr id="2158" name="Line 155">
            <a:extLst>
              <a:ext uri="{FF2B5EF4-FFF2-40B4-BE49-F238E27FC236}">
                <a16:creationId xmlns="" xmlns:a16="http://schemas.microsoft.com/office/drawing/2014/main" id="{7DCE8F94-71A0-1605-E241-5B3A014700F7}"/>
              </a:ext>
            </a:extLst>
          </p:cNvPr>
          <p:cNvSpPr>
            <a:spLocks noChangeShapeType="1"/>
          </p:cNvSpPr>
          <p:nvPr/>
        </p:nvSpPr>
        <p:spPr bwMode="auto">
          <a:xfrm>
            <a:off x="1328037" y="2604315"/>
            <a:ext cx="0" cy="110081"/>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29" tIns="34289" rIns="68529" bIns="34289" numCol="1" anchor="t" anchorCtr="0" compatLnSpc="1">
            <a:prstTxWarp prst="textNoShape">
              <a:avLst/>
            </a:prstTxWarp>
          </a:bodyPr>
          <a:lstStyle/>
          <a:p>
            <a:pPr defTabSz="685222">
              <a:defRPr/>
            </a:pPr>
            <a:endParaRPr lang="en-US" sz="1400">
              <a:solidFill>
                <a:srgbClr val="34373F"/>
              </a:solidFill>
            </a:endParaRPr>
          </a:p>
        </p:txBody>
      </p:sp>
      <p:sp>
        <p:nvSpPr>
          <p:cNvPr id="2159" name="Line 156">
            <a:extLst>
              <a:ext uri="{FF2B5EF4-FFF2-40B4-BE49-F238E27FC236}">
                <a16:creationId xmlns="" xmlns:a16="http://schemas.microsoft.com/office/drawing/2014/main" id="{249874DA-1F2A-F278-B7F9-44CD3B285481}"/>
              </a:ext>
            </a:extLst>
          </p:cNvPr>
          <p:cNvSpPr>
            <a:spLocks noChangeShapeType="1"/>
          </p:cNvSpPr>
          <p:nvPr/>
        </p:nvSpPr>
        <p:spPr bwMode="auto">
          <a:xfrm>
            <a:off x="1208333" y="2507618"/>
            <a:ext cx="237381" cy="0"/>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29" tIns="34289" rIns="68529" bIns="34289" numCol="1" anchor="t" anchorCtr="0" compatLnSpc="1">
            <a:prstTxWarp prst="textNoShape">
              <a:avLst/>
            </a:prstTxWarp>
          </a:bodyPr>
          <a:lstStyle/>
          <a:p>
            <a:pPr defTabSz="685222">
              <a:defRPr/>
            </a:pPr>
            <a:endParaRPr lang="en-US" sz="1400">
              <a:solidFill>
                <a:srgbClr val="34373F"/>
              </a:solidFill>
            </a:endParaRPr>
          </a:p>
        </p:txBody>
      </p:sp>
      <p:sp>
        <p:nvSpPr>
          <p:cNvPr id="2160" name="Line 157">
            <a:extLst>
              <a:ext uri="{FF2B5EF4-FFF2-40B4-BE49-F238E27FC236}">
                <a16:creationId xmlns="" xmlns:a16="http://schemas.microsoft.com/office/drawing/2014/main" id="{16EB633C-4F4F-839A-CA8F-86A1B1B49A99}"/>
              </a:ext>
            </a:extLst>
          </p:cNvPr>
          <p:cNvSpPr>
            <a:spLocks noChangeShapeType="1"/>
          </p:cNvSpPr>
          <p:nvPr/>
        </p:nvSpPr>
        <p:spPr bwMode="auto">
          <a:xfrm>
            <a:off x="1208333" y="2714378"/>
            <a:ext cx="237381" cy="0"/>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29" tIns="34289" rIns="68529" bIns="34289" numCol="1" anchor="t" anchorCtr="0" compatLnSpc="1">
            <a:prstTxWarp prst="textNoShape">
              <a:avLst/>
            </a:prstTxWarp>
          </a:bodyPr>
          <a:lstStyle/>
          <a:p>
            <a:pPr defTabSz="685222">
              <a:defRPr/>
            </a:pPr>
            <a:endParaRPr lang="en-US" sz="1400">
              <a:solidFill>
                <a:srgbClr val="34373F"/>
              </a:solidFill>
            </a:endParaRPr>
          </a:p>
        </p:txBody>
      </p:sp>
      <p:sp>
        <p:nvSpPr>
          <p:cNvPr id="93" name="TextBox 92">
            <a:extLst>
              <a:ext uri="{FF2B5EF4-FFF2-40B4-BE49-F238E27FC236}">
                <a16:creationId xmlns="" xmlns:a16="http://schemas.microsoft.com/office/drawing/2014/main" id="{858C5CB2-EAC7-C6E0-96AB-03866B0BF813}"/>
              </a:ext>
            </a:extLst>
          </p:cNvPr>
          <p:cNvSpPr txBox="1"/>
          <p:nvPr/>
        </p:nvSpPr>
        <p:spPr>
          <a:xfrm>
            <a:off x="977370" y="2767501"/>
            <a:ext cx="708478" cy="588620"/>
          </a:xfrm>
          <a:prstGeom prst="rect">
            <a:avLst/>
          </a:prstGeom>
          <a:noFill/>
        </p:spPr>
        <p:txBody>
          <a:bodyPr wrap="square" lIns="68529" tIns="34289" rIns="68529" bIns="34289" rtlCol="0">
            <a:spAutoFit/>
          </a:bodyPr>
          <a:lstStyle/>
          <a:p>
            <a:pPr algn="ctr" defTabSz="685222">
              <a:defRPr/>
            </a:pPr>
            <a:r>
              <a:rPr lang="es" sz="1100" dirty="0">
                <a:solidFill>
                  <a:srgbClr val="FFFFFF"/>
                </a:solidFill>
              </a:rPr>
              <a:t>61.2</a:t>
            </a:r>
          </a:p>
          <a:p>
            <a:pPr algn="ctr" defTabSz="685222">
              <a:defRPr/>
            </a:pPr>
            <a:r>
              <a:rPr lang="es" sz="1100" dirty="0">
                <a:solidFill>
                  <a:srgbClr val="FFFFFF"/>
                </a:solidFill>
              </a:rPr>
              <a:t>(56.0-65.8</a:t>
            </a:r>
            <a:r>
              <a:rPr lang="es" sz="600" dirty="0">
                <a:solidFill>
                  <a:srgbClr val="FFFFFF"/>
                </a:solidFill>
              </a:rPr>
              <a:t>)</a:t>
            </a:r>
          </a:p>
        </p:txBody>
      </p:sp>
      <p:sp>
        <p:nvSpPr>
          <p:cNvPr id="94" name="TextBox 93">
            <a:extLst>
              <a:ext uri="{FF2B5EF4-FFF2-40B4-BE49-F238E27FC236}">
                <a16:creationId xmlns="" xmlns:a16="http://schemas.microsoft.com/office/drawing/2014/main" id="{DE262392-4D1E-1F98-6CDC-2643A75583AB}"/>
              </a:ext>
            </a:extLst>
          </p:cNvPr>
          <p:cNvSpPr txBox="1"/>
          <p:nvPr/>
        </p:nvSpPr>
        <p:spPr>
          <a:xfrm>
            <a:off x="1631337" y="3058087"/>
            <a:ext cx="841828" cy="415496"/>
          </a:xfrm>
          <a:prstGeom prst="rect">
            <a:avLst/>
          </a:prstGeom>
          <a:noFill/>
        </p:spPr>
        <p:txBody>
          <a:bodyPr wrap="square" lIns="68529" tIns="34289" rIns="68529" bIns="34289" rtlCol="0">
            <a:spAutoFit/>
          </a:bodyPr>
          <a:lstStyle/>
          <a:p>
            <a:pPr algn="ctr" defTabSz="685222">
              <a:defRPr/>
            </a:pPr>
            <a:r>
              <a:rPr lang="es" sz="1100" dirty="0">
                <a:solidFill>
                  <a:srgbClr val="FFFFFF"/>
                </a:solidFill>
              </a:rPr>
              <a:t>53.5</a:t>
            </a:r>
          </a:p>
          <a:p>
            <a:pPr algn="ctr" defTabSz="685222">
              <a:defRPr/>
            </a:pPr>
            <a:r>
              <a:rPr lang="es" sz="1100" dirty="0">
                <a:solidFill>
                  <a:srgbClr val="FFFFFF"/>
                </a:solidFill>
              </a:rPr>
              <a:t>(41.6-62.9</a:t>
            </a:r>
            <a:r>
              <a:rPr lang="es" sz="600" dirty="0">
                <a:solidFill>
                  <a:srgbClr val="FFFFFF"/>
                </a:solidFill>
              </a:rPr>
              <a:t>)</a:t>
            </a:r>
          </a:p>
        </p:txBody>
      </p:sp>
      <p:sp>
        <p:nvSpPr>
          <p:cNvPr id="95" name="TextBox 94">
            <a:extLst>
              <a:ext uri="{FF2B5EF4-FFF2-40B4-BE49-F238E27FC236}">
                <a16:creationId xmlns="" xmlns:a16="http://schemas.microsoft.com/office/drawing/2014/main" id="{1E090B92-8693-59F5-8A7D-1148D83AA478}"/>
              </a:ext>
            </a:extLst>
          </p:cNvPr>
          <p:cNvSpPr txBox="1"/>
          <p:nvPr/>
        </p:nvSpPr>
        <p:spPr>
          <a:xfrm>
            <a:off x="2299935" y="2703520"/>
            <a:ext cx="931258" cy="415496"/>
          </a:xfrm>
          <a:prstGeom prst="rect">
            <a:avLst/>
          </a:prstGeom>
          <a:noFill/>
        </p:spPr>
        <p:txBody>
          <a:bodyPr wrap="square" lIns="68529" tIns="34289" rIns="68529" bIns="34289" rtlCol="0">
            <a:spAutoFit/>
          </a:bodyPr>
          <a:lstStyle/>
          <a:p>
            <a:pPr algn="ctr" defTabSz="685222">
              <a:defRPr/>
            </a:pPr>
            <a:r>
              <a:rPr lang="es" sz="1100" dirty="0">
                <a:solidFill>
                  <a:srgbClr val="FFFFFF"/>
                </a:solidFill>
              </a:rPr>
              <a:t>64.2</a:t>
            </a:r>
          </a:p>
          <a:p>
            <a:pPr algn="ctr" defTabSz="685222">
              <a:defRPr/>
            </a:pPr>
            <a:r>
              <a:rPr lang="es" sz="1100" dirty="0">
                <a:solidFill>
                  <a:srgbClr val="FFFFFF"/>
                </a:solidFill>
              </a:rPr>
              <a:t>(58.4-69.2</a:t>
            </a:r>
            <a:r>
              <a:rPr lang="es" sz="600" dirty="0">
                <a:solidFill>
                  <a:srgbClr val="FFFFFF"/>
                </a:solidFill>
              </a:rPr>
              <a:t>)</a:t>
            </a:r>
          </a:p>
        </p:txBody>
      </p:sp>
      <p:sp>
        <p:nvSpPr>
          <p:cNvPr id="178" name="TextBox 177">
            <a:extLst>
              <a:ext uri="{FF2B5EF4-FFF2-40B4-BE49-F238E27FC236}">
                <a16:creationId xmlns="" xmlns:a16="http://schemas.microsoft.com/office/drawing/2014/main" id="{359DED9C-040C-B447-A0F9-A5505BBB214A}"/>
              </a:ext>
            </a:extLst>
          </p:cNvPr>
          <p:cNvSpPr txBox="1"/>
          <p:nvPr/>
        </p:nvSpPr>
        <p:spPr>
          <a:xfrm rot="16200000">
            <a:off x="-327641" y="2741014"/>
            <a:ext cx="1517826" cy="196208"/>
          </a:xfrm>
          <a:prstGeom prst="rect">
            <a:avLst/>
          </a:prstGeom>
          <a:noFill/>
        </p:spPr>
        <p:txBody>
          <a:bodyPr wrap="square" lIns="68529" tIns="34289" rIns="68529" bIns="34289" rtlCol="0">
            <a:spAutoFit/>
          </a:bodyPr>
          <a:lstStyle/>
          <a:p>
            <a:pPr algn="ctr" defTabSz="685222">
              <a:defRPr/>
            </a:pPr>
            <a:r>
              <a:rPr lang="es" sz="800" b="1">
                <a:solidFill>
                  <a:srgbClr val="34373F"/>
                </a:solidFill>
              </a:rPr>
              <a:t>EV contra DVC (IC 95%)</a:t>
            </a:r>
            <a:endParaRPr lang="en-US" sz="700" b="1">
              <a:solidFill>
                <a:srgbClr val="34373F"/>
              </a:solidFill>
            </a:endParaRPr>
          </a:p>
        </p:txBody>
      </p:sp>
      <p:sp>
        <p:nvSpPr>
          <p:cNvPr id="84" name="TextBox 83">
            <a:extLst>
              <a:ext uri="{FF2B5EF4-FFF2-40B4-BE49-F238E27FC236}">
                <a16:creationId xmlns="" xmlns:a16="http://schemas.microsoft.com/office/drawing/2014/main" id="{EA6ECC9F-CB0E-DE9E-4F64-A49DBE425637}"/>
              </a:ext>
            </a:extLst>
          </p:cNvPr>
          <p:cNvSpPr txBox="1"/>
          <p:nvPr/>
        </p:nvSpPr>
        <p:spPr>
          <a:xfrm>
            <a:off x="4197000" y="1989121"/>
            <a:ext cx="2786053" cy="761744"/>
          </a:xfrm>
          <a:prstGeom prst="rect">
            <a:avLst/>
          </a:prstGeom>
          <a:noFill/>
          <a:ln>
            <a:solidFill>
              <a:schemeClr val="accent1"/>
            </a:solidFill>
          </a:ln>
        </p:spPr>
        <p:txBody>
          <a:bodyPr wrap="square" lIns="68529" tIns="34289" rIns="68529" bIns="34289" rtlCol="0">
            <a:spAutoFit/>
          </a:bodyPr>
          <a:lstStyle/>
          <a:p>
            <a:pPr defTabSz="685222">
              <a:defRPr/>
            </a:pPr>
            <a:r>
              <a:rPr kumimoji="1" lang="es" sz="1100" dirty="0">
                <a:solidFill>
                  <a:srgbClr val="000000"/>
                </a:solidFill>
                <a:latin typeface="Arial" panose="020B0604020202020204" pitchFamily="34" charset="0"/>
                <a:cs typeface="Arial" panose="020B0604020202020204" pitchFamily="34" charset="0"/>
              </a:rPr>
              <a:t>Por cada 100.000 vacunados, se estima prevenir</a:t>
            </a:r>
          </a:p>
          <a:p>
            <a:pPr marL="128486" indent="-128486" defTabSz="685222">
              <a:buFont typeface="Arial" panose="020B0604020202020204" pitchFamily="34" charset="0"/>
              <a:buChar char="•"/>
              <a:defRPr/>
            </a:pPr>
            <a:r>
              <a:rPr kumimoji="1" lang="es" sz="1100" b="1" dirty="0">
                <a:solidFill>
                  <a:srgbClr val="34373F">
                    <a:lumMod val="75000"/>
                  </a:srgbClr>
                </a:solidFill>
                <a:latin typeface="Arial" panose="020B0604020202020204" pitchFamily="34" charset="0"/>
                <a:cs typeface="Arial" panose="020B0604020202020204" pitchFamily="34" charset="0"/>
              </a:rPr>
              <a:t>5064 casos </a:t>
            </a:r>
            <a:r>
              <a:rPr kumimoji="1" lang="es" sz="1100" dirty="0">
                <a:solidFill>
                  <a:srgbClr val="34373F">
                    <a:lumMod val="75000"/>
                  </a:srgbClr>
                </a:solidFill>
                <a:latin typeface="Arial" panose="020B0604020202020204" pitchFamily="34" charset="0"/>
                <a:cs typeface="Arial" panose="020B0604020202020204" pitchFamily="34" charset="0"/>
              </a:rPr>
              <a:t>en seropositivos basales</a:t>
            </a:r>
          </a:p>
          <a:p>
            <a:pPr marL="128486" indent="-128486" defTabSz="685222">
              <a:buFont typeface="Arial" panose="020B0604020202020204" pitchFamily="34" charset="0"/>
              <a:buChar char="•"/>
              <a:defRPr/>
            </a:pPr>
            <a:r>
              <a:rPr kumimoji="1" lang="es" sz="1100" b="1" dirty="0">
                <a:solidFill>
                  <a:srgbClr val="E1242A"/>
                </a:solidFill>
                <a:latin typeface="Arial" panose="020B0604020202020204" pitchFamily="34" charset="0"/>
                <a:cs typeface="Arial" panose="020B0604020202020204" pitchFamily="34" charset="0"/>
              </a:rPr>
              <a:t>4393 casos </a:t>
            </a:r>
            <a:r>
              <a:rPr kumimoji="1" lang="es" sz="1100" dirty="0">
                <a:solidFill>
                  <a:srgbClr val="E1242A"/>
                </a:solidFill>
                <a:latin typeface="Arial" panose="020B0604020202020204" pitchFamily="34" charset="0"/>
                <a:cs typeface="Arial" panose="020B0604020202020204" pitchFamily="34" charset="0"/>
              </a:rPr>
              <a:t>en seronegativos basales</a:t>
            </a:r>
            <a:endParaRPr kumimoji="1" lang="en-US" sz="1100" dirty="0">
              <a:solidFill>
                <a:srgbClr val="E1242A"/>
              </a:solidFill>
              <a:latin typeface="Arial" panose="020B0604020202020204" pitchFamily="34" charset="0"/>
              <a:cs typeface="Arial" panose="020B0604020202020204" pitchFamily="34" charset="0"/>
            </a:endParaRPr>
          </a:p>
        </p:txBody>
      </p:sp>
      <p:sp>
        <p:nvSpPr>
          <p:cNvPr id="119" name="Rectangle 118">
            <a:extLst>
              <a:ext uri="{FF2B5EF4-FFF2-40B4-BE49-F238E27FC236}">
                <a16:creationId xmlns="" xmlns:a16="http://schemas.microsoft.com/office/drawing/2014/main" id="{D66C1F5F-F0CD-41EC-A4F4-DB34FEB2EFDE}"/>
              </a:ext>
            </a:extLst>
          </p:cNvPr>
          <p:cNvSpPr/>
          <p:nvPr/>
        </p:nvSpPr>
        <p:spPr>
          <a:xfrm>
            <a:off x="7107419" y="1499211"/>
            <a:ext cx="1591473" cy="240050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defTabSz="685222">
              <a:defRPr/>
            </a:pPr>
            <a:endParaRPr lang="en-US" sz="1200">
              <a:solidFill>
                <a:srgbClr val="34373F"/>
              </a:solidFill>
            </a:endParaRPr>
          </a:p>
        </p:txBody>
      </p:sp>
      <p:pic>
        <p:nvPicPr>
          <p:cNvPr id="120" name="Graphic 119">
            <a:extLst>
              <a:ext uri="{FF2B5EF4-FFF2-40B4-BE49-F238E27FC236}">
                <a16:creationId xmlns="" xmlns:a16="http://schemas.microsoft.com/office/drawing/2014/main" id="{BB875DBB-15A1-437B-A2C8-6A57F082B0D5}"/>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 xmlns:asvg="http://schemas.microsoft.com/office/drawing/2016/SVG/main" r:embed="rId9"/>
              </a:ext>
            </a:extLst>
          </a:blip>
          <a:stretch>
            <a:fillRect/>
          </a:stretch>
        </p:blipFill>
        <p:spPr>
          <a:xfrm>
            <a:off x="3999786" y="1843502"/>
            <a:ext cx="4774228" cy="2038959"/>
          </a:xfrm>
          <a:prstGeom prst="rect">
            <a:avLst/>
          </a:prstGeom>
        </p:spPr>
      </p:pic>
      <p:pic>
        <p:nvPicPr>
          <p:cNvPr id="121" name="Graphic 120">
            <a:extLst>
              <a:ext uri="{FF2B5EF4-FFF2-40B4-BE49-F238E27FC236}">
                <a16:creationId xmlns="" xmlns:a16="http://schemas.microsoft.com/office/drawing/2014/main" id="{06ECB67C-903A-4EBC-895A-88729C897716}"/>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 xmlns:asvg="http://schemas.microsoft.com/office/drawing/2016/SVG/main" r:embed="rId11"/>
              </a:ext>
            </a:extLst>
          </a:blip>
          <a:stretch>
            <a:fillRect/>
          </a:stretch>
        </p:blipFill>
        <p:spPr>
          <a:xfrm>
            <a:off x="3913287" y="1947763"/>
            <a:ext cx="4774228" cy="1991582"/>
          </a:xfrm>
          <a:prstGeom prst="rect">
            <a:avLst/>
          </a:prstGeom>
        </p:spPr>
      </p:pic>
      <p:sp>
        <p:nvSpPr>
          <p:cNvPr id="122" name="Graphic 102">
            <a:extLst>
              <a:ext uri="{FF2B5EF4-FFF2-40B4-BE49-F238E27FC236}">
                <a16:creationId xmlns="" xmlns:a16="http://schemas.microsoft.com/office/drawing/2014/main" id="{FC71B11F-12D9-4EF6-8226-45C0E68A00A8}"/>
              </a:ext>
            </a:extLst>
          </p:cNvPr>
          <p:cNvSpPr/>
          <p:nvPr/>
        </p:nvSpPr>
        <p:spPr>
          <a:xfrm>
            <a:off x="4002734" y="2905001"/>
            <a:ext cx="4771561" cy="979812"/>
          </a:xfrm>
          <a:custGeom>
            <a:avLst/>
            <a:gdLst>
              <a:gd name="connsiteX0" fmla="*/ 0 w 6440043"/>
              <a:gd name="connsiteY0" fmla="*/ 1263100 h 1263100"/>
              <a:gd name="connsiteX1" fmla="*/ 69927 w 6440043"/>
              <a:gd name="connsiteY1" fmla="*/ 1251977 h 1263100"/>
              <a:gd name="connsiteX2" fmla="*/ 205187 w 6440043"/>
              <a:gd name="connsiteY2" fmla="*/ 1245584 h 1263100"/>
              <a:gd name="connsiteX3" fmla="*/ 532874 w 6440043"/>
              <a:gd name="connsiteY3" fmla="*/ 1231264 h 1263100"/>
              <a:gd name="connsiteX4" fmla="*/ 644272 w 6440043"/>
              <a:gd name="connsiteY4" fmla="*/ 1228067 h 1263100"/>
              <a:gd name="connsiteX5" fmla="*/ 759116 w 6440043"/>
              <a:gd name="connsiteY5" fmla="*/ 1224871 h 1263100"/>
              <a:gd name="connsiteX6" fmla="*/ 914920 w 6440043"/>
              <a:gd name="connsiteY6" fmla="*/ 1213748 h 1263100"/>
              <a:gd name="connsiteX7" fmla="*/ 1008837 w 6440043"/>
              <a:gd name="connsiteY7" fmla="*/ 1209017 h 1263100"/>
              <a:gd name="connsiteX8" fmla="*/ 1121766 w 6440043"/>
              <a:gd name="connsiteY8" fmla="*/ 1173856 h 1263100"/>
              <a:gd name="connsiteX9" fmla="*/ 1266597 w 6440043"/>
              <a:gd name="connsiteY9" fmla="*/ 1154805 h 1263100"/>
              <a:gd name="connsiteX10" fmla="*/ 1328612 w 6440043"/>
              <a:gd name="connsiteY10" fmla="*/ 1143554 h 1263100"/>
              <a:gd name="connsiteX11" fmla="*/ 1435162 w 6440043"/>
              <a:gd name="connsiteY11" fmla="*/ 1135627 h 1263100"/>
              <a:gd name="connsiteX12" fmla="*/ 1540180 w 6440043"/>
              <a:gd name="connsiteY12" fmla="*/ 1121307 h 1263100"/>
              <a:gd name="connsiteX13" fmla="*/ 1611765 w 6440043"/>
              <a:gd name="connsiteY13" fmla="*/ 1089470 h 1263100"/>
              <a:gd name="connsiteX14" fmla="*/ 1731075 w 6440043"/>
              <a:gd name="connsiteY14" fmla="*/ 1062365 h 1263100"/>
              <a:gd name="connsiteX15" fmla="*/ 1842473 w 6440043"/>
              <a:gd name="connsiteY15" fmla="*/ 1047917 h 1263100"/>
              <a:gd name="connsiteX16" fmla="*/ 1906275 w 6440043"/>
              <a:gd name="connsiteY16" fmla="*/ 1024008 h 1263100"/>
              <a:gd name="connsiteX17" fmla="*/ 2043194 w 6440043"/>
              <a:gd name="connsiteY17" fmla="*/ 1000098 h 1263100"/>
              <a:gd name="connsiteX18" fmla="*/ 2182921 w 6440043"/>
              <a:gd name="connsiteY18" fmla="*/ 973632 h 1263100"/>
              <a:gd name="connsiteX19" fmla="*/ 2260504 w 6440043"/>
              <a:gd name="connsiteY19" fmla="*/ 944864 h 1263100"/>
              <a:gd name="connsiteX20" fmla="*/ 2463011 w 6440043"/>
              <a:gd name="connsiteY20" fmla="*/ 890653 h 1263100"/>
              <a:gd name="connsiteX21" fmla="*/ 2761094 w 6440043"/>
              <a:gd name="connsiteY21" fmla="*/ 835674 h 1263100"/>
              <a:gd name="connsiteX22" fmla="*/ 2847992 w 6440043"/>
              <a:gd name="connsiteY22" fmla="*/ 826980 h 1263100"/>
              <a:gd name="connsiteX23" fmla="*/ 2942930 w 6440043"/>
              <a:gd name="connsiteY23" fmla="*/ 815601 h 1263100"/>
              <a:gd name="connsiteX24" fmla="*/ 3011070 w 6440043"/>
              <a:gd name="connsiteY24" fmla="*/ 806267 h 1263100"/>
              <a:gd name="connsiteX25" fmla="*/ 3045141 w 6440043"/>
              <a:gd name="connsiteY25" fmla="*/ 788878 h 1263100"/>
              <a:gd name="connsiteX26" fmla="*/ 3111367 w 6440043"/>
              <a:gd name="connsiteY26" fmla="*/ 759343 h 1263100"/>
              <a:gd name="connsiteX27" fmla="*/ 3168789 w 6440043"/>
              <a:gd name="connsiteY27" fmla="*/ 745279 h 1263100"/>
              <a:gd name="connsiteX28" fmla="*/ 3229656 w 6440043"/>
              <a:gd name="connsiteY28" fmla="*/ 729936 h 1263100"/>
              <a:gd name="connsiteX29" fmla="*/ 3302518 w 6440043"/>
              <a:gd name="connsiteY29" fmla="*/ 716511 h 1263100"/>
              <a:gd name="connsiteX30" fmla="*/ 3351263 w 6440043"/>
              <a:gd name="connsiteY30" fmla="*/ 711141 h 1263100"/>
              <a:gd name="connsiteX31" fmla="*/ 3400773 w 6440043"/>
              <a:gd name="connsiteY31" fmla="*/ 702447 h 1263100"/>
              <a:gd name="connsiteX32" fmla="*/ 3482312 w 6440043"/>
              <a:gd name="connsiteY32" fmla="*/ 668309 h 1263100"/>
              <a:gd name="connsiteX33" fmla="*/ 3515106 w 6440043"/>
              <a:gd name="connsiteY33" fmla="*/ 656291 h 1263100"/>
              <a:gd name="connsiteX34" fmla="*/ 3535778 w 6440043"/>
              <a:gd name="connsiteY34" fmla="*/ 654884 h 1263100"/>
              <a:gd name="connsiteX35" fmla="*/ 3577249 w 6440043"/>
              <a:gd name="connsiteY35" fmla="*/ 627395 h 1263100"/>
              <a:gd name="connsiteX36" fmla="*/ 3619358 w 6440043"/>
              <a:gd name="connsiteY36" fmla="*/ 590572 h 1263100"/>
              <a:gd name="connsiteX37" fmla="*/ 3664147 w 6440043"/>
              <a:gd name="connsiteY37" fmla="*/ 565001 h 1263100"/>
              <a:gd name="connsiteX38" fmla="*/ 3718251 w 6440043"/>
              <a:gd name="connsiteY38" fmla="*/ 533548 h 1263100"/>
              <a:gd name="connsiteX39" fmla="*/ 3791113 w 6440043"/>
              <a:gd name="connsiteY39" fmla="*/ 505419 h 1263100"/>
              <a:gd name="connsiteX40" fmla="*/ 3801066 w 6440043"/>
              <a:gd name="connsiteY40" fmla="*/ 486624 h 1263100"/>
              <a:gd name="connsiteX41" fmla="*/ 3819186 w 6440043"/>
              <a:gd name="connsiteY41" fmla="*/ 452486 h 1263100"/>
              <a:gd name="connsiteX42" fmla="*/ 3878012 w 6440043"/>
              <a:gd name="connsiteY42" fmla="*/ 412339 h 1263100"/>
              <a:gd name="connsiteX43" fmla="*/ 3940793 w 6440043"/>
              <a:gd name="connsiteY43" fmla="*/ 390220 h 1263100"/>
              <a:gd name="connsiteX44" fmla="*/ 3990941 w 6440043"/>
              <a:gd name="connsiteY44" fmla="*/ 336648 h 1263100"/>
              <a:gd name="connsiteX45" fmla="*/ 4118545 w 6440043"/>
              <a:gd name="connsiteY45" fmla="*/ 267733 h 1263100"/>
              <a:gd name="connsiteX46" fmla="*/ 4200084 w 6440043"/>
              <a:gd name="connsiteY46" fmla="*/ 259038 h 1263100"/>
              <a:gd name="connsiteX47" fmla="*/ 4258909 w 6440043"/>
              <a:gd name="connsiteY47" fmla="*/ 225540 h 1263100"/>
              <a:gd name="connsiteX48" fmla="*/ 4320414 w 6440043"/>
              <a:gd name="connsiteY48" fmla="*/ 211476 h 1263100"/>
              <a:gd name="connsiteX49" fmla="*/ 4387917 w 6440043"/>
              <a:gd name="connsiteY49" fmla="*/ 171968 h 1263100"/>
              <a:gd name="connsiteX50" fmla="*/ 4470860 w 6440043"/>
              <a:gd name="connsiteY50" fmla="*/ 157904 h 1263100"/>
              <a:gd name="connsiteX51" fmla="*/ 4548315 w 6440043"/>
              <a:gd name="connsiteY51" fmla="*/ 129008 h 1263100"/>
              <a:gd name="connsiteX52" fmla="*/ 4592466 w 6440043"/>
              <a:gd name="connsiteY52" fmla="*/ 107144 h 1263100"/>
              <a:gd name="connsiteX53" fmla="*/ 4672601 w 6440043"/>
              <a:gd name="connsiteY53" fmla="*/ 101007 h 1263100"/>
              <a:gd name="connsiteX54" fmla="*/ 4768177 w 6440043"/>
              <a:gd name="connsiteY54" fmla="*/ 99089 h 1263100"/>
              <a:gd name="connsiteX55" fmla="*/ 5202030 w 6440043"/>
              <a:gd name="connsiteY55" fmla="*/ 90395 h 1263100"/>
              <a:gd name="connsiteX56" fmla="*/ 5840050 w 6440043"/>
              <a:gd name="connsiteY56" fmla="*/ 69554 h 1263100"/>
              <a:gd name="connsiteX57" fmla="*/ 6102021 w 6440043"/>
              <a:gd name="connsiteY57" fmla="*/ 32092 h 1263100"/>
              <a:gd name="connsiteX58" fmla="*/ 6235750 w 6440043"/>
              <a:gd name="connsiteY58" fmla="*/ 16621 h 1263100"/>
              <a:gd name="connsiteX59" fmla="*/ 6415926 w 6440043"/>
              <a:gd name="connsiteY59" fmla="*/ 0 h 1263100"/>
              <a:gd name="connsiteX60" fmla="*/ 6440044 w 6440043"/>
              <a:gd name="connsiteY60" fmla="*/ 0 h 1263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6440043" h="1263100">
                <a:moveTo>
                  <a:pt x="0" y="1263100"/>
                </a:moveTo>
                <a:cubicBezTo>
                  <a:pt x="21948" y="1258753"/>
                  <a:pt x="45257" y="1255045"/>
                  <a:pt x="69927" y="1251977"/>
                </a:cubicBezTo>
                <a:cubicBezTo>
                  <a:pt x="114807" y="1246659"/>
                  <a:pt x="160006" y="1244523"/>
                  <a:pt x="205187" y="1245584"/>
                </a:cubicBezTo>
                <a:cubicBezTo>
                  <a:pt x="310078" y="1246735"/>
                  <a:pt x="301783" y="1238296"/>
                  <a:pt x="532874" y="1231264"/>
                </a:cubicBezTo>
                <a:lnTo>
                  <a:pt x="644272" y="1228067"/>
                </a:lnTo>
                <a:cubicBezTo>
                  <a:pt x="742017" y="1225382"/>
                  <a:pt x="738316" y="1225894"/>
                  <a:pt x="759116" y="1224871"/>
                </a:cubicBezTo>
                <a:cubicBezTo>
                  <a:pt x="821131" y="1221930"/>
                  <a:pt x="837082" y="1218606"/>
                  <a:pt x="914920" y="1213748"/>
                </a:cubicBezTo>
                <a:cubicBezTo>
                  <a:pt x="978722" y="1209656"/>
                  <a:pt x="981402" y="1213748"/>
                  <a:pt x="1008837" y="1209017"/>
                </a:cubicBezTo>
                <a:cubicBezTo>
                  <a:pt x="1063579" y="1199811"/>
                  <a:pt x="1063196" y="1187665"/>
                  <a:pt x="1121766" y="1173856"/>
                </a:cubicBezTo>
                <a:cubicBezTo>
                  <a:pt x="1172808" y="1161837"/>
                  <a:pt x="1177019" y="1170404"/>
                  <a:pt x="1266597" y="1154805"/>
                </a:cubicBezTo>
                <a:cubicBezTo>
                  <a:pt x="1299901" y="1148924"/>
                  <a:pt x="1302581" y="1147134"/>
                  <a:pt x="1328612" y="1143554"/>
                </a:cubicBezTo>
                <a:cubicBezTo>
                  <a:pt x="1369063" y="1138056"/>
                  <a:pt x="1379654" y="1140102"/>
                  <a:pt x="1435162" y="1135627"/>
                </a:cubicBezTo>
                <a:cubicBezTo>
                  <a:pt x="1487607" y="1131535"/>
                  <a:pt x="1514404" y="1129234"/>
                  <a:pt x="1540180" y="1121307"/>
                </a:cubicBezTo>
                <a:cubicBezTo>
                  <a:pt x="1572719" y="1111206"/>
                  <a:pt x="1578461" y="1102895"/>
                  <a:pt x="1611765" y="1089470"/>
                </a:cubicBezTo>
                <a:cubicBezTo>
                  <a:pt x="1645070" y="1076045"/>
                  <a:pt x="1674802" y="1071570"/>
                  <a:pt x="1731075" y="1062365"/>
                </a:cubicBezTo>
                <a:cubicBezTo>
                  <a:pt x="1792325" y="1052264"/>
                  <a:pt x="1802278" y="1059168"/>
                  <a:pt x="1842473" y="1047917"/>
                </a:cubicBezTo>
                <a:cubicBezTo>
                  <a:pt x="1872460" y="1039606"/>
                  <a:pt x="1874629" y="1035131"/>
                  <a:pt x="1906275" y="1024008"/>
                </a:cubicBezTo>
                <a:cubicBezTo>
                  <a:pt x="1942770" y="1011222"/>
                  <a:pt x="1955275" y="1013012"/>
                  <a:pt x="2043194" y="1000098"/>
                </a:cubicBezTo>
                <a:cubicBezTo>
                  <a:pt x="2140939" y="985778"/>
                  <a:pt x="2170160" y="977468"/>
                  <a:pt x="2182921" y="973632"/>
                </a:cubicBezTo>
                <a:cubicBezTo>
                  <a:pt x="2209296" y="965495"/>
                  <a:pt x="2235200" y="955890"/>
                  <a:pt x="2260504" y="944864"/>
                </a:cubicBezTo>
                <a:cubicBezTo>
                  <a:pt x="2308100" y="925813"/>
                  <a:pt x="2360290" y="913923"/>
                  <a:pt x="2463011" y="890653"/>
                </a:cubicBezTo>
                <a:cubicBezTo>
                  <a:pt x="2560246" y="868661"/>
                  <a:pt x="2667178" y="844496"/>
                  <a:pt x="2761094" y="835674"/>
                </a:cubicBezTo>
                <a:cubicBezTo>
                  <a:pt x="2770664" y="834779"/>
                  <a:pt x="2803076" y="831966"/>
                  <a:pt x="2847992" y="826980"/>
                </a:cubicBezTo>
                <a:cubicBezTo>
                  <a:pt x="2935656" y="817391"/>
                  <a:pt x="2919195" y="816623"/>
                  <a:pt x="2942930" y="815601"/>
                </a:cubicBezTo>
                <a:cubicBezTo>
                  <a:pt x="2966013" y="816579"/>
                  <a:pt x="2989097" y="813418"/>
                  <a:pt x="3011070" y="806267"/>
                </a:cubicBezTo>
                <a:cubicBezTo>
                  <a:pt x="3021406" y="802303"/>
                  <a:pt x="3020130" y="801408"/>
                  <a:pt x="3045141" y="788878"/>
                </a:cubicBezTo>
                <a:cubicBezTo>
                  <a:pt x="3066438" y="777375"/>
                  <a:pt x="3088577" y="767502"/>
                  <a:pt x="3111367" y="759343"/>
                </a:cubicBezTo>
                <a:cubicBezTo>
                  <a:pt x="3124127" y="754868"/>
                  <a:pt x="3122086" y="756786"/>
                  <a:pt x="3168789" y="745279"/>
                </a:cubicBezTo>
                <a:cubicBezTo>
                  <a:pt x="3208474" y="735562"/>
                  <a:pt x="3207070" y="735050"/>
                  <a:pt x="3229656" y="729936"/>
                </a:cubicBezTo>
                <a:cubicBezTo>
                  <a:pt x="3253696" y="724221"/>
                  <a:pt x="3278018" y="719740"/>
                  <a:pt x="3302518" y="716511"/>
                </a:cubicBezTo>
                <a:cubicBezTo>
                  <a:pt x="3323955" y="713826"/>
                  <a:pt x="3328039" y="714465"/>
                  <a:pt x="3351263" y="711141"/>
                </a:cubicBezTo>
                <a:cubicBezTo>
                  <a:pt x="3367940" y="709326"/>
                  <a:pt x="3384478" y="706422"/>
                  <a:pt x="3400773" y="702447"/>
                </a:cubicBezTo>
                <a:cubicBezTo>
                  <a:pt x="3429062" y="693951"/>
                  <a:pt x="3456395" y="682510"/>
                  <a:pt x="3482312" y="668309"/>
                </a:cubicBezTo>
                <a:cubicBezTo>
                  <a:pt x="3492418" y="662334"/>
                  <a:pt x="3503532" y="658262"/>
                  <a:pt x="3515106" y="656291"/>
                </a:cubicBezTo>
                <a:cubicBezTo>
                  <a:pt x="3525570" y="654501"/>
                  <a:pt x="3527866" y="656291"/>
                  <a:pt x="3535778" y="654884"/>
                </a:cubicBezTo>
                <a:cubicBezTo>
                  <a:pt x="3549814" y="652711"/>
                  <a:pt x="3557981" y="644783"/>
                  <a:pt x="3577249" y="627395"/>
                </a:cubicBezTo>
                <a:cubicBezTo>
                  <a:pt x="3600728" y="606171"/>
                  <a:pt x="3612468" y="595558"/>
                  <a:pt x="3619358" y="590572"/>
                </a:cubicBezTo>
                <a:cubicBezTo>
                  <a:pt x="3633739" y="581121"/>
                  <a:pt x="3648694" y="572580"/>
                  <a:pt x="3664147" y="565001"/>
                </a:cubicBezTo>
                <a:cubicBezTo>
                  <a:pt x="3711361" y="538790"/>
                  <a:pt x="3703449" y="539429"/>
                  <a:pt x="3718251" y="533548"/>
                </a:cubicBezTo>
                <a:cubicBezTo>
                  <a:pt x="3755512" y="518461"/>
                  <a:pt x="3777077" y="525237"/>
                  <a:pt x="3791113" y="505419"/>
                </a:cubicBezTo>
                <a:lnTo>
                  <a:pt x="3801066" y="486624"/>
                </a:lnTo>
                <a:cubicBezTo>
                  <a:pt x="3817400" y="456066"/>
                  <a:pt x="3817400" y="455555"/>
                  <a:pt x="3819186" y="452486"/>
                </a:cubicBezTo>
                <a:cubicBezTo>
                  <a:pt x="3830543" y="433436"/>
                  <a:pt x="3849428" y="424997"/>
                  <a:pt x="3878012" y="412339"/>
                </a:cubicBezTo>
                <a:cubicBezTo>
                  <a:pt x="3913741" y="396485"/>
                  <a:pt x="3919610" y="402238"/>
                  <a:pt x="3940793" y="390220"/>
                </a:cubicBezTo>
                <a:cubicBezTo>
                  <a:pt x="3966313" y="375644"/>
                  <a:pt x="3967717" y="361452"/>
                  <a:pt x="3990941" y="336648"/>
                </a:cubicBezTo>
                <a:cubicBezTo>
                  <a:pt x="4025624" y="301389"/>
                  <a:pt x="4070081" y="277380"/>
                  <a:pt x="4118545" y="267733"/>
                </a:cubicBezTo>
                <a:cubicBezTo>
                  <a:pt x="4157975" y="261212"/>
                  <a:pt x="4168183" y="272591"/>
                  <a:pt x="4200084" y="259038"/>
                </a:cubicBezTo>
                <a:cubicBezTo>
                  <a:pt x="4225605" y="248299"/>
                  <a:pt x="4228667" y="237175"/>
                  <a:pt x="4258909" y="225540"/>
                </a:cubicBezTo>
                <a:cubicBezTo>
                  <a:pt x="4289152" y="213905"/>
                  <a:pt x="4292086" y="221576"/>
                  <a:pt x="4320414" y="211476"/>
                </a:cubicBezTo>
                <a:cubicBezTo>
                  <a:pt x="4356271" y="198690"/>
                  <a:pt x="4354357" y="185904"/>
                  <a:pt x="4387917" y="171968"/>
                </a:cubicBezTo>
                <a:cubicBezTo>
                  <a:pt x="4419307" y="159182"/>
                  <a:pt x="4420839" y="170817"/>
                  <a:pt x="4470860" y="157904"/>
                </a:cubicBezTo>
                <a:cubicBezTo>
                  <a:pt x="4497503" y="150672"/>
                  <a:pt x="4523432" y="141000"/>
                  <a:pt x="4548315" y="129008"/>
                </a:cubicBezTo>
                <a:cubicBezTo>
                  <a:pt x="4562620" y="120900"/>
                  <a:pt x="4577358" y="113601"/>
                  <a:pt x="4592466" y="107144"/>
                </a:cubicBezTo>
                <a:cubicBezTo>
                  <a:pt x="4620411" y="97555"/>
                  <a:pt x="4641466" y="99984"/>
                  <a:pt x="4672601" y="101007"/>
                </a:cubicBezTo>
                <a:cubicBezTo>
                  <a:pt x="4703737" y="102030"/>
                  <a:pt x="4736403" y="98834"/>
                  <a:pt x="4768177" y="99089"/>
                </a:cubicBezTo>
                <a:cubicBezTo>
                  <a:pt x="4783872" y="99089"/>
                  <a:pt x="4766390" y="99089"/>
                  <a:pt x="5202030" y="90395"/>
                </a:cubicBezTo>
                <a:cubicBezTo>
                  <a:pt x="5742178" y="79911"/>
                  <a:pt x="5770378" y="80550"/>
                  <a:pt x="5840050" y="69554"/>
                </a:cubicBezTo>
                <a:cubicBezTo>
                  <a:pt x="5864805" y="65719"/>
                  <a:pt x="5967654" y="48969"/>
                  <a:pt x="6102021" y="32092"/>
                </a:cubicBezTo>
                <a:cubicBezTo>
                  <a:pt x="6191343" y="20969"/>
                  <a:pt x="6171437" y="25188"/>
                  <a:pt x="6235750" y="16621"/>
                </a:cubicBezTo>
                <a:cubicBezTo>
                  <a:pt x="6295366" y="7061"/>
                  <a:pt x="6355570" y="1508"/>
                  <a:pt x="6415926" y="0"/>
                </a:cubicBezTo>
                <a:cubicBezTo>
                  <a:pt x="6426135" y="0"/>
                  <a:pt x="6434429" y="0"/>
                  <a:pt x="6440044" y="0"/>
                </a:cubicBezTo>
              </a:path>
            </a:pathLst>
          </a:custGeom>
          <a:noFill/>
          <a:ln w="34925" cap="flat">
            <a:solidFill>
              <a:schemeClr val="accent1"/>
            </a:solidFill>
            <a:prstDash val="dash"/>
            <a:miter/>
          </a:ln>
        </p:spPr>
        <p:txBody>
          <a:bodyPr lIns="0" tIns="0" rIns="0" bIns="0" rtlCol="0" anchor="ctr">
            <a:noAutofit/>
          </a:bodyPr>
          <a:lstStyle/>
          <a:p>
            <a:pPr defTabSz="685222">
              <a:defRPr/>
            </a:pPr>
            <a:endParaRPr lang="en-US" sz="1200">
              <a:solidFill>
                <a:srgbClr val="34373F"/>
              </a:solidFill>
            </a:endParaRPr>
          </a:p>
        </p:txBody>
      </p:sp>
      <p:sp>
        <p:nvSpPr>
          <p:cNvPr id="123" name="Graphic 110">
            <a:extLst>
              <a:ext uri="{FF2B5EF4-FFF2-40B4-BE49-F238E27FC236}">
                <a16:creationId xmlns="" xmlns:a16="http://schemas.microsoft.com/office/drawing/2014/main" id="{0ACD79E3-C1AB-48E4-A5CE-55F5A8B6EE2A}"/>
              </a:ext>
            </a:extLst>
          </p:cNvPr>
          <p:cNvSpPr/>
          <p:nvPr/>
        </p:nvSpPr>
        <p:spPr>
          <a:xfrm>
            <a:off x="4003623" y="3132828"/>
            <a:ext cx="4778670" cy="745943"/>
          </a:xfrm>
          <a:custGeom>
            <a:avLst/>
            <a:gdLst>
              <a:gd name="connsiteX0" fmla="*/ 0 w 6449996"/>
              <a:gd name="connsiteY0" fmla="*/ 961613 h 961613"/>
              <a:gd name="connsiteX1" fmla="*/ 76562 w 6449996"/>
              <a:gd name="connsiteY1" fmla="*/ 956627 h 961613"/>
              <a:gd name="connsiteX2" fmla="*/ 211057 w 6449996"/>
              <a:gd name="connsiteY2" fmla="*/ 946782 h 961613"/>
              <a:gd name="connsiteX3" fmla="*/ 382174 w 6449996"/>
              <a:gd name="connsiteY3" fmla="*/ 935530 h 961613"/>
              <a:gd name="connsiteX4" fmla="*/ 572431 w 6449996"/>
              <a:gd name="connsiteY4" fmla="*/ 919804 h 961613"/>
              <a:gd name="connsiteX5" fmla="*/ 707819 w 6449996"/>
              <a:gd name="connsiteY5" fmla="*/ 921594 h 961613"/>
              <a:gd name="connsiteX6" fmla="*/ 788592 w 6449996"/>
              <a:gd name="connsiteY6" fmla="*/ 921594 h 961613"/>
              <a:gd name="connsiteX7" fmla="*/ 911092 w 6449996"/>
              <a:gd name="connsiteY7" fmla="*/ 912900 h 961613"/>
              <a:gd name="connsiteX8" fmla="*/ 1037930 w 6449996"/>
              <a:gd name="connsiteY8" fmla="*/ 887328 h 961613"/>
              <a:gd name="connsiteX9" fmla="*/ 1110792 w 6449996"/>
              <a:gd name="connsiteY9" fmla="*/ 884643 h 961613"/>
              <a:gd name="connsiteX10" fmla="*/ 1393945 w 6449996"/>
              <a:gd name="connsiteY10" fmla="*/ 823783 h 961613"/>
              <a:gd name="connsiteX11" fmla="*/ 1480844 w 6449996"/>
              <a:gd name="connsiteY11" fmla="*/ 815856 h 961613"/>
              <a:gd name="connsiteX12" fmla="*/ 1676205 w 6449996"/>
              <a:gd name="connsiteY12" fmla="*/ 795016 h 961613"/>
              <a:gd name="connsiteX13" fmla="*/ 1973267 w 6449996"/>
              <a:gd name="connsiteY13" fmla="*/ 761901 h 961613"/>
              <a:gd name="connsiteX14" fmla="*/ 2179093 w 6449996"/>
              <a:gd name="connsiteY14" fmla="*/ 729808 h 961613"/>
              <a:gd name="connsiteX15" fmla="*/ 2333749 w 6449996"/>
              <a:gd name="connsiteY15" fmla="*/ 687999 h 961613"/>
              <a:gd name="connsiteX16" fmla="*/ 2428431 w 6449996"/>
              <a:gd name="connsiteY16" fmla="*/ 670611 h 961613"/>
              <a:gd name="connsiteX17" fmla="*/ 2476155 w 6449996"/>
              <a:gd name="connsiteY17" fmla="*/ 655779 h 961613"/>
              <a:gd name="connsiteX18" fmla="*/ 2607331 w 6449996"/>
              <a:gd name="connsiteY18" fmla="*/ 630208 h 961613"/>
              <a:gd name="connsiteX19" fmla="*/ 2697675 w 6449996"/>
              <a:gd name="connsiteY19" fmla="*/ 613586 h 961613"/>
              <a:gd name="connsiteX20" fmla="*/ 2920854 w 6449996"/>
              <a:gd name="connsiteY20" fmla="*/ 598883 h 961613"/>
              <a:gd name="connsiteX21" fmla="*/ 3140588 w 6449996"/>
              <a:gd name="connsiteY21" fmla="*/ 563978 h 961613"/>
              <a:gd name="connsiteX22" fmla="*/ 3211664 w 6449996"/>
              <a:gd name="connsiteY22" fmla="*/ 530607 h 961613"/>
              <a:gd name="connsiteX23" fmla="*/ 3256835 w 6449996"/>
              <a:gd name="connsiteY23" fmla="*/ 521018 h 961613"/>
              <a:gd name="connsiteX24" fmla="*/ 3337609 w 6449996"/>
              <a:gd name="connsiteY24" fmla="*/ 495446 h 961613"/>
              <a:gd name="connsiteX25" fmla="*/ 3381887 w 6449996"/>
              <a:gd name="connsiteY25" fmla="*/ 441491 h 961613"/>
              <a:gd name="connsiteX26" fmla="*/ 3444413 w 6449996"/>
              <a:gd name="connsiteY26" fmla="*/ 417070 h 961613"/>
              <a:gd name="connsiteX27" fmla="*/ 3531311 w 6449996"/>
              <a:gd name="connsiteY27" fmla="*/ 390092 h 961613"/>
              <a:gd name="connsiteX28" fmla="*/ 3613744 w 6449996"/>
              <a:gd name="connsiteY28" fmla="*/ 354420 h 961613"/>
              <a:gd name="connsiteX29" fmla="*/ 3689285 w 6449996"/>
              <a:gd name="connsiteY29" fmla="*/ 341634 h 961613"/>
              <a:gd name="connsiteX30" fmla="*/ 3745814 w 6449996"/>
              <a:gd name="connsiteY30" fmla="*/ 313761 h 961613"/>
              <a:gd name="connsiteX31" fmla="*/ 3847897 w 6449996"/>
              <a:gd name="connsiteY31" fmla="*/ 286016 h 961613"/>
              <a:gd name="connsiteX32" fmla="*/ 3934795 w 6449996"/>
              <a:gd name="connsiteY32" fmla="*/ 256353 h 961613"/>
              <a:gd name="connsiteX33" fmla="*/ 4003319 w 6449996"/>
              <a:gd name="connsiteY33" fmla="*/ 217996 h 961613"/>
              <a:gd name="connsiteX34" fmla="*/ 4069417 w 6449996"/>
              <a:gd name="connsiteY34" fmla="*/ 210069 h 961613"/>
              <a:gd name="connsiteX35" fmla="*/ 4137175 w 6449996"/>
              <a:gd name="connsiteY35" fmla="*/ 184498 h 961613"/>
              <a:gd name="connsiteX36" fmla="*/ 4263886 w 6449996"/>
              <a:gd name="connsiteY36" fmla="*/ 130542 h 961613"/>
              <a:gd name="connsiteX37" fmla="*/ 4355123 w 6449996"/>
              <a:gd name="connsiteY37" fmla="*/ 114944 h 961613"/>
              <a:gd name="connsiteX38" fmla="*/ 4532237 w 6449996"/>
              <a:gd name="connsiteY38" fmla="*/ 83619 h 961613"/>
              <a:gd name="connsiteX39" fmla="*/ 4635596 w 6449996"/>
              <a:gd name="connsiteY39" fmla="*/ 75691 h 961613"/>
              <a:gd name="connsiteX40" fmla="*/ 4791145 w 6449996"/>
              <a:gd name="connsiteY40" fmla="*/ 71344 h 961613"/>
              <a:gd name="connsiteX41" fmla="*/ 4864007 w 6449996"/>
              <a:gd name="connsiteY41" fmla="*/ 58559 h 961613"/>
              <a:gd name="connsiteX42" fmla="*/ 5051713 w 6449996"/>
              <a:gd name="connsiteY42" fmla="*/ 47307 h 961613"/>
              <a:gd name="connsiteX43" fmla="*/ 5729034 w 6449996"/>
              <a:gd name="connsiteY43" fmla="*/ 23781 h 961613"/>
              <a:gd name="connsiteX44" fmla="*/ 6449997 w 6449996"/>
              <a:gd name="connsiteY44" fmla="*/ 0 h 961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6449996" h="961613">
                <a:moveTo>
                  <a:pt x="0" y="961613"/>
                </a:moveTo>
                <a:lnTo>
                  <a:pt x="76562" y="956627"/>
                </a:lnTo>
                <a:cubicBezTo>
                  <a:pt x="136664" y="952535"/>
                  <a:pt x="170734" y="949850"/>
                  <a:pt x="211057" y="946782"/>
                </a:cubicBezTo>
                <a:cubicBezTo>
                  <a:pt x="318627" y="938855"/>
                  <a:pt x="308674" y="941284"/>
                  <a:pt x="382174" y="935530"/>
                </a:cubicBezTo>
                <a:cubicBezTo>
                  <a:pt x="512840" y="925174"/>
                  <a:pt x="510416" y="920060"/>
                  <a:pt x="572431" y="919804"/>
                </a:cubicBezTo>
                <a:cubicBezTo>
                  <a:pt x="597952" y="919804"/>
                  <a:pt x="603822" y="920571"/>
                  <a:pt x="707819" y="921594"/>
                </a:cubicBezTo>
                <a:cubicBezTo>
                  <a:pt x="758861" y="921594"/>
                  <a:pt x="772514" y="921594"/>
                  <a:pt x="788592" y="921594"/>
                </a:cubicBezTo>
                <a:cubicBezTo>
                  <a:pt x="829575" y="921480"/>
                  <a:pt x="870503" y="918575"/>
                  <a:pt x="911092" y="912900"/>
                </a:cubicBezTo>
                <a:cubicBezTo>
                  <a:pt x="971704" y="903310"/>
                  <a:pt x="979743" y="892826"/>
                  <a:pt x="1037930" y="887328"/>
                </a:cubicBezTo>
                <a:cubicBezTo>
                  <a:pt x="1070725" y="883876"/>
                  <a:pt x="1083230" y="885666"/>
                  <a:pt x="1110792" y="884643"/>
                </a:cubicBezTo>
                <a:cubicBezTo>
                  <a:pt x="1223722" y="880680"/>
                  <a:pt x="1253581" y="842578"/>
                  <a:pt x="1393945" y="823783"/>
                </a:cubicBezTo>
                <a:cubicBezTo>
                  <a:pt x="1413341" y="821098"/>
                  <a:pt x="1399560" y="823783"/>
                  <a:pt x="1480844" y="815856"/>
                </a:cubicBezTo>
                <a:cubicBezTo>
                  <a:pt x="1564680" y="807929"/>
                  <a:pt x="1622229" y="801153"/>
                  <a:pt x="1676205" y="795016"/>
                </a:cubicBezTo>
                <a:cubicBezTo>
                  <a:pt x="1871312" y="772768"/>
                  <a:pt x="1864166" y="775709"/>
                  <a:pt x="1973267" y="761901"/>
                </a:cubicBezTo>
                <a:cubicBezTo>
                  <a:pt x="2082369" y="748092"/>
                  <a:pt x="2138387" y="741060"/>
                  <a:pt x="2179093" y="729808"/>
                </a:cubicBezTo>
                <a:cubicBezTo>
                  <a:pt x="2245829" y="711397"/>
                  <a:pt x="2272626" y="695415"/>
                  <a:pt x="2333749" y="687999"/>
                </a:cubicBezTo>
                <a:cubicBezTo>
                  <a:pt x="2365701" y="684587"/>
                  <a:pt x="2397346" y="678774"/>
                  <a:pt x="2428431" y="670611"/>
                </a:cubicBezTo>
                <a:cubicBezTo>
                  <a:pt x="2451910" y="664346"/>
                  <a:pt x="2452165" y="662683"/>
                  <a:pt x="2476155" y="655779"/>
                </a:cubicBezTo>
                <a:cubicBezTo>
                  <a:pt x="2519297" y="644461"/>
                  <a:pt x="2563104" y="635920"/>
                  <a:pt x="2607331" y="630208"/>
                </a:cubicBezTo>
                <a:cubicBezTo>
                  <a:pt x="2660159" y="621258"/>
                  <a:pt x="2666922" y="618701"/>
                  <a:pt x="2697675" y="613586"/>
                </a:cubicBezTo>
                <a:cubicBezTo>
                  <a:pt x="2775769" y="600801"/>
                  <a:pt x="2795420" y="606682"/>
                  <a:pt x="2920854" y="598883"/>
                </a:cubicBezTo>
                <a:cubicBezTo>
                  <a:pt x="3101414" y="587503"/>
                  <a:pt x="3130635" y="570498"/>
                  <a:pt x="3140588" y="563978"/>
                </a:cubicBezTo>
                <a:cubicBezTo>
                  <a:pt x="3162370" y="549165"/>
                  <a:pt x="3186360" y="537903"/>
                  <a:pt x="3211664" y="530607"/>
                </a:cubicBezTo>
                <a:cubicBezTo>
                  <a:pt x="3227359" y="526004"/>
                  <a:pt x="3228507" y="527538"/>
                  <a:pt x="3256835" y="521018"/>
                </a:cubicBezTo>
                <a:cubicBezTo>
                  <a:pt x="3300731" y="511045"/>
                  <a:pt x="3322679" y="506058"/>
                  <a:pt x="3337609" y="495446"/>
                </a:cubicBezTo>
                <a:cubicBezTo>
                  <a:pt x="3363130" y="476523"/>
                  <a:pt x="3354708" y="462076"/>
                  <a:pt x="3381887" y="441491"/>
                </a:cubicBezTo>
                <a:cubicBezTo>
                  <a:pt x="3392096" y="433819"/>
                  <a:pt x="3399369" y="431134"/>
                  <a:pt x="3444413" y="417070"/>
                </a:cubicBezTo>
                <a:cubicBezTo>
                  <a:pt x="3520210" y="393544"/>
                  <a:pt x="3516509" y="395718"/>
                  <a:pt x="3531311" y="390092"/>
                </a:cubicBezTo>
                <a:cubicBezTo>
                  <a:pt x="3582353" y="370913"/>
                  <a:pt x="3578653" y="362986"/>
                  <a:pt x="3613744" y="354420"/>
                </a:cubicBezTo>
                <a:cubicBezTo>
                  <a:pt x="3648835" y="345853"/>
                  <a:pt x="3656364" y="352374"/>
                  <a:pt x="3689285" y="341634"/>
                </a:cubicBezTo>
                <a:cubicBezTo>
                  <a:pt x="3715572" y="332940"/>
                  <a:pt x="3716720" y="326803"/>
                  <a:pt x="3745814" y="313761"/>
                </a:cubicBezTo>
                <a:cubicBezTo>
                  <a:pt x="3779118" y="298930"/>
                  <a:pt x="3784733" y="303789"/>
                  <a:pt x="3847897" y="286016"/>
                </a:cubicBezTo>
                <a:cubicBezTo>
                  <a:pt x="3877807" y="279163"/>
                  <a:pt x="3906926" y="269222"/>
                  <a:pt x="3934795" y="256353"/>
                </a:cubicBezTo>
                <a:cubicBezTo>
                  <a:pt x="3969886" y="237942"/>
                  <a:pt x="3973076" y="226563"/>
                  <a:pt x="4003319" y="217996"/>
                </a:cubicBezTo>
                <a:cubicBezTo>
                  <a:pt x="4029732" y="210453"/>
                  <a:pt x="4037134" y="216590"/>
                  <a:pt x="4069417" y="210069"/>
                </a:cubicBezTo>
                <a:cubicBezTo>
                  <a:pt x="4092986" y="204422"/>
                  <a:pt x="4115750" y="195831"/>
                  <a:pt x="4137175" y="184498"/>
                </a:cubicBezTo>
                <a:cubicBezTo>
                  <a:pt x="4209016" y="152406"/>
                  <a:pt x="4245384" y="136168"/>
                  <a:pt x="4263886" y="130542"/>
                </a:cubicBezTo>
                <a:cubicBezTo>
                  <a:pt x="4285323" y="124149"/>
                  <a:pt x="4283026" y="126962"/>
                  <a:pt x="4355123" y="114944"/>
                </a:cubicBezTo>
                <a:cubicBezTo>
                  <a:pt x="4457206" y="97811"/>
                  <a:pt x="4468052" y="91162"/>
                  <a:pt x="4532237" y="83619"/>
                </a:cubicBezTo>
                <a:cubicBezTo>
                  <a:pt x="4580471" y="77865"/>
                  <a:pt x="4619901" y="76203"/>
                  <a:pt x="4635596" y="75691"/>
                </a:cubicBezTo>
                <a:cubicBezTo>
                  <a:pt x="4704758" y="73518"/>
                  <a:pt x="4731810" y="78504"/>
                  <a:pt x="4791145" y="71344"/>
                </a:cubicBezTo>
                <a:cubicBezTo>
                  <a:pt x="4823557" y="67509"/>
                  <a:pt x="4831723" y="63929"/>
                  <a:pt x="4864007" y="58559"/>
                </a:cubicBezTo>
                <a:cubicBezTo>
                  <a:pt x="4926010" y="48231"/>
                  <a:pt x="4988919" y="44460"/>
                  <a:pt x="5051713" y="47307"/>
                </a:cubicBezTo>
                <a:cubicBezTo>
                  <a:pt x="5277572" y="52166"/>
                  <a:pt x="5503175" y="28640"/>
                  <a:pt x="5729034" y="23781"/>
                </a:cubicBezTo>
                <a:cubicBezTo>
                  <a:pt x="5901938" y="19179"/>
                  <a:pt x="6146427" y="12402"/>
                  <a:pt x="6449997" y="0"/>
                </a:cubicBezTo>
              </a:path>
            </a:pathLst>
          </a:custGeom>
          <a:noFill/>
          <a:ln w="34925" cap="flat">
            <a:solidFill>
              <a:schemeClr val="accent3"/>
            </a:solidFill>
            <a:prstDash val="dash"/>
            <a:miter/>
          </a:ln>
        </p:spPr>
        <p:txBody>
          <a:bodyPr lIns="0" tIns="0" rIns="0" bIns="0" rtlCol="0" anchor="ctr">
            <a:noAutofit/>
          </a:bodyPr>
          <a:lstStyle/>
          <a:p>
            <a:pPr defTabSz="685222">
              <a:defRPr/>
            </a:pPr>
            <a:endParaRPr lang="en-US" sz="1200">
              <a:solidFill>
                <a:srgbClr val="34373F"/>
              </a:solidFill>
            </a:endParaRPr>
          </a:p>
        </p:txBody>
      </p:sp>
      <p:sp>
        <p:nvSpPr>
          <p:cNvPr id="124" name="TextBox 123">
            <a:extLst>
              <a:ext uri="{FF2B5EF4-FFF2-40B4-BE49-F238E27FC236}">
                <a16:creationId xmlns="" xmlns:a16="http://schemas.microsoft.com/office/drawing/2014/main" id="{A4D1A405-29A9-4C17-BC7A-137033C05EFA}"/>
              </a:ext>
            </a:extLst>
          </p:cNvPr>
          <p:cNvSpPr txBox="1"/>
          <p:nvPr/>
        </p:nvSpPr>
        <p:spPr>
          <a:xfrm>
            <a:off x="3772560" y="1447538"/>
            <a:ext cx="153241" cy="98763"/>
          </a:xfrm>
          <a:prstGeom prst="rect">
            <a:avLst/>
          </a:prstGeom>
          <a:noFill/>
        </p:spPr>
        <p:txBody>
          <a:bodyPr wrap="square" lIns="0" tIns="0" rIns="0" bIns="0" rtlCol="0">
            <a:noAutofit/>
          </a:bodyPr>
          <a:lstStyle/>
          <a:p>
            <a:pPr algn="r" defTabSz="685222">
              <a:defRPr/>
            </a:pPr>
            <a:r>
              <a:rPr lang="es" sz="800">
                <a:solidFill>
                  <a:srgbClr val="34373F"/>
                </a:solidFill>
              </a:rPr>
              <a:t>10</a:t>
            </a:r>
          </a:p>
        </p:txBody>
      </p:sp>
      <p:sp>
        <p:nvSpPr>
          <p:cNvPr id="125" name="TextBox 124">
            <a:extLst>
              <a:ext uri="{FF2B5EF4-FFF2-40B4-BE49-F238E27FC236}">
                <a16:creationId xmlns="" xmlns:a16="http://schemas.microsoft.com/office/drawing/2014/main" id="{EE95419D-054C-4502-B195-E78597EA8BCA}"/>
              </a:ext>
            </a:extLst>
          </p:cNvPr>
          <p:cNvSpPr txBox="1"/>
          <p:nvPr/>
        </p:nvSpPr>
        <p:spPr>
          <a:xfrm>
            <a:off x="3772560" y="1920785"/>
            <a:ext cx="153241" cy="98763"/>
          </a:xfrm>
          <a:prstGeom prst="rect">
            <a:avLst/>
          </a:prstGeom>
          <a:noFill/>
        </p:spPr>
        <p:txBody>
          <a:bodyPr wrap="square" lIns="0" tIns="0" rIns="0" bIns="0" rtlCol="0">
            <a:noAutofit/>
          </a:bodyPr>
          <a:lstStyle/>
          <a:p>
            <a:pPr algn="r" defTabSz="685222">
              <a:defRPr/>
            </a:pPr>
            <a:r>
              <a:rPr lang="es" sz="800">
                <a:solidFill>
                  <a:srgbClr val="34373F"/>
                </a:solidFill>
              </a:rPr>
              <a:t>8</a:t>
            </a:r>
          </a:p>
        </p:txBody>
      </p:sp>
      <p:sp>
        <p:nvSpPr>
          <p:cNvPr id="126" name="TextBox 125">
            <a:extLst>
              <a:ext uri="{FF2B5EF4-FFF2-40B4-BE49-F238E27FC236}">
                <a16:creationId xmlns="" xmlns:a16="http://schemas.microsoft.com/office/drawing/2014/main" id="{A4569E08-BEC2-4BFC-A3CF-74A676A19F6E}"/>
              </a:ext>
            </a:extLst>
          </p:cNvPr>
          <p:cNvSpPr txBox="1"/>
          <p:nvPr/>
        </p:nvSpPr>
        <p:spPr>
          <a:xfrm>
            <a:off x="3772560" y="2399147"/>
            <a:ext cx="153241" cy="98763"/>
          </a:xfrm>
          <a:prstGeom prst="rect">
            <a:avLst/>
          </a:prstGeom>
          <a:noFill/>
        </p:spPr>
        <p:txBody>
          <a:bodyPr wrap="square" lIns="0" tIns="0" rIns="0" bIns="0" rtlCol="0">
            <a:noAutofit/>
          </a:bodyPr>
          <a:lstStyle/>
          <a:p>
            <a:pPr algn="r" defTabSz="685222">
              <a:defRPr/>
            </a:pPr>
            <a:r>
              <a:rPr lang="es" sz="800">
                <a:solidFill>
                  <a:srgbClr val="34373F"/>
                </a:solidFill>
              </a:rPr>
              <a:t>6</a:t>
            </a:r>
          </a:p>
        </p:txBody>
      </p:sp>
      <p:sp>
        <p:nvSpPr>
          <p:cNvPr id="127" name="TextBox 126">
            <a:extLst>
              <a:ext uri="{FF2B5EF4-FFF2-40B4-BE49-F238E27FC236}">
                <a16:creationId xmlns="" xmlns:a16="http://schemas.microsoft.com/office/drawing/2014/main" id="{60FFB40C-377D-4B4E-9857-175A76D7E989}"/>
              </a:ext>
            </a:extLst>
          </p:cNvPr>
          <p:cNvSpPr txBox="1"/>
          <p:nvPr/>
        </p:nvSpPr>
        <p:spPr>
          <a:xfrm>
            <a:off x="3772560" y="2874953"/>
            <a:ext cx="153241" cy="98763"/>
          </a:xfrm>
          <a:prstGeom prst="rect">
            <a:avLst/>
          </a:prstGeom>
          <a:noFill/>
        </p:spPr>
        <p:txBody>
          <a:bodyPr wrap="square" lIns="0" tIns="0" rIns="0" bIns="0" rtlCol="0">
            <a:noAutofit/>
          </a:bodyPr>
          <a:lstStyle/>
          <a:p>
            <a:pPr algn="r" defTabSz="685222">
              <a:defRPr/>
            </a:pPr>
            <a:r>
              <a:rPr lang="es" sz="800">
                <a:solidFill>
                  <a:srgbClr val="34373F"/>
                </a:solidFill>
              </a:rPr>
              <a:t>4</a:t>
            </a:r>
          </a:p>
        </p:txBody>
      </p:sp>
      <p:sp>
        <p:nvSpPr>
          <p:cNvPr id="128" name="TextBox 127">
            <a:extLst>
              <a:ext uri="{FF2B5EF4-FFF2-40B4-BE49-F238E27FC236}">
                <a16:creationId xmlns="" xmlns:a16="http://schemas.microsoft.com/office/drawing/2014/main" id="{8118B610-705A-48D6-93AE-07A2A46DDAEB}"/>
              </a:ext>
            </a:extLst>
          </p:cNvPr>
          <p:cNvSpPr txBox="1"/>
          <p:nvPr/>
        </p:nvSpPr>
        <p:spPr>
          <a:xfrm>
            <a:off x="3772560" y="3348197"/>
            <a:ext cx="153241" cy="98763"/>
          </a:xfrm>
          <a:prstGeom prst="rect">
            <a:avLst/>
          </a:prstGeom>
          <a:noFill/>
        </p:spPr>
        <p:txBody>
          <a:bodyPr wrap="square" lIns="0" tIns="0" rIns="0" bIns="0" rtlCol="0">
            <a:noAutofit/>
          </a:bodyPr>
          <a:lstStyle/>
          <a:p>
            <a:pPr algn="r" defTabSz="685222">
              <a:defRPr/>
            </a:pPr>
            <a:r>
              <a:rPr lang="es" sz="800">
                <a:solidFill>
                  <a:srgbClr val="34373F"/>
                </a:solidFill>
              </a:rPr>
              <a:t>2</a:t>
            </a:r>
          </a:p>
        </p:txBody>
      </p:sp>
      <p:grpSp>
        <p:nvGrpSpPr>
          <p:cNvPr id="150" name="Group 149">
            <a:extLst>
              <a:ext uri="{FF2B5EF4-FFF2-40B4-BE49-F238E27FC236}">
                <a16:creationId xmlns="" xmlns:a16="http://schemas.microsoft.com/office/drawing/2014/main" id="{FDD7364A-EA5C-4D5A-807D-24D7AC7C22A6}"/>
              </a:ext>
            </a:extLst>
          </p:cNvPr>
          <p:cNvGrpSpPr/>
          <p:nvPr/>
        </p:nvGrpSpPr>
        <p:grpSpPr>
          <a:xfrm>
            <a:off x="3960183" y="1477151"/>
            <a:ext cx="26652" cy="2419357"/>
            <a:chOff x="4473610" y="1388717"/>
            <a:chExt cx="40131" cy="3862640"/>
          </a:xfrm>
        </p:grpSpPr>
        <p:cxnSp>
          <p:nvCxnSpPr>
            <p:cNvPr id="189" name="Straight Connector 188">
              <a:extLst>
                <a:ext uri="{FF2B5EF4-FFF2-40B4-BE49-F238E27FC236}">
                  <a16:creationId xmlns="" xmlns:a16="http://schemas.microsoft.com/office/drawing/2014/main" id="{89766FC1-0C17-4733-A821-AEDDD56F0420}"/>
                </a:ext>
              </a:extLst>
            </p:cNvPr>
            <p:cNvCxnSpPr>
              <a:cxnSpLocks/>
            </p:cNvCxnSpPr>
            <p:nvPr/>
          </p:nvCxnSpPr>
          <p:spPr>
            <a:xfrm flipH="1">
              <a:off x="4473610" y="1423944"/>
              <a:ext cx="40131"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0" name="Straight Connector 189">
              <a:extLst>
                <a:ext uri="{FF2B5EF4-FFF2-40B4-BE49-F238E27FC236}">
                  <a16:creationId xmlns="" xmlns:a16="http://schemas.microsoft.com/office/drawing/2014/main" id="{DF8438D2-4062-4D8F-8292-5623F503DF59}"/>
                </a:ext>
              </a:extLst>
            </p:cNvPr>
            <p:cNvCxnSpPr>
              <a:cxnSpLocks/>
            </p:cNvCxnSpPr>
            <p:nvPr/>
          </p:nvCxnSpPr>
          <p:spPr>
            <a:xfrm flipH="1">
              <a:off x="4473610" y="2183593"/>
              <a:ext cx="40131"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 xmlns:a16="http://schemas.microsoft.com/office/drawing/2014/main" id="{238183ED-2487-41C0-A691-A7FFE5CB1155}"/>
                </a:ext>
              </a:extLst>
            </p:cNvPr>
            <p:cNvCxnSpPr>
              <a:cxnSpLocks/>
            </p:cNvCxnSpPr>
            <p:nvPr/>
          </p:nvCxnSpPr>
          <p:spPr>
            <a:xfrm flipH="1">
              <a:off x="4473610" y="2939157"/>
              <a:ext cx="40131"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 xmlns:a16="http://schemas.microsoft.com/office/drawing/2014/main" id="{A4389F4E-A5EA-4624-A401-A3E42ECEE105}"/>
                </a:ext>
              </a:extLst>
            </p:cNvPr>
            <p:cNvCxnSpPr>
              <a:cxnSpLocks/>
            </p:cNvCxnSpPr>
            <p:nvPr/>
          </p:nvCxnSpPr>
          <p:spPr>
            <a:xfrm flipH="1">
              <a:off x="4473610" y="3702890"/>
              <a:ext cx="40131"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3" name="Straight Connector 192">
              <a:extLst>
                <a:ext uri="{FF2B5EF4-FFF2-40B4-BE49-F238E27FC236}">
                  <a16:creationId xmlns="" xmlns:a16="http://schemas.microsoft.com/office/drawing/2014/main" id="{2D015523-3AC4-4D28-8B8F-177F740E9D51}"/>
                </a:ext>
              </a:extLst>
            </p:cNvPr>
            <p:cNvCxnSpPr>
              <a:cxnSpLocks/>
            </p:cNvCxnSpPr>
            <p:nvPr/>
          </p:nvCxnSpPr>
          <p:spPr>
            <a:xfrm flipH="1">
              <a:off x="4473610" y="4458454"/>
              <a:ext cx="40131"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 xmlns:a16="http://schemas.microsoft.com/office/drawing/2014/main" id="{94D13574-1432-4CCD-8C8C-19755E34EB76}"/>
                </a:ext>
              </a:extLst>
            </p:cNvPr>
            <p:cNvCxnSpPr>
              <a:cxnSpLocks/>
            </p:cNvCxnSpPr>
            <p:nvPr/>
          </p:nvCxnSpPr>
          <p:spPr>
            <a:xfrm flipH="1">
              <a:off x="4473610" y="5222186"/>
              <a:ext cx="40131"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5" name="Straight Connector 194">
              <a:extLst>
                <a:ext uri="{FF2B5EF4-FFF2-40B4-BE49-F238E27FC236}">
                  <a16:creationId xmlns="" xmlns:a16="http://schemas.microsoft.com/office/drawing/2014/main" id="{7EAD4F29-8F3B-40C9-9E9A-6960E00DF2CB}"/>
                </a:ext>
              </a:extLst>
            </p:cNvPr>
            <p:cNvCxnSpPr>
              <a:cxnSpLocks/>
            </p:cNvCxnSpPr>
            <p:nvPr/>
          </p:nvCxnSpPr>
          <p:spPr>
            <a:xfrm flipV="1">
              <a:off x="4513741" y="1388717"/>
              <a:ext cx="0" cy="386264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151" name="Group 150">
            <a:extLst>
              <a:ext uri="{FF2B5EF4-FFF2-40B4-BE49-F238E27FC236}">
                <a16:creationId xmlns="" xmlns:a16="http://schemas.microsoft.com/office/drawing/2014/main" id="{25BE20D6-8FC9-4D59-A7B5-5BEF7D25C6DB}"/>
              </a:ext>
            </a:extLst>
          </p:cNvPr>
          <p:cNvGrpSpPr/>
          <p:nvPr/>
        </p:nvGrpSpPr>
        <p:grpSpPr>
          <a:xfrm>
            <a:off x="3986841" y="3898133"/>
            <a:ext cx="4768499" cy="55127"/>
            <a:chOff x="4513741" y="5253904"/>
            <a:chExt cx="7179979" cy="88012"/>
          </a:xfrm>
        </p:grpSpPr>
        <p:cxnSp>
          <p:nvCxnSpPr>
            <p:cNvPr id="162" name="Straight Connector 161">
              <a:extLst>
                <a:ext uri="{FF2B5EF4-FFF2-40B4-BE49-F238E27FC236}">
                  <a16:creationId xmlns="" xmlns:a16="http://schemas.microsoft.com/office/drawing/2014/main" id="{44E2530A-2536-4F85-882D-5AD42D0C1E10}"/>
                </a:ext>
              </a:extLst>
            </p:cNvPr>
            <p:cNvCxnSpPr>
              <a:cxnSpLocks/>
            </p:cNvCxnSpPr>
            <p:nvPr/>
          </p:nvCxnSpPr>
          <p:spPr>
            <a:xfrm flipH="1">
              <a:off x="4513741" y="5255675"/>
              <a:ext cx="7179979"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 xmlns:a16="http://schemas.microsoft.com/office/drawing/2014/main" id="{C3C17C30-7573-428F-9BE3-EC8B2EF26956}"/>
                </a:ext>
              </a:extLst>
            </p:cNvPr>
            <p:cNvCxnSpPr>
              <a:cxnSpLocks/>
            </p:cNvCxnSpPr>
            <p:nvPr/>
          </p:nvCxnSpPr>
          <p:spPr>
            <a:xfrm flipV="1">
              <a:off x="4551782" y="5253904"/>
              <a:ext cx="0" cy="4454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 xmlns:a16="http://schemas.microsoft.com/office/drawing/2014/main" id="{04D14EA3-AA70-4778-BFDC-79CA9751BB59}"/>
                </a:ext>
              </a:extLst>
            </p:cNvPr>
            <p:cNvCxnSpPr>
              <a:cxnSpLocks/>
            </p:cNvCxnSpPr>
            <p:nvPr/>
          </p:nvCxnSpPr>
          <p:spPr>
            <a:xfrm flipH="1" flipV="1">
              <a:off x="4919770" y="5253907"/>
              <a:ext cx="613" cy="8800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 xmlns:a16="http://schemas.microsoft.com/office/drawing/2014/main" id="{67EDD658-4148-4693-906E-A7EB4687A5B4}"/>
                </a:ext>
              </a:extLst>
            </p:cNvPr>
            <p:cNvCxnSpPr>
              <a:cxnSpLocks/>
            </p:cNvCxnSpPr>
            <p:nvPr/>
          </p:nvCxnSpPr>
          <p:spPr>
            <a:xfrm flipH="1" flipV="1">
              <a:off x="5287524" y="5253904"/>
              <a:ext cx="615" cy="4454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 xmlns:a16="http://schemas.microsoft.com/office/drawing/2014/main" id="{DCD17305-60EE-4E72-AB08-257670CF9432}"/>
                </a:ext>
              </a:extLst>
            </p:cNvPr>
            <p:cNvCxnSpPr>
              <a:cxnSpLocks/>
            </p:cNvCxnSpPr>
            <p:nvPr/>
          </p:nvCxnSpPr>
          <p:spPr>
            <a:xfrm flipH="1" flipV="1">
              <a:off x="5659151" y="5253904"/>
              <a:ext cx="0" cy="44005"/>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67" name="Group 166">
              <a:extLst>
                <a:ext uri="{FF2B5EF4-FFF2-40B4-BE49-F238E27FC236}">
                  <a16:creationId xmlns="" xmlns:a16="http://schemas.microsoft.com/office/drawing/2014/main" id="{192D2F27-FADA-463A-A602-720CB0986F01}"/>
                </a:ext>
              </a:extLst>
            </p:cNvPr>
            <p:cNvGrpSpPr/>
            <p:nvPr/>
          </p:nvGrpSpPr>
          <p:grpSpPr>
            <a:xfrm>
              <a:off x="6034318" y="5253904"/>
              <a:ext cx="1862293" cy="44540"/>
              <a:chOff x="6345896" y="4894734"/>
              <a:chExt cx="1670602" cy="36000"/>
            </a:xfrm>
          </p:grpSpPr>
          <p:cxnSp>
            <p:nvCxnSpPr>
              <p:cNvPr id="183" name="Straight Connector 182">
                <a:extLst>
                  <a:ext uri="{FF2B5EF4-FFF2-40B4-BE49-F238E27FC236}">
                    <a16:creationId xmlns="" xmlns:a16="http://schemas.microsoft.com/office/drawing/2014/main" id="{459E9612-CCA5-46C3-A3A5-321D76B92993}"/>
                  </a:ext>
                </a:extLst>
              </p:cNvPr>
              <p:cNvCxnSpPr>
                <a:cxnSpLocks/>
              </p:cNvCxnSpPr>
              <p:nvPr/>
            </p:nvCxnSpPr>
            <p:spPr>
              <a:xfrm flipH="1" flipV="1">
                <a:off x="6345896" y="4894734"/>
                <a:ext cx="552" cy="360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 xmlns:a16="http://schemas.microsoft.com/office/drawing/2014/main" id="{E8B673DC-9C06-4606-A193-7BB6F7419E1B}"/>
                  </a:ext>
                </a:extLst>
              </p:cNvPr>
              <p:cNvCxnSpPr>
                <a:cxnSpLocks/>
              </p:cNvCxnSpPr>
              <p:nvPr/>
            </p:nvCxnSpPr>
            <p:spPr>
              <a:xfrm flipH="1" flipV="1">
                <a:off x="6679271" y="4894734"/>
                <a:ext cx="552" cy="360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 xmlns:a16="http://schemas.microsoft.com/office/drawing/2014/main" id="{D90D11C4-9ED4-4720-A42B-95C9D423C3D9}"/>
                  </a:ext>
                </a:extLst>
              </p:cNvPr>
              <p:cNvCxnSpPr>
                <a:cxnSpLocks/>
              </p:cNvCxnSpPr>
              <p:nvPr/>
            </p:nvCxnSpPr>
            <p:spPr>
              <a:xfrm flipH="1" flipV="1">
                <a:off x="7012646" y="4894734"/>
                <a:ext cx="552" cy="360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 xmlns:a16="http://schemas.microsoft.com/office/drawing/2014/main" id="{2ED2CAAB-6275-45D9-8700-B7954B5E18AA}"/>
                  </a:ext>
                </a:extLst>
              </p:cNvPr>
              <p:cNvCxnSpPr>
                <a:cxnSpLocks/>
              </p:cNvCxnSpPr>
              <p:nvPr/>
            </p:nvCxnSpPr>
            <p:spPr>
              <a:xfrm flipH="1" flipV="1">
                <a:off x="7346021" y="4894734"/>
                <a:ext cx="552" cy="360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 xmlns:a16="http://schemas.microsoft.com/office/drawing/2014/main" id="{E5678003-EB00-40C7-B3CA-07FD85DBD90C}"/>
                  </a:ext>
                </a:extLst>
              </p:cNvPr>
              <p:cNvCxnSpPr>
                <a:cxnSpLocks/>
              </p:cNvCxnSpPr>
              <p:nvPr/>
            </p:nvCxnSpPr>
            <p:spPr>
              <a:xfrm flipH="1" flipV="1">
                <a:off x="7679396" y="4894734"/>
                <a:ext cx="552" cy="360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 xmlns:a16="http://schemas.microsoft.com/office/drawing/2014/main" id="{F11FF988-488F-431D-96C3-5F8F1EC16E86}"/>
                  </a:ext>
                </a:extLst>
              </p:cNvPr>
              <p:cNvCxnSpPr>
                <a:cxnSpLocks/>
              </p:cNvCxnSpPr>
              <p:nvPr/>
            </p:nvCxnSpPr>
            <p:spPr>
              <a:xfrm flipH="1" flipV="1">
                <a:off x="8015946" y="4894734"/>
                <a:ext cx="552" cy="360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168" name="Group 167">
              <a:extLst>
                <a:ext uri="{FF2B5EF4-FFF2-40B4-BE49-F238E27FC236}">
                  <a16:creationId xmlns="" xmlns:a16="http://schemas.microsoft.com/office/drawing/2014/main" id="{5A8D6E3D-5934-49AE-9429-2FA302DFDB50}"/>
                </a:ext>
              </a:extLst>
            </p:cNvPr>
            <p:cNvGrpSpPr/>
            <p:nvPr/>
          </p:nvGrpSpPr>
          <p:grpSpPr>
            <a:xfrm>
              <a:off x="8264084" y="5253904"/>
              <a:ext cx="1862293" cy="44540"/>
              <a:chOff x="6345896" y="4894734"/>
              <a:chExt cx="1670602" cy="36000"/>
            </a:xfrm>
          </p:grpSpPr>
          <p:cxnSp>
            <p:nvCxnSpPr>
              <p:cNvPr id="174" name="Straight Connector 173">
                <a:extLst>
                  <a:ext uri="{FF2B5EF4-FFF2-40B4-BE49-F238E27FC236}">
                    <a16:creationId xmlns="" xmlns:a16="http://schemas.microsoft.com/office/drawing/2014/main" id="{026A6D11-87C3-43FC-93C0-62D0941B2E0B}"/>
                  </a:ext>
                </a:extLst>
              </p:cNvPr>
              <p:cNvCxnSpPr>
                <a:cxnSpLocks/>
              </p:cNvCxnSpPr>
              <p:nvPr/>
            </p:nvCxnSpPr>
            <p:spPr>
              <a:xfrm flipH="1" flipV="1">
                <a:off x="6345896" y="4894734"/>
                <a:ext cx="552" cy="360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 xmlns:a16="http://schemas.microsoft.com/office/drawing/2014/main" id="{0F4511FD-6111-43F6-A8C3-0FC86DE256AC}"/>
                  </a:ext>
                </a:extLst>
              </p:cNvPr>
              <p:cNvCxnSpPr>
                <a:cxnSpLocks/>
              </p:cNvCxnSpPr>
              <p:nvPr/>
            </p:nvCxnSpPr>
            <p:spPr>
              <a:xfrm flipH="1" flipV="1">
                <a:off x="6679271" y="4894734"/>
                <a:ext cx="552" cy="360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9" name="Straight Connector 178">
                <a:extLst>
                  <a:ext uri="{FF2B5EF4-FFF2-40B4-BE49-F238E27FC236}">
                    <a16:creationId xmlns="" xmlns:a16="http://schemas.microsoft.com/office/drawing/2014/main" id="{036806F8-1DB6-49BC-9B4E-83B451A28C71}"/>
                  </a:ext>
                </a:extLst>
              </p:cNvPr>
              <p:cNvCxnSpPr>
                <a:cxnSpLocks/>
              </p:cNvCxnSpPr>
              <p:nvPr/>
            </p:nvCxnSpPr>
            <p:spPr>
              <a:xfrm flipH="1" flipV="1">
                <a:off x="7012646" y="4894734"/>
                <a:ext cx="552" cy="360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0" name="Straight Connector 179">
                <a:extLst>
                  <a:ext uri="{FF2B5EF4-FFF2-40B4-BE49-F238E27FC236}">
                    <a16:creationId xmlns="" xmlns:a16="http://schemas.microsoft.com/office/drawing/2014/main" id="{A2E469AD-B33E-45B7-A7A2-D2EBF4FF848B}"/>
                  </a:ext>
                </a:extLst>
              </p:cNvPr>
              <p:cNvCxnSpPr>
                <a:cxnSpLocks/>
              </p:cNvCxnSpPr>
              <p:nvPr/>
            </p:nvCxnSpPr>
            <p:spPr>
              <a:xfrm flipH="1" flipV="1">
                <a:off x="7346021" y="4894734"/>
                <a:ext cx="552" cy="360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1" name="Straight Connector 180">
                <a:extLst>
                  <a:ext uri="{FF2B5EF4-FFF2-40B4-BE49-F238E27FC236}">
                    <a16:creationId xmlns="" xmlns:a16="http://schemas.microsoft.com/office/drawing/2014/main" id="{09B6E4DC-96A7-4A7A-84A9-25D63B10C779}"/>
                  </a:ext>
                </a:extLst>
              </p:cNvPr>
              <p:cNvCxnSpPr>
                <a:cxnSpLocks/>
              </p:cNvCxnSpPr>
              <p:nvPr/>
            </p:nvCxnSpPr>
            <p:spPr>
              <a:xfrm flipH="1" flipV="1">
                <a:off x="7679396" y="4894734"/>
                <a:ext cx="552" cy="360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 xmlns:a16="http://schemas.microsoft.com/office/drawing/2014/main" id="{2CA88FED-EE78-451C-8328-E71CACEE009C}"/>
                  </a:ext>
                </a:extLst>
              </p:cNvPr>
              <p:cNvCxnSpPr>
                <a:cxnSpLocks/>
              </p:cNvCxnSpPr>
              <p:nvPr/>
            </p:nvCxnSpPr>
            <p:spPr>
              <a:xfrm flipH="1" flipV="1">
                <a:off x="8015946" y="4894734"/>
                <a:ext cx="552" cy="360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169" name="Group 168">
              <a:extLst>
                <a:ext uri="{FF2B5EF4-FFF2-40B4-BE49-F238E27FC236}">
                  <a16:creationId xmlns="" xmlns:a16="http://schemas.microsoft.com/office/drawing/2014/main" id="{623E0D13-D803-4DEB-95B8-00EE66CE1F35}"/>
                </a:ext>
              </a:extLst>
            </p:cNvPr>
            <p:cNvGrpSpPr/>
            <p:nvPr/>
          </p:nvGrpSpPr>
          <p:grpSpPr>
            <a:xfrm>
              <a:off x="10493849" y="5253904"/>
              <a:ext cx="1115498" cy="44540"/>
              <a:chOff x="6345896" y="4894734"/>
              <a:chExt cx="1000677" cy="36000"/>
            </a:xfrm>
          </p:grpSpPr>
          <p:cxnSp>
            <p:nvCxnSpPr>
              <p:cNvPr id="170" name="Straight Connector 169">
                <a:extLst>
                  <a:ext uri="{FF2B5EF4-FFF2-40B4-BE49-F238E27FC236}">
                    <a16:creationId xmlns="" xmlns:a16="http://schemas.microsoft.com/office/drawing/2014/main" id="{E3560F0C-D68D-4552-BA2B-A506CCF293FD}"/>
                  </a:ext>
                </a:extLst>
              </p:cNvPr>
              <p:cNvCxnSpPr>
                <a:cxnSpLocks/>
              </p:cNvCxnSpPr>
              <p:nvPr/>
            </p:nvCxnSpPr>
            <p:spPr>
              <a:xfrm flipH="1" flipV="1">
                <a:off x="6345896" y="4894734"/>
                <a:ext cx="552" cy="360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 xmlns:a16="http://schemas.microsoft.com/office/drawing/2014/main" id="{A089483B-B4C4-425B-A04D-527D74F451B5}"/>
                  </a:ext>
                </a:extLst>
              </p:cNvPr>
              <p:cNvCxnSpPr>
                <a:cxnSpLocks/>
              </p:cNvCxnSpPr>
              <p:nvPr/>
            </p:nvCxnSpPr>
            <p:spPr>
              <a:xfrm flipH="1" flipV="1">
                <a:off x="6679271" y="4894734"/>
                <a:ext cx="552" cy="360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 xmlns:a16="http://schemas.microsoft.com/office/drawing/2014/main" id="{A27FD735-D1F5-4E25-9D72-DB3483081250}"/>
                  </a:ext>
                </a:extLst>
              </p:cNvPr>
              <p:cNvCxnSpPr>
                <a:cxnSpLocks/>
              </p:cNvCxnSpPr>
              <p:nvPr/>
            </p:nvCxnSpPr>
            <p:spPr>
              <a:xfrm flipH="1" flipV="1">
                <a:off x="7012646" y="4894734"/>
                <a:ext cx="552" cy="360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 xmlns:a16="http://schemas.microsoft.com/office/drawing/2014/main" id="{09B506D5-86B4-42A9-874A-F9ECFBD9A72E}"/>
                  </a:ext>
                </a:extLst>
              </p:cNvPr>
              <p:cNvCxnSpPr>
                <a:cxnSpLocks/>
              </p:cNvCxnSpPr>
              <p:nvPr/>
            </p:nvCxnSpPr>
            <p:spPr>
              <a:xfrm flipH="1" flipV="1">
                <a:off x="7346021" y="4894734"/>
                <a:ext cx="552" cy="360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sp>
        <p:nvSpPr>
          <p:cNvPr id="152" name="TextBox 151">
            <a:extLst>
              <a:ext uri="{FF2B5EF4-FFF2-40B4-BE49-F238E27FC236}">
                <a16:creationId xmlns="" xmlns:a16="http://schemas.microsoft.com/office/drawing/2014/main" id="{E6FCF6FC-93CF-4D9F-9180-70970C237843}"/>
              </a:ext>
            </a:extLst>
          </p:cNvPr>
          <p:cNvSpPr txBox="1"/>
          <p:nvPr/>
        </p:nvSpPr>
        <p:spPr>
          <a:xfrm rot="16200000">
            <a:off x="2408837" y="2651417"/>
            <a:ext cx="2547834" cy="153241"/>
          </a:xfrm>
          <a:prstGeom prst="rect">
            <a:avLst/>
          </a:prstGeom>
          <a:noFill/>
        </p:spPr>
        <p:txBody>
          <a:bodyPr wrap="square" lIns="0" tIns="0" rIns="0" bIns="0" rtlCol="0" anchor="ctr">
            <a:noAutofit/>
          </a:bodyPr>
          <a:lstStyle/>
          <a:p>
            <a:pPr algn="ctr" defTabSz="685222">
              <a:defRPr/>
            </a:pPr>
            <a:r>
              <a:rPr lang="es" sz="800" b="1">
                <a:solidFill>
                  <a:srgbClr val="34373F"/>
                </a:solidFill>
              </a:rPr>
              <a:t>Incidencia acumulada de participantes con VCD, %</a:t>
            </a:r>
          </a:p>
        </p:txBody>
      </p:sp>
      <p:sp>
        <p:nvSpPr>
          <p:cNvPr id="154" name="TextBox 153">
            <a:extLst>
              <a:ext uri="{FF2B5EF4-FFF2-40B4-BE49-F238E27FC236}">
                <a16:creationId xmlns="" xmlns:a16="http://schemas.microsoft.com/office/drawing/2014/main" id="{418CB320-8EFC-4C8F-9F29-36B861ABD297}"/>
              </a:ext>
            </a:extLst>
          </p:cNvPr>
          <p:cNvSpPr txBox="1"/>
          <p:nvPr/>
        </p:nvSpPr>
        <p:spPr>
          <a:xfrm>
            <a:off x="4483809" y="4312639"/>
            <a:ext cx="719963" cy="219476"/>
          </a:xfrm>
          <a:prstGeom prst="rect">
            <a:avLst/>
          </a:prstGeom>
          <a:noFill/>
        </p:spPr>
        <p:txBody>
          <a:bodyPr wrap="square" lIns="0" tIns="0" rIns="0" bIns="0" rtlCol="0">
            <a:noAutofit/>
          </a:bodyPr>
          <a:lstStyle/>
          <a:p>
            <a:pPr defTabSz="685222">
              <a:defRPr/>
            </a:pPr>
            <a:r>
              <a:rPr lang="es" sz="800">
                <a:solidFill>
                  <a:srgbClr val="34373F"/>
                </a:solidFill>
              </a:rPr>
              <a:t>Placebo, seropositivo</a:t>
            </a:r>
          </a:p>
        </p:txBody>
      </p:sp>
      <p:sp>
        <p:nvSpPr>
          <p:cNvPr id="155" name="TextBox 154">
            <a:extLst>
              <a:ext uri="{FF2B5EF4-FFF2-40B4-BE49-F238E27FC236}">
                <a16:creationId xmlns="" xmlns:a16="http://schemas.microsoft.com/office/drawing/2014/main" id="{B3FC26DF-D859-4D26-9893-AEB8080C068D}"/>
              </a:ext>
            </a:extLst>
          </p:cNvPr>
          <p:cNvSpPr txBox="1"/>
          <p:nvPr/>
        </p:nvSpPr>
        <p:spPr>
          <a:xfrm>
            <a:off x="5572200" y="4312639"/>
            <a:ext cx="719963" cy="219476"/>
          </a:xfrm>
          <a:prstGeom prst="rect">
            <a:avLst/>
          </a:prstGeom>
          <a:noFill/>
        </p:spPr>
        <p:txBody>
          <a:bodyPr wrap="square" lIns="0" tIns="0" rIns="0" bIns="0" rtlCol="0">
            <a:noAutofit/>
          </a:bodyPr>
          <a:lstStyle/>
          <a:p>
            <a:pPr defTabSz="685222">
              <a:defRPr/>
            </a:pPr>
            <a:r>
              <a:rPr lang="es" sz="800">
                <a:solidFill>
                  <a:srgbClr val="34373F"/>
                </a:solidFill>
              </a:rPr>
              <a:t>Placebo, seronegativo</a:t>
            </a:r>
          </a:p>
        </p:txBody>
      </p:sp>
      <p:sp>
        <p:nvSpPr>
          <p:cNvPr id="156" name="TextBox 155">
            <a:extLst>
              <a:ext uri="{FF2B5EF4-FFF2-40B4-BE49-F238E27FC236}">
                <a16:creationId xmlns="" xmlns:a16="http://schemas.microsoft.com/office/drawing/2014/main" id="{277062B1-4458-4B98-8FEC-2EF6038A89B4}"/>
              </a:ext>
            </a:extLst>
          </p:cNvPr>
          <p:cNvSpPr txBox="1"/>
          <p:nvPr/>
        </p:nvSpPr>
        <p:spPr>
          <a:xfrm>
            <a:off x="6783755" y="4312639"/>
            <a:ext cx="719963" cy="219476"/>
          </a:xfrm>
          <a:prstGeom prst="rect">
            <a:avLst/>
          </a:prstGeom>
          <a:noFill/>
        </p:spPr>
        <p:txBody>
          <a:bodyPr wrap="square" lIns="0" tIns="0" rIns="0" bIns="0" rtlCol="0">
            <a:noAutofit/>
          </a:bodyPr>
          <a:lstStyle/>
          <a:p>
            <a:pPr defTabSz="685222">
              <a:defRPr/>
            </a:pPr>
            <a:r>
              <a:rPr lang="es" sz="800">
                <a:solidFill>
                  <a:srgbClr val="34373F"/>
                </a:solidFill>
              </a:rPr>
              <a:t>TAK-003, seropositivo</a:t>
            </a:r>
          </a:p>
        </p:txBody>
      </p:sp>
      <p:sp>
        <p:nvSpPr>
          <p:cNvPr id="157" name="TextBox 156">
            <a:extLst>
              <a:ext uri="{FF2B5EF4-FFF2-40B4-BE49-F238E27FC236}">
                <a16:creationId xmlns="" xmlns:a16="http://schemas.microsoft.com/office/drawing/2014/main" id="{B631EA4A-24FE-4398-A7BD-D34B75CDC3B9}"/>
              </a:ext>
            </a:extLst>
          </p:cNvPr>
          <p:cNvSpPr txBox="1"/>
          <p:nvPr/>
        </p:nvSpPr>
        <p:spPr>
          <a:xfrm>
            <a:off x="7828766" y="4312639"/>
            <a:ext cx="719963" cy="219476"/>
          </a:xfrm>
          <a:prstGeom prst="rect">
            <a:avLst/>
          </a:prstGeom>
          <a:noFill/>
        </p:spPr>
        <p:txBody>
          <a:bodyPr wrap="square" lIns="0" tIns="0" rIns="0" bIns="0" rtlCol="0">
            <a:noAutofit/>
          </a:bodyPr>
          <a:lstStyle/>
          <a:p>
            <a:pPr defTabSz="685222">
              <a:defRPr/>
            </a:pPr>
            <a:r>
              <a:rPr lang="es" sz="800">
                <a:solidFill>
                  <a:srgbClr val="34373F"/>
                </a:solidFill>
              </a:rPr>
              <a:t>TAK-003, seronegativo</a:t>
            </a:r>
          </a:p>
        </p:txBody>
      </p:sp>
      <p:cxnSp>
        <p:nvCxnSpPr>
          <p:cNvPr id="158" name="Straight Connector 157">
            <a:extLst>
              <a:ext uri="{FF2B5EF4-FFF2-40B4-BE49-F238E27FC236}">
                <a16:creationId xmlns="" xmlns:a16="http://schemas.microsoft.com/office/drawing/2014/main" id="{E53CA07D-0F01-49D3-B48B-760E21B2ACB8}"/>
              </a:ext>
            </a:extLst>
          </p:cNvPr>
          <p:cNvCxnSpPr>
            <a:cxnSpLocks/>
          </p:cNvCxnSpPr>
          <p:nvPr/>
        </p:nvCxnSpPr>
        <p:spPr>
          <a:xfrm>
            <a:off x="4168096" y="4354376"/>
            <a:ext cx="246812" cy="0"/>
          </a:xfrm>
          <a:prstGeom prst="line">
            <a:avLst/>
          </a:prstGeom>
          <a:ln w="349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 xmlns:a16="http://schemas.microsoft.com/office/drawing/2014/main" id="{3931E94E-D6FB-4172-AC90-8A85AA845117}"/>
              </a:ext>
            </a:extLst>
          </p:cNvPr>
          <p:cNvCxnSpPr>
            <a:cxnSpLocks/>
          </p:cNvCxnSpPr>
          <p:nvPr/>
        </p:nvCxnSpPr>
        <p:spPr>
          <a:xfrm>
            <a:off x="5265466" y="4354376"/>
            <a:ext cx="246812" cy="0"/>
          </a:xfrm>
          <a:prstGeom prst="line">
            <a:avLst/>
          </a:prstGeom>
          <a:ln w="349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 xmlns:a16="http://schemas.microsoft.com/office/drawing/2014/main" id="{D0BD4CA8-3B0C-4B56-B141-C8CFC3E1964C}"/>
              </a:ext>
            </a:extLst>
          </p:cNvPr>
          <p:cNvCxnSpPr>
            <a:cxnSpLocks/>
          </p:cNvCxnSpPr>
          <p:nvPr/>
        </p:nvCxnSpPr>
        <p:spPr>
          <a:xfrm>
            <a:off x="6455374" y="4354376"/>
            <a:ext cx="246812" cy="0"/>
          </a:xfrm>
          <a:prstGeom prst="line">
            <a:avLst/>
          </a:prstGeom>
          <a:ln w="34925">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 xmlns:a16="http://schemas.microsoft.com/office/drawing/2014/main" id="{1CA7C171-FAA1-4546-8660-738AE2140AED}"/>
              </a:ext>
            </a:extLst>
          </p:cNvPr>
          <p:cNvCxnSpPr>
            <a:cxnSpLocks/>
          </p:cNvCxnSpPr>
          <p:nvPr/>
        </p:nvCxnSpPr>
        <p:spPr>
          <a:xfrm>
            <a:off x="7502410" y="4354376"/>
            <a:ext cx="246812" cy="0"/>
          </a:xfrm>
          <a:prstGeom prst="line">
            <a:avLst/>
          </a:prstGeom>
          <a:ln w="34925">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258" name="Rectangle 52">
            <a:extLst>
              <a:ext uri="{FF2B5EF4-FFF2-40B4-BE49-F238E27FC236}">
                <a16:creationId xmlns="" xmlns:a16="http://schemas.microsoft.com/office/drawing/2014/main" id="{06243C4B-330C-45FE-87B2-5441D3B95EC9}"/>
              </a:ext>
            </a:extLst>
          </p:cNvPr>
          <p:cNvSpPr>
            <a:spLocks noChangeArrowheads="1"/>
          </p:cNvSpPr>
          <p:nvPr/>
        </p:nvSpPr>
        <p:spPr bwMode="auto">
          <a:xfrm>
            <a:off x="573328" y="1723289"/>
            <a:ext cx="176732"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685222">
              <a:defRPr/>
            </a:pPr>
            <a:r>
              <a:rPr lang="es" altLang="en-US" sz="800">
                <a:solidFill>
                  <a:srgbClr val="34373F"/>
                </a:solidFill>
              </a:rPr>
              <a:t>100</a:t>
            </a:r>
          </a:p>
        </p:txBody>
      </p:sp>
      <p:cxnSp>
        <p:nvCxnSpPr>
          <p:cNvPr id="91" name="Straight Connector 90">
            <a:extLst>
              <a:ext uri="{FF2B5EF4-FFF2-40B4-BE49-F238E27FC236}">
                <a16:creationId xmlns="" xmlns:a16="http://schemas.microsoft.com/office/drawing/2014/main" id="{11FB19B1-E8E9-462A-8A5E-CD2162446F43}"/>
              </a:ext>
            </a:extLst>
          </p:cNvPr>
          <p:cNvCxnSpPr>
            <a:cxnSpLocks/>
            <a:stCxn id="2143" idx="10"/>
          </p:cNvCxnSpPr>
          <p:nvPr/>
        </p:nvCxnSpPr>
        <p:spPr>
          <a:xfrm flipV="1">
            <a:off x="849221" y="1783883"/>
            <a:ext cx="0" cy="42317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 xmlns:a16="http://schemas.microsoft.com/office/drawing/2014/main" id="{A16C7109-AC58-4EB6-A613-55DDDC7DE15D}"/>
              </a:ext>
            </a:extLst>
          </p:cNvPr>
          <p:cNvCxnSpPr/>
          <p:nvPr/>
        </p:nvCxnSpPr>
        <p:spPr>
          <a:xfrm flipH="1">
            <a:off x="778157" y="1783881"/>
            <a:ext cx="71064"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 xmlns:a16="http://schemas.microsoft.com/office/drawing/2014/main" id="{D3305BA0-F8B2-D65A-1B72-C9101E4690BA}"/>
              </a:ext>
            </a:extLst>
          </p:cNvPr>
          <p:cNvSpPr txBox="1"/>
          <p:nvPr/>
        </p:nvSpPr>
        <p:spPr>
          <a:xfrm>
            <a:off x="3965818" y="3959280"/>
            <a:ext cx="112874" cy="126958"/>
          </a:xfrm>
          <a:prstGeom prst="rect">
            <a:avLst/>
          </a:prstGeom>
          <a:noFill/>
        </p:spPr>
        <p:txBody>
          <a:bodyPr wrap="square" lIns="0" tIns="0" rIns="0" bIns="0" rtlCol="0">
            <a:spAutoFit/>
          </a:bodyPr>
          <a:lstStyle/>
          <a:p>
            <a:pPr algn="ctr" defTabSz="685222">
              <a:defRPr/>
            </a:pPr>
            <a:r>
              <a:rPr lang="es" sz="800">
                <a:solidFill>
                  <a:srgbClr val="34373F"/>
                </a:solidFill>
              </a:rPr>
              <a:t>0</a:t>
            </a:r>
          </a:p>
        </p:txBody>
      </p:sp>
      <p:sp>
        <p:nvSpPr>
          <p:cNvPr id="5" name="TextBox 4">
            <a:extLst>
              <a:ext uri="{FF2B5EF4-FFF2-40B4-BE49-F238E27FC236}">
                <a16:creationId xmlns="" xmlns:a16="http://schemas.microsoft.com/office/drawing/2014/main" id="{5B5F852F-9DB0-0477-8203-3989252FC62B}"/>
              </a:ext>
            </a:extLst>
          </p:cNvPr>
          <p:cNvSpPr txBox="1"/>
          <p:nvPr/>
        </p:nvSpPr>
        <p:spPr>
          <a:xfrm>
            <a:off x="4210327" y="3959280"/>
            <a:ext cx="112874" cy="126958"/>
          </a:xfrm>
          <a:prstGeom prst="rect">
            <a:avLst/>
          </a:prstGeom>
          <a:noFill/>
        </p:spPr>
        <p:txBody>
          <a:bodyPr wrap="square" lIns="0" tIns="0" rIns="0" bIns="0" rtlCol="0">
            <a:spAutoFit/>
          </a:bodyPr>
          <a:lstStyle/>
          <a:p>
            <a:pPr algn="ctr" defTabSz="685222">
              <a:defRPr/>
            </a:pPr>
            <a:r>
              <a:rPr lang="es" sz="800">
                <a:solidFill>
                  <a:srgbClr val="34373F"/>
                </a:solidFill>
              </a:rPr>
              <a:t>3</a:t>
            </a:r>
          </a:p>
        </p:txBody>
      </p:sp>
      <p:sp>
        <p:nvSpPr>
          <p:cNvPr id="7" name="TextBox 6">
            <a:extLst>
              <a:ext uri="{FF2B5EF4-FFF2-40B4-BE49-F238E27FC236}">
                <a16:creationId xmlns="" xmlns:a16="http://schemas.microsoft.com/office/drawing/2014/main" id="{9FE594F2-551D-EE33-9E88-51252A330D4D}"/>
              </a:ext>
            </a:extLst>
          </p:cNvPr>
          <p:cNvSpPr txBox="1"/>
          <p:nvPr/>
        </p:nvSpPr>
        <p:spPr>
          <a:xfrm>
            <a:off x="4462168" y="3959280"/>
            <a:ext cx="112874" cy="126958"/>
          </a:xfrm>
          <a:prstGeom prst="rect">
            <a:avLst/>
          </a:prstGeom>
          <a:noFill/>
        </p:spPr>
        <p:txBody>
          <a:bodyPr wrap="square" lIns="0" tIns="0" rIns="0" bIns="0" rtlCol="0">
            <a:spAutoFit/>
          </a:bodyPr>
          <a:lstStyle/>
          <a:p>
            <a:pPr algn="ctr" defTabSz="685222">
              <a:defRPr/>
            </a:pPr>
            <a:r>
              <a:rPr lang="es" sz="800">
                <a:solidFill>
                  <a:srgbClr val="34373F"/>
                </a:solidFill>
              </a:rPr>
              <a:t>6</a:t>
            </a:r>
          </a:p>
        </p:txBody>
      </p:sp>
      <p:sp>
        <p:nvSpPr>
          <p:cNvPr id="8" name="TextBox 7">
            <a:extLst>
              <a:ext uri="{FF2B5EF4-FFF2-40B4-BE49-F238E27FC236}">
                <a16:creationId xmlns="" xmlns:a16="http://schemas.microsoft.com/office/drawing/2014/main" id="{5370B5A6-549B-44FB-88A3-BDC1950CC33C}"/>
              </a:ext>
            </a:extLst>
          </p:cNvPr>
          <p:cNvSpPr txBox="1"/>
          <p:nvPr/>
        </p:nvSpPr>
        <p:spPr>
          <a:xfrm>
            <a:off x="4706884" y="3959280"/>
            <a:ext cx="112874" cy="126958"/>
          </a:xfrm>
          <a:prstGeom prst="rect">
            <a:avLst/>
          </a:prstGeom>
          <a:noFill/>
        </p:spPr>
        <p:txBody>
          <a:bodyPr wrap="square" lIns="0" tIns="0" rIns="0" bIns="0" rtlCol="0">
            <a:spAutoFit/>
          </a:bodyPr>
          <a:lstStyle/>
          <a:p>
            <a:pPr algn="ctr" defTabSz="685222">
              <a:defRPr/>
            </a:pPr>
            <a:r>
              <a:rPr lang="es" sz="800">
                <a:solidFill>
                  <a:srgbClr val="34373F"/>
                </a:solidFill>
              </a:rPr>
              <a:t>9</a:t>
            </a:r>
          </a:p>
        </p:txBody>
      </p:sp>
      <p:sp>
        <p:nvSpPr>
          <p:cNvPr id="9" name="TextBox 8">
            <a:extLst>
              <a:ext uri="{FF2B5EF4-FFF2-40B4-BE49-F238E27FC236}">
                <a16:creationId xmlns="" xmlns:a16="http://schemas.microsoft.com/office/drawing/2014/main" id="{05A300FF-8CE6-C049-5825-92EA7E47F3A6}"/>
              </a:ext>
            </a:extLst>
          </p:cNvPr>
          <p:cNvSpPr txBox="1"/>
          <p:nvPr/>
        </p:nvSpPr>
        <p:spPr>
          <a:xfrm>
            <a:off x="4956541" y="3959280"/>
            <a:ext cx="112874" cy="126958"/>
          </a:xfrm>
          <a:prstGeom prst="rect">
            <a:avLst/>
          </a:prstGeom>
          <a:noFill/>
        </p:spPr>
        <p:txBody>
          <a:bodyPr wrap="square" lIns="0" tIns="0" rIns="0" bIns="0" rtlCol="0">
            <a:spAutoFit/>
          </a:bodyPr>
          <a:lstStyle/>
          <a:p>
            <a:pPr algn="ctr" defTabSz="685222">
              <a:defRPr/>
            </a:pPr>
            <a:r>
              <a:rPr lang="es" sz="800">
                <a:solidFill>
                  <a:srgbClr val="34373F"/>
                </a:solidFill>
              </a:rPr>
              <a:t>12</a:t>
            </a:r>
          </a:p>
        </p:txBody>
      </p:sp>
      <p:sp>
        <p:nvSpPr>
          <p:cNvPr id="10" name="TextBox 9">
            <a:extLst>
              <a:ext uri="{FF2B5EF4-FFF2-40B4-BE49-F238E27FC236}">
                <a16:creationId xmlns="" xmlns:a16="http://schemas.microsoft.com/office/drawing/2014/main" id="{453B7B00-134A-797E-865E-AA350E7777AC}"/>
              </a:ext>
            </a:extLst>
          </p:cNvPr>
          <p:cNvSpPr txBox="1"/>
          <p:nvPr/>
        </p:nvSpPr>
        <p:spPr>
          <a:xfrm>
            <a:off x="5198782" y="3959280"/>
            <a:ext cx="112874" cy="126958"/>
          </a:xfrm>
          <a:prstGeom prst="rect">
            <a:avLst/>
          </a:prstGeom>
          <a:noFill/>
        </p:spPr>
        <p:txBody>
          <a:bodyPr wrap="square" lIns="0" tIns="0" rIns="0" bIns="0" rtlCol="0">
            <a:spAutoFit/>
          </a:bodyPr>
          <a:lstStyle/>
          <a:p>
            <a:pPr algn="ctr" defTabSz="685222">
              <a:defRPr/>
            </a:pPr>
            <a:r>
              <a:rPr lang="es" sz="800">
                <a:solidFill>
                  <a:srgbClr val="34373F"/>
                </a:solidFill>
              </a:rPr>
              <a:t>15</a:t>
            </a:r>
          </a:p>
        </p:txBody>
      </p:sp>
      <p:sp>
        <p:nvSpPr>
          <p:cNvPr id="11" name="TextBox 10">
            <a:extLst>
              <a:ext uri="{FF2B5EF4-FFF2-40B4-BE49-F238E27FC236}">
                <a16:creationId xmlns="" xmlns:a16="http://schemas.microsoft.com/office/drawing/2014/main" id="{878F9ED8-2965-06BF-A62A-23A29C9F7503}"/>
              </a:ext>
            </a:extLst>
          </p:cNvPr>
          <p:cNvSpPr txBox="1"/>
          <p:nvPr/>
        </p:nvSpPr>
        <p:spPr>
          <a:xfrm>
            <a:off x="5445970" y="3959280"/>
            <a:ext cx="112874" cy="126958"/>
          </a:xfrm>
          <a:prstGeom prst="rect">
            <a:avLst/>
          </a:prstGeom>
          <a:noFill/>
        </p:spPr>
        <p:txBody>
          <a:bodyPr wrap="square" lIns="0" tIns="0" rIns="0" bIns="0" rtlCol="0">
            <a:spAutoFit/>
          </a:bodyPr>
          <a:lstStyle/>
          <a:p>
            <a:pPr algn="ctr" defTabSz="685222">
              <a:defRPr/>
            </a:pPr>
            <a:r>
              <a:rPr lang="es" sz="800">
                <a:solidFill>
                  <a:srgbClr val="34373F"/>
                </a:solidFill>
              </a:rPr>
              <a:t>18</a:t>
            </a:r>
          </a:p>
        </p:txBody>
      </p:sp>
      <p:sp>
        <p:nvSpPr>
          <p:cNvPr id="12" name="TextBox 11">
            <a:extLst>
              <a:ext uri="{FF2B5EF4-FFF2-40B4-BE49-F238E27FC236}">
                <a16:creationId xmlns="" xmlns:a16="http://schemas.microsoft.com/office/drawing/2014/main" id="{DD575169-BAD4-A76A-698A-755D8FE6AA6E}"/>
              </a:ext>
            </a:extLst>
          </p:cNvPr>
          <p:cNvSpPr txBox="1"/>
          <p:nvPr/>
        </p:nvSpPr>
        <p:spPr>
          <a:xfrm>
            <a:off x="5690683" y="3959280"/>
            <a:ext cx="112874" cy="126958"/>
          </a:xfrm>
          <a:prstGeom prst="rect">
            <a:avLst/>
          </a:prstGeom>
          <a:noFill/>
        </p:spPr>
        <p:txBody>
          <a:bodyPr wrap="square" lIns="0" tIns="0" rIns="0" bIns="0" rtlCol="0">
            <a:spAutoFit/>
          </a:bodyPr>
          <a:lstStyle/>
          <a:p>
            <a:pPr algn="ctr" defTabSz="685222">
              <a:defRPr/>
            </a:pPr>
            <a:r>
              <a:rPr lang="es" sz="800">
                <a:solidFill>
                  <a:srgbClr val="34373F"/>
                </a:solidFill>
              </a:rPr>
              <a:t>21</a:t>
            </a:r>
          </a:p>
        </p:txBody>
      </p:sp>
      <p:sp>
        <p:nvSpPr>
          <p:cNvPr id="13" name="TextBox 12">
            <a:extLst>
              <a:ext uri="{FF2B5EF4-FFF2-40B4-BE49-F238E27FC236}">
                <a16:creationId xmlns="" xmlns:a16="http://schemas.microsoft.com/office/drawing/2014/main" id="{462C484B-B5F4-8802-DC5A-8CEBF4CCD02A}"/>
              </a:ext>
            </a:extLst>
          </p:cNvPr>
          <p:cNvSpPr txBox="1"/>
          <p:nvPr/>
        </p:nvSpPr>
        <p:spPr>
          <a:xfrm>
            <a:off x="5942812" y="3959280"/>
            <a:ext cx="112874" cy="126958"/>
          </a:xfrm>
          <a:prstGeom prst="rect">
            <a:avLst/>
          </a:prstGeom>
          <a:noFill/>
        </p:spPr>
        <p:txBody>
          <a:bodyPr wrap="square" lIns="0" tIns="0" rIns="0" bIns="0" rtlCol="0">
            <a:spAutoFit/>
          </a:bodyPr>
          <a:lstStyle/>
          <a:p>
            <a:pPr algn="ctr" defTabSz="685222">
              <a:defRPr/>
            </a:pPr>
            <a:r>
              <a:rPr lang="es" sz="800">
                <a:solidFill>
                  <a:srgbClr val="34373F"/>
                </a:solidFill>
              </a:rPr>
              <a:t>24</a:t>
            </a:r>
          </a:p>
        </p:txBody>
      </p:sp>
      <p:sp>
        <p:nvSpPr>
          <p:cNvPr id="14" name="TextBox 13">
            <a:extLst>
              <a:ext uri="{FF2B5EF4-FFF2-40B4-BE49-F238E27FC236}">
                <a16:creationId xmlns="" xmlns:a16="http://schemas.microsoft.com/office/drawing/2014/main" id="{0E783EC1-88ED-A762-449B-8308464F3761}"/>
              </a:ext>
            </a:extLst>
          </p:cNvPr>
          <p:cNvSpPr txBox="1"/>
          <p:nvPr/>
        </p:nvSpPr>
        <p:spPr>
          <a:xfrm>
            <a:off x="6187525" y="3959280"/>
            <a:ext cx="112874" cy="126958"/>
          </a:xfrm>
          <a:prstGeom prst="rect">
            <a:avLst/>
          </a:prstGeom>
          <a:noFill/>
        </p:spPr>
        <p:txBody>
          <a:bodyPr wrap="square" lIns="0" tIns="0" rIns="0" bIns="0" rtlCol="0">
            <a:spAutoFit/>
          </a:bodyPr>
          <a:lstStyle/>
          <a:p>
            <a:pPr algn="ctr" defTabSz="685222">
              <a:defRPr/>
            </a:pPr>
            <a:r>
              <a:rPr lang="es" sz="800">
                <a:solidFill>
                  <a:srgbClr val="34373F"/>
                </a:solidFill>
              </a:rPr>
              <a:t>27</a:t>
            </a:r>
          </a:p>
        </p:txBody>
      </p:sp>
      <p:sp>
        <p:nvSpPr>
          <p:cNvPr id="15" name="TextBox 14">
            <a:extLst>
              <a:ext uri="{FF2B5EF4-FFF2-40B4-BE49-F238E27FC236}">
                <a16:creationId xmlns="" xmlns:a16="http://schemas.microsoft.com/office/drawing/2014/main" id="{DFB3B499-E49C-2AA5-175A-65B5468D7A79}"/>
              </a:ext>
            </a:extLst>
          </p:cNvPr>
          <p:cNvSpPr txBox="1"/>
          <p:nvPr/>
        </p:nvSpPr>
        <p:spPr>
          <a:xfrm>
            <a:off x="6434710" y="3959280"/>
            <a:ext cx="112874" cy="126958"/>
          </a:xfrm>
          <a:prstGeom prst="rect">
            <a:avLst/>
          </a:prstGeom>
          <a:noFill/>
        </p:spPr>
        <p:txBody>
          <a:bodyPr wrap="square" lIns="0" tIns="0" rIns="0" bIns="0" rtlCol="0">
            <a:spAutoFit/>
          </a:bodyPr>
          <a:lstStyle/>
          <a:p>
            <a:pPr algn="ctr" defTabSz="685222">
              <a:defRPr/>
            </a:pPr>
            <a:r>
              <a:rPr lang="es" sz="800">
                <a:solidFill>
                  <a:srgbClr val="34373F"/>
                </a:solidFill>
              </a:rPr>
              <a:t>30</a:t>
            </a:r>
          </a:p>
        </p:txBody>
      </p:sp>
      <p:sp>
        <p:nvSpPr>
          <p:cNvPr id="16" name="TextBox 15">
            <a:extLst>
              <a:ext uri="{FF2B5EF4-FFF2-40B4-BE49-F238E27FC236}">
                <a16:creationId xmlns="" xmlns:a16="http://schemas.microsoft.com/office/drawing/2014/main" id="{D191D0AA-06C3-40B8-3BC1-0A6B5151994E}"/>
              </a:ext>
            </a:extLst>
          </p:cNvPr>
          <p:cNvSpPr txBox="1"/>
          <p:nvPr/>
        </p:nvSpPr>
        <p:spPr>
          <a:xfrm>
            <a:off x="6681895" y="3959280"/>
            <a:ext cx="112874" cy="126958"/>
          </a:xfrm>
          <a:prstGeom prst="rect">
            <a:avLst/>
          </a:prstGeom>
          <a:noFill/>
        </p:spPr>
        <p:txBody>
          <a:bodyPr wrap="square" lIns="0" tIns="0" rIns="0" bIns="0" rtlCol="0">
            <a:spAutoFit/>
          </a:bodyPr>
          <a:lstStyle/>
          <a:p>
            <a:pPr algn="ctr" defTabSz="685222">
              <a:defRPr/>
            </a:pPr>
            <a:r>
              <a:rPr lang="es" sz="800">
                <a:solidFill>
                  <a:srgbClr val="34373F"/>
                </a:solidFill>
              </a:rPr>
              <a:t>33</a:t>
            </a:r>
          </a:p>
        </p:txBody>
      </p:sp>
      <p:sp>
        <p:nvSpPr>
          <p:cNvPr id="17" name="TextBox 16">
            <a:extLst>
              <a:ext uri="{FF2B5EF4-FFF2-40B4-BE49-F238E27FC236}">
                <a16:creationId xmlns="" xmlns:a16="http://schemas.microsoft.com/office/drawing/2014/main" id="{1AC27FF2-3053-B13B-4899-A17B03B20E7F}"/>
              </a:ext>
            </a:extLst>
          </p:cNvPr>
          <p:cNvSpPr txBox="1"/>
          <p:nvPr/>
        </p:nvSpPr>
        <p:spPr>
          <a:xfrm>
            <a:off x="6926611" y="3959280"/>
            <a:ext cx="112874" cy="126958"/>
          </a:xfrm>
          <a:prstGeom prst="rect">
            <a:avLst/>
          </a:prstGeom>
          <a:noFill/>
        </p:spPr>
        <p:txBody>
          <a:bodyPr wrap="square" lIns="0" tIns="0" rIns="0" bIns="0" rtlCol="0">
            <a:spAutoFit/>
          </a:bodyPr>
          <a:lstStyle/>
          <a:p>
            <a:pPr algn="ctr" defTabSz="685222">
              <a:defRPr/>
            </a:pPr>
            <a:r>
              <a:rPr lang="es" sz="800">
                <a:solidFill>
                  <a:srgbClr val="34373F"/>
                </a:solidFill>
              </a:rPr>
              <a:t>36</a:t>
            </a:r>
          </a:p>
        </p:txBody>
      </p:sp>
      <p:sp>
        <p:nvSpPr>
          <p:cNvPr id="18" name="TextBox 17">
            <a:extLst>
              <a:ext uri="{FF2B5EF4-FFF2-40B4-BE49-F238E27FC236}">
                <a16:creationId xmlns="" xmlns:a16="http://schemas.microsoft.com/office/drawing/2014/main" id="{345008EA-A43B-A2BC-05A0-FC50915EA80F}"/>
              </a:ext>
            </a:extLst>
          </p:cNvPr>
          <p:cNvSpPr txBox="1"/>
          <p:nvPr/>
        </p:nvSpPr>
        <p:spPr>
          <a:xfrm>
            <a:off x="7176268" y="3959280"/>
            <a:ext cx="112874" cy="126958"/>
          </a:xfrm>
          <a:prstGeom prst="rect">
            <a:avLst/>
          </a:prstGeom>
          <a:noFill/>
        </p:spPr>
        <p:txBody>
          <a:bodyPr wrap="square" lIns="0" tIns="0" rIns="0" bIns="0" rtlCol="0">
            <a:spAutoFit/>
          </a:bodyPr>
          <a:lstStyle/>
          <a:p>
            <a:pPr algn="ctr" defTabSz="685222">
              <a:defRPr/>
            </a:pPr>
            <a:r>
              <a:rPr lang="es" sz="800">
                <a:solidFill>
                  <a:srgbClr val="34373F"/>
                </a:solidFill>
              </a:rPr>
              <a:t>39</a:t>
            </a:r>
          </a:p>
        </p:txBody>
      </p:sp>
      <p:sp>
        <p:nvSpPr>
          <p:cNvPr id="19" name="TextBox 18">
            <a:extLst>
              <a:ext uri="{FF2B5EF4-FFF2-40B4-BE49-F238E27FC236}">
                <a16:creationId xmlns="" xmlns:a16="http://schemas.microsoft.com/office/drawing/2014/main" id="{1931A095-68C2-48F6-09BB-5EC2EAD1E208}"/>
              </a:ext>
            </a:extLst>
          </p:cNvPr>
          <p:cNvSpPr txBox="1"/>
          <p:nvPr/>
        </p:nvSpPr>
        <p:spPr>
          <a:xfrm>
            <a:off x="7425925" y="3959280"/>
            <a:ext cx="112874" cy="126958"/>
          </a:xfrm>
          <a:prstGeom prst="rect">
            <a:avLst/>
          </a:prstGeom>
          <a:noFill/>
        </p:spPr>
        <p:txBody>
          <a:bodyPr wrap="square" lIns="0" tIns="0" rIns="0" bIns="0" rtlCol="0">
            <a:spAutoFit/>
          </a:bodyPr>
          <a:lstStyle/>
          <a:p>
            <a:pPr algn="ctr" defTabSz="685222">
              <a:defRPr/>
            </a:pPr>
            <a:r>
              <a:rPr lang="es" sz="800">
                <a:solidFill>
                  <a:srgbClr val="34373F"/>
                </a:solidFill>
              </a:rPr>
              <a:t>42</a:t>
            </a:r>
          </a:p>
        </p:txBody>
      </p:sp>
      <p:sp>
        <p:nvSpPr>
          <p:cNvPr id="20" name="TextBox 19">
            <a:extLst>
              <a:ext uri="{FF2B5EF4-FFF2-40B4-BE49-F238E27FC236}">
                <a16:creationId xmlns="" xmlns:a16="http://schemas.microsoft.com/office/drawing/2014/main" id="{71F84AF9-2DE7-3CF2-BEB5-59D46B7A0220}"/>
              </a:ext>
            </a:extLst>
          </p:cNvPr>
          <p:cNvSpPr txBox="1"/>
          <p:nvPr/>
        </p:nvSpPr>
        <p:spPr>
          <a:xfrm>
            <a:off x="7670638" y="3959280"/>
            <a:ext cx="112874" cy="126958"/>
          </a:xfrm>
          <a:prstGeom prst="rect">
            <a:avLst/>
          </a:prstGeom>
          <a:noFill/>
        </p:spPr>
        <p:txBody>
          <a:bodyPr wrap="square" lIns="0" tIns="0" rIns="0" bIns="0" rtlCol="0">
            <a:spAutoFit/>
          </a:bodyPr>
          <a:lstStyle/>
          <a:p>
            <a:pPr algn="ctr" defTabSz="685222">
              <a:defRPr/>
            </a:pPr>
            <a:r>
              <a:rPr lang="es" sz="800">
                <a:solidFill>
                  <a:srgbClr val="34373F"/>
                </a:solidFill>
              </a:rPr>
              <a:t>45</a:t>
            </a:r>
          </a:p>
        </p:txBody>
      </p:sp>
      <p:sp>
        <p:nvSpPr>
          <p:cNvPr id="21" name="TextBox 20">
            <a:extLst>
              <a:ext uri="{FF2B5EF4-FFF2-40B4-BE49-F238E27FC236}">
                <a16:creationId xmlns="" xmlns:a16="http://schemas.microsoft.com/office/drawing/2014/main" id="{D54B0060-481C-F28B-6BDD-02E3061419AB}"/>
              </a:ext>
            </a:extLst>
          </p:cNvPr>
          <p:cNvSpPr txBox="1"/>
          <p:nvPr/>
        </p:nvSpPr>
        <p:spPr>
          <a:xfrm>
            <a:off x="7920298" y="3959280"/>
            <a:ext cx="112874" cy="126958"/>
          </a:xfrm>
          <a:prstGeom prst="rect">
            <a:avLst/>
          </a:prstGeom>
          <a:noFill/>
        </p:spPr>
        <p:txBody>
          <a:bodyPr wrap="square" lIns="0" tIns="0" rIns="0" bIns="0" rtlCol="0">
            <a:spAutoFit/>
          </a:bodyPr>
          <a:lstStyle/>
          <a:p>
            <a:pPr algn="ctr" defTabSz="685222">
              <a:defRPr/>
            </a:pPr>
            <a:r>
              <a:rPr lang="es" sz="800">
                <a:solidFill>
                  <a:srgbClr val="34373F"/>
                </a:solidFill>
              </a:rPr>
              <a:t>48</a:t>
            </a:r>
          </a:p>
        </p:txBody>
      </p:sp>
      <p:sp>
        <p:nvSpPr>
          <p:cNvPr id="22" name="TextBox 21">
            <a:extLst>
              <a:ext uri="{FF2B5EF4-FFF2-40B4-BE49-F238E27FC236}">
                <a16:creationId xmlns="" xmlns:a16="http://schemas.microsoft.com/office/drawing/2014/main" id="{32AB1A92-E3D4-5536-6CBC-ACD92C9C0681}"/>
              </a:ext>
            </a:extLst>
          </p:cNvPr>
          <p:cNvSpPr txBox="1"/>
          <p:nvPr/>
        </p:nvSpPr>
        <p:spPr>
          <a:xfrm>
            <a:off x="8162539" y="3959280"/>
            <a:ext cx="112874" cy="126958"/>
          </a:xfrm>
          <a:prstGeom prst="rect">
            <a:avLst/>
          </a:prstGeom>
          <a:noFill/>
        </p:spPr>
        <p:txBody>
          <a:bodyPr wrap="square" lIns="0" tIns="0" rIns="0" bIns="0" rtlCol="0">
            <a:spAutoFit/>
          </a:bodyPr>
          <a:lstStyle/>
          <a:p>
            <a:pPr algn="ctr" defTabSz="685222">
              <a:defRPr/>
            </a:pPr>
            <a:r>
              <a:rPr lang="es" sz="800">
                <a:solidFill>
                  <a:srgbClr val="34373F"/>
                </a:solidFill>
              </a:rPr>
              <a:t>51</a:t>
            </a:r>
          </a:p>
        </p:txBody>
      </p:sp>
      <p:sp>
        <p:nvSpPr>
          <p:cNvPr id="23" name="TextBox 22">
            <a:extLst>
              <a:ext uri="{FF2B5EF4-FFF2-40B4-BE49-F238E27FC236}">
                <a16:creationId xmlns="" xmlns:a16="http://schemas.microsoft.com/office/drawing/2014/main" id="{C5AE3633-7C11-1C71-74CB-39F212E35660}"/>
              </a:ext>
            </a:extLst>
          </p:cNvPr>
          <p:cNvSpPr txBox="1"/>
          <p:nvPr/>
        </p:nvSpPr>
        <p:spPr>
          <a:xfrm>
            <a:off x="8409724" y="3959280"/>
            <a:ext cx="112874" cy="126958"/>
          </a:xfrm>
          <a:prstGeom prst="rect">
            <a:avLst/>
          </a:prstGeom>
          <a:noFill/>
        </p:spPr>
        <p:txBody>
          <a:bodyPr wrap="square" lIns="0" tIns="0" rIns="0" bIns="0" rtlCol="0">
            <a:spAutoFit/>
          </a:bodyPr>
          <a:lstStyle/>
          <a:p>
            <a:pPr algn="ctr" defTabSz="685222">
              <a:defRPr/>
            </a:pPr>
            <a:r>
              <a:rPr lang="es" sz="800">
                <a:solidFill>
                  <a:srgbClr val="34373F"/>
                </a:solidFill>
              </a:rPr>
              <a:t>54</a:t>
            </a:r>
          </a:p>
        </p:txBody>
      </p:sp>
      <p:sp>
        <p:nvSpPr>
          <p:cNvPr id="24" name="TextBox 23">
            <a:extLst>
              <a:ext uri="{FF2B5EF4-FFF2-40B4-BE49-F238E27FC236}">
                <a16:creationId xmlns="" xmlns:a16="http://schemas.microsoft.com/office/drawing/2014/main" id="{BE6BABEE-9C12-4C3F-DC1B-8EB819EFB58D}"/>
              </a:ext>
            </a:extLst>
          </p:cNvPr>
          <p:cNvSpPr txBox="1"/>
          <p:nvPr/>
        </p:nvSpPr>
        <p:spPr>
          <a:xfrm>
            <a:off x="8654437" y="3959280"/>
            <a:ext cx="112874" cy="126958"/>
          </a:xfrm>
          <a:prstGeom prst="rect">
            <a:avLst/>
          </a:prstGeom>
          <a:noFill/>
        </p:spPr>
        <p:txBody>
          <a:bodyPr wrap="square" lIns="0" tIns="0" rIns="0" bIns="0" rtlCol="0">
            <a:spAutoFit/>
          </a:bodyPr>
          <a:lstStyle/>
          <a:p>
            <a:pPr algn="ctr" defTabSz="685222">
              <a:defRPr/>
            </a:pPr>
            <a:r>
              <a:rPr lang="es" sz="800">
                <a:solidFill>
                  <a:srgbClr val="34373F"/>
                </a:solidFill>
              </a:rPr>
              <a:t>57</a:t>
            </a:r>
          </a:p>
        </p:txBody>
      </p:sp>
      <p:sp>
        <p:nvSpPr>
          <p:cNvPr id="25" name="TextBox 24">
            <a:extLst>
              <a:ext uri="{FF2B5EF4-FFF2-40B4-BE49-F238E27FC236}">
                <a16:creationId xmlns="" xmlns:a16="http://schemas.microsoft.com/office/drawing/2014/main" id="{2B389808-C39E-BA43-F0E7-01A05B59E01D}"/>
              </a:ext>
            </a:extLst>
          </p:cNvPr>
          <p:cNvSpPr txBox="1"/>
          <p:nvPr/>
        </p:nvSpPr>
        <p:spPr>
          <a:xfrm>
            <a:off x="3996570" y="4082296"/>
            <a:ext cx="4770742" cy="196208"/>
          </a:xfrm>
          <a:prstGeom prst="rect">
            <a:avLst/>
          </a:prstGeom>
          <a:noFill/>
        </p:spPr>
        <p:txBody>
          <a:bodyPr wrap="square" lIns="68529" tIns="34289" rIns="68529" bIns="34289" rtlCol="0">
            <a:spAutoFit/>
          </a:bodyPr>
          <a:lstStyle/>
          <a:p>
            <a:pPr algn="ctr" defTabSz="685222">
              <a:defRPr/>
            </a:pPr>
            <a:r>
              <a:rPr lang="es" sz="800" b="1">
                <a:solidFill>
                  <a:srgbClr val="34373F"/>
                </a:solidFill>
              </a:rPr>
              <a:t>Tiempo desde la primera vacunación, meses</a:t>
            </a:r>
          </a:p>
        </p:txBody>
      </p:sp>
      <p:sp>
        <p:nvSpPr>
          <p:cNvPr id="26" name="TextBox 25">
            <a:extLst>
              <a:ext uri="{FF2B5EF4-FFF2-40B4-BE49-F238E27FC236}">
                <a16:creationId xmlns="" xmlns:a16="http://schemas.microsoft.com/office/drawing/2014/main" id="{D56C4321-3D1F-2471-4AF1-BDF3634E6786}"/>
              </a:ext>
            </a:extLst>
          </p:cNvPr>
          <p:cNvSpPr txBox="1"/>
          <p:nvPr/>
        </p:nvSpPr>
        <p:spPr>
          <a:xfrm>
            <a:off x="3747289" y="3828144"/>
            <a:ext cx="188181" cy="126958"/>
          </a:xfrm>
          <a:prstGeom prst="rect">
            <a:avLst/>
          </a:prstGeom>
          <a:noFill/>
        </p:spPr>
        <p:txBody>
          <a:bodyPr wrap="square" lIns="0" tIns="0" rIns="0" bIns="0" rtlCol="0">
            <a:spAutoFit/>
          </a:bodyPr>
          <a:lstStyle/>
          <a:p>
            <a:pPr algn="r" defTabSz="685222">
              <a:defRPr/>
            </a:pPr>
            <a:r>
              <a:rPr lang="es" sz="800">
                <a:solidFill>
                  <a:srgbClr val="34373F"/>
                </a:solidFill>
              </a:rPr>
              <a:t>0</a:t>
            </a:r>
          </a:p>
        </p:txBody>
      </p:sp>
      <p:sp>
        <p:nvSpPr>
          <p:cNvPr id="27" name="Footer Placeholder 7">
            <a:extLst>
              <a:ext uri="{FF2B5EF4-FFF2-40B4-BE49-F238E27FC236}">
                <a16:creationId xmlns="" xmlns:a16="http://schemas.microsoft.com/office/drawing/2014/main" id="{3FDCA0D9-CE05-91BE-CFC0-3388AD8E07AD}"/>
              </a:ext>
            </a:extLst>
          </p:cNvPr>
          <p:cNvSpPr txBox="1">
            <a:spLocks/>
          </p:cNvSpPr>
          <p:nvPr/>
        </p:nvSpPr>
        <p:spPr>
          <a:xfrm>
            <a:off x="332528" y="4852055"/>
            <a:ext cx="8748711" cy="170106"/>
          </a:xfrm>
          <a:prstGeom prst="rect">
            <a:avLst/>
          </a:prstGeom>
        </p:spPr>
        <p:txBody>
          <a:bodyPr lIns="68529" tIns="34289" rIns="68529" bIns="34289"/>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defTabSz="685222">
              <a:defRPr/>
            </a:pPr>
            <a:r>
              <a:rPr lang="es" altLang="ja-JP" sz="700">
                <a:solidFill>
                  <a:srgbClr val="34373F"/>
                </a:solidFill>
                <a:cs typeface="Calibri" panose="020F0502020204030204" pitchFamily="34" charset="0"/>
              </a:rPr>
              <a:t>Confidencial, solo para uso interno de Takeda, </a:t>
            </a:r>
            <a:endParaRPr lang="en-US" altLang="ja-JP" sz="100">
              <a:solidFill>
                <a:srgbClr val="34373F"/>
              </a:solidFill>
              <a:cs typeface="Calibri" panose="020F0502020204030204" pitchFamily="34" charset="0"/>
            </a:endParaRPr>
          </a:p>
        </p:txBody>
      </p:sp>
    </p:spTree>
    <p:extLst>
      <p:ext uri="{BB962C8B-B14F-4D97-AF65-F5344CB8AC3E}">
        <p14:creationId xmlns:p14="http://schemas.microsoft.com/office/powerpoint/2010/main" val="17181245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9" name="Objeto 18" hidden="1">
            <a:extLst>
              <a:ext uri="{FF2B5EF4-FFF2-40B4-BE49-F238E27FC236}">
                <a16:creationId xmlns="" xmlns:a16="http://schemas.microsoft.com/office/drawing/2014/main" id="{73FE9633-A485-576A-0F02-CC96D3A7992A}"/>
              </a:ext>
            </a:extLst>
          </p:cNvPr>
          <p:cNvGraphicFramePr>
            <a:graphicFrameLocks noChangeAspect="1"/>
          </p:cNvGraphicFramePr>
          <p:nvPr>
            <p:custDataLst>
              <p:tags r:id="rId2"/>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spid="_x0000_s24644" name="Slide do think-cell" r:id="rId4" imgW="415" imgH="416" progId="TCLayout.ActiveDocument.1">
                  <p:embed/>
                </p:oleObj>
              </mc:Choice>
              <mc:Fallback>
                <p:oleObj name="Slide do think-cell" r:id="rId4" imgW="415" imgH="416" progId="TCLayout.ActiveDocument.1">
                  <p:embed/>
                  <p:pic>
                    <p:nvPicPr>
                      <p:cNvPr id="0" name=""/>
                      <p:cNvPicPr/>
                      <p:nvPr/>
                    </p:nvPicPr>
                    <p:blipFill>
                      <a:blip r:embed="rId5"/>
                      <a:stretch>
                        <a:fillRect/>
                      </a:stretch>
                    </p:blipFill>
                    <p:spPr>
                      <a:xfrm>
                        <a:off x="1193" y="1193"/>
                        <a:ext cx="1191" cy="1191"/>
                      </a:xfrm>
                      <a:prstGeom prst="rect">
                        <a:avLst/>
                      </a:prstGeom>
                    </p:spPr>
                  </p:pic>
                </p:oleObj>
              </mc:Fallback>
            </mc:AlternateContent>
          </a:graphicData>
        </a:graphic>
      </p:graphicFrame>
      <p:sp>
        <p:nvSpPr>
          <p:cNvPr id="6" name="Title 5">
            <a:extLst>
              <a:ext uri="{FF2B5EF4-FFF2-40B4-BE49-F238E27FC236}">
                <a16:creationId xmlns="" xmlns:a16="http://schemas.microsoft.com/office/drawing/2014/main" id="{2BA3BCA1-0921-D62E-65FF-86180F1D92D5}"/>
              </a:ext>
            </a:extLst>
          </p:cNvPr>
          <p:cNvSpPr>
            <a:spLocks noGrp="1"/>
          </p:cNvSpPr>
          <p:nvPr>
            <p:ph type="title"/>
          </p:nvPr>
        </p:nvSpPr>
        <p:spPr/>
        <p:txBody>
          <a:bodyPr vert="horz">
            <a:noAutofit/>
          </a:bodyPr>
          <a:lstStyle/>
          <a:p>
            <a:r>
              <a:rPr lang="es" sz="2000" b="1" dirty="0"/>
              <a:t>Análisis exploratorio - Eficacia global contra la </a:t>
            </a:r>
            <a:r>
              <a:rPr lang="es" sz="2000" b="1" u="sng" dirty="0"/>
              <a:t>hospitalización</a:t>
            </a:r>
            <a:r>
              <a:rPr lang="es" sz="2000" b="1" dirty="0"/>
              <a:t> causada por dengue a los 4,5 años </a:t>
            </a:r>
            <a:r>
              <a:rPr lang="es" sz="2000" b="1" baseline="30000" dirty="0"/>
              <a:t>1,a</a:t>
            </a:r>
            <a:endParaRPr lang="en-US" sz="2000" b="1" baseline="30000" dirty="0"/>
          </a:p>
        </p:txBody>
      </p:sp>
      <p:sp>
        <p:nvSpPr>
          <p:cNvPr id="4" name="Slide Number Placeholder 3">
            <a:extLst>
              <a:ext uri="{FF2B5EF4-FFF2-40B4-BE49-F238E27FC236}">
                <a16:creationId xmlns="" xmlns:a16="http://schemas.microsoft.com/office/drawing/2014/main" id="{E31EA623-BEC1-39E2-A43C-05E3724D136F}"/>
              </a:ext>
            </a:extLst>
          </p:cNvPr>
          <p:cNvSpPr>
            <a:spLocks noGrp="1"/>
          </p:cNvSpPr>
          <p:nvPr>
            <p:ph type="sldNum" sz="quarter" idx="4"/>
          </p:nvPr>
        </p:nvSpPr>
        <p:spPr/>
        <p:txBody>
          <a:bodyPr/>
          <a:lstStyle/>
          <a:p>
            <a:pPr defTabSz="685511">
              <a:defRPr/>
            </a:pPr>
            <a:fld id="{E9B57936-92EF-4126-AE48-1D9D36D15E98}" type="slidenum">
              <a:rPr lang="en-US" altLang="ja-JP" sz="600">
                <a:solidFill>
                  <a:srgbClr val="34373F"/>
                </a:solidFill>
              </a:rPr>
              <a:pPr defTabSz="685511">
                <a:defRPr/>
              </a:pPr>
              <a:t>43</a:t>
            </a:fld>
            <a:endParaRPr lang="en-US" altLang="ja-JP" sz="600">
              <a:solidFill>
                <a:srgbClr val="34373F"/>
              </a:solidFill>
            </a:endParaRPr>
          </a:p>
        </p:txBody>
      </p:sp>
      <p:sp>
        <p:nvSpPr>
          <p:cNvPr id="2" name="Footer Placeholder 86">
            <a:extLst>
              <a:ext uri="{FF2B5EF4-FFF2-40B4-BE49-F238E27FC236}">
                <a16:creationId xmlns="" xmlns:a16="http://schemas.microsoft.com/office/drawing/2014/main" id="{9BEF539F-CA80-C0AC-71A1-42867E0FDA95}"/>
              </a:ext>
            </a:extLst>
          </p:cNvPr>
          <p:cNvSpPr>
            <a:spLocks noGrp="1"/>
          </p:cNvSpPr>
          <p:nvPr>
            <p:ph type="ftr" sz="quarter" idx="4294967295"/>
          </p:nvPr>
        </p:nvSpPr>
        <p:spPr>
          <a:xfrm>
            <a:off x="0" y="4250531"/>
            <a:ext cx="3886200" cy="323850"/>
          </a:xfrm>
        </p:spPr>
        <p:txBody>
          <a:bodyPr/>
          <a:lstStyle/>
          <a:p>
            <a:pPr defTabSz="685511">
              <a:defRPr/>
            </a:pPr>
            <a:r>
              <a:rPr lang="es" sz="700">
                <a:solidFill>
                  <a:srgbClr val="34373F"/>
                </a:solidFill>
              </a:rPr>
              <a:t>Seronegativo al inicio del estudio: seronegativo a los 4 serotipos de VDEN. Seropositivo al inicio: título neutralizante recíproco ≥10 para el serotipo DENV ≥1. </a:t>
            </a:r>
            <a:r>
              <a:rPr lang="en-US" sz="700">
                <a:solidFill>
                  <a:srgbClr val="34373F"/>
                </a:solidFill>
              </a:rPr>
              <a:t/>
            </a:r>
            <a:br>
              <a:rPr lang="en-US" sz="700">
                <a:solidFill>
                  <a:srgbClr val="34373F"/>
                </a:solidFill>
              </a:rPr>
            </a:br>
            <a:r>
              <a:rPr lang="es" sz="700">
                <a:solidFill>
                  <a:srgbClr val="34373F"/>
                </a:solidFill>
              </a:rPr>
              <a:t>DENV: virus del dengue; VCD: dengue virológicamente confirmado; EV: eficacia de la vacuna. </a:t>
            </a:r>
            <a:r>
              <a:rPr lang="en-US" sz="700">
                <a:solidFill>
                  <a:srgbClr val="34373F"/>
                </a:solidFill>
              </a:rPr>
              <a:t/>
            </a:r>
            <a:br>
              <a:rPr lang="en-US" sz="700">
                <a:solidFill>
                  <a:srgbClr val="34373F"/>
                </a:solidFill>
              </a:rPr>
            </a:br>
            <a:r>
              <a:rPr lang="es" sz="700" baseline="30000">
                <a:solidFill>
                  <a:srgbClr val="34373F"/>
                </a:solidFill>
              </a:rPr>
              <a:t>a</a:t>
            </a:r>
            <a:r>
              <a:rPr lang="es" sz="700">
                <a:solidFill>
                  <a:srgbClr val="34373F"/>
                </a:solidFill>
              </a:rPr>
              <a:t>Primera dosis a 54 meses después de la segunda dosis en el conjunto de seguridad.</a:t>
            </a:r>
          </a:p>
          <a:p>
            <a:pPr defTabSz="685511">
              <a:defRPr/>
            </a:pPr>
            <a:r>
              <a:rPr lang="es" sz="700">
                <a:solidFill>
                  <a:srgbClr val="34373F"/>
                </a:solidFill>
              </a:rPr>
              <a:t>1. Biswal S, et al. Presented at CISTM17; May 19-22, 2021; Virtual. 2. Rivera L, et al. </a:t>
            </a:r>
            <a:r>
              <a:rPr lang="es" sz="700" i="1">
                <a:solidFill>
                  <a:srgbClr val="34373F"/>
                </a:solidFill>
              </a:rPr>
              <a:t>Clin Infect Dis</a:t>
            </a:r>
            <a:r>
              <a:rPr lang="es" sz="700">
                <a:solidFill>
                  <a:srgbClr val="34373F"/>
                </a:solidFill>
              </a:rPr>
              <a:t>. 2022;75(1)107-117.</a:t>
            </a:r>
          </a:p>
        </p:txBody>
      </p:sp>
      <p:sp>
        <p:nvSpPr>
          <p:cNvPr id="91" name="Rectangle 90">
            <a:extLst>
              <a:ext uri="{FF2B5EF4-FFF2-40B4-BE49-F238E27FC236}">
                <a16:creationId xmlns="" xmlns:a16="http://schemas.microsoft.com/office/drawing/2014/main" id="{CC0C6618-4ECF-A335-5DD9-05CC70CE4617}"/>
              </a:ext>
            </a:extLst>
          </p:cNvPr>
          <p:cNvSpPr/>
          <p:nvPr/>
        </p:nvSpPr>
        <p:spPr>
          <a:xfrm>
            <a:off x="7220773" y="1482027"/>
            <a:ext cx="1569338" cy="24168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defTabSz="685511">
              <a:defRPr/>
            </a:pPr>
            <a:endParaRPr lang="en-US" sz="1200">
              <a:solidFill>
                <a:srgbClr val="34373F"/>
              </a:solidFill>
            </a:endParaRPr>
          </a:p>
        </p:txBody>
      </p:sp>
      <p:sp>
        <p:nvSpPr>
          <p:cNvPr id="93" name="TextBox 92">
            <a:extLst>
              <a:ext uri="{FF2B5EF4-FFF2-40B4-BE49-F238E27FC236}">
                <a16:creationId xmlns="" xmlns:a16="http://schemas.microsoft.com/office/drawing/2014/main" id="{91439E78-3D65-DBD0-9B13-30F03F771CC7}"/>
              </a:ext>
            </a:extLst>
          </p:cNvPr>
          <p:cNvSpPr txBox="1"/>
          <p:nvPr/>
        </p:nvSpPr>
        <p:spPr>
          <a:xfrm>
            <a:off x="3700117" y="1449048"/>
            <a:ext cx="235352" cy="126958"/>
          </a:xfrm>
          <a:prstGeom prst="rect">
            <a:avLst/>
          </a:prstGeom>
          <a:noFill/>
        </p:spPr>
        <p:txBody>
          <a:bodyPr wrap="square" lIns="0" tIns="0" rIns="0" bIns="0" rtlCol="0">
            <a:spAutoFit/>
          </a:bodyPr>
          <a:lstStyle/>
          <a:p>
            <a:pPr algn="r" defTabSz="685511">
              <a:defRPr/>
            </a:pPr>
            <a:r>
              <a:rPr lang="es" sz="800">
                <a:solidFill>
                  <a:srgbClr val="34373F"/>
                </a:solidFill>
              </a:rPr>
              <a:t>2.5</a:t>
            </a:r>
          </a:p>
        </p:txBody>
      </p:sp>
      <p:sp>
        <p:nvSpPr>
          <p:cNvPr id="94" name="TextBox 93">
            <a:extLst>
              <a:ext uri="{FF2B5EF4-FFF2-40B4-BE49-F238E27FC236}">
                <a16:creationId xmlns="" xmlns:a16="http://schemas.microsoft.com/office/drawing/2014/main" id="{D147243C-4D70-7A73-9F3A-26C36E305C2C}"/>
              </a:ext>
            </a:extLst>
          </p:cNvPr>
          <p:cNvSpPr txBox="1"/>
          <p:nvPr/>
        </p:nvSpPr>
        <p:spPr>
          <a:xfrm>
            <a:off x="3700117" y="1921800"/>
            <a:ext cx="235352" cy="126958"/>
          </a:xfrm>
          <a:prstGeom prst="rect">
            <a:avLst/>
          </a:prstGeom>
          <a:noFill/>
        </p:spPr>
        <p:txBody>
          <a:bodyPr wrap="square" lIns="0" tIns="0" rIns="0" bIns="0" rtlCol="0">
            <a:spAutoFit/>
          </a:bodyPr>
          <a:lstStyle/>
          <a:p>
            <a:pPr algn="r" defTabSz="685511">
              <a:defRPr/>
            </a:pPr>
            <a:r>
              <a:rPr lang="es" sz="800">
                <a:solidFill>
                  <a:srgbClr val="34373F"/>
                </a:solidFill>
              </a:rPr>
              <a:t>2.0</a:t>
            </a:r>
          </a:p>
        </p:txBody>
      </p:sp>
      <p:sp>
        <p:nvSpPr>
          <p:cNvPr id="95" name="TextBox 94">
            <a:extLst>
              <a:ext uri="{FF2B5EF4-FFF2-40B4-BE49-F238E27FC236}">
                <a16:creationId xmlns="" xmlns:a16="http://schemas.microsoft.com/office/drawing/2014/main" id="{DFFCD468-332E-7812-0DB6-551D8BF2ECD6}"/>
              </a:ext>
            </a:extLst>
          </p:cNvPr>
          <p:cNvSpPr txBox="1"/>
          <p:nvPr/>
        </p:nvSpPr>
        <p:spPr>
          <a:xfrm>
            <a:off x="3700117" y="2399664"/>
            <a:ext cx="235352" cy="126958"/>
          </a:xfrm>
          <a:prstGeom prst="rect">
            <a:avLst/>
          </a:prstGeom>
          <a:noFill/>
        </p:spPr>
        <p:txBody>
          <a:bodyPr wrap="square" lIns="0" tIns="0" rIns="0" bIns="0" rtlCol="0">
            <a:spAutoFit/>
          </a:bodyPr>
          <a:lstStyle/>
          <a:p>
            <a:pPr algn="r" defTabSz="685511">
              <a:defRPr/>
            </a:pPr>
            <a:r>
              <a:rPr lang="es" sz="800">
                <a:solidFill>
                  <a:srgbClr val="34373F"/>
                </a:solidFill>
              </a:rPr>
              <a:t>1.5</a:t>
            </a:r>
          </a:p>
        </p:txBody>
      </p:sp>
      <p:sp>
        <p:nvSpPr>
          <p:cNvPr id="96" name="TextBox 95">
            <a:extLst>
              <a:ext uri="{FF2B5EF4-FFF2-40B4-BE49-F238E27FC236}">
                <a16:creationId xmlns="" xmlns:a16="http://schemas.microsoft.com/office/drawing/2014/main" id="{DE11F3D6-F739-EB1C-2067-63CAC9BA633D}"/>
              </a:ext>
            </a:extLst>
          </p:cNvPr>
          <p:cNvSpPr txBox="1"/>
          <p:nvPr/>
        </p:nvSpPr>
        <p:spPr>
          <a:xfrm>
            <a:off x="3700117" y="2874972"/>
            <a:ext cx="235352" cy="126958"/>
          </a:xfrm>
          <a:prstGeom prst="rect">
            <a:avLst/>
          </a:prstGeom>
          <a:noFill/>
        </p:spPr>
        <p:txBody>
          <a:bodyPr wrap="square" lIns="0" tIns="0" rIns="0" bIns="0" rtlCol="0">
            <a:spAutoFit/>
          </a:bodyPr>
          <a:lstStyle/>
          <a:p>
            <a:pPr algn="r" defTabSz="685511">
              <a:defRPr/>
            </a:pPr>
            <a:r>
              <a:rPr lang="es" sz="800">
                <a:solidFill>
                  <a:srgbClr val="34373F"/>
                </a:solidFill>
              </a:rPr>
              <a:t>1.0</a:t>
            </a:r>
          </a:p>
        </p:txBody>
      </p:sp>
      <p:sp>
        <p:nvSpPr>
          <p:cNvPr id="97" name="TextBox 96">
            <a:extLst>
              <a:ext uri="{FF2B5EF4-FFF2-40B4-BE49-F238E27FC236}">
                <a16:creationId xmlns="" xmlns:a16="http://schemas.microsoft.com/office/drawing/2014/main" id="{B0EC5251-1830-972E-480C-E901F93C88F9}"/>
              </a:ext>
            </a:extLst>
          </p:cNvPr>
          <p:cNvSpPr txBox="1"/>
          <p:nvPr/>
        </p:nvSpPr>
        <p:spPr>
          <a:xfrm>
            <a:off x="3700117" y="3347724"/>
            <a:ext cx="235352" cy="126958"/>
          </a:xfrm>
          <a:prstGeom prst="rect">
            <a:avLst/>
          </a:prstGeom>
          <a:noFill/>
        </p:spPr>
        <p:txBody>
          <a:bodyPr wrap="square" lIns="0" tIns="0" rIns="0" bIns="0" rtlCol="0">
            <a:spAutoFit/>
          </a:bodyPr>
          <a:lstStyle/>
          <a:p>
            <a:pPr algn="r" defTabSz="685511">
              <a:defRPr/>
            </a:pPr>
            <a:r>
              <a:rPr lang="es" sz="800">
                <a:solidFill>
                  <a:srgbClr val="34373F"/>
                </a:solidFill>
              </a:rPr>
              <a:t>0.5</a:t>
            </a:r>
          </a:p>
        </p:txBody>
      </p:sp>
      <p:sp>
        <p:nvSpPr>
          <p:cNvPr id="98" name="TextBox 97">
            <a:extLst>
              <a:ext uri="{FF2B5EF4-FFF2-40B4-BE49-F238E27FC236}">
                <a16:creationId xmlns="" xmlns:a16="http://schemas.microsoft.com/office/drawing/2014/main" id="{72D4AF35-B688-2C6C-9F05-987379231F0A}"/>
              </a:ext>
            </a:extLst>
          </p:cNvPr>
          <p:cNvSpPr txBox="1"/>
          <p:nvPr/>
        </p:nvSpPr>
        <p:spPr>
          <a:xfrm>
            <a:off x="3747289" y="3828144"/>
            <a:ext cx="188181" cy="126958"/>
          </a:xfrm>
          <a:prstGeom prst="rect">
            <a:avLst/>
          </a:prstGeom>
          <a:noFill/>
        </p:spPr>
        <p:txBody>
          <a:bodyPr wrap="square" lIns="0" tIns="0" rIns="0" bIns="0" rtlCol="0">
            <a:spAutoFit/>
          </a:bodyPr>
          <a:lstStyle/>
          <a:p>
            <a:pPr algn="r" defTabSz="685511">
              <a:defRPr/>
            </a:pPr>
            <a:r>
              <a:rPr lang="es" sz="800">
                <a:solidFill>
                  <a:srgbClr val="34373F"/>
                </a:solidFill>
              </a:rPr>
              <a:t>0</a:t>
            </a:r>
          </a:p>
        </p:txBody>
      </p:sp>
      <p:sp>
        <p:nvSpPr>
          <p:cNvPr id="99" name="TextBox 98">
            <a:extLst>
              <a:ext uri="{FF2B5EF4-FFF2-40B4-BE49-F238E27FC236}">
                <a16:creationId xmlns="" xmlns:a16="http://schemas.microsoft.com/office/drawing/2014/main" id="{CEE2DF65-60D2-45ED-67A1-16F121F3F4F0}"/>
              </a:ext>
            </a:extLst>
          </p:cNvPr>
          <p:cNvSpPr txBox="1"/>
          <p:nvPr/>
        </p:nvSpPr>
        <p:spPr>
          <a:xfrm>
            <a:off x="3965818" y="3959280"/>
            <a:ext cx="112874" cy="126958"/>
          </a:xfrm>
          <a:prstGeom prst="rect">
            <a:avLst/>
          </a:prstGeom>
          <a:noFill/>
        </p:spPr>
        <p:txBody>
          <a:bodyPr wrap="square" lIns="0" tIns="0" rIns="0" bIns="0" rtlCol="0">
            <a:spAutoFit/>
          </a:bodyPr>
          <a:lstStyle/>
          <a:p>
            <a:pPr algn="ctr" defTabSz="685511">
              <a:defRPr/>
            </a:pPr>
            <a:r>
              <a:rPr lang="es" sz="800">
                <a:solidFill>
                  <a:srgbClr val="34373F"/>
                </a:solidFill>
              </a:rPr>
              <a:t>0</a:t>
            </a:r>
          </a:p>
        </p:txBody>
      </p:sp>
      <p:sp>
        <p:nvSpPr>
          <p:cNvPr id="100" name="TextBox 99">
            <a:extLst>
              <a:ext uri="{FF2B5EF4-FFF2-40B4-BE49-F238E27FC236}">
                <a16:creationId xmlns="" xmlns:a16="http://schemas.microsoft.com/office/drawing/2014/main" id="{D683783F-E8F5-D6FD-B08E-E2CF6A8C363C}"/>
              </a:ext>
            </a:extLst>
          </p:cNvPr>
          <p:cNvSpPr txBox="1"/>
          <p:nvPr/>
        </p:nvSpPr>
        <p:spPr>
          <a:xfrm>
            <a:off x="4210327" y="3959280"/>
            <a:ext cx="112874" cy="126958"/>
          </a:xfrm>
          <a:prstGeom prst="rect">
            <a:avLst/>
          </a:prstGeom>
          <a:noFill/>
        </p:spPr>
        <p:txBody>
          <a:bodyPr wrap="square" lIns="0" tIns="0" rIns="0" bIns="0" rtlCol="0">
            <a:spAutoFit/>
          </a:bodyPr>
          <a:lstStyle/>
          <a:p>
            <a:pPr algn="ctr" defTabSz="685511">
              <a:defRPr/>
            </a:pPr>
            <a:r>
              <a:rPr lang="es" sz="800">
                <a:solidFill>
                  <a:srgbClr val="34373F"/>
                </a:solidFill>
              </a:rPr>
              <a:t>3</a:t>
            </a:r>
          </a:p>
        </p:txBody>
      </p:sp>
      <p:sp>
        <p:nvSpPr>
          <p:cNvPr id="101" name="TextBox 100">
            <a:extLst>
              <a:ext uri="{FF2B5EF4-FFF2-40B4-BE49-F238E27FC236}">
                <a16:creationId xmlns="" xmlns:a16="http://schemas.microsoft.com/office/drawing/2014/main" id="{4B51C020-43E0-C877-E944-8376A28478FE}"/>
              </a:ext>
            </a:extLst>
          </p:cNvPr>
          <p:cNvSpPr txBox="1"/>
          <p:nvPr/>
        </p:nvSpPr>
        <p:spPr>
          <a:xfrm>
            <a:off x="4462168" y="3959280"/>
            <a:ext cx="112874" cy="126958"/>
          </a:xfrm>
          <a:prstGeom prst="rect">
            <a:avLst/>
          </a:prstGeom>
          <a:noFill/>
        </p:spPr>
        <p:txBody>
          <a:bodyPr wrap="square" lIns="0" tIns="0" rIns="0" bIns="0" rtlCol="0">
            <a:spAutoFit/>
          </a:bodyPr>
          <a:lstStyle/>
          <a:p>
            <a:pPr algn="ctr" defTabSz="685511">
              <a:defRPr/>
            </a:pPr>
            <a:r>
              <a:rPr lang="es" sz="800">
                <a:solidFill>
                  <a:srgbClr val="34373F"/>
                </a:solidFill>
              </a:rPr>
              <a:t>6</a:t>
            </a:r>
          </a:p>
        </p:txBody>
      </p:sp>
      <p:sp>
        <p:nvSpPr>
          <p:cNvPr id="102" name="TextBox 101">
            <a:extLst>
              <a:ext uri="{FF2B5EF4-FFF2-40B4-BE49-F238E27FC236}">
                <a16:creationId xmlns="" xmlns:a16="http://schemas.microsoft.com/office/drawing/2014/main" id="{F301D259-2B21-4AD0-C368-E65D7D52832E}"/>
              </a:ext>
            </a:extLst>
          </p:cNvPr>
          <p:cNvSpPr txBox="1"/>
          <p:nvPr/>
        </p:nvSpPr>
        <p:spPr>
          <a:xfrm>
            <a:off x="4706884" y="3959280"/>
            <a:ext cx="112874" cy="126958"/>
          </a:xfrm>
          <a:prstGeom prst="rect">
            <a:avLst/>
          </a:prstGeom>
          <a:noFill/>
        </p:spPr>
        <p:txBody>
          <a:bodyPr wrap="square" lIns="0" tIns="0" rIns="0" bIns="0" rtlCol="0">
            <a:spAutoFit/>
          </a:bodyPr>
          <a:lstStyle/>
          <a:p>
            <a:pPr algn="ctr" defTabSz="685511">
              <a:defRPr/>
            </a:pPr>
            <a:r>
              <a:rPr lang="es" sz="800">
                <a:solidFill>
                  <a:srgbClr val="34373F"/>
                </a:solidFill>
              </a:rPr>
              <a:t>9</a:t>
            </a:r>
          </a:p>
        </p:txBody>
      </p:sp>
      <p:sp>
        <p:nvSpPr>
          <p:cNvPr id="103" name="TextBox 102">
            <a:extLst>
              <a:ext uri="{FF2B5EF4-FFF2-40B4-BE49-F238E27FC236}">
                <a16:creationId xmlns="" xmlns:a16="http://schemas.microsoft.com/office/drawing/2014/main" id="{4E3B99A4-11B9-AD98-203C-E3E99E9C7B09}"/>
              </a:ext>
            </a:extLst>
          </p:cNvPr>
          <p:cNvSpPr txBox="1"/>
          <p:nvPr/>
        </p:nvSpPr>
        <p:spPr>
          <a:xfrm>
            <a:off x="4956541" y="3959280"/>
            <a:ext cx="112874" cy="126958"/>
          </a:xfrm>
          <a:prstGeom prst="rect">
            <a:avLst/>
          </a:prstGeom>
          <a:noFill/>
        </p:spPr>
        <p:txBody>
          <a:bodyPr wrap="square" lIns="0" tIns="0" rIns="0" bIns="0" rtlCol="0">
            <a:spAutoFit/>
          </a:bodyPr>
          <a:lstStyle/>
          <a:p>
            <a:pPr algn="ctr" defTabSz="685511">
              <a:defRPr/>
            </a:pPr>
            <a:r>
              <a:rPr lang="es" sz="800">
                <a:solidFill>
                  <a:srgbClr val="34373F"/>
                </a:solidFill>
              </a:rPr>
              <a:t>12</a:t>
            </a:r>
          </a:p>
        </p:txBody>
      </p:sp>
      <p:sp>
        <p:nvSpPr>
          <p:cNvPr id="104" name="TextBox 103">
            <a:extLst>
              <a:ext uri="{FF2B5EF4-FFF2-40B4-BE49-F238E27FC236}">
                <a16:creationId xmlns="" xmlns:a16="http://schemas.microsoft.com/office/drawing/2014/main" id="{908114F5-AD21-C2DA-EFE0-7139C70D26F3}"/>
              </a:ext>
            </a:extLst>
          </p:cNvPr>
          <p:cNvSpPr txBox="1"/>
          <p:nvPr/>
        </p:nvSpPr>
        <p:spPr>
          <a:xfrm>
            <a:off x="5198782" y="3959280"/>
            <a:ext cx="112874" cy="126958"/>
          </a:xfrm>
          <a:prstGeom prst="rect">
            <a:avLst/>
          </a:prstGeom>
          <a:noFill/>
        </p:spPr>
        <p:txBody>
          <a:bodyPr wrap="square" lIns="0" tIns="0" rIns="0" bIns="0" rtlCol="0">
            <a:spAutoFit/>
          </a:bodyPr>
          <a:lstStyle/>
          <a:p>
            <a:pPr algn="ctr" defTabSz="685511">
              <a:defRPr/>
            </a:pPr>
            <a:r>
              <a:rPr lang="es" sz="800">
                <a:solidFill>
                  <a:srgbClr val="34373F"/>
                </a:solidFill>
              </a:rPr>
              <a:t>15</a:t>
            </a:r>
          </a:p>
        </p:txBody>
      </p:sp>
      <p:sp>
        <p:nvSpPr>
          <p:cNvPr id="105" name="TextBox 104">
            <a:extLst>
              <a:ext uri="{FF2B5EF4-FFF2-40B4-BE49-F238E27FC236}">
                <a16:creationId xmlns="" xmlns:a16="http://schemas.microsoft.com/office/drawing/2014/main" id="{261FCDBF-2237-932A-6AEE-EF7182C2E1A6}"/>
              </a:ext>
            </a:extLst>
          </p:cNvPr>
          <p:cNvSpPr txBox="1"/>
          <p:nvPr/>
        </p:nvSpPr>
        <p:spPr>
          <a:xfrm>
            <a:off x="5445970" y="3959280"/>
            <a:ext cx="112874" cy="126958"/>
          </a:xfrm>
          <a:prstGeom prst="rect">
            <a:avLst/>
          </a:prstGeom>
          <a:noFill/>
        </p:spPr>
        <p:txBody>
          <a:bodyPr wrap="square" lIns="0" tIns="0" rIns="0" bIns="0" rtlCol="0">
            <a:spAutoFit/>
          </a:bodyPr>
          <a:lstStyle/>
          <a:p>
            <a:pPr algn="ctr" defTabSz="685511">
              <a:defRPr/>
            </a:pPr>
            <a:r>
              <a:rPr lang="es" sz="800">
                <a:solidFill>
                  <a:srgbClr val="34373F"/>
                </a:solidFill>
              </a:rPr>
              <a:t>18</a:t>
            </a:r>
          </a:p>
        </p:txBody>
      </p:sp>
      <p:sp>
        <p:nvSpPr>
          <p:cNvPr id="106" name="TextBox 105">
            <a:extLst>
              <a:ext uri="{FF2B5EF4-FFF2-40B4-BE49-F238E27FC236}">
                <a16:creationId xmlns="" xmlns:a16="http://schemas.microsoft.com/office/drawing/2014/main" id="{19B37CED-2EB1-FD50-41D3-1E5DA351A0B3}"/>
              </a:ext>
            </a:extLst>
          </p:cNvPr>
          <p:cNvSpPr txBox="1"/>
          <p:nvPr/>
        </p:nvSpPr>
        <p:spPr>
          <a:xfrm>
            <a:off x="5690683" y="3959280"/>
            <a:ext cx="112874" cy="126958"/>
          </a:xfrm>
          <a:prstGeom prst="rect">
            <a:avLst/>
          </a:prstGeom>
          <a:noFill/>
        </p:spPr>
        <p:txBody>
          <a:bodyPr wrap="square" lIns="0" tIns="0" rIns="0" bIns="0" rtlCol="0">
            <a:spAutoFit/>
          </a:bodyPr>
          <a:lstStyle/>
          <a:p>
            <a:pPr algn="ctr" defTabSz="685511">
              <a:defRPr/>
            </a:pPr>
            <a:r>
              <a:rPr lang="es" sz="800">
                <a:solidFill>
                  <a:srgbClr val="34373F"/>
                </a:solidFill>
              </a:rPr>
              <a:t>21</a:t>
            </a:r>
          </a:p>
        </p:txBody>
      </p:sp>
      <p:sp>
        <p:nvSpPr>
          <p:cNvPr id="107" name="TextBox 106">
            <a:extLst>
              <a:ext uri="{FF2B5EF4-FFF2-40B4-BE49-F238E27FC236}">
                <a16:creationId xmlns="" xmlns:a16="http://schemas.microsoft.com/office/drawing/2014/main" id="{AB76BBC9-4960-EF3B-19D4-EBEBA48771AF}"/>
              </a:ext>
            </a:extLst>
          </p:cNvPr>
          <p:cNvSpPr txBox="1"/>
          <p:nvPr/>
        </p:nvSpPr>
        <p:spPr>
          <a:xfrm>
            <a:off x="5942812" y="3959280"/>
            <a:ext cx="112874" cy="126958"/>
          </a:xfrm>
          <a:prstGeom prst="rect">
            <a:avLst/>
          </a:prstGeom>
          <a:noFill/>
        </p:spPr>
        <p:txBody>
          <a:bodyPr wrap="square" lIns="0" tIns="0" rIns="0" bIns="0" rtlCol="0">
            <a:spAutoFit/>
          </a:bodyPr>
          <a:lstStyle/>
          <a:p>
            <a:pPr algn="ctr" defTabSz="685511">
              <a:defRPr/>
            </a:pPr>
            <a:r>
              <a:rPr lang="es" sz="800">
                <a:solidFill>
                  <a:srgbClr val="34373F"/>
                </a:solidFill>
              </a:rPr>
              <a:t>24</a:t>
            </a:r>
          </a:p>
        </p:txBody>
      </p:sp>
      <p:sp>
        <p:nvSpPr>
          <p:cNvPr id="108" name="TextBox 107">
            <a:extLst>
              <a:ext uri="{FF2B5EF4-FFF2-40B4-BE49-F238E27FC236}">
                <a16:creationId xmlns="" xmlns:a16="http://schemas.microsoft.com/office/drawing/2014/main" id="{585C3E18-99F7-FCA6-8D30-4AF113CAAADE}"/>
              </a:ext>
            </a:extLst>
          </p:cNvPr>
          <p:cNvSpPr txBox="1"/>
          <p:nvPr/>
        </p:nvSpPr>
        <p:spPr>
          <a:xfrm>
            <a:off x="6187525" y="3959280"/>
            <a:ext cx="112874" cy="126958"/>
          </a:xfrm>
          <a:prstGeom prst="rect">
            <a:avLst/>
          </a:prstGeom>
          <a:noFill/>
        </p:spPr>
        <p:txBody>
          <a:bodyPr wrap="square" lIns="0" tIns="0" rIns="0" bIns="0" rtlCol="0">
            <a:spAutoFit/>
          </a:bodyPr>
          <a:lstStyle/>
          <a:p>
            <a:pPr algn="ctr" defTabSz="685511">
              <a:defRPr/>
            </a:pPr>
            <a:r>
              <a:rPr lang="es" sz="800">
                <a:solidFill>
                  <a:srgbClr val="34373F"/>
                </a:solidFill>
              </a:rPr>
              <a:t>27</a:t>
            </a:r>
          </a:p>
        </p:txBody>
      </p:sp>
      <p:sp>
        <p:nvSpPr>
          <p:cNvPr id="109" name="TextBox 108">
            <a:extLst>
              <a:ext uri="{FF2B5EF4-FFF2-40B4-BE49-F238E27FC236}">
                <a16:creationId xmlns="" xmlns:a16="http://schemas.microsoft.com/office/drawing/2014/main" id="{1B806F94-B6B2-B5DE-26CB-E6C43FC829D9}"/>
              </a:ext>
            </a:extLst>
          </p:cNvPr>
          <p:cNvSpPr txBox="1"/>
          <p:nvPr/>
        </p:nvSpPr>
        <p:spPr>
          <a:xfrm>
            <a:off x="6434710" y="3959280"/>
            <a:ext cx="112874" cy="126958"/>
          </a:xfrm>
          <a:prstGeom prst="rect">
            <a:avLst/>
          </a:prstGeom>
          <a:noFill/>
        </p:spPr>
        <p:txBody>
          <a:bodyPr wrap="square" lIns="0" tIns="0" rIns="0" bIns="0" rtlCol="0">
            <a:spAutoFit/>
          </a:bodyPr>
          <a:lstStyle/>
          <a:p>
            <a:pPr algn="ctr" defTabSz="685511">
              <a:defRPr/>
            </a:pPr>
            <a:r>
              <a:rPr lang="es" sz="800">
                <a:solidFill>
                  <a:srgbClr val="34373F"/>
                </a:solidFill>
              </a:rPr>
              <a:t>30</a:t>
            </a:r>
          </a:p>
        </p:txBody>
      </p:sp>
      <p:sp>
        <p:nvSpPr>
          <p:cNvPr id="110" name="TextBox 109">
            <a:extLst>
              <a:ext uri="{FF2B5EF4-FFF2-40B4-BE49-F238E27FC236}">
                <a16:creationId xmlns="" xmlns:a16="http://schemas.microsoft.com/office/drawing/2014/main" id="{FBB26732-ED89-8036-08DB-5B7B4EACAF48}"/>
              </a:ext>
            </a:extLst>
          </p:cNvPr>
          <p:cNvSpPr txBox="1"/>
          <p:nvPr/>
        </p:nvSpPr>
        <p:spPr>
          <a:xfrm>
            <a:off x="6681895" y="3959280"/>
            <a:ext cx="112874" cy="126958"/>
          </a:xfrm>
          <a:prstGeom prst="rect">
            <a:avLst/>
          </a:prstGeom>
          <a:noFill/>
        </p:spPr>
        <p:txBody>
          <a:bodyPr wrap="square" lIns="0" tIns="0" rIns="0" bIns="0" rtlCol="0">
            <a:spAutoFit/>
          </a:bodyPr>
          <a:lstStyle/>
          <a:p>
            <a:pPr algn="ctr" defTabSz="685511">
              <a:defRPr/>
            </a:pPr>
            <a:r>
              <a:rPr lang="es" sz="800">
                <a:solidFill>
                  <a:srgbClr val="34373F"/>
                </a:solidFill>
              </a:rPr>
              <a:t>33</a:t>
            </a:r>
          </a:p>
        </p:txBody>
      </p:sp>
      <p:sp>
        <p:nvSpPr>
          <p:cNvPr id="111" name="TextBox 110">
            <a:extLst>
              <a:ext uri="{FF2B5EF4-FFF2-40B4-BE49-F238E27FC236}">
                <a16:creationId xmlns="" xmlns:a16="http://schemas.microsoft.com/office/drawing/2014/main" id="{431A0515-CB6C-43FA-DC46-C73BBE68EFBE}"/>
              </a:ext>
            </a:extLst>
          </p:cNvPr>
          <p:cNvSpPr txBox="1"/>
          <p:nvPr/>
        </p:nvSpPr>
        <p:spPr>
          <a:xfrm>
            <a:off x="6926611" y="3959280"/>
            <a:ext cx="112874" cy="126958"/>
          </a:xfrm>
          <a:prstGeom prst="rect">
            <a:avLst/>
          </a:prstGeom>
          <a:noFill/>
        </p:spPr>
        <p:txBody>
          <a:bodyPr wrap="square" lIns="0" tIns="0" rIns="0" bIns="0" rtlCol="0">
            <a:spAutoFit/>
          </a:bodyPr>
          <a:lstStyle/>
          <a:p>
            <a:pPr algn="ctr" defTabSz="685511">
              <a:defRPr/>
            </a:pPr>
            <a:r>
              <a:rPr lang="es" sz="800">
                <a:solidFill>
                  <a:srgbClr val="34373F"/>
                </a:solidFill>
              </a:rPr>
              <a:t>36</a:t>
            </a:r>
          </a:p>
        </p:txBody>
      </p:sp>
      <p:sp>
        <p:nvSpPr>
          <p:cNvPr id="112" name="TextBox 111">
            <a:extLst>
              <a:ext uri="{FF2B5EF4-FFF2-40B4-BE49-F238E27FC236}">
                <a16:creationId xmlns="" xmlns:a16="http://schemas.microsoft.com/office/drawing/2014/main" id="{8EBAFC70-E832-0AB7-5115-97B133FF70D1}"/>
              </a:ext>
            </a:extLst>
          </p:cNvPr>
          <p:cNvSpPr txBox="1"/>
          <p:nvPr/>
        </p:nvSpPr>
        <p:spPr>
          <a:xfrm>
            <a:off x="7176268" y="3959280"/>
            <a:ext cx="112874" cy="126958"/>
          </a:xfrm>
          <a:prstGeom prst="rect">
            <a:avLst/>
          </a:prstGeom>
          <a:noFill/>
        </p:spPr>
        <p:txBody>
          <a:bodyPr wrap="square" lIns="0" tIns="0" rIns="0" bIns="0" rtlCol="0">
            <a:spAutoFit/>
          </a:bodyPr>
          <a:lstStyle/>
          <a:p>
            <a:pPr algn="ctr" defTabSz="685511">
              <a:defRPr/>
            </a:pPr>
            <a:r>
              <a:rPr lang="es" sz="800">
                <a:solidFill>
                  <a:srgbClr val="34373F"/>
                </a:solidFill>
              </a:rPr>
              <a:t>39</a:t>
            </a:r>
          </a:p>
        </p:txBody>
      </p:sp>
      <p:sp>
        <p:nvSpPr>
          <p:cNvPr id="113" name="TextBox 112">
            <a:extLst>
              <a:ext uri="{FF2B5EF4-FFF2-40B4-BE49-F238E27FC236}">
                <a16:creationId xmlns="" xmlns:a16="http://schemas.microsoft.com/office/drawing/2014/main" id="{F77A791E-5FEC-CDE6-2A76-36C273822BE2}"/>
              </a:ext>
            </a:extLst>
          </p:cNvPr>
          <p:cNvSpPr txBox="1"/>
          <p:nvPr/>
        </p:nvSpPr>
        <p:spPr>
          <a:xfrm>
            <a:off x="7425925" y="3959280"/>
            <a:ext cx="112874" cy="126958"/>
          </a:xfrm>
          <a:prstGeom prst="rect">
            <a:avLst/>
          </a:prstGeom>
          <a:noFill/>
        </p:spPr>
        <p:txBody>
          <a:bodyPr wrap="square" lIns="0" tIns="0" rIns="0" bIns="0" rtlCol="0">
            <a:spAutoFit/>
          </a:bodyPr>
          <a:lstStyle/>
          <a:p>
            <a:pPr algn="ctr" defTabSz="685511">
              <a:defRPr/>
            </a:pPr>
            <a:r>
              <a:rPr lang="es" sz="800">
                <a:solidFill>
                  <a:srgbClr val="34373F"/>
                </a:solidFill>
              </a:rPr>
              <a:t>42</a:t>
            </a:r>
          </a:p>
        </p:txBody>
      </p:sp>
      <p:sp>
        <p:nvSpPr>
          <p:cNvPr id="114" name="TextBox 113">
            <a:extLst>
              <a:ext uri="{FF2B5EF4-FFF2-40B4-BE49-F238E27FC236}">
                <a16:creationId xmlns="" xmlns:a16="http://schemas.microsoft.com/office/drawing/2014/main" id="{BA651AC0-8E78-54B1-190C-A1007DDF5EB2}"/>
              </a:ext>
            </a:extLst>
          </p:cNvPr>
          <p:cNvSpPr txBox="1"/>
          <p:nvPr/>
        </p:nvSpPr>
        <p:spPr>
          <a:xfrm>
            <a:off x="7670638" y="3959280"/>
            <a:ext cx="112874" cy="126958"/>
          </a:xfrm>
          <a:prstGeom prst="rect">
            <a:avLst/>
          </a:prstGeom>
          <a:noFill/>
        </p:spPr>
        <p:txBody>
          <a:bodyPr wrap="square" lIns="0" tIns="0" rIns="0" bIns="0" rtlCol="0">
            <a:spAutoFit/>
          </a:bodyPr>
          <a:lstStyle/>
          <a:p>
            <a:pPr algn="ctr" defTabSz="685511">
              <a:defRPr/>
            </a:pPr>
            <a:r>
              <a:rPr lang="es" sz="800">
                <a:solidFill>
                  <a:srgbClr val="34373F"/>
                </a:solidFill>
              </a:rPr>
              <a:t>45</a:t>
            </a:r>
          </a:p>
        </p:txBody>
      </p:sp>
      <p:sp>
        <p:nvSpPr>
          <p:cNvPr id="115" name="TextBox 114">
            <a:extLst>
              <a:ext uri="{FF2B5EF4-FFF2-40B4-BE49-F238E27FC236}">
                <a16:creationId xmlns="" xmlns:a16="http://schemas.microsoft.com/office/drawing/2014/main" id="{4C39A4F5-7165-E7F7-AA6A-995204595C25}"/>
              </a:ext>
            </a:extLst>
          </p:cNvPr>
          <p:cNvSpPr txBox="1"/>
          <p:nvPr/>
        </p:nvSpPr>
        <p:spPr>
          <a:xfrm>
            <a:off x="7920298" y="3959280"/>
            <a:ext cx="112874" cy="126958"/>
          </a:xfrm>
          <a:prstGeom prst="rect">
            <a:avLst/>
          </a:prstGeom>
          <a:noFill/>
        </p:spPr>
        <p:txBody>
          <a:bodyPr wrap="square" lIns="0" tIns="0" rIns="0" bIns="0" rtlCol="0">
            <a:spAutoFit/>
          </a:bodyPr>
          <a:lstStyle/>
          <a:p>
            <a:pPr algn="ctr" defTabSz="685511">
              <a:defRPr/>
            </a:pPr>
            <a:r>
              <a:rPr lang="es" sz="800">
                <a:solidFill>
                  <a:srgbClr val="34373F"/>
                </a:solidFill>
              </a:rPr>
              <a:t>48</a:t>
            </a:r>
          </a:p>
        </p:txBody>
      </p:sp>
      <p:sp>
        <p:nvSpPr>
          <p:cNvPr id="116" name="TextBox 115">
            <a:extLst>
              <a:ext uri="{FF2B5EF4-FFF2-40B4-BE49-F238E27FC236}">
                <a16:creationId xmlns="" xmlns:a16="http://schemas.microsoft.com/office/drawing/2014/main" id="{5044BAA9-36AF-A1E8-4EFF-4AC9743844DB}"/>
              </a:ext>
            </a:extLst>
          </p:cNvPr>
          <p:cNvSpPr txBox="1"/>
          <p:nvPr/>
        </p:nvSpPr>
        <p:spPr>
          <a:xfrm>
            <a:off x="8162539" y="3959280"/>
            <a:ext cx="112874" cy="126958"/>
          </a:xfrm>
          <a:prstGeom prst="rect">
            <a:avLst/>
          </a:prstGeom>
          <a:noFill/>
        </p:spPr>
        <p:txBody>
          <a:bodyPr wrap="square" lIns="0" tIns="0" rIns="0" bIns="0" rtlCol="0">
            <a:spAutoFit/>
          </a:bodyPr>
          <a:lstStyle/>
          <a:p>
            <a:pPr algn="ctr" defTabSz="685511">
              <a:defRPr/>
            </a:pPr>
            <a:r>
              <a:rPr lang="es" sz="800">
                <a:solidFill>
                  <a:srgbClr val="34373F"/>
                </a:solidFill>
              </a:rPr>
              <a:t>51</a:t>
            </a:r>
          </a:p>
        </p:txBody>
      </p:sp>
      <p:sp>
        <p:nvSpPr>
          <p:cNvPr id="117" name="TextBox 116">
            <a:extLst>
              <a:ext uri="{FF2B5EF4-FFF2-40B4-BE49-F238E27FC236}">
                <a16:creationId xmlns="" xmlns:a16="http://schemas.microsoft.com/office/drawing/2014/main" id="{CFE37427-0319-5EB7-6F71-E177F4D12F74}"/>
              </a:ext>
            </a:extLst>
          </p:cNvPr>
          <p:cNvSpPr txBox="1"/>
          <p:nvPr/>
        </p:nvSpPr>
        <p:spPr>
          <a:xfrm>
            <a:off x="8409724" y="3959280"/>
            <a:ext cx="112874" cy="126958"/>
          </a:xfrm>
          <a:prstGeom prst="rect">
            <a:avLst/>
          </a:prstGeom>
          <a:noFill/>
        </p:spPr>
        <p:txBody>
          <a:bodyPr wrap="square" lIns="0" tIns="0" rIns="0" bIns="0" rtlCol="0">
            <a:spAutoFit/>
          </a:bodyPr>
          <a:lstStyle/>
          <a:p>
            <a:pPr algn="ctr" defTabSz="685511">
              <a:defRPr/>
            </a:pPr>
            <a:r>
              <a:rPr lang="es" sz="800">
                <a:solidFill>
                  <a:srgbClr val="34373F"/>
                </a:solidFill>
              </a:rPr>
              <a:t>54</a:t>
            </a:r>
          </a:p>
        </p:txBody>
      </p:sp>
      <p:sp>
        <p:nvSpPr>
          <p:cNvPr id="118" name="TextBox 117">
            <a:extLst>
              <a:ext uri="{FF2B5EF4-FFF2-40B4-BE49-F238E27FC236}">
                <a16:creationId xmlns="" xmlns:a16="http://schemas.microsoft.com/office/drawing/2014/main" id="{C8BD7C41-7C6F-6144-667C-A95FDDB1B728}"/>
              </a:ext>
            </a:extLst>
          </p:cNvPr>
          <p:cNvSpPr txBox="1"/>
          <p:nvPr/>
        </p:nvSpPr>
        <p:spPr>
          <a:xfrm>
            <a:off x="8654437" y="3959280"/>
            <a:ext cx="112874" cy="126958"/>
          </a:xfrm>
          <a:prstGeom prst="rect">
            <a:avLst/>
          </a:prstGeom>
          <a:noFill/>
        </p:spPr>
        <p:txBody>
          <a:bodyPr wrap="square" lIns="0" tIns="0" rIns="0" bIns="0" rtlCol="0">
            <a:spAutoFit/>
          </a:bodyPr>
          <a:lstStyle/>
          <a:p>
            <a:pPr algn="ctr" defTabSz="685511">
              <a:defRPr/>
            </a:pPr>
            <a:r>
              <a:rPr lang="es" sz="800">
                <a:solidFill>
                  <a:srgbClr val="34373F"/>
                </a:solidFill>
              </a:rPr>
              <a:t>57</a:t>
            </a:r>
          </a:p>
        </p:txBody>
      </p:sp>
      <p:grpSp>
        <p:nvGrpSpPr>
          <p:cNvPr id="119" name="Group 118">
            <a:extLst>
              <a:ext uri="{FF2B5EF4-FFF2-40B4-BE49-F238E27FC236}">
                <a16:creationId xmlns="" xmlns:a16="http://schemas.microsoft.com/office/drawing/2014/main" id="{04C3FDA1-5D7D-4D30-D1F7-13B5730122B7}"/>
              </a:ext>
            </a:extLst>
          </p:cNvPr>
          <p:cNvGrpSpPr/>
          <p:nvPr/>
        </p:nvGrpSpPr>
        <p:grpSpPr>
          <a:xfrm>
            <a:off x="3969920" y="1485783"/>
            <a:ext cx="26665" cy="2416835"/>
            <a:chOff x="4473610" y="1388717"/>
            <a:chExt cx="40131" cy="3862640"/>
          </a:xfrm>
        </p:grpSpPr>
        <p:cxnSp>
          <p:nvCxnSpPr>
            <p:cNvPr id="159" name="Straight Connector 158">
              <a:extLst>
                <a:ext uri="{FF2B5EF4-FFF2-40B4-BE49-F238E27FC236}">
                  <a16:creationId xmlns="" xmlns:a16="http://schemas.microsoft.com/office/drawing/2014/main" id="{DA2ADAB1-5F40-82AB-4A1F-511A0169D3C0}"/>
                </a:ext>
              </a:extLst>
            </p:cNvPr>
            <p:cNvCxnSpPr>
              <a:cxnSpLocks/>
            </p:cNvCxnSpPr>
            <p:nvPr/>
          </p:nvCxnSpPr>
          <p:spPr>
            <a:xfrm flipH="1">
              <a:off x="4473610" y="1423944"/>
              <a:ext cx="40131"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 xmlns:a16="http://schemas.microsoft.com/office/drawing/2014/main" id="{E336A94C-9EE9-8F99-A5B3-693EA07B1E2A}"/>
                </a:ext>
              </a:extLst>
            </p:cNvPr>
            <p:cNvCxnSpPr>
              <a:cxnSpLocks/>
            </p:cNvCxnSpPr>
            <p:nvPr/>
          </p:nvCxnSpPr>
          <p:spPr>
            <a:xfrm flipH="1">
              <a:off x="4473610" y="2183593"/>
              <a:ext cx="40131"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 xmlns:a16="http://schemas.microsoft.com/office/drawing/2014/main" id="{AB90C05C-D1DE-F79A-28DD-B24B577ADDE3}"/>
                </a:ext>
              </a:extLst>
            </p:cNvPr>
            <p:cNvCxnSpPr>
              <a:cxnSpLocks/>
            </p:cNvCxnSpPr>
            <p:nvPr/>
          </p:nvCxnSpPr>
          <p:spPr>
            <a:xfrm flipH="1">
              <a:off x="4473610" y="2939157"/>
              <a:ext cx="40131"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 xmlns:a16="http://schemas.microsoft.com/office/drawing/2014/main" id="{79D13792-B2B3-9C46-7939-BB7791B10CA1}"/>
                </a:ext>
              </a:extLst>
            </p:cNvPr>
            <p:cNvCxnSpPr>
              <a:cxnSpLocks/>
            </p:cNvCxnSpPr>
            <p:nvPr/>
          </p:nvCxnSpPr>
          <p:spPr>
            <a:xfrm flipH="1">
              <a:off x="4473610" y="3702890"/>
              <a:ext cx="40131"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 xmlns:a16="http://schemas.microsoft.com/office/drawing/2014/main" id="{2BA6C215-97AF-C61F-40DB-4C20878FCAC0}"/>
                </a:ext>
              </a:extLst>
            </p:cNvPr>
            <p:cNvCxnSpPr>
              <a:cxnSpLocks/>
            </p:cNvCxnSpPr>
            <p:nvPr/>
          </p:nvCxnSpPr>
          <p:spPr>
            <a:xfrm flipH="1">
              <a:off x="4473610" y="4458454"/>
              <a:ext cx="40131"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 xmlns:a16="http://schemas.microsoft.com/office/drawing/2014/main" id="{9BCD955B-E53F-18EB-B21D-8898177AB8B6}"/>
                </a:ext>
              </a:extLst>
            </p:cNvPr>
            <p:cNvCxnSpPr>
              <a:cxnSpLocks/>
            </p:cNvCxnSpPr>
            <p:nvPr/>
          </p:nvCxnSpPr>
          <p:spPr>
            <a:xfrm flipH="1">
              <a:off x="4473610" y="5222186"/>
              <a:ext cx="40131"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 xmlns:a16="http://schemas.microsoft.com/office/drawing/2014/main" id="{BFFD6F97-A938-2DB8-0112-F99D0E889524}"/>
                </a:ext>
              </a:extLst>
            </p:cNvPr>
            <p:cNvCxnSpPr>
              <a:cxnSpLocks/>
            </p:cNvCxnSpPr>
            <p:nvPr/>
          </p:nvCxnSpPr>
          <p:spPr>
            <a:xfrm flipV="1">
              <a:off x="4513741" y="1388717"/>
              <a:ext cx="0" cy="386264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120" name="Group 119">
            <a:extLst>
              <a:ext uri="{FF2B5EF4-FFF2-40B4-BE49-F238E27FC236}">
                <a16:creationId xmlns="" xmlns:a16="http://schemas.microsoft.com/office/drawing/2014/main" id="{F699F1A4-F1B7-D90E-379A-E1209150C4D2}"/>
              </a:ext>
            </a:extLst>
          </p:cNvPr>
          <p:cNvGrpSpPr/>
          <p:nvPr/>
        </p:nvGrpSpPr>
        <p:grpSpPr>
          <a:xfrm>
            <a:off x="3996576" y="3758160"/>
            <a:ext cx="4770743" cy="201139"/>
            <a:chOff x="4513741" y="5032478"/>
            <a:chExt cx="7179979" cy="321463"/>
          </a:xfrm>
        </p:grpSpPr>
        <p:cxnSp>
          <p:nvCxnSpPr>
            <p:cNvPr id="135" name="Straight Connector 134">
              <a:extLst>
                <a:ext uri="{FF2B5EF4-FFF2-40B4-BE49-F238E27FC236}">
                  <a16:creationId xmlns="" xmlns:a16="http://schemas.microsoft.com/office/drawing/2014/main" id="{B133ECB9-81AB-CF03-3FF7-16319B1A20BE}"/>
                </a:ext>
              </a:extLst>
            </p:cNvPr>
            <p:cNvCxnSpPr>
              <a:cxnSpLocks/>
            </p:cNvCxnSpPr>
            <p:nvPr/>
          </p:nvCxnSpPr>
          <p:spPr>
            <a:xfrm flipH="1">
              <a:off x="4513741" y="5255675"/>
              <a:ext cx="7179979"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 xmlns:a16="http://schemas.microsoft.com/office/drawing/2014/main" id="{371FC1EE-11C6-DF11-C43F-A8B22AF4A277}"/>
                </a:ext>
              </a:extLst>
            </p:cNvPr>
            <p:cNvCxnSpPr>
              <a:cxnSpLocks/>
            </p:cNvCxnSpPr>
            <p:nvPr/>
          </p:nvCxnSpPr>
          <p:spPr>
            <a:xfrm flipV="1">
              <a:off x="4551782" y="5253904"/>
              <a:ext cx="0" cy="4454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 xmlns:a16="http://schemas.microsoft.com/office/drawing/2014/main" id="{D9204FEB-63FC-7737-30EE-132537D3A309}"/>
                </a:ext>
              </a:extLst>
            </p:cNvPr>
            <p:cNvCxnSpPr>
              <a:cxnSpLocks/>
              <a:stCxn id="100" idx="0"/>
            </p:cNvCxnSpPr>
            <p:nvPr/>
          </p:nvCxnSpPr>
          <p:spPr>
            <a:xfrm flipH="1" flipV="1">
              <a:off x="4919772" y="5032478"/>
              <a:ext cx="612" cy="32146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 xmlns:a16="http://schemas.microsoft.com/office/drawing/2014/main" id="{0D490F5B-4F0A-E888-DBD1-C7EBD8792FCE}"/>
                </a:ext>
              </a:extLst>
            </p:cNvPr>
            <p:cNvCxnSpPr>
              <a:cxnSpLocks/>
            </p:cNvCxnSpPr>
            <p:nvPr/>
          </p:nvCxnSpPr>
          <p:spPr>
            <a:xfrm flipH="1" flipV="1">
              <a:off x="5287524" y="5253904"/>
              <a:ext cx="615" cy="4454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 xmlns:a16="http://schemas.microsoft.com/office/drawing/2014/main" id="{A27F9927-9A61-C7FD-D2E5-859B3EF4D048}"/>
                </a:ext>
              </a:extLst>
            </p:cNvPr>
            <p:cNvCxnSpPr>
              <a:cxnSpLocks/>
            </p:cNvCxnSpPr>
            <p:nvPr/>
          </p:nvCxnSpPr>
          <p:spPr>
            <a:xfrm flipH="1" flipV="1">
              <a:off x="5659151" y="5253904"/>
              <a:ext cx="0" cy="44005"/>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40" name="Group 139">
              <a:extLst>
                <a:ext uri="{FF2B5EF4-FFF2-40B4-BE49-F238E27FC236}">
                  <a16:creationId xmlns="" xmlns:a16="http://schemas.microsoft.com/office/drawing/2014/main" id="{CCA96547-4E72-CC15-FFF9-6DFDD1436257}"/>
                </a:ext>
              </a:extLst>
            </p:cNvPr>
            <p:cNvGrpSpPr/>
            <p:nvPr/>
          </p:nvGrpSpPr>
          <p:grpSpPr>
            <a:xfrm>
              <a:off x="6034318" y="5253904"/>
              <a:ext cx="1862293" cy="44540"/>
              <a:chOff x="6345896" y="4894734"/>
              <a:chExt cx="1670602" cy="36000"/>
            </a:xfrm>
          </p:grpSpPr>
          <p:cxnSp>
            <p:nvCxnSpPr>
              <p:cNvPr id="153" name="Straight Connector 152">
                <a:extLst>
                  <a:ext uri="{FF2B5EF4-FFF2-40B4-BE49-F238E27FC236}">
                    <a16:creationId xmlns="" xmlns:a16="http://schemas.microsoft.com/office/drawing/2014/main" id="{2F66946F-E01B-8603-38BA-C7B2E49F37F0}"/>
                  </a:ext>
                </a:extLst>
              </p:cNvPr>
              <p:cNvCxnSpPr>
                <a:cxnSpLocks/>
              </p:cNvCxnSpPr>
              <p:nvPr/>
            </p:nvCxnSpPr>
            <p:spPr>
              <a:xfrm flipH="1" flipV="1">
                <a:off x="6345896" y="4894734"/>
                <a:ext cx="552" cy="360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 xmlns:a16="http://schemas.microsoft.com/office/drawing/2014/main" id="{B6B1CD9C-5517-FB0F-81B4-08FCC60AB0D6}"/>
                  </a:ext>
                </a:extLst>
              </p:cNvPr>
              <p:cNvCxnSpPr>
                <a:cxnSpLocks/>
              </p:cNvCxnSpPr>
              <p:nvPr/>
            </p:nvCxnSpPr>
            <p:spPr>
              <a:xfrm flipH="1" flipV="1">
                <a:off x="6679271" y="4894734"/>
                <a:ext cx="552" cy="360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 xmlns:a16="http://schemas.microsoft.com/office/drawing/2014/main" id="{4329373B-9B72-5653-A1E9-2B28A24784DB}"/>
                  </a:ext>
                </a:extLst>
              </p:cNvPr>
              <p:cNvCxnSpPr>
                <a:cxnSpLocks/>
              </p:cNvCxnSpPr>
              <p:nvPr/>
            </p:nvCxnSpPr>
            <p:spPr>
              <a:xfrm flipH="1" flipV="1">
                <a:off x="7012646" y="4894734"/>
                <a:ext cx="552" cy="360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 xmlns:a16="http://schemas.microsoft.com/office/drawing/2014/main" id="{8C1FA770-DCC7-F8EC-7D94-C9424930CAD4}"/>
                  </a:ext>
                </a:extLst>
              </p:cNvPr>
              <p:cNvCxnSpPr>
                <a:cxnSpLocks/>
              </p:cNvCxnSpPr>
              <p:nvPr/>
            </p:nvCxnSpPr>
            <p:spPr>
              <a:xfrm flipH="1" flipV="1">
                <a:off x="7346021" y="4894734"/>
                <a:ext cx="552" cy="360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 xmlns:a16="http://schemas.microsoft.com/office/drawing/2014/main" id="{C92356B2-746E-F420-E254-359C99738C58}"/>
                  </a:ext>
                </a:extLst>
              </p:cNvPr>
              <p:cNvCxnSpPr>
                <a:cxnSpLocks/>
              </p:cNvCxnSpPr>
              <p:nvPr/>
            </p:nvCxnSpPr>
            <p:spPr>
              <a:xfrm flipH="1" flipV="1">
                <a:off x="7679396" y="4894734"/>
                <a:ext cx="552" cy="360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 xmlns:a16="http://schemas.microsoft.com/office/drawing/2014/main" id="{0E52B9AA-1C1F-1B93-CAB3-9819081888ED}"/>
                  </a:ext>
                </a:extLst>
              </p:cNvPr>
              <p:cNvCxnSpPr>
                <a:cxnSpLocks/>
              </p:cNvCxnSpPr>
              <p:nvPr/>
            </p:nvCxnSpPr>
            <p:spPr>
              <a:xfrm flipH="1" flipV="1">
                <a:off x="8015946" y="4894734"/>
                <a:ext cx="552" cy="360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141" name="Group 140">
              <a:extLst>
                <a:ext uri="{FF2B5EF4-FFF2-40B4-BE49-F238E27FC236}">
                  <a16:creationId xmlns="" xmlns:a16="http://schemas.microsoft.com/office/drawing/2014/main" id="{302E6DDF-699B-358E-6B05-CE3BF146CE48}"/>
                </a:ext>
              </a:extLst>
            </p:cNvPr>
            <p:cNvGrpSpPr/>
            <p:nvPr/>
          </p:nvGrpSpPr>
          <p:grpSpPr>
            <a:xfrm>
              <a:off x="8264084" y="5253904"/>
              <a:ext cx="1862293" cy="44540"/>
              <a:chOff x="6345896" y="4894734"/>
              <a:chExt cx="1670602" cy="36000"/>
            </a:xfrm>
          </p:grpSpPr>
          <p:cxnSp>
            <p:nvCxnSpPr>
              <p:cNvPr id="147" name="Straight Connector 146">
                <a:extLst>
                  <a:ext uri="{FF2B5EF4-FFF2-40B4-BE49-F238E27FC236}">
                    <a16:creationId xmlns="" xmlns:a16="http://schemas.microsoft.com/office/drawing/2014/main" id="{3A5D1E5F-2D9D-89B3-05E5-6C2C66FB47F5}"/>
                  </a:ext>
                </a:extLst>
              </p:cNvPr>
              <p:cNvCxnSpPr>
                <a:cxnSpLocks/>
              </p:cNvCxnSpPr>
              <p:nvPr/>
            </p:nvCxnSpPr>
            <p:spPr>
              <a:xfrm flipH="1" flipV="1">
                <a:off x="6345896" y="4894734"/>
                <a:ext cx="552" cy="360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 xmlns:a16="http://schemas.microsoft.com/office/drawing/2014/main" id="{CFE65247-D3DC-C709-C8F3-57CDF4EC5531}"/>
                  </a:ext>
                </a:extLst>
              </p:cNvPr>
              <p:cNvCxnSpPr>
                <a:cxnSpLocks/>
              </p:cNvCxnSpPr>
              <p:nvPr/>
            </p:nvCxnSpPr>
            <p:spPr>
              <a:xfrm flipH="1" flipV="1">
                <a:off x="6679271" y="4894734"/>
                <a:ext cx="552" cy="360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 xmlns:a16="http://schemas.microsoft.com/office/drawing/2014/main" id="{33EBE7EC-247F-FC48-EEAE-B66A44C6E3D0}"/>
                  </a:ext>
                </a:extLst>
              </p:cNvPr>
              <p:cNvCxnSpPr>
                <a:cxnSpLocks/>
              </p:cNvCxnSpPr>
              <p:nvPr/>
            </p:nvCxnSpPr>
            <p:spPr>
              <a:xfrm flipH="1" flipV="1">
                <a:off x="7012646" y="4894734"/>
                <a:ext cx="552" cy="360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 xmlns:a16="http://schemas.microsoft.com/office/drawing/2014/main" id="{99095FB6-CB32-2B06-CB4E-15AD5FF6B507}"/>
                  </a:ext>
                </a:extLst>
              </p:cNvPr>
              <p:cNvCxnSpPr>
                <a:cxnSpLocks/>
              </p:cNvCxnSpPr>
              <p:nvPr/>
            </p:nvCxnSpPr>
            <p:spPr>
              <a:xfrm flipH="1" flipV="1">
                <a:off x="7346021" y="4894734"/>
                <a:ext cx="552" cy="360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 xmlns:a16="http://schemas.microsoft.com/office/drawing/2014/main" id="{8D10A615-44E1-C557-0C75-69693E186FE0}"/>
                  </a:ext>
                </a:extLst>
              </p:cNvPr>
              <p:cNvCxnSpPr>
                <a:cxnSpLocks/>
              </p:cNvCxnSpPr>
              <p:nvPr/>
            </p:nvCxnSpPr>
            <p:spPr>
              <a:xfrm flipH="1" flipV="1">
                <a:off x="7679396" y="4894734"/>
                <a:ext cx="552" cy="360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 xmlns:a16="http://schemas.microsoft.com/office/drawing/2014/main" id="{B256DC5C-E506-483F-EE89-CDE4DE7D80B9}"/>
                  </a:ext>
                </a:extLst>
              </p:cNvPr>
              <p:cNvCxnSpPr>
                <a:cxnSpLocks/>
              </p:cNvCxnSpPr>
              <p:nvPr/>
            </p:nvCxnSpPr>
            <p:spPr>
              <a:xfrm flipH="1" flipV="1">
                <a:off x="8015946" y="4894734"/>
                <a:ext cx="552" cy="360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142" name="Group 141">
              <a:extLst>
                <a:ext uri="{FF2B5EF4-FFF2-40B4-BE49-F238E27FC236}">
                  <a16:creationId xmlns="" xmlns:a16="http://schemas.microsoft.com/office/drawing/2014/main" id="{FA99B18E-0707-AA90-1581-B5DC9F3C1488}"/>
                </a:ext>
              </a:extLst>
            </p:cNvPr>
            <p:cNvGrpSpPr/>
            <p:nvPr/>
          </p:nvGrpSpPr>
          <p:grpSpPr>
            <a:xfrm>
              <a:off x="10493849" y="5253904"/>
              <a:ext cx="1115498" cy="44540"/>
              <a:chOff x="6345896" y="4894734"/>
              <a:chExt cx="1000677" cy="36000"/>
            </a:xfrm>
          </p:grpSpPr>
          <p:cxnSp>
            <p:nvCxnSpPr>
              <p:cNvPr id="143" name="Straight Connector 142">
                <a:extLst>
                  <a:ext uri="{FF2B5EF4-FFF2-40B4-BE49-F238E27FC236}">
                    <a16:creationId xmlns="" xmlns:a16="http://schemas.microsoft.com/office/drawing/2014/main" id="{93A4B90F-F7D7-215E-741E-3B695ED1201D}"/>
                  </a:ext>
                </a:extLst>
              </p:cNvPr>
              <p:cNvCxnSpPr>
                <a:cxnSpLocks/>
              </p:cNvCxnSpPr>
              <p:nvPr/>
            </p:nvCxnSpPr>
            <p:spPr>
              <a:xfrm flipH="1" flipV="1">
                <a:off x="6345896" y="4894734"/>
                <a:ext cx="552" cy="360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 xmlns:a16="http://schemas.microsoft.com/office/drawing/2014/main" id="{8284805B-FD13-0C3F-FF32-5AFCE70F3D3A}"/>
                  </a:ext>
                </a:extLst>
              </p:cNvPr>
              <p:cNvCxnSpPr>
                <a:cxnSpLocks/>
              </p:cNvCxnSpPr>
              <p:nvPr/>
            </p:nvCxnSpPr>
            <p:spPr>
              <a:xfrm flipH="1" flipV="1">
                <a:off x="6679271" y="4894734"/>
                <a:ext cx="552" cy="360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 xmlns:a16="http://schemas.microsoft.com/office/drawing/2014/main" id="{80BE1CFA-B1BD-874F-A4EF-0AD9B722C590}"/>
                  </a:ext>
                </a:extLst>
              </p:cNvPr>
              <p:cNvCxnSpPr>
                <a:cxnSpLocks/>
              </p:cNvCxnSpPr>
              <p:nvPr/>
            </p:nvCxnSpPr>
            <p:spPr>
              <a:xfrm flipH="1" flipV="1">
                <a:off x="7012646" y="4894734"/>
                <a:ext cx="552" cy="360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 xmlns:a16="http://schemas.microsoft.com/office/drawing/2014/main" id="{6BA29D08-B474-92F9-DC1C-0E72A7FDF5A0}"/>
                  </a:ext>
                </a:extLst>
              </p:cNvPr>
              <p:cNvCxnSpPr>
                <a:cxnSpLocks/>
              </p:cNvCxnSpPr>
              <p:nvPr/>
            </p:nvCxnSpPr>
            <p:spPr>
              <a:xfrm flipH="1" flipV="1">
                <a:off x="7346021" y="4894734"/>
                <a:ext cx="552" cy="360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sp>
        <p:nvSpPr>
          <p:cNvPr id="121" name="TextBox 120">
            <a:extLst>
              <a:ext uri="{FF2B5EF4-FFF2-40B4-BE49-F238E27FC236}">
                <a16:creationId xmlns="" xmlns:a16="http://schemas.microsoft.com/office/drawing/2014/main" id="{A10D66C0-9EEB-28FC-A868-F7899E14A699}"/>
              </a:ext>
            </a:extLst>
          </p:cNvPr>
          <p:cNvSpPr txBox="1"/>
          <p:nvPr/>
        </p:nvSpPr>
        <p:spPr>
          <a:xfrm rot="16200000">
            <a:off x="2395955" y="2506756"/>
            <a:ext cx="2410043" cy="323165"/>
          </a:xfrm>
          <a:prstGeom prst="rect">
            <a:avLst/>
          </a:prstGeom>
          <a:noFill/>
        </p:spPr>
        <p:txBody>
          <a:bodyPr wrap="square" lIns="68555" tIns="34289" rIns="68555" bIns="34289" rtlCol="0">
            <a:spAutoFit/>
          </a:bodyPr>
          <a:lstStyle/>
          <a:p>
            <a:pPr algn="ctr" defTabSz="685511">
              <a:defRPr/>
            </a:pPr>
            <a:r>
              <a:rPr lang="es" sz="800" b="1">
                <a:solidFill>
                  <a:srgbClr val="34373F"/>
                </a:solidFill>
              </a:rPr>
              <a:t>Incidencia acumulada de participantes con VCD hospitalizada, %</a:t>
            </a:r>
          </a:p>
        </p:txBody>
      </p:sp>
      <p:sp>
        <p:nvSpPr>
          <p:cNvPr id="122" name="TextBox 121">
            <a:extLst>
              <a:ext uri="{FF2B5EF4-FFF2-40B4-BE49-F238E27FC236}">
                <a16:creationId xmlns="" xmlns:a16="http://schemas.microsoft.com/office/drawing/2014/main" id="{E9262073-3E86-661C-BAE4-436B56E5D3F6}"/>
              </a:ext>
            </a:extLst>
          </p:cNvPr>
          <p:cNvSpPr txBox="1"/>
          <p:nvPr/>
        </p:nvSpPr>
        <p:spPr>
          <a:xfrm>
            <a:off x="3996570" y="4082296"/>
            <a:ext cx="4770742" cy="196208"/>
          </a:xfrm>
          <a:prstGeom prst="rect">
            <a:avLst/>
          </a:prstGeom>
          <a:noFill/>
        </p:spPr>
        <p:txBody>
          <a:bodyPr wrap="square" lIns="68555" tIns="34289" rIns="68555" bIns="34289" rtlCol="0">
            <a:spAutoFit/>
          </a:bodyPr>
          <a:lstStyle/>
          <a:p>
            <a:pPr algn="ctr" defTabSz="685511">
              <a:defRPr/>
            </a:pPr>
            <a:r>
              <a:rPr lang="es" sz="800" b="1">
                <a:solidFill>
                  <a:srgbClr val="34373F"/>
                </a:solidFill>
              </a:rPr>
              <a:t>Tiempo desde la primera vacunación, meses</a:t>
            </a:r>
          </a:p>
        </p:txBody>
      </p:sp>
      <p:pic>
        <p:nvPicPr>
          <p:cNvPr id="131" name="Graphic 130">
            <a:extLst>
              <a:ext uri="{FF2B5EF4-FFF2-40B4-BE49-F238E27FC236}">
                <a16:creationId xmlns="" xmlns:a16="http://schemas.microsoft.com/office/drawing/2014/main" id="{699EEFA9-7F22-C42A-30B3-D7464336B52B}"/>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4009045" y="1705585"/>
            <a:ext cx="4773020" cy="2190674"/>
          </a:xfrm>
          <a:prstGeom prst="rect">
            <a:avLst/>
          </a:prstGeom>
        </p:spPr>
      </p:pic>
      <p:pic>
        <p:nvPicPr>
          <p:cNvPr id="132" name="Graphic 131">
            <a:extLst>
              <a:ext uri="{FF2B5EF4-FFF2-40B4-BE49-F238E27FC236}">
                <a16:creationId xmlns="" xmlns:a16="http://schemas.microsoft.com/office/drawing/2014/main" id="{B8B5EB2A-DA23-B5EA-03BF-6399C2D227E5}"/>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 xmlns:asvg="http://schemas.microsoft.com/office/drawing/2016/SVG/main" r:embed="rId9"/>
              </a:ext>
            </a:extLst>
          </a:blip>
          <a:stretch>
            <a:fillRect/>
          </a:stretch>
        </p:blipFill>
        <p:spPr>
          <a:xfrm>
            <a:off x="4014388" y="1852053"/>
            <a:ext cx="4773020" cy="2032312"/>
          </a:xfrm>
          <a:prstGeom prst="rect">
            <a:avLst/>
          </a:prstGeom>
        </p:spPr>
      </p:pic>
      <p:sp>
        <p:nvSpPr>
          <p:cNvPr id="133" name="Graphic 89">
            <a:extLst>
              <a:ext uri="{FF2B5EF4-FFF2-40B4-BE49-F238E27FC236}">
                <a16:creationId xmlns="" xmlns:a16="http://schemas.microsoft.com/office/drawing/2014/main" id="{D0683A05-0C29-9C73-8D67-7419118638F0}"/>
              </a:ext>
            </a:extLst>
          </p:cNvPr>
          <p:cNvSpPr/>
          <p:nvPr/>
        </p:nvSpPr>
        <p:spPr>
          <a:xfrm>
            <a:off x="4021846" y="3436487"/>
            <a:ext cx="4773020" cy="441084"/>
          </a:xfrm>
          <a:custGeom>
            <a:avLst/>
            <a:gdLst>
              <a:gd name="connsiteX0" fmla="*/ 0 w 6443999"/>
              <a:gd name="connsiteY0" fmla="*/ 569791 h 569790"/>
              <a:gd name="connsiteX1" fmla="*/ 268500 w 6443999"/>
              <a:gd name="connsiteY1" fmla="*/ 568027 h 569790"/>
              <a:gd name="connsiteX2" fmla="*/ 1082055 w 6443999"/>
              <a:gd name="connsiteY2" fmla="*/ 555426 h 569790"/>
              <a:gd name="connsiteX3" fmla="*/ 1584150 w 6443999"/>
              <a:gd name="connsiteY3" fmla="*/ 540684 h 569790"/>
              <a:gd name="connsiteX4" fmla="*/ 1800356 w 6443999"/>
              <a:gd name="connsiteY4" fmla="*/ 514349 h 569790"/>
              <a:gd name="connsiteX5" fmla="*/ 1891646 w 6443999"/>
              <a:gd name="connsiteY5" fmla="*/ 495700 h 569790"/>
              <a:gd name="connsiteX6" fmla="*/ 1963118 w 6443999"/>
              <a:gd name="connsiteY6" fmla="*/ 467349 h 569790"/>
              <a:gd name="connsiteX7" fmla="*/ 2200293 w 6443999"/>
              <a:gd name="connsiteY7" fmla="*/ 420476 h 569790"/>
              <a:gd name="connsiteX8" fmla="*/ 2423532 w 6443999"/>
              <a:gd name="connsiteY8" fmla="*/ 378390 h 569790"/>
              <a:gd name="connsiteX9" fmla="*/ 2739978 w 6443999"/>
              <a:gd name="connsiteY9" fmla="*/ 333407 h 569790"/>
              <a:gd name="connsiteX10" fmla="*/ 3125851 w 6443999"/>
              <a:gd name="connsiteY10" fmla="*/ 304048 h 569790"/>
              <a:gd name="connsiteX11" fmla="*/ 3307408 w 6443999"/>
              <a:gd name="connsiteY11" fmla="*/ 251252 h 569790"/>
              <a:gd name="connsiteX12" fmla="*/ 3442425 w 6443999"/>
              <a:gd name="connsiteY12" fmla="*/ 209293 h 569790"/>
              <a:gd name="connsiteX13" fmla="*/ 3708240 w 6443999"/>
              <a:gd name="connsiteY13" fmla="*/ 129028 h 569790"/>
              <a:gd name="connsiteX14" fmla="*/ 3796590 w 6443999"/>
              <a:gd name="connsiteY14" fmla="*/ 105591 h 569790"/>
              <a:gd name="connsiteX15" fmla="*/ 3845687 w 6443999"/>
              <a:gd name="connsiteY15" fmla="*/ 39061 h 569790"/>
              <a:gd name="connsiteX16" fmla="*/ 3909615 w 6443999"/>
              <a:gd name="connsiteY16" fmla="*/ 28351 h 569790"/>
              <a:gd name="connsiteX17" fmla="*/ 4341133 w 6443999"/>
              <a:gd name="connsiteY17" fmla="*/ 8820 h 569790"/>
              <a:gd name="connsiteX18" fmla="*/ 4435364 w 6443999"/>
              <a:gd name="connsiteY18" fmla="*/ 1008 h 569790"/>
              <a:gd name="connsiteX19" fmla="*/ 5477783 w 6443999"/>
              <a:gd name="connsiteY19" fmla="*/ 2016 h 569790"/>
              <a:gd name="connsiteX20" fmla="*/ 6430191 w 6443999"/>
              <a:gd name="connsiteY20" fmla="*/ 0 h 569790"/>
              <a:gd name="connsiteX21" fmla="*/ 6443999 w 6443999"/>
              <a:gd name="connsiteY21" fmla="*/ 0 h 569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443999" h="569790">
                <a:moveTo>
                  <a:pt x="0" y="569791"/>
                </a:moveTo>
                <a:cubicBezTo>
                  <a:pt x="64824" y="569791"/>
                  <a:pt x="157136" y="569035"/>
                  <a:pt x="268500" y="568027"/>
                </a:cubicBezTo>
                <a:cubicBezTo>
                  <a:pt x="831071" y="563239"/>
                  <a:pt x="776604" y="555426"/>
                  <a:pt x="1082055" y="555426"/>
                </a:cubicBezTo>
                <a:cubicBezTo>
                  <a:pt x="1082055" y="555426"/>
                  <a:pt x="1371651" y="555426"/>
                  <a:pt x="1584150" y="540684"/>
                </a:cubicBezTo>
                <a:cubicBezTo>
                  <a:pt x="1659713" y="535644"/>
                  <a:pt x="1625703" y="534636"/>
                  <a:pt x="1800356" y="514349"/>
                </a:cubicBezTo>
                <a:cubicBezTo>
                  <a:pt x="1831323" y="511014"/>
                  <a:pt x="1861894" y="504769"/>
                  <a:pt x="1891646" y="495700"/>
                </a:cubicBezTo>
                <a:cubicBezTo>
                  <a:pt x="1916208" y="488155"/>
                  <a:pt x="1940104" y="478675"/>
                  <a:pt x="1963118" y="467349"/>
                </a:cubicBezTo>
                <a:cubicBezTo>
                  <a:pt x="2030243" y="435470"/>
                  <a:pt x="2096346" y="434462"/>
                  <a:pt x="2200293" y="420476"/>
                </a:cubicBezTo>
                <a:cubicBezTo>
                  <a:pt x="2292223" y="407875"/>
                  <a:pt x="2268185" y="405103"/>
                  <a:pt x="2423532" y="378390"/>
                </a:cubicBezTo>
                <a:cubicBezTo>
                  <a:pt x="2495771" y="365790"/>
                  <a:pt x="2606368" y="348401"/>
                  <a:pt x="2739978" y="333407"/>
                </a:cubicBezTo>
                <a:cubicBezTo>
                  <a:pt x="2846228" y="321437"/>
                  <a:pt x="2976386" y="310096"/>
                  <a:pt x="3125851" y="304048"/>
                </a:cubicBezTo>
                <a:cubicBezTo>
                  <a:pt x="3167660" y="292456"/>
                  <a:pt x="3230694" y="274563"/>
                  <a:pt x="3307408" y="251252"/>
                </a:cubicBezTo>
                <a:cubicBezTo>
                  <a:pt x="3345765" y="239660"/>
                  <a:pt x="3345765" y="239534"/>
                  <a:pt x="3442425" y="209293"/>
                </a:cubicBezTo>
                <a:cubicBezTo>
                  <a:pt x="3612603" y="156119"/>
                  <a:pt x="3698139" y="129658"/>
                  <a:pt x="3708240" y="129028"/>
                </a:cubicBezTo>
                <a:cubicBezTo>
                  <a:pt x="3737775" y="127516"/>
                  <a:pt x="3771146" y="129028"/>
                  <a:pt x="3796590" y="105591"/>
                </a:cubicBezTo>
                <a:cubicBezTo>
                  <a:pt x="3822033" y="82155"/>
                  <a:pt x="3818069" y="56702"/>
                  <a:pt x="3845687" y="39061"/>
                </a:cubicBezTo>
                <a:cubicBezTo>
                  <a:pt x="3865095" y="28303"/>
                  <a:pt x="3887688" y="24518"/>
                  <a:pt x="3909615" y="28351"/>
                </a:cubicBezTo>
                <a:cubicBezTo>
                  <a:pt x="3963443" y="33265"/>
                  <a:pt x="4089382" y="25075"/>
                  <a:pt x="4341133" y="8820"/>
                </a:cubicBezTo>
                <a:cubicBezTo>
                  <a:pt x="4384732" y="5922"/>
                  <a:pt x="4409025" y="756"/>
                  <a:pt x="4435364" y="1008"/>
                </a:cubicBezTo>
                <a:cubicBezTo>
                  <a:pt x="4717928" y="3528"/>
                  <a:pt x="5084878" y="-2646"/>
                  <a:pt x="5477783" y="2016"/>
                </a:cubicBezTo>
                <a:cubicBezTo>
                  <a:pt x="5666756" y="4158"/>
                  <a:pt x="5629933" y="0"/>
                  <a:pt x="6430191" y="0"/>
                </a:cubicBezTo>
                <a:lnTo>
                  <a:pt x="6443999" y="0"/>
                </a:lnTo>
              </a:path>
            </a:pathLst>
          </a:custGeom>
          <a:noFill/>
          <a:ln w="34925" cap="flat">
            <a:solidFill>
              <a:schemeClr val="accent1"/>
            </a:solidFill>
            <a:prstDash val="dash"/>
            <a:miter/>
          </a:ln>
        </p:spPr>
        <p:txBody>
          <a:bodyPr lIns="68555" tIns="34289" rIns="68555" bIns="34289" rtlCol="0" anchor="ctr"/>
          <a:lstStyle/>
          <a:p>
            <a:pPr defTabSz="685511">
              <a:defRPr/>
            </a:pPr>
            <a:endParaRPr lang="en-US" sz="2100">
              <a:solidFill>
                <a:srgbClr val="34373F"/>
              </a:solidFill>
            </a:endParaRPr>
          </a:p>
        </p:txBody>
      </p:sp>
      <p:sp>
        <p:nvSpPr>
          <p:cNvPr id="134" name="Graphic 92">
            <a:extLst>
              <a:ext uri="{FF2B5EF4-FFF2-40B4-BE49-F238E27FC236}">
                <a16:creationId xmlns="" xmlns:a16="http://schemas.microsoft.com/office/drawing/2014/main" id="{BA6F3CD4-92CE-1F90-6AE4-70D98EEC351A}"/>
              </a:ext>
            </a:extLst>
          </p:cNvPr>
          <p:cNvSpPr/>
          <p:nvPr/>
        </p:nvSpPr>
        <p:spPr>
          <a:xfrm>
            <a:off x="4028228" y="3595627"/>
            <a:ext cx="4775871" cy="290388"/>
          </a:xfrm>
          <a:custGeom>
            <a:avLst/>
            <a:gdLst>
              <a:gd name="connsiteX0" fmla="*/ 0 w 6447850"/>
              <a:gd name="connsiteY0" fmla="*/ 375123 h 375122"/>
              <a:gd name="connsiteX1" fmla="*/ 65980 w 6447850"/>
              <a:gd name="connsiteY1" fmla="*/ 350963 h 375122"/>
              <a:gd name="connsiteX2" fmla="*/ 369567 w 6447850"/>
              <a:gd name="connsiteY2" fmla="*/ 338248 h 375122"/>
              <a:gd name="connsiteX3" fmla="*/ 398193 w 6447850"/>
              <a:gd name="connsiteY3" fmla="*/ 327058 h 375122"/>
              <a:gd name="connsiteX4" fmla="*/ 425663 w 6447850"/>
              <a:gd name="connsiteY4" fmla="*/ 324261 h 375122"/>
              <a:gd name="connsiteX5" fmla="*/ 1045545 w 6447850"/>
              <a:gd name="connsiteY5" fmla="*/ 306967 h 375122"/>
              <a:gd name="connsiteX6" fmla="*/ 1403945 w 6447850"/>
              <a:gd name="connsiteY6" fmla="*/ 293489 h 375122"/>
              <a:gd name="connsiteX7" fmla="*/ 1819724 w 6447850"/>
              <a:gd name="connsiteY7" fmla="*/ 265133 h 375122"/>
              <a:gd name="connsiteX8" fmla="*/ 2280174 w 6447850"/>
              <a:gd name="connsiteY8" fmla="*/ 242881 h 375122"/>
              <a:gd name="connsiteX9" fmla="*/ 2295450 w 6447850"/>
              <a:gd name="connsiteY9" fmla="*/ 223935 h 375122"/>
              <a:gd name="connsiteX10" fmla="*/ 3100693 w 6447850"/>
              <a:gd name="connsiteY10" fmla="*/ 199267 h 375122"/>
              <a:gd name="connsiteX11" fmla="*/ 3189138 w 6447850"/>
              <a:gd name="connsiteY11" fmla="*/ 169640 h 375122"/>
              <a:gd name="connsiteX12" fmla="*/ 3373729 w 6447850"/>
              <a:gd name="connsiteY12" fmla="*/ 163536 h 375122"/>
              <a:gd name="connsiteX13" fmla="*/ 3449722 w 6447850"/>
              <a:gd name="connsiteY13" fmla="*/ 142556 h 375122"/>
              <a:gd name="connsiteX14" fmla="*/ 3629435 w 6447850"/>
              <a:gd name="connsiteY14" fmla="*/ 121575 h 375122"/>
              <a:gd name="connsiteX15" fmla="*/ 3886168 w 6447850"/>
              <a:gd name="connsiteY15" fmla="*/ 104282 h 375122"/>
              <a:gd name="connsiteX16" fmla="*/ 3906193 w 6447850"/>
              <a:gd name="connsiteY16" fmla="*/ 84573 h 375122"/>
              <a:gd name="connsiteX17" fmla="*/ 4036870 w 6447850"/>
              <a:gd name="connsiteY17" fmla="*/ 75926 h 375122"/>
              <a:gd name="connsiteX18" fmla="*/ 4122748 w 6447850"/>
              <a:gd name="connsiteY18" fmla="*/ 67280 h 375122"/>
              <a:gd name="connsiteX19" fmla="*/ 4176276 w 6447850"/>
              <a:gd name="connsiteY19" fmla="*/ 51258 h 375122"/>
              <a:gd name="connsiteX20" fmla="*/ 5302692 w 6447850"/>
              <a:gd name="connsiteY20" fmla="*/ 20487 h 375122"/>
              <a:gd name="connsiteX21" fmla="*/ 5666098 w 6447850"/>
              <a:gd name="connsiteY21" fmla="*/ 7771 h 375122"/>
              <a:gd name="connsiteX22" fmla="*/ 5887274 w 6447850"/>
              <a:gd name="connsiteY22" fmla="*/ 3194 h 375122"/>
              <a:gd name="connsiteX23" fmla="*/ 6447850 w 6447850"/>
              <a:gd name="connsiteY23" fmla="*/ 778 h 375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447850" h="375122">
                <a:moveTo>
                  <a:pt x="0" y="375123"/>
                </a:moveTo>
                <a:lnTo>
                  <a:pt x="65980" y="350963"/>
                </a:lnTo>
                <a:lnTo>
                  <a:pt x="369567" y="338248"/>
                </a:lnTo>
                <a:cubicBezTo>
                  <a:pt x="378616" y="333380"/>
                  <a:pt x="388228" y="329623"/>
                  <a:pt x="398193" y="327058"/>
                </a:cubicBezTo>
                <a:cubicBezTo>
                  <a:pt x="407224" y="325165"/>
                  <a:pt x="416433" y="324226"/>
                  <a:pt x="425663" y="324261"/>
                </a:cubicBezTo>
                <a:cubicBezTo>
                  <a:pt x="632205" y="318793"/>
                  <a:pt x="838747" y="307730"/>
                  <a:pt x="1045545" y="306967"/>
                </a:cubicBezTo>
                <a:cubicBezTo>
                  <a:pt x="1156967" y="306967"/>
                  <a:pt x="1239379" y="302263"/>
                  <a:pt x="1403945" y="293489"/>
                </a:cubicBezTo>
                <a:cubicBezTo>
                  <a:pt x="1580449" y="284079"/>
                  <a:pt x="1647841" y="276323"/>
                  <a:pt x="1819724" y="265133"/>
                </a:cubicBezTo>
                <a:cubicBezTo>
                  <a:pt x="1928707" y="258013"/>
                  <a:pt x="2086469" y="248985"/>
                  <a:pt x="2280174" y="242881"/>
                </a:cubicBezTo>
                <a:lnTo>
                  <a:pt x="2295450" y="223935"/>
                </a:lnTo>
                <a:lnTo>
                  <a:pt x="3100693" y="199267"/>
                </a:lnTo>
                <a:lnTo>
                  <a:pt x="3189138" y="169640"/>
                </a:lnTo>
                <a:cubicBezTo>
                  <a:pt x="3250523" y="178834"/>
                  <a:pt x="3313101" y="176766"/>
                  <a:pt x="3373729" y="163536"/>
                </a:cubicBezTo>
                <a:cubicBezTo>
                  <a:pt x="3404537" y="156543"/>
                  <a:pt x="3412239" y="151457"/>
                  <a:pt x="3449722" y="142556"/>
                </a:cubicBezTo>
                <a:cubicBezTo>
                  <a:pt x="3508668" y="129029"/>
                  <a:pt x="3568936" y="121992"/>
                  <a:pt x="3629435" y="121575"/>
                </a:cubicBezTo>
                <a:cubicBezTo>
                  <a:pt x="3688612" y="119159"/>
                  <a:pt x="3773334" y="114582"/>
                  <a:pt x="3886168" y="104282"/>
                </a:cubicBezTo>
                <a:lnTo>
                  <a:pt x="3906193" y="84573"/>
                </a:lnTo>
                <a:cubicBezTo>
                  <a:pt x="3962161" y="78851"/>
                  <a:pt x="4006191" y="76689"/>
                  <a:pt x="4036870" y="75926"/>
                </a:cubicBezTo>
                <a:cubicBezTo>
                  <a:pt x="4065727" y="76065"/>
                  <a:pt x="4094507" y="73166"/>
                  <a:pt x="4122748" y="67280"/>
                </a:cubicBezTo>
                <a:cubicBezTo>
                  <a:pt x="4141001" y="63370"/>
                  <a:pt x="4158895" y="58012"/>
                  <a:pt x="4176276" y="51258"/>
                </a:cubicBezTo>
                <a:cubicBezTo>
                  <a:pt x="4273835" y="14383"/>
                  <a:pt x="4976513" y="31422"/>
                  <a:pt x="5302692" y="20487"/>
                </a:cubicBezTo>
                <a:cubicBezTo>
                  <a:pt x="5364052" y="18452"/>
                  <a:pt x="5473548" y="13239"/>
                  <a:pt x="5666098" y="7771"/>
                </a:cubicBezTo>
                <a:cubicBezTo>
                  <a:pt x="5774183" y="5228"/>
                  <a:pt x="5856722" y="3702"/>
                  <a:pt x="5887274" y="3194"/>
                </a:cubicBezTo>
                <a:cubicBezTo>
                  <a:pt x="6027835" y="778"/>
                  <a:pt x="6217176" y="-1130"/>
                  <a:pt x="6447850" y="778"/>
                </a:cubicBezTo>
              </a:path>
            </a:pathLst>
          </a:custGeom>
          <a:noFill/>
          <a:ln w="34925" cap="flat">
            <a:solidFill>
              <a:schemeClr val="accent3"/>
            </a:solidFill>
            <a:prstDash val="dash"/>
            <a:miter/>
          </a:ln>
        </p:spPr>
        <p:txBody>
          <a:bodyPr lIns="68555" tIns="34289" rIns="68555" bIns="34289" rtlCol="0" anchor="ctr"/>
          <a:lstStyle/>
          <a:p>
            <a:pPr defTabSz="685511">
              <a:defRPr/>
            </a:pPr>
            <a:endParaRPr lang="en-US" sz="2100">
              <a:solidFill>
                <a:srgbClr val="34373F"/>
              </a:solidFill>
            </a:endParaRPr>
          </a:p>
        </p:txBody>
      </p:sp>
      <p:sp>
        <p:nvSpPr>
          <p:cNvPr id="10" name="Rectangle 7">
            <a:extLst>
              <a:ext uri="{FF2B5EF4-FFF2-40B4-BE49-F238E27FC236}">
                <a16:creationId xmlns="" xmlns:a16="http://schemas.microsoft.com/office/drawing/2014/main" id="{ABA5C6E8-493A-8F7C-73B7-DE9AAFDA2098}"/>
              </a:ext>
            </a:extLst>
          </p:cNvPr>
          <p:cNvSpPr>
            <a:spLocks noChangeArrowheads="1"/>
          </p:cNvSpPr>
          <p:nvPr/>
        </p:nvSpPr>
        <p:spPr bwMode="auto">
          <a:xfrm>
            <a:off x="2478869" y="2092724"/>
            <a:ext cx="608687" cy="1802766"/>
          </a:xfrm>
          <a:prstGeom prst="rect">
            <a:avLst/>
          </a:prstGeom>
          <a:solidFill>
            <a:schemeClr val="accent3"/>
          </a:solidFill>
          <a:ln>
            <a:noFill/>
          </a:ln>
        </p:spPr>
        <p:txBody>
          <a:bodyPr vert="horz" wrap="square" lIns="68555" tIns="34289" rIns="68555" bIns="34289" numCol="1" anchor="t" anchorCtr="0" compatLnSpc="1">
            <a:prstTxWarp prst="textNoShape">
              <a:avLst/>
            </a:prstTxWarp>
          </a:bodyPr>
          <a:lstStyle/>
          <a:p>
            <a:pPr defTabSz="685511">
              <a:defRPr/>
            </a:pPr>
            <a:endParaRPr lang="en-US" sz="1400">
              <a:solidFill>
                <a:srgbClr val="34373F"/>
              </a:solidFill>
            </a:endParaRPr>
          </a:p>
        </p:txBody>
      </p:sp>
      <p:sp>
        <p:nvSpPr>
          <p:cNvPr id="12" name="Rectangle 9">
            <a:extLst>
              <a:ext uri="{FF2B5EF4-FFF2-40B4-BE49-F238E27FC236}">
                <a16:creationId xmlns="" xmlns:a16="http://schemas.microsoft.com/office/drawing/2014/main" id="{7839D749-3A2C-0305-EB2E-7222F12D317E}"/>
              </a:ext>
            </a:extLst>
          </p:cNvPr>
          <p:cNvSpPr>
            <a:spLocks noChangeArrowheads="1"/>
          </p:cNvSpPr>
          <p:nvPr/>
        </p:nvSpPr>
        <p:spPr bwMode="auto">
          <a:xfrm>
            <a:off x="1754774" y="2230661"/>
            <a:ext cx="608687" cy="1664829"/>
          </a:xfrm>
          <a:prstGeom prst="rect">
            <a:avLst/>
          </a:prstGeom>
          <a:solidFill>
            <a:schemeClr val="accent1"/>
          </a:solidFill>
          <a:ln>
            <a:noFill/>
          </a:ln>
        </p:spPr>
        <p:txBody>
          <a:bodyPr vert="horz" wrap="square" lIns="68555" tIns="34289" rIns="68555" bIns="34289" numCol="1" anchor="t" anchorCtr="0" compatLnSpc="1">
            <a:prstTxWarp prst="textNoShape">
              <a:avLst/>
            </a:prstTxWarp>
          </a:bodyPr>
          <a:lstStyle/>
          <a:p>
            <a:pPr defTabSz="685511">
              <a:defRPr/>
            </a:pPr>
            <a:endParaRPr lang="en-US" sz="1400">
              <a:solidFill>
                <a:srgbClr val="34373F"/>
              </a:solidFill>
            </a:endParaRPr>
          </a:p>
        </p:txBody>
      </p:sp>
      <p:sp>
        <p:nvSpPr>
          <p:cNvPr id="14" name="Rectangle 11">
            <a:extLst>
              <a:ext uri="{FF2B5EF4-FFF2-40B4-BE49-F238E27FC236}">
                <a16:creationId xmlns="" xmlns:a16="http://schemas.microsoft.com/office/drawing/2014/main" id="{AAEC54A1-C080-8E4B-D111-E5BA888CC877}"/>
              </a:ext>
            </a:extLst>
          </p:cNvPr>
          <p:cNvSpPr>
            <a:spLocks noChangeArrowheads="1"/>
          </p:cNvSpPr>
          <p:nvPr/>
        </p:nvSpPr>
        <p:spPr bwMode="auto">
          <a:xfrm>
            <a:off x="1030674" y="2127522"/>
            <a:ext cx="608687" cy="1765583"/>
          </a:xfrm>
          <a:prstGeom prst="rect">
            <a:avLst/>
          </a:prstGeom>
          <a:solidFill>
            <a:schemeClr val="accent2"/>
          </a:solidFill>
          <a:ln>
            <a:noFill/>
          </a:ln>
        </p:spPr>
        <p:txBody>
          <a:bodyPr vert="horz" wrap="square" lIns="68555" tIns="34289" rIns="68555" bIns="34289" numCol="1" anchor="t" anchorCtr="0" compatLnSpc="1">
            <a:prstTxWarp prst="textNoShape">
              <a:avLst/>
            </a:prstTxWarp>
          </a:bodyPr>
          <a:lstStyle/>
          <a:p>
            <a:pPr defTabSz="685511">
              <a:defRPr/>
            </a:pPr>
            <a:endParaRPr lang="en-US" sz="1400">
              <a:solidFill>
                <a:srgbClr val="34373F"/>
              </a:solidFill>
            </a:endParaRPr>
          </a:p>
        </p:txBody>
      </p:sp>
      <p:sp>
        <p:nvSpPr>
          <p:cNvPr id="49" name="Freeform 46">
            <a:extLst>
              <a:ext uri="{FF2B5EF4-FFF2-40B4-BE49-F238E27FC236}">
                <a16:creationId xmlns="" xmlns:a16="http://schemas.microsoft.com/office/drawing/2014/main" id="{AB7B2F4D-1925-D5AE-983D-459EF548D165}"/>
              </a:ext>
            </a:extLst>
          </p:cNvPr>
          <p:cNvSpPr>
            <a:spLocks noEditPoints="1"/>
          </p:cNvSpPr>
          <p:nvPr/>
        </p:nvSpPr>
        <p:spPr bwMode="auto">
          <a:xfrm>
            <a:off x="832437" y="3893109"/>
            <a:ext cx="2449510" cy="88759"/>
          </a:xfrm>
          <a:custGeom>
            <a:avLst/>
            <a:gdLst>
              <a:gd name="T0" fmla="*/ 0 w 1184"/>
              <a:gd name="T1" fmla="*/ 0 h 74"/>
              <a:gd name="T2" fmla="*/ 1184 w 1184"/>
              <a:gd name="T3" fmla="*/ 0 h 74"/>
              <a:gd name="T4" fmla="*/ 242 w 1184"/>
              <a:gd name="T5" fmla="*/ 74 h 74"/>
              <a:gd name="T6" fmla="*/ 242 w 1184"/>
              <a:gd name="T7" fmla="*/ 0 h 74"/>
              <a:gd name="T8" fmla="*/ 592 w 1184"/>
              <a:gd name="T9" fmla="*/ 74 h 74"/>
              <a:gd name="T10" fmla="*/ 592 w 1184"/>
              <a:gd name="T11" fmla="*/ 0 h 74"/>
              <a:gd name="T12" fmla="*/ 942 w 1184"/>
              <a:gd name="T13" fmla="*/ 74 h 74"/>
              <a:gd name="T14" fmla="*/ 942 w 1184"/>
              <a:gd name="T15" fmla="*/ 0 h 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84" h="74">
                <a:moveTo>
                  <a:pt x="0" y="0"/>
                </a:moveTo>
                <a:lnTo>
                  <a:pt x="1184" y="0"/>
                </a:lnTo>
                <a:moveTo>
                  <a:pt x="242" y="74"/>
                </a:moveTo>
                <a:lnTo>
                  <a:pt x="242" y="0"/>
                </a:lnTo>
                <a:moveTo>
                  <a:pt x="592" y="74"/>
                </a:moveTo>
                <a:lnTo>
                  <a:pt x="592" y="0"/>
                </a:lnTo>
                <a:moveTo>
                  <a:pt x="942" y="74"/>
                </a:moveTo>
                <a:lnTo>
                  <a:pt x="942"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55" tIns="34289" rIns="68555" bIns="34289" numCol="1" anchor="t" anchorCtr="0" compatLnSpc="1">
            <a:prstTxWarp prst="textNoShape">
              <a:avLst/>
            </a:prstTxWarp>
          </a:bodyPr>
          <a:lstStyle/>
          <a:p>
            <a:pPr defTabSz="685511">
              <a:defRPr/>
            </a:pPr>
            <a:endParaRPr lang="en-US" sz="1400">
              <a:solidFill>
                <a:srgbClr val="34373F"/>
              </a:solidFill>
            </a:endParaRPr>
          </a:p>
        </p:txBody>
      </p:sp>
      <p:sp>
        <p:nvSpPr>
          <p:cNvPr id="56" name="Freeform 53">
            <a:extLst>
              <a:ext uri="{FF2B5EF4-FFF2-40B4-BE49-F238E27FC236}">
                <a16:creationId xmlns="" xmlns:a16="http://schemas.microsoft.com/office/drawing/2014/main" id="{E3E526A2-5491-03B0-FAD0-DEC1FEA2D2A4}"/>
              </a:ext>
            </a:extLst>
          </p:cNvPr>
          <p:cNvSpPr>
            <a:spLocks noEditPoints="1"/>
          </p:cNvSpPr>
          <p:nvPr/>
        </p:nvSpPr>
        <p:spPr bwMode="auto">
          <a:xfrm>
            <a:off x="788842" y="1784467"/>
            <a:ext cx="62231" cy="2119419"/>
          </a:xfrm>
          <a:custGeom>
            <a:avLst/>
            <a:gdLst>
              <a:gd name="T0" fmla="*/ 74 w 74"/>
              <a:gd name="T1" fmla="*/ 1767 h 1767"/>
              <a:gd name="T2" fmla="*/ 74 w 74"/>
              <a:gd name="T3" fmla="*/ 0 h 1767"/>
              <a:gd name="T4" fmla="*/ 74 w 74"/>
              <a:gd name="T5" fmla="*/ 1758 h 1767"/>
              <a:gd name="T6" fmla="*/ 0 w 74"/>
              <a:gd name="T7" fmla="*/ 1758 h 1767"/>
              <a:gd name="T8" fmla="*/ 74 w 74"/>
              <a:gd name="T9" fmla="*/ 1408 h 1767"/>
              <a:gd name="T10" fmla="*/ 0 w 74"/>
              <a:gd name="T11" fmla="*/ 1408 h 1767"/>
              <a:gd name="T12" fmla="*/ 74 w 74"/>
              <a:gd name="T13" fmla="*/ 1059 h 1767"/>
              <a:gd name="T14" fmla="*/ 0 w 74"/>
              <a:gd name="T15" fmla="*/ 1059 h 1767"/>
              <a:gd name="T16" fmla="*/ 74 w 74"/>
              <a:gd name="T17" fmla="*/ 709 h 1767"/>
              <a:gd name="T18" fmla="*/ 0 w 74"/>
              <a:gd name="T19" fmla="*/ 709 h 1767"/>
              <a:gd name="T20" fmla="*/ 74 w 74"/>
              <a:gd name="T21" fmla="*/ 359 h 1767"/>
              <a:gd name="T22" fmla="*/ 0 w 74"/>
              <a:gd name="T23" fmla="*/ 359 h 1767"/>
              <a:gd name="T24" fmla="*/ 74 w 74"/>
              <a:gd name="T25" fmla="*/ 9 h 1767"/>
              <a:gd name="T26" fmla="*/ 0 w 74"/>
              <a:gd name="T27" fmla="*/ 9 h 1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4" h="1767">
                <a:moveTo>
                  <a:pt x="74" y="1767"/>
                </a:moveTo>
                <a:lnTo>
                  <a:pt x="74" y="0"/>
                </a:lnTo>
                <a:moveTo>
                  <a:pt x="74" y="1758"/>
                </a:moveTo>
                <a:lnTo>
                  <a:pt x="0" y="1758"/>
                </a:lnTo>
                <a:moveTo>
                  <a:pt x="74" y="1408"/>
                </a:moveTo>
                <a:lnTo>
                  <a:pt x="0" y="1408"/>
                </a:lnTo>
                <a:moveTo>
                  <a:pt x="74" y="1059"/>
                </a:moveTo>
                <a:lnTo>
                  <a:pt x="0" y="1059"/>
                </a:lnTo>
                <a:moveTo>
                  <a:pt x="74" y="709"/>
                </a:moveTo>
                <a:lnTo>
                  <a:pt x="0" y="709"/>
                </a:lnTo>
                <a:moveTo>
                  <a:pt x="74" y="359"/>
                </a:moveTo>
                <a:lnTo>
                  <a:pt x="0" y="359"/>
                </a:lnTo>
                <a:moveTo>
                  <a:pt x="74" y="9"/>
                </a:moveTo>
                <a:lnTo>
                  <a:pt x="0" y="9"/>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55" tIns="34289" rIns="68555" bIns="34289" numCol="1" anchor="t" anchorCtr="0" compatLnSpc="1">
            <a:prstTxWarp prst="textNoShape">
              <a:avLst/>
            </a:prstTxWarp>
          </a:bodyPr>
          <a:lstStyle/>
          <a:p>
            <a:pPr defTabSz="685511">
              <a:defRPr/>
            </a:pPr>
            <a:endParaRPr lang="en-US" sz="800">
              <a:solidFill>
                <a:srgbClr val="34373F"/>
              </a:solidFill>
            </a:endParaRPr>
          </a:p>
        </p:txBody>
      </p:sp>
      <p:sp>
        <p:nvSpPr>
          <p:cNvPr id="57" name="Line 54">
            <a:extLst>
              <a:ext uri="{FF2B5EF4-FFF2-40B4-BE49-F238E27FC236}">
                <a16:creationId xmlns="" xmlns:a16="http://schemas.microsoft.com/office/drawing/2014/main" id="{46FB0CCC-F951-26C1-FA44-8699D22F6098}"/>
              </a:ext>
            </a:extLst>
          </p:cNvPr>
          <p:cNvSpPr>
            <a:spLocks noChangeShapeType="1"/>
          </p:cNvSpPr>
          <p:nvPr/>
        </p:nvSpPr>
        <p:spPr bwMode="auto">
          <a:xfrm flipV="1">
            <a:off x="2781287" y="2092724"/>
            <a:ext cx="0" cy="149931"/>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55" tIns="34289" rIns="68555" bIns="34289" numCol="1" anchor="t" anchorCtr="0" compatLnSpc="1">
            <a:prstTxWarp prst="textNoShape">
              <a:avLst/>
            </a:prstTxWarp>
          </a:bodyPr>
          <a:lstStyle/>
          <a:p>
            <a:pPr defTabSz="685511">
              <a:defRPr/>
            </a:pPr>
            <a:endParaRPr lang="en-US" sz="1400">
              <a:solidFill>
                <a:srgbClr val="34373F"/>
              </a:solidFill>
            </a:endParaRPr>
          </a:p>
        </p:txBody>
      </p:sp>
      <p:sp>
        <p:nvSpPr>
          <p:cNvPr id="58" name="Line 55">
            <a:extLst>
              <a:ext uri="{FF2B5EF4-FFF2-40B4-BE49-F238E27FC236}">
                <a16:creationId xmlns="" xmlns:a16="http://schemas.microsoft.com/office/drawing/2014/main" id="{35A8D980-7475-75C6-0638-D812D1C6F537}"/>
              </a:ext>
            </a:extLst>
          </p:cNvPr>
          <p:cNvSpPr>
            <a:spLocks noChangeShapeType="1"/>
          </p:cNvSpPr>
          <p:nvPr/>
        </p:nvSpPr>
        <p:spPr bwMode="auto">
          <a:xfrm flipV="1">
            <a:off x="2781287" y="1990774"/>
            <a:ext cx="0" cy="101954"/>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55" tIns="34289" rIns="68555" bIns="34289" numCol="1" anchor="t" anchorCtr="0" compatLnSpc="1">
            <a:prstTxWarp prst="textNoShape">
              <a:avLst/>
            </a:prstTxWarp>
          </a:bodyPr>
          <a:lstStyle/>
          <a:p>
            <a:pPr defTabSz="685511">
              <a:defRPr/>
            </a:pPr>
            <a:endParaRPr lang="en-US" sz="1400">
              <a:solidFill>
                <a:srgbClr val="34373F"/>
              </a:solidFill>
            </a:endParaRPr>
          </a:p>
        </p:txBody>
      </p:sp>
      <p:sp>
        <p:nvSpPr>
          <p:cNvPr id="59" name="Line 56">
            <a:extLst>
              <a:ext uri="{FF2B5EF4-FFF2-40B4-BE49-F238E27FC236}">
                <a16:creationId xmlns="" xmlns:a16="http://schemas.microsoft.com/office/drawing/2014/main" id="{6473F0A5-6ED6-259D-31F8-270A63B627ED}"/>
              </a:ext>
            </a:extLst>
          </p:cNvPr>
          <p:cNvSpPr>
            <a:spLocks noChangeShapeType="1"/>
          </p:cNvSpPr>
          <p:nvPr/>
        </p:nvSpPr>
        <p:spPr bwMode="auto">
          <a:xfrm>
            <a:off x="2661294" y="2242655"/>
            <a:ext cx="239986" cy="0"/>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55" tIns="34289" rIns="68555" bIns="34289" numCol="1" anchor="t" anchorCtr="0" compatLnSpc="1">
            <a:prstTxWarp prst="textNoShape">
              <a:avLst/>
            </a:prstTxWarp>
          </a:bodyPr>
          <a:lstStyle/>
          <a:p>
            <a:pPr defTabSz="685511">
              <a:defRPr/>
            </a:pPr>
            <a:endParaRPr lang="en-US" sz="1400">
              <a:solidFill>
                <a:srgbClr val="34373F"/>
              </a:solidFill>
            </a:endParaRPr>
          </a:p>
        </p:txBody>
      </p:sp>
      <p:sp>
        <p:nvSpPr>
          <p:cNvPr id="60" name="Line 57">
            <a:extLst>
              <a:ext uri="{FF2B5EF4-FFF2-40B4-BE49-F238E27FC236}">
                <a16:creationId xmlns="" xmlns:a16="http://schemas.microsoft.com/office/drawing/2014/main" id="{04823640-9627-BDE9-F0CC-85C43A3B9B0F}"/>
              </a:ext>
            </a:extLst>
          </p:cNvPr>
          <p:cNvSpPr>
            <a:spLocks noChangeShapeType="1"/>
          </p:cNvSpPr>
          <p:nvPr/>
        </p:nvSpPr>
        <p:spPr bwMode="auto">
          <a:xfrm>
            <a:off x="2661294" y="1990772"/>
            <a:ext cx="239986" cy="0"/>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55" tIns="34289" rIns="68555" bIns="34289" numCol="1" anchor="t" anchorCtr="0" compatLnSpc="1">
            <a:prstTxWarp prst="textNoShape">
              <a:avLst/>
            </a:prstTxWarp>
          </a:bodyPr>
          <a:lstStyle/>
          <a:p>
            <a:pPr defTabSz="685511">
              <a:defRPr/>
            </a:pPr>
            <a:endParaRPr lang="en-US" sz="1400">
              <a:solidFill>
                <a:srgbClr val="34373F"/>
              </a:solidFill>
            </a:endParaRPr>
          </a:p>
        </p:txBody>
      </p:sp>
      <p:sp>
        <p:nvSpPr>
          <p:cNvPr id="63" name="Line 60">
            <a:extLst>
              <a:ext uri="{FF2B5EF4-FFF2-40B4-BE49-F238E27FC236}">
                <a16:creationId xmlns="" xmlns:a16="http://schemas.microsoft.com/office/drawing/2014/main" id="{4DD20F56-E88D-01F5-3582-3567F1354B02}"/>
              </a:ext>
            </a:extLst>
          </p:cNvPr>
          <p:cNvSpPr>
            <a:spLocks noChangeShapeType="1"/>
          </p:cNvSpPr>
          <p:nvPr/>
        </p:nvSpPr>
        <p:spPr bwMode="auto">
          <a:xfrm flipV="1">
            <a:off x="2057192" y="2230662"/>
            <a:ext cx="0" cy="329848"/>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55" tIns="34289" rIns="68555" bIns="34289" numCol="1" anchor="t" anchorCtr="0" compatLnSpc="1">
            <a:prstTxWarp prst="textNoShape">
              <a:avLst/>
            </a:prstTxWarp>
          </a:bodyPr>
          <a:lstStyle/>
          <a:p>
            <a:pPr defTabSz="685511">
              <a:defRPr/>
            </a:pPr>
            <a:endParaRPr lang="en-US" sz="1400">
              <a:solidFill>
                <a:srgbClr val="34373F"/>
              </a:solidFill>
            </a:endParaRPr>
          </a:p>
        </p:txBody>
      </p:sp>
      <p:sp>
        <p:nvSpPr>
          <p:cNvPr id="64" name="Line 61">
            <a:extLst>
              <a:ext uri="{FF2B5EF4-FFF2-40B4-BE49-F238E27FC236}">
                <a16:creationId xmlns="" xmlns:a16="http://schemas.microsoft.com/office/drawing/2014/main" id="{4BC249DB-B59C-4138-34CE-D9EE183A72A4}"/>
              </a:ext>
            </a:extLst>
          </p:cNvPr>
          <p:cNvSpPr>
            <a:spLocks noChangeShapeType="1"/>
          </p:cNvSpPr>
          <p:nvPr/>
        </p:nvSpPr>
        <p:spPr bwMode="auto">
          <a:xfrm flipV="1">
            <a:off x="2057192" y="2043549"/>
            <a:ext cx="0" cy="187114"/>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55" tIns="34289" rIns="68555" bIns="34289" numCol="1" anchor="t" anchorCtr="0" compatLnSpc="1">
            <a:prstTxWarp prst="textNoShape">
              <a:avLst/>
            </a:prstTxWarp>
          </a:bodyPr>
          <a:lstStyle/>
          <a:p>
            <a:pPr defTabSz="685511">
              <a:defRPr/>
            </a:pPr>
            <a:endParaRPr lang="en-US" sz="1400">
              <a:solidFill>
                <a:srgbClr val="34373F"/>
              </a:solidFill>
            </a:endParaRPr>
          </a:p>
        </p:txBody>
      </p:sp>
      <p:sp>
        <p:nvSpPr>
          <p:cNvPr id="65" name="Line 62">
            <a:extLst>
              <a:ext uri="{FF2B5EF4-FFF2-40B4-BE49-F238E27FC236}">
                <a16:creationId xmlns="" xmlns:a16="http://schemas.microsoft.com/office/drawing/2014/main" id="{2A932525-8761-D472-D40F-FEB0F026B5C2}"/>
              </a:ext>
            </a:extLst>
          </p:cNvPr>
          <p:cNvSpPr>
            <a:spLocks noChangeShapeType="1"/>
          </p:cNvSpPr>
          <p:nvPr/>
        </p:nvSpPr>
        <p:spPr bwMode="auto">
          <a:xfrm>
            <a:off x="1937199" y="2560508"/>
            <a:ext cx="239986" cy="0"/>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55" tIns="34289" rIns="68555" bIns="34289" numCol="1" anchor="t" anchorCtr="0" compatLnSpc="1">
            <a:prstTxWarp prst="textNoShape">
              <a:avLst/>
            </a:prstTxWarp>
          </a:bodyPr>
          <a:lstStyle/>
          <a:p>
            <a:pPr defTabSz="685511">
              <a:defRPr/>
            </a:pPr>
            <a:endParaRPr lang="en-US" sz="1400">
              <a:solidFill>
                <a:srgbClr val="34373F"/>
              </a:solidFill>
            </a:endParaRPr>
          </a:p>
        </p:txBody>
      </p:sp>
      <p:sp>
        <p:nvSpPr>
          <p:cNvPr id="66" name="Line 63">
            <a:extLst>
              <a:ext uri="{FF2B5EF4-FFF2-40B4-BE49-F238E27FC236}">
                <a16:creationId xmlns="" xmlns:a16="http://schemas.microsoft.com/office/drawing/2014/main" id="{323A5F77-B423-FFCF-B955-E480E468DC99}"/>
              </a:ext>
            </a:extLst>
          </p:cNvPr>
          <p:cNvSpPr>
            <a:spLocks noChangeShapeType="1"/>
          </p:cNvSpPr>
          <p:nvPr/>
        </p:nvSpPr>
        <p:spPr bwMode="auto">
          <a:xfrm>
            <a:off x="1937199" y="2043548"/>
            <a:ext cx="239986" cy="0"/>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55" tIns="34289" rIns="68555" bIns="34289" numCol="1" anchor="t" anchorCtr="0" compatLnSpc="1">
            <a:prstTxWarp prst="textNoShape">
              <a:avLst/>
            </a:prstTxWarp>
          </a:bodyPr>
          <a:lstStyle/>
          <a:p>
            <a:pPr defTabSz="685511">
              <a:defRPr/>
            </a:pPr>
            <a:endParaRPr lang="en-US" sz="1400">
              <a:solidFill>
                <a:srgbClr val="34373F"/>
              </a:solidFill>
            </a:endParaRPr>
          </a:p>
        </p:txBody>
      </p:sp>
      <p:sp>
        <p:nvSpPr>
          <p:cNvPr id="69" name="Line 66">
            <a:extLst>
              <a:ext uri="{FF2B5EF4-FFF2-40B4-BE49-F238E27FC236}">
                <a16:creationId xmlns="" xmlns:a16="http://schemas.microsoft.com/office/drawing/2014/main" id="{CFDB3AF5-8A53-E886-8DB9-A1B167EF80B4}"/>
              </a:ext>
            </a:extLst>
          </p:cNvPr>
          <p:cNvSpPr>
            <a:spLocks noChangeShapeType="1"/>
          </p:cNvSpPr>
          <p:nvPr/>
        </p:nvSpPr>
        <p:spPr bwMode="auto">
          <a:xfrm flipV="1">
            <a:off x="1333097" y="2128725"/>
            <a:ext cx="0" cy="133139"/>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55" tIns="34289" rIns="68555" bIns="34289" numCol="1" anchor="t" anchorCtr="0" compatLnSpc="1">
            <a:prstTxWarp prst="textNoShape">
              <a:avLst/>
            </a:prstTxWarp>
          </a:bodyPr>
          <a:lstStyle/>
          <a:p>
            <a:pPr defTabSz="685511">
              <a:defRPr/>
            </a:pPr>
            <a:endParaRPr lang="en-US" sz="1400">
              <a:solidFill>
                <a:srgbClr val="34373F"/>
              </a:solidFill>
            </a:endParaRPr>
          </a:p>
        </p:txBody>
      </p:sp>
      <p:sp>
        <p:nvSpPr>
          <p:cNvPr id="70" name="Line 67">
            <a:extLst>
              <a:ext uri="{FF2B5EF4-FFF2-40B4-BE49-F238E27FC236}">
                <a16:creationId xmlns="" xmlns:a16="http://schemas.microsoft.com/office/drawing/2014/main" id="{763C6E74-E7D2-F7ED-19D8-D9A01FFC9025}"/>
              </a:ext>
            </a:extLst>
          </p:cNvPr>
          <p:cNvSpPr>
            <a:spLocks noChangeShapeType="1"/>
          </p:cNvSpPr>
          <p:nvPr/>
        </p:nvSpPr>
        <p:spPr bwMode="auto">
          <a:xfrm flipV="1">
            <a:off x="1333097" y="2035168"/>
            <a:ext cx="0" cy="93557"/>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55" tIns="34289" rIns="68555" bIns="34289" numCol="1" anchor="t" anchorCtr="0" compatLnSpc="1">
            <a:prstTxWarp prst="textNoShape">
              <a:avLst/>
            </a:prstTxWarp>
          </a:bodyPr>
          <a:lstStyle/>
          <a:p>
            <a:pPr defTabSz="685511">
              <a:defRPr/>
            </a:pPr>
            <a:endParaRPr lang="en-US" sz="1400">
              <a:solidFill>
                <a:srgbClr val="34373F"/>
              </a:solidFill>
            </a:endParaRPr>
          </a:p>
        </p:txBody>
      </p:sp>
      <p:sp>
        <p:nvSpPr>
          <p:cNvPr id="71" name="Line 68">
            <a:extLst>
              <a:ext uri="{FF2B5EF4-FFF2-40B4-BE49-F238E27FC236}">
                <a16:creationId xmlns="" xmlns:a16="http://schemas.microsoft.com/office/drawing/2014/main" id="{497EAA0C-DCDA-0EEC-9BB7-061FAE6F1980}"/>
              </a:ext>
            </a:extLst>
          </p:cNvPr>
          <p:cNvSpPr>
            <a:spLocks noChangeShapeType="1"/>
          </p:cNvSpPr>
          <p:nvPr/>
        </p:nvSpPr>
        <p:spPr bwMode="auto">
          <a:xfrm>
            <a:off x="1213104" y="2261847"/>
            <a:ext cx="242056" cy="0"/>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55" tIns="34289" rIns="68555" bIns="34289" numCol="1" anchor="t" anchorCtr="0" compatLnSpc="1">
            <a:prstTxWarp prst="textNoShape">
              <a:avLst/>
            </a:prstTxWarp>
          </a:bodyPr>
          <a:lstStyle/>
          <a:p>
            <a:pPr defTabSz="685511">
              <a:defRPr/>
            </a:pPr>
            <a:endParaRPr lang="en-US" sz="1400">
              <a:solidFill>
                <a:srgbClr val="34373F"/>
              </a:solidFill>
            </a:endParaRPr>
          </a:p>
        </p:txBody>
      </p:sp>
      <p:sp>
        <p:nvSpPr>
          <p:cNvPr id="72" name="Line 69">
            <a:extLst>
              <a:ext uri="{FF2B5EF4-FFF2-40B4-BE49-F238E27FC236}">
                <a16:creationId xmlns="" xmlns:a16="http://schemas.microsoft.com/office/drawing/2014/main" id="{4ACC9FE3-71C2-823D-A956-E2627F5C2005}"/>
              </a:ext>
            </a:extLst>
          </p:cNvPr>
          <p:cNvSpPr>
            <a:spLocks noChangeShapeType="1"/>
          </p:cNvSpPr>
          <p:nvPr/>
        </p:nvSpPr>
        <p:spPr bwMode="auto">
          <a:xfrm>
            <a:off x="1213104" y="2035151"/>
            <a:ext cx="242056" cy="0"/>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55" tIns="34289" rIns="68555" bIns="34289" numCol="1" anchor="t" anchorCtr="0" compatLnSpc="1">
            <a:prstTxWarp prst="textNoShape">
              <a:avLst/>
            </a:prstTxWarp>
          </a:bodyPr>
          <a:lstStyle/>
          <a:p>
            <a:pPr defTabSz="685511">
              <a:defRPr/>
            </a:pPr>
            <a:endParaRPr lang="en-US" sz="1400">
              <a:solidFill>
                <a:srgbClr val="34373F"/>
              </a:solidFill>
            </a:endParaRPr>
          </a:p>
        </p:txBody>
      </p:sp>
      <p:sp>
        <p:nvSpPr>
          <p:cNvPr id="232" name="TextBox 231">
            <a:extLst>
              <a:ext uri="{FF2B5EF4-FFF2-40B4-BE49-F238E27FC236}">
                <a16:creationId xmlns="" xmlns:a16="http://schemas.microsoft.com/office/drawing/2014/main" id="{C89EE458-74C6-9144-8CE2-1AE5E59B31F7}"/>
              </a:ext>
            </a:extLst>
          </p:cNvPr>
          <p:cNvSpPr txBox="1"/>
          <p:nvPr/>
        </p:nvSpPr>
        <p:spPr>
          <a:xfrm rot="16200000">
            <a:off x="-633701" y="2725081"/>
            <a:ext cx="2161404" cy="196208"/>
          </a:xfrm>
          <a:prstGeom prst="rect">
            <a:avLst/>
          </a:prstGeom>
          <a:noFill/>
        </p:spPr>
        <p:txBody>
          <a:bodyPr wrap="square" lIns="68555" tIns="34289" rIns="68555" bIns="34289" rtlCol="0">
            <a:spAutoFit/>
          </a:bodyPr>
          <a:lstStyle/>
          <a:p>
            <a:pPr algn="ctr" defTabSz="685511">
              <a:defRPr/>
            </a:pPr>
            <a:r>
              <a:rPr lang="es" sz="800" b="1">
                <a:solidFill>
                  <a:srgbClr val="34373F"/>
                </a:solidFill>
              </a:rPr>
              <a:t>EV contra DVC hospitalizada (IC 95%)</a:t>
            </a:r>
            <a:endParaRPr lang="en-US" sz="700" b="1">
              <a:solidFill>
                <a:srgbClr val="34373F"/>
              </a:solidFill>
            </a:endParaRPr>
          </a:p>
        </p:txBody>
      </p:sp>
      <p:sp>
        <p:nvSpPr>
          <p:cNvPr id="3" name="TextBox 2">
            <a:extLst>
              <a:ext uri="{FF2B5EF4-FFF2-40B4-BE49-F238E27FC236}">
                <a16:creationId xmlns="" xmlns:a16="http://schemas.microsoft.com/office/drawing/2014/main" id="{CDB35D5A-EB16-D40A-BC7A-886CFA21F3E1}"/>
              </a:ext>
            </a:extLst>
          </p:cNvPr>
          <p:cNvSpPr txBox="1"/>
          <p:nvPr/>
        </p:nvSpPr>
        <p:spPr>
          <a:xfrm>
            <a:off x="928448" y="2367529"/>
            <a:ext cx="826409" cy="407802"/>
          </a:xfrm>
          <a:prstGeom prst="rect">
            <a:avLst/>
          </a:prstGeom>
          <a:noFill/>
        </p:spPr>
        <p:txBody>
          <a:bodyPr wrap="square" lIns="68555" tIns="34289" rIns="68555" bIns="34289" rtlCol="0">
            <a:spAutoFit/>
          </a:bodyPr>
          <a:lstStyle/>
          <a:p>
            <a:pPr algn="ctr" defTabSz="685511">
              <a:defRPr/>
            </a:pPr>
            <a:r>
              <a:rPr lang="es" sz="1100" dirty="0">
                <a:solidFill>
                  <a:srgbClr val="FFFFFF"/>
                </a:solidFill>
              </a:rPr>
              <a:t>84.1</a:t>
            </a:r>
          </a:p>
          <a:p>
            <a:pPr algn="ctr" defTabSz="685511">
              <a:defRPr/>
            </a:pPr>
            <a:r>
              <a:rPr lang="es" sz="600" dirty="0">
                <a:solidFill>
                  <a:srgbClr val="FFFFFF"/>
                </a:solidFill>
              </a:rPr>
              <a:t>(</a:t>
            </a:r>
            <a:r>
              <a:rPr lang="es" sz="1100" dirty="0">
                <a:solidFill>
                  <a:srgbClr val="FFFFFF"/>
                </a:solidFill>
              </a:rPr>
              <a:t>77.8-88.6)</a:t>
            </a:r>
          </a:p>
        </p:txBody>
      </p:sp>
      <p:sp>
        <p:nvSpPr>
          <p:cNvPr id="168" name="TextBox 167">
            <a:extLst>
              <a:ext uri="{FF2B5EF4-FFF2-40B4-BE49-F238E27FC236}">
                <a16:creationId xmlns="" xmlns:a16="http://schemas.microsoft.com/office/drawing/2014/main" id="{A14772E3-6A03-01B1-E0F0-D7258B8B046F}"/>
              </a:ext>
            </a:extLst>
          </p:cNvPr>
          <p:cNvSpPr txBox="1"/>
          <p:nvPr/>
        </p:nvSpPr>
        <p:spPr>
          <a:xfrm>
            <a:off x="1602141" y="2663227"/>
            <a:ext cx="908704" cy="407802"/>
          </a:xfrm>
          <a:prstGeom prst="rect">
            <a:avLst/>
          </a:prstGeom>
          <a:noFill/>
        </p:spPr>
        <p:txBody>
          <a:bodyPr wrap="square" lIns="68555" tIns="34289" rIns="68555" bIns="34289" rtlCol="0">
            <a:spAutoFit/>
          </a:bodyPr>
          <a:lstStyle/>
          <a:p>
            <a:pPr algn="ctr" defTabSz="685511">
              <a:defRPr/>
            </a:pPr>
            <a:r>
              <a:rPr lang="es" sz="1100" dirty="0">
                <a:solidFill>
                  <a:srgbClr val="FFFFFF"/>
                </a:solidFill>
              </a:rPr>
              <a:t>79.3</a:t>
            </a:r>
          </a:p>
          <a:p>
            <a:pPr algn="ctr" defTabSz="685511">
              <a:defRPr/>
            </a:pPr>
            <a:r>
              <a:rPr lang="es" sz="1100" dirty="0">
                <a:solidFill>
                  <a:srgbClr val="FFFFFF"/>
                </a:solidFill>
              </a:rPr>
              <a:t>(63.5-88.2)</a:t>
            </a:r>
          </a:p>
        </p:txBody>
      </p:sp>
      <p:sp>
        <p:nvSpPr>
          <p:cNvPr id="169" name="TextBox 168">
            <a:extLst>
              <a:ext uri="{FF2B5EF4-FFF2-40B4-BE49-F238E27FC236}">
                <a16:creationId xmlns="" xmlns:a16="http://schemas.microsoft.com/office/drawing/2014/main" id="{7F796687-13EB-5161-A1AE-7E4757BC4556}"/>
              </a:ext>
            </a:extLst>
          </p:cNvPr>
          <p:cNvSpPr txBox="1"/>
          <p:nvPr/>
        </p:nvSpPr>
        <p:spPr>
          <a:xfrm>
            <a:off x="2353425" y="2315539"/>
            <a:ext cx="869770" cy="407802"/>
          </a:xfrm>
          <a:prstGeom prst="rect">
            <a:avLst/>
          </a:prstGeom>
          <a:noFill/>
        </p:spPr>
        <p:txBody>
          <a:bodyPr wrap="square" lIns="68555" tIns="34289" rIns="68555" bIns="34289" rtlCol="0">
            <a:spAutoFit/>
          </a:bodyPr>
          <a:lstStyle/>
          <a:p>
            <a:pPr algn="ctr" defTabSz="685511">
              <a:defRPr/>
            </a:pPr>
            <a:r>
              <a:rPr lang="es" sz="1100" dirty="0">
                <a:solidFill>
                  <a:srgbClr val="FFFFFF"/>
                </a:solidFill>
              </a:rPr>
              <a:t>85.9</a:t>
            </a:r>
          </a:p>
          <a:p>
            <a:pPr algn="ctr" defTabSz="685511">
              <a:defRPr/>
            </a:pPr>
            <a:r>
              <a:rPr lang="es" sz="1100" dirty="0">
                <a:solidFill>
                  <a:srgbClr val="FFFFFF"/>
                </a:solidFill>
              </a:rPr>
              <a:t>(78.7-90.7)</a:t>
            </a:r>
          </a:p>
        </p:txBody>
      </p:sp>
      <p:sp>
        <p:nvSpPr>
          <p:cNvPr id="625" name="TextBox 624">
            <a:extLst>
              <a:ext uri="{FF2B5EF4-FFF2-40B4-BE49-F238E27FC236}">
                <a16:creationId xmlns="" xmlns:a16="http://schemas.microsoft.com/office/drawing/2014/main" id="{BFA704D6-B74D-4087-B645-766E252496E6}"/>
              </a:ext>
            </a:extLst>
          </p:cNvPr>
          <p:cNvSpPr txBox="1"/>
          <p:nvPr/>
        </p:nvSpPr>
        <p:spPr>
          <a:xfrm>
            <a:off x="4483806" y="4312639"/>
            <a:ext cx="719963" cy="219476"/>
          </a:xfrm>
          <a:prstGeom prst="rect">
            <a:avLst/>
          </a:prstGeom>
          <a:noFill/>
        </p:spPr>
        <p:txBody>
          <a:bodyPr wrap="square" lIns="0" tIns="0" rIns="0" bIns="0" rtlCol="0">
            <a:noAutofit/>
          </a:bodyPr>
          <a:lstStyle/>
          <a:p>
            <a:pPr defTabSz="685511">
              <a:defRPr/>
            </a:pPr>
            <a:r>
              <a:rPr lang="es" sz="800">
                <a:solidFill>
                  <a:srgbClr val="34373F"/>
                </a:solidFill>
              </a:rPr>
              <a:t>Placebo, seropositivo</a:t>
            </a:r>
          </a:p>
        </p:txBody>
      </p:sp>
      <p:sp>
        <p:nvSpPr>
          <p:cNvPr id="626" name="TextBox 625">
            <a:extLst>
              <a:ext uri="{FF2B5EF4-FFF2-40B4-BE49-F238E27FC236}">
                <a16:creationId xmlns="" xmlns:a16="http://schemas.microsoft.com/office/drawing/2014/main" id="{1167C8BE-C296-47C5-BEE5-A8D91412DC66}"/>
              </a:ext>
            </a:extLst>
          </p:cNvPr>
          <p:cNvSpPr txBox="1"/>
          <p:nvPr/>
        </p:nvSpPr>
        <p:spPr>
          <a:xfrm>
            <a:off x="5572197" y="4312639"/>
            <a:ext cx="719963" cy="219476"/>
          </a:xfrm>
          <a:prstGeom prst="rect">
            <a:avLst/>
          </a:prstGeom>
          <a:noFill/>
        </p:spPr>
        <p:txBody>
          <a:bodyPr wrap="square" lIns="0" tIns="0" rIns="0" bIns="0" rtlCol="0">
            <a:noAutofit/>
          </a:bodyPr>
          <a:lstStyle/>
          <a:p>
            <a:pPr defTabSz="685511">
              <a:defRPr/>
            </a:pPr>
            <a:r>
              <a:rPr lang="es" sz="800">
                <a:solidFill>
                  <a:srgbClr val="34373F"/>
                </a:solidFill>
              </a:rPr>
              <a:t>Placebo, seronegativo</a:t>
            </a:r>
          </a:p>
        </p:txBody>
      </p:sp>
      <p:sp>
        <p:nvSpPr>
          <p:cNvPr id="627" name="TextBox 626">
            <a:extLst>
              <a:ext uri="{FF2B5EF4-FFF2-40B4-BE49-F238E27FC236}">
                <a16:creationId xmlns="" xmlns:a16="http://schemas.microsoft.com/office/drawing/2014/main" id="{7CEA51F1-B9F0-477E-8459-2DEB0C204D01}"/>
              </a:ext>
            </a:extLst>
          </p:cNvPr>
          <p:cNvSpPr txBox="1"/>
          <p:nvPr/>
        </p:nvSpPr>
        <p:spPr>
          <a:xfrm>
            <a:off x="6783738" y="4312639"/>
            <a:ext cx="719963" cy="219476"/>
          </a:xfrm>
          <a:prstGeom prst="rect">
            <a:avLst/>
          </a:prstGeom>
          <a:noFill/>
        </p:spPr>
        <p:txBody>
          <a:bodyPr wrap="square" lIns="0" tIns="0" rIns="0" bIns="0" rtlCol="0">
            <a:noAutofit/>
          </a:bodyPr>
          <a:lstStyle/>
          <a:p>
            <a:pPr defTabSz="685511">
              <a:defRPr/>
            </a:pPr>
            <a:r>
              <a:rPr lang="es" sz="800">
                <a:solidFill>
                  <a:srgbClr val="34373F"/>
                </a:solidFill>
              </a:rPr>
              <a:t>TAK-003, seropositivo</a:t>
            </a:r>
          </a:p>
        </p:txBody>
      </p:sp>
      <p:sp>
        <p:nvSpPr>
          <p:cNvPr id="628" name="TextBox 627">
            <a:extLst>
              <a:ext uri="{FF2B5EF4-FFF2-40B4-BE49-F238E27FC236}">
                <a16:creationId xmlns="" xmlns:a16="http://schemas.microsoft.com/office/drawing/2014/main" id="{70E40514-B13E-483E-986D-3AC5D884A436}"/>
              </a:ext>
            </a:extLst>
          </p:cNvPr>
          <p:cNvSpPr txBox="1"/>
          <p:nvPr/>
        </p:nvSpPr>
        <p:spPr>
          <a:xfrm>
            <a:off x="7828749" y="4312639"/>
            <a:ext cx="719963" cy="219476"/>
          </a:xfrm>
          <a:prstGeom prst="rect">
            <a:avLst/>
          </a:prstGeom>
          <a:noFill/>
        </p:spPr>
        <p:txBody>
          <a:bodyPr wrap="square" lIns="0" tIns="0" rIns="0" bIns="0" rtlCol="0">
            <a:noAutofit/>
          </a:bodyPr>
          <a:lstStyle/>
          <a:p>
            <a:pPr defTabSz="685511">
              <a:defRPr/>
            </a:pPr>
            <a:r>
              <a:rPr lang="es" sz="800">
                <a:solidFill>
                  <a:srgbClr val="34373F"/>
                </a:solidFill>
              </a:rPr>
              <a:t>TAK-003, seronegativo</a:t>
            </a:r>
          </a:p>
        </p:txBody>
      </p:sp>
      <p:cxnSp>
        <p:nvCxnSpPr>
          <p:cNvPr id="629" name="Straight Connector 628">
            <a:extLst>
              <a:ext uri="{FF2B5EF4-FFF2-40B4-BE49-F238E27FC236}">
                <a16:creationId xmlns="" xmlns:a16="http://schemas.microsoft.com/office/drawing/2014/main" id="{AFCFAFB6-DF24-4E40-B626-DFA5D7661DC2}"/>
              </a:ext>
            </a:extLst>
          </p:cNvPr>
          <p:cNvCxnSpPr>
            <a:cxnSpLocks/>
          </p:cNvCxnSpPr>
          <p:nvPr/>
        </p:nvCxnSpPr>
        <p:spPr>
          <a:xfrm>
            <a:off x="4168096" y="4354376"/>
            <a:ext cx="246812" cy="0"/>
          </a:xfrm>
          <a:prstGeom prst="line">
            <a:avLst/>
          </a:prstGeom>
          <a:ln w="349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30" name="Straight Connector 629">
            <a:extLst>
              <a:ext uri="{FF2B5EF4-FFF2-40B4-BE49-F238E27FC236}">
                <a16:creationId xmlns="" xmlns:a16="http://schemas.microsoft.com/office/drawing/2014/main" id="{C4648279-266E-4A00-B362-0A43DA818805}"/>
              </a:ext>
            </a:extLst>
          </p:cNvPr>
          <p:cNvCxnSpPr>
            <a:cxnSpLocks/>
          </p:cNvCxnSpPr>
          <p:nvPr/>
        </p:nvCxnSpPr>
        <p:spPr>
          <a:xfrm>
            <a:off x="5265466" y="4354376"/>
            <a:ext cx="246812" cy="0"/>
          </a:xfrm>
          <a:prstGeom prst="line">
            <a:avLst/>
          </a:prstGeom>
          <a:ln w="349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31" name="Straight Connector 630">
            <a:extLst>
              <a:ext uri="{FF2B5EF4-FFF2-40B4-BE49-F238E27FC236}">
                <a16:creationId xmlns="" xmlns:a16="http://schemas.microsoft.com/office/drawing/2014/main" id="{B10E52E5-13C7-4A56-90A6-6C382C629EE4}"/>
              </a:ext>
            </a:extLst>
          </p:cNvPr>
          <p:cNvCxnSpPr>
            <a:cxnSpLocks/>
          </p:cNvCxnSpPr>
          <p:nvPr/>
        </p:nvCxnSpPr>
        <p:spPr>
          <a:xfrm>
            <a:off x="6455374" y="4354376"/>
            <a:ext cx="246812" cy="0"/>
          </a:xfrm>
          <a:prstGeom prst="line">
            <a:avLst/>
          </a:prstGeom>
          <a:ln w="34925">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632" name="Straight Connector 631">
            <a:extLst>
              <a:ext uri="{FF2B5EF4-FFF2-40B4-BE49-F238E27FC236}">
                <a16:creationId xmlns="" xmlns:a16="http://schemas.microsoft.com/office/drawing/2014/main" id="{D3A6D01B-1440-41EF-BF37-6D043AEF3241}"/>
              </a:ext>
            </a:extLst>
          </p:cNvPr>
          <p:cNvCxnSpPr>
            <a:cxnSpLocks/>
          </p:cNvCxnSpPr>
          <p:nvPr/>
        </p:nvCxnSpPr>
        <p:spPr>
          <a:xfrm>
            <a:off x="7502410" y="4354376"/>
            <a:ext cx="246812" cy="0"/>
          </a:xfrm>
          <a:prstGeom prst="line">
            <a:avLst/>
          </a:prstGeom>
          <a:ln w="34925">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633" name="TextBox 632">
            <a:extLst>
              <a:ext uri="{FF2B5EF4-FFF2-40B4-BE49-F238E27FC236}">
                <a16:creationId xmlns="" xmlns:a16="http://schemas.microsoft.com/office/drawing/2014/main" id="{5F930A99-CAED-4CC5-93B1-B27D317EA58A}"/>
              </a:ext>
            </a:extLst>
          </p:cNvPr>
          <p:cNvSpPr txBox="1"/>
          <p:nvPr/>
        </p:nvSpPr>
        <p:spPr>
          <a:xfrm>
            <a:off x="4086235" y="1446016"/>
            <a:ext cx="2686040" cy="484748"/>
          </a:xfrm>
          <a:prstGeom prst="rect">
            <a:avLst/>
          </a:prstGeom>
          <a:noFill/>
          <a:ln>
            <a:solidFill>
              <a:schemeClr val="accent1"/>
            </a:solidFill>
          </a:ln>
        </p:spPr>
        <p:txBody>
          <a:bodyPr wrap="square" lIns="68555" tIns="34289" rIns="68555" bIns="34289" rtlCol="0">
            <a:spAutoFit/>
          </a:bodyPr>
          <a:lstStyle/>
          <a:p>
            <a:pPr defTabSz="685511">
              <a:defRPr/>
            </a:pPr>
            <a:r>
              <a:rPr kumimoji="1" lang="es" sz="900">
                <a:solidFill>
                  <a:srgbClr val="000000"/>
                </a:solidFill>
                <a:latin typeface="Arial" panose="020B0604020202020204" pitchFamily="34" charset="0"/>
                <a:cs typeface="Arial" panose="020B0604020202020204" pitchFamily="34" charset="0"/>
              </a:rPr>
              <a:t>Por cada 100.000 vacunados, se estima prevenir</a:t>
            </a:r>
          </a:p>
          <a:p>
            <a:pPr marL="128537" indent="-128537" defTabSz="685511">
              <a:buFont typeface="Arial" panose="020B0604020202020204" pitchFamily="34" charset="0"/>
              <a:buChar char="•"/>
              <a:defRPr/>
            </a:pPr>
            <a:r>
              <a:rPr kumimoji="1" lang="es" sz="900" b="1">
                <a:solidFill>
                  <a:srgbClr val="34373F">
                    <a:lumMod val="75000"/>
                  </a:srgbClr>
                </a:solidFill>
                <a:latin typeface="Arial" panose="020B0604020202020204" pitchFamily="34" charset="0"/>
                <a:cs typeface="Arial" panose="020B0604020202020204" pitchFamily="34" charset="0"/>
              </a:rPr>
              <a:t>1780 casos </a:t>
            </a:r>
            <a:r>
              <a:rPr kumimoji="1" lang="es" sz="900">
                <a:solidFill>
                  <a:srgbClr val="34373F">
                    <a:lumMod val="75000"/>
                  </a:srgbClr>
                </a:solidFill>
                <a:latin typeface="Arial" panose="020B0604020202020204" pitchFamily="34" charset="0"/>
                <a:cs typeface="Arial" panose="020B0604020202020204" pitchFamily="34" charset="0"/>
              </a:rPr>
              <a:t>en seropositivos basales</a:t>
            </a:r>
          </a:p>
          <a:p>
            <a:pPr marL="128537" indent="-128537" defTabSz="685511">
              <a:buFont typeface="Arial" panose="020B0604020202020204" pitchFamily="34" charset="0"/>
              <a:buChar char="•"/>
              <a:defRPr/>
            </a:pPr>
            <a:r>
              <a:rPr kumimoji="1" lang="es" sz="900" b="1">
                <a:solidFill>
                  <a:srgbClr val="E1242A"/>
                </a:solidFill>
                <a:latin typeface="Arial" panose="020B0604020202020204" pitchFamily="34" charset="0"/>
                <a:cs typeface="Arial" panose="020B0604020202020204" pitchFamily="34" charset="0"/>
              </a:rPr>
              <a:t>1780 casos </a:t>
            </a:r>
            <a:r>
              <a:rPr kumimoji="1" lang="es" sz="900">
                <a:solidFill>
                  <a:srgbClr val="E1242A"/>
                </a:solidFill>
                <a:latin typeface="Arial" panose="020B0604020202020204" pitchFamily="34" charset="0"/>
                <a:cs typeface="Arial" panose="020B0604020202020204" pitchFamily="34" charset="0"/>
              </a:rPr>
              <a:t>en seronegativos basales</a:t>
            </a:r>
            <a:endParaRPr kumimoji="1" lang="en-US">
              <a:solidFill>
                <a:srgbClr val="E1242A"/>
              </a:solidFill>
              <a:latin typeface="Arial" panose="020B0604020202020204" pitchFamily="34" charset="0"/>
              <a:cs typeface="Arial" panose="020B0604020202020204" pitchFamily="34" charset="0"/>
            </a:endParaRPr>
          </a:p>
        </p:txBody>
      </p:sp>
      <p:sp>
        <p:nvSpPr>
          <p:cNvPr id="1043" name="TextBox 1042">
            <a:extLst>
              <a:ext uri="{FF2B5EF4-FFF2-40B4-BE49-F238E27FC236}">
                <a16:creationId xmlns="" xmlns:a16="http://schemas.microsoft.com/office/drawing/2014/main" id="{9B0C3F27-78AE-48FA-8034-BBDD92F4C0A7}"/>
              </a:ext>
            </a:extLst>
          </p:cNvPr>
          <p:cNvSpPr txBox="1"/>
          <p:nvPr/>
        </p:nvSpPr>
        <p:spPr>
          <a:xfrm>
            <a:off x="3566201" y="978427"/>
            <a:ext cx="5333845" cy="415497"/>
          </a:xfrm>
          <a:prstGeom prst="rect">
            <a:avLst/>
          </a:prstGeom>
          <a:noFill/>
          <a:ln w="28575">
            <a:noFill/>
          </a:ln>
        </p:spPr>
        <p:txBody>
          <a:bodyPr wrap="square" lIns="68555" tIns="34289" rIns="68555" bIns="34289" anchor="t">
            <a:spAutoFit/>
          </a:bodyPr>
          <a:lstStyle/>
          <a:p>
            <a:pPr algn="ctr" defTabSz="685511">
              <a:defRPr/>
            </a:pPr>
            <a:r>
              <a:rPr lang="es" sz="1100" b="1">
                <a:solidFill>
                  <a:srgbClr val="34373F"/>
                </a:solidFill>
              </a:rPr>
              <a:t>Incidencia acumulada de DVC hospitalizado hasta 4,5 años después de la segunda dosis, análisis de subgrupos por estado serológico basal</a:t>
            </a:r>
          </a:p>
        </p:txBody>
      </p:sp>
      <p:sp>
        <p:nvSpPr>
          <p:cNvPr id="1044" name="TextBox 1043">
            <a:extLst>
              <a:ext uri="{FF2B5EF4-FFF2-40B4-BE49-F238E27FC236}">
                <a16:creationId xmlns="" xmlns:a16="http://schemas.microsoft.com/office/drawing/2014/main" id="{ADACD427-EF3D-4207-82CB-1C4DB4DED307}"/>
              </a:ext>
            </a:extLst>
          </p:cNvPr>
          <p:cNvSpPr txBox="1"/>
          <p:nvPr/>
        </p:nvSpPr>
        <p:spPr>
          <a:xfrm>
            <a:off x="718983" y="1145859"/>
            <a:ext cx="2333087" cy="577079"/>
          </a:xfrm>
          <a:prstGeom prst="rect">
            <a:avLst/>
          </a:prstGeom>
          <a:noFill/>
        </p:spPr>
        <p:txBody>
          <a:bodyPr wrap="square" lIns="68555" tIns="34289" rIns="68555" bIns="34289" rtlCol="0" anchor="t">
            <a:spAutoFit/>
          </a:bodyPr>
          <a:lstStyle/>
          <a:p>
            <a:pPr algn="ctr" defTabSz="685511">
              <a:defRPr/>
            </a:pPr>
            <a:r>
              <a:rPr lang="es" sz="1100" b="1">
                <a:solidFill>
                  <a:srgbClr val="34373F"/>
                </a:solidFill>
              </a:rPr>
              <a:t>EV contra DVC hospitalizado hasta 4,5 años después de la segunda dosis, según el estado serológico basal</a:t>
            </a:r>
          </a:p>
        </p:txBody>
      </p:sp>
      <p:sp>
        <p:nvSpPr>
          <p:cNvPr id="5" name="Rectangle 136">
            <a:extLst>
              <a:ext uri="{FF2B5EF4-FFF2-40B4-BE49-F238E27FC236}">
                <a16:creationId xmlns="" xmlns:a16="http://schemas.microsoft.com/office/drawing/2014/main" id="{9E58F37E-BC96-4B23-68AD-CD91B72DF110}"/>
              </a:ext>
            </a:extLst>
          </p:cNvPr>
          <p:cNvSpPr>
            <a:spLocks noChangeArrowheads="1"/>
          </p:cNvSpPr>
          <p:nvPr/>
        </p:nvSpPr>
        <p:spPr bwMode="auto">
          <a:xfrm>
            <a:off x="682253" y="3837609"/>
            <a:ext cx="58911"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685511">
              <a:defRPr/>
            </a:pPr>
            <a:r>
              <a:rPr lang="es" altLang="en-US" sz="800">
                <a:solidFill>
                  <a:srgbClr val="34373F"/>
                </a:solidFill>
              </a:rPr>
              <a:t>0</a:t>
            </a:r>
          </a:p>
        </p:txBody>
      </p:sp>
      <p:sp>
        <p:nvSpPr>
          <p:cNvPr id="8" name="Rectangle 137">
            <a:extLst>
              <a:ext uri="{FF2B5EF4-FFF2-40B4-BE49-F238E27FC236}">
                <a16:creationId xmlns="" xmlns:a16="http://schemas.microsoft.com/office/drawing/2014/main" id="{26B6D28B-B379-F7FF-50F4-4004116B384C}"/>
              </a:ext>
            </a:extLst>
          </p:cNvPr>
          <p:cNvSpPr>
            <a:spLocks noChangeArrowheads="1"/>
          </p:cNvSpPr>
          <p:nvPr/>
        </p:nvSpPr>
        <p:spPr bwMode="auto">
          <a:xfrm>
            <a:off x="623358" y="3414516"/>
            <a:ext cx="117821"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685511">
              <a:defRPr/>
            </a:pPr>
            <a:r>
              <a:rPr lang="es" altLang="en-US" sz="800">
                <a:solidFill>
                  <a:srgbClr val="34373F"/>
                </a:solidFill>
              </a:rPr>
              <a:t>20</a:t>
            </a:r>
          </a:p>
        </p:txBody>
      </p:sp>
      <p:sp>
        <p:nvSpPr>
          <p:cNvPr id="9" name="Rectangle 138">
            <a:extLst>
              <a:ext uri="{FF2B5EF4-FFF2-40B4-BE49-F238E27FC236}">
                <a16:creationId xmlns="" xmlns:a16="http://schemas.microsoft.com/office/drawing/2014/main" id="{1D089BFE-72F2-32B8-B301-4653E3AC3D52}"/>
              </a:ext>
            </a:extLst>
          </p:cNvPr>
          <p:cNvSpPr>
            <a:spLocks noChangeArrowheads="1"/>
          </p:cNvSpPr>
          <p:nvPr/>
        </p:nvSpPr>
        <p:spPr bwMode="auto">
          <a:xfrm>
            <a:off x="623358" y="2992383"/>
            <a:ext cx="117821"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685511">
              <a:defRPr/>
            </a:pPr>
            <a:r>
              <a:rPr lang="es" altLang="en-US" sz="800">
                <a:solidFill>
                  <a:srgbClr val="34373F"/>
                </a:solidFill>
              </a:rPr>
              <a:t>40</a:t>
            </a:r>
          </a:p>
        </p:txBody>
      </p:sp>
      <p:sp>
        <p:nvSpPr>
          <p:cNvPr id="11" name="Rectangle 139">
            <a:extLst>
              <a:ext uri="{FF2B5EF4-FFF2-40B4-BE49-F238E27FC236}">
                <a16:creationId xmlns="" xmlns:a16="http://schemas.microsoft.com/office/drawing/2014/main" id="{9F47DC39-BFCD-9097-F6C9-734DAE8CADBB}"/>
              </a:ext>
            </a:extLst>
          </p:cNvPr>
          <p:cNvSpPr>
            <a:spLocks noChangeArrowheads="1"/>
          </p:cNvSpPr>
          <p:nvPr/>
        </p:nvSpPr>
        <p:spPr bwMode="auto">
          <a:xfrm>
            <a:off x="623358" y="2570248"/>
            <a:ext cx="117821"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685511">
              <a:defRPr/>
            </a:pPr>
            <a:r>
              <a:rPr lang="es" altLang="en-US" sz="800">
                <a:solidFill>
                  <a:srgbClr val="34373F"/>
                </a:solidFill>
              </a:rPr>
              <a:t>60</a:t>
            </a:r>
          </a:p>
        </p:txBody>
      </p:sp>
      <p:sp>
        <p:nvSpPr>
          <p:cNvPr id="13" name="Rectangle 140">
            <a:extLst>
              <a:ext uri="{FF2B5EF4-FFF2-40B4-BE49-F238E27FC236}">
                <a16:creationId xmlns="" xmlns:a16="http://schemas.microsoft.com/office/drawing/2014/main" id="{D07178EC-E855-E189-9449-C987D6F50C2B}"/>
              </a:ext>
            </a:extLst>
          </p:cNvPr>
          <p:cNvSpPr>
            <a:spLocks noChangeArrowheads="1"/>
          </p:cNvSpPr>
          <p:nvPr/>
        </p:nvSpPr>
        <p:spPr bwMode="auto">
          <a:xfrm>
            <a:off x="623358" y="2147157"/>
            <a:ext cx="117821"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685511">
              <a:defRPr/>
            </a:pPr>
            <a:r>
              <a:rPr lang="es" altLang="en-US" sz="800">
                <a:solidFill>
                  <a:srgbClr val="34373F"/>
                </a:solidFill>
              </a:rPr>
              <a:t>80</a:t>
            </a:r>
          </a:p>
        </p:txBody>
      </p:sp>
      <p:sp>
        <p:nvSpPr>
          <p:cNvPr id="15" name="Rectangle 52">
            <a:extLst>
              <a:ext uri="{FF2B5EF4-FFF2-40B4-BE49-F238E27FC236}">
                <a16:creationId xmlns="" xmlns:a16="http://schemas.microsoft.com/office/drawing/2014/main" id="{FD23B4BF-862D-013D-688A-D1437283DE0A}"/>
              </a:ext>
            </a:extLst>
          </p:cNvPr>
          <p:cNvSpPr>
            <a:spLocks noChangeArrowheads="1"/>
          </p:cNvSpPr>
          <p:nvPr/>
        </p:nvSpPr>
        <p:spPr bwMode="auto">
          <a:xfrm>
            <a:off x="573328" y="1723289"/>
            <a:ext cx="176732"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685511">
              <a:defRPr/>
            </a:pPr>
            <a:r>
              <a:rPr lang="es" altLang="en-US" sz="800">
                <a:solidFill>
                  <a:srgbClr val="34373F"/>
                </a:solidFill>
              </a:rPr>
              <a:t>100</a:t>
            </a:r>
          </a:p>
        </p:txBody>
      </p:sp>
      <p:sp>
        <p:nvSpPr>
          <p:cNvPr id="16" name="TextBox 15">
            <a:extLst>
              <a:ext uri="{FF2B5EF4-FFF2-40B4-BE49-F238E27FC236}">
                <a16:creationId xmlns="" xmlns:a16="http://schemas.microsoft.com/office/drawing/2014/main" id="{D1BE4BB9-4BD0-64DF-1159-A4BCD6B2EAF4}"/>
              </a:ext>
            </a:extLst>
          </p:cNvPr>
          <p:cNvSpPr txBox="1"/>
          <p:nvPr/>
        </p:nvSpPr>
        <p:spPr>
          <a:xfrm>
            <a:off x="962115" y="3956122"/>
            <a:ext cx="747143" cy="196208"/>
          </a:xfrm>
          <a:prstGeom prst="rect">
            <a:avLst/>
          </a:prstGeom>
          <a:noFill/>
        </p:spPr>
        <p:txBody>
          <a:bodyPr wrap="square" lIns="68555" tIns="34289" rIns="68555" bIns="34289" rtlCol="0">
            <a:spAutoFit/>
          </a:bodyPr>
          <a:lstStyle/>
          <a:p>
            <a:pPr algn="ctr" defTabSz="685511">
              <a:defRPr/>
            </a:pPr>
            <a:r>
              <a:rPr lang="es" sz="800" b="1">
                <a:solidFill>
                  <a:srgbClr val="34373F"/>
                </a:solidFill>
              </a:rPr>
              <a:t>En general</a:t>
            </a:r>
            <a:endParaRPr lang="en-US" sz="700" b="1">
              <a:solidFill>
                <a:srgbClr val="34373F"/>
              </a:solidFill>
            </a:endParaRPr>
          </a:p>
        </p:txBody>
      </p:sp>
      <p:sp>
        <p:nvSpPr>
          <p:cNvPr id="17" name="TextBox 16">
            <a:extLst>
              <a:ext uri="{FF2B5EF4-FFF2-40B4-BE49-F238E27FC236}">
                <a16:creationId xmlns="" xmlns:a16="http://schemas.microsoft.com/office/drawing/2014/main" id="{F6BD9317-C6DC-D53F-A1FF-7F95969C8A86}"/>
              </a:ext>
            </a:extLst>
          </p:cNvPr>
          <p:cNvSpPr txBox="1"/>
          <p:nvPr/>
        </p:nvSpPr>
        <p:spPr>
          <a:xfrm>
            <a:off x="2210190" y="3956122"/>
            <a:ext cx="1079411" cy="196208"/>
          </a:xfrm>
          <a:prstGeom prst="rect">
            <a:avLst/>
          </a:prstGeom>
          <a:noFill/>
        </p:spPr>
        <p:txBody>
          <a:bodyPr wrap="square" lIns="68555" tIns="34289" rIns="68555" bIns="34289" rtlCol="0">
            <a:spAutoFit/>
          </a:bodyPr>
          <a:lstStyle/>
          <a:p>
            <a:pPr algn="ctr" defTabSz="685511">
              <a:defRPr/>
            </a:pPr>
            <a:r>
              <a:rPr lang="es" sz="800" b="1">
                <a:solidFill>
                  <a:srgbClr val="34373F"/>
                </a:solidFill>
              </a:rPr>
              <a:t>Seropositivo</a:t>
            </a:r>
            <a:endParaRPr lang="en-US" sz="700" b="1">
              <a:solidFill>
                <a:srgbClr val="34373F"/>
              </a:solidFill>
            </a:endParaRPr>
          </a:p>
        </p:txBody>
      </p:sp>
      <p:sp>
        <p:nvSpPr>
          <p:cNvPr id="18" name="TextBox 17">
            <a:extLst>
              <a:ext uri="{FF2B5EF4-FFF2-40B4-BE49-F238E27FC236}">
                <a16:creationId xmlns="" xmlns:a16="http://schemas.microsoft.com/office/drawing/2014/main" id="{E7F94DD6-EE38-4CFC-5546-0A802F711B5A}"/>
              </a:ext>
            </a:extLst>
          </p:cNvPr>
          <p:cNvSpPr txBox="1"/>
          <p:nvPr/>
        </p:nvSpPr>
        <p:spPr>
          <a:xfrm>
            <a:off x="1522619" y="3956122"/>
            <a:ext cx="1040787" cy="196208"/>
          </a:xfrm>
          <a:prstGeom prst="rect">
            <a:avLst/>
          </a:prstGeom>
          <a:noFill/>
        </p:spPr>
        <p:txBody>
          <a:bodyPr wrap="square" lIns="68555" tIns="34289" rIns="68555" bIns="34289" rtlCol="0">
            <a:spAutoFit/>
          </a:bodyPr>
          <a:lstStyle/>
          <a:p>
            <a:pPr algn="ctr" defTabSz="685511">
              <a:defRPr/>
            </a:pPr>
            <a:r>
              <a:rPr lang="es" sz="800" b="1">
                <a:solidFill>
                  <a:srgbClr val="34373F"/>
                </a:solidFill>
              </a:rPr>
              <a:t>Seronegativo</a:t>
            </a:r>
            <a:endParaRPr lang="en-US" sz="700" b="1">
              <a:solidFill>
                <a:srgbClr val="34373F"/>
              </a:solidFill>
            </a:endParaRPr>
          </a:p>
        </p:txBody>
      </p:sp>
      <p:sp>
        <p:nvSpPr>
          <p:cNvPr id="7" name="Footer Placeholder 7">
            <a:extLst>
              <a:ext uri="{FF2B5EF4-FFF2-40B4-BE49-F238E27FC236}">
                <a16:creationId xmlns="" xmlns:a16="http://schemas.microsoft.com/office/drawing/2014/main" id="{E9844929-7078-42AE-359C-F51F200E1EC2}"/>
              </a:ext>
            </a:extLst>
          </p:cNvPr>
          <p:cNvSpPr txBox="1">
            <a:spLocks/>
          </p:cNvSpPr>
          <p:nvPr/>
        </p:nvSpPr>
        <p:spPr>
          <a:xfrm>
            <a:off x="395288" y="4871001"/>
            <a:ext cx="8748711" cy="170106"/>
          </a:xfrm>
          <a:prstGeom prst="rect">
            <a:avLst/>
          </a:prstGeom>
        </p:spPr>
        <p:txBody>
          <a:bodyPr lIns="68555" tIns="34289" rIns="68555" bIns="34289"/>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defTabSz="685511">
              <a:defRPr/>
            </a:pPr>
            <a:r>
              <a:rPr lang="es" altLang="ja-JP" sz="700">
                <a:solidFill>
                  <a:srgbClr val="34373F"/>
                </a:solidFill>
                <a:cs typeface="Calibri" panose="020F0502020204030204" pitchFamily="34" charset="0"/>
              </a:rPr>
              <a:t>Confidencial, solo para uso interno de Takeda, </a:t>
            </a:r>
            <a:endParaRPr lang="en-US" altLang="ja-JP" sz="100">
              <a:solidFill>
                <a:srgbClr val="34373F"/>
              </a:solidFill>
              <a:cs typeface="Calibri" panose="020F0502020204030204" pitchFamily="34" charset="0"/>
            </a:endParaRPr>
          </a:p>
        </p:txBody>
      </p:sp>
    </p:spTree>
    <p:extLst>
      <p:ext uri="{BB962C8B-B14F-4D97-AF65-F5344CB8AC3E}">
        <p14:creationId xmlns:p14="http://schemas.microsoft.com/office/powerpoint/2010/main" val="151432172"/>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0" name="Table 149">
            <a:extLst>
              <a:ext uri="{FF2B5EF4-FFF2-40B4-BE49-F238E27FC236}">
                <a16:creationId xmlns="" xmlns:a16="http://schemas.microsoft.com/office/drawing/2014/main" id="{AFF1F816-9B19-5FAD-9FD7-589023255CBA}"/>
              </a:ext>
            </a:extLst>
          </p:cNvPr>
          <p:cNvGraphicFramePr>
            <a:graphicFrameLocks noGrp="1"/>
          </p:cNvGraphicFramePr>
          <p:nvPr>
            <p:extLst>
              <p:ext uri="{D42A27DB-BD31-4B8C-83A1-F6EECF244321}">
                <p14:modId xmlns:p14="http://schemas.microsoft.com/office/powerpoint/2010/main" val="3182303376"/>
              </p:ext>
            </p:extLst>
          </p:nvPr>
        </p:nvGraphicFramePr>
        <p:xfrm>
          <a:off x="2758815" y="750639"/>
          <a:ext cx="6003090" cy="3435131"/>
        </p:xfrm>
        <a:graphic>
          <a:graphicData uri="http://schemas.openxmlformats.org/drawingml/2006/table">
            <a:tbl>
              <a:tblPr>
                <a:tableStyleId>{5C22544A-7EE6-4342-B048-85BDC9FD1C3A}</a:tableStyleId>
              </a:tblPr>
              <a:tblGrid>
                <a:gridCol w="737534">
                  <a:extLst>
                    <a:ext uri="{9D8B030D-6E8A-4147-A177-3AD203B41FA5}">
                      <a16:colId xmlns="" xmlns:a16="http://schemas.microsoft.com/office/drawing/2014/main" val="3522206721"/>
                    </a:ext>
                  </a:extLst>
                </a:gridCol>
                <a:gridCol w="892376">
                  <a:extLst>
                    <a:ext uri="{9D8B030D-6E8A-4147-A177-3AD203B41FA5}">
                      <a16:colId xmlns="" xmlns:a16="http://schemas.microsoft.com/office/drawing/2014/main" val="2187483245"/>
                    </a:ext>
                  </a:extLst>
                </a:gridCol>
                <a:gridCol w="876048">
                  <a:extLst>
                    <a:ext uri="{9D8B030D-6E8A-4147-A177-3AD203B41FA5}">
                      <a16:colId xmlns="" xmlns:a16="http://schemas.microsoft.com/office/drawing/2014/main" val="1861568352"/>
                    </a:ext>
                  </a:extLst>
                </a:gridCol>
                <a:gridCol w="2412828">
                  <a:extLst>
                    <a:ext uri="{9D8B030D-6E8A-4147-A177-3AD203B41FA5}">
                      <a16:colId xmlns="" xmlns:a16="http://schemas.microsoft.com/office/drawing/2014/main" val="1603595200"/>
                    </a:ext>
                  </a:extLst>
                </a:gridCol>
                <a:gridCol w="1084304">
                  <a:extLst>
                    <a:ext uri="{9D8B030D-6E8A-4147-A177-3AD203B41FA5}">
                      <a16:colId xmlns="" xmlns:a16="http://schemas.microsoft.com/office/drawing/2014/main" val="1514494145"/>
                    </a:ext>
                  </a:extLst>
                </a:gridCol>
              </a:tblGrid>
              <a:tr h="464581">
                <a:tc rowSpan="2">
                  <a:txBody>
                    <a:bodyPr/>
                    <a:lstStyle/>
                    <a:p>
                      <a:endParaRPr lang="en-US" sz="500" b="1" dirty="0">
                        <a:solidFill>
                          <a:schemeClr val="bg1"/>
                        </a:solidFill>
                      </a:endParaRPr>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65BA6"/>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 sz="900" b="1" noProof="0" dirty="0">
                          <a:solidFill>
                            <a:schemeClr val="bg1"/>
                          </a:solidFill>
                        </a:rPr>
                        <a:t>VCD, n/N </a:t>
                      </a:r>
                      <a:r>
                        <a:rPr lang="en-US" sz="900" b="1" noProof="0" dirty="0">
                          <a:solidFill>
                            <a:schemeClr val="bg1"/>
                          </a:solidFill>
                        </a:rPr>
                        <a:t/>
                      </a:r>
                      <a:br>
                        <a:rPr lang="en-US" sz="900" b="1" noProof="0" dirty="0">
                          <a:solidFill>
                            <a:schemeClr val="bg1"/>
                          </a:solidFill>
                        </a:rPr>
                      </a:br>
                      <a:r>
                        <a:rPr lang="es" sz="900" b="1" noProof="0" dirty="0">
                          <a:solidFill>
                            <a:schemeClr val="bg1"/>
                          </a:solidFill>
                        </a:rPr>
                        <a:t>(casos por 100 años-persona)</a:t>
                      </a:r>
                      <a:endParaRPr lang="en-US" sz="900" b="0" noProof="0" dirty="0">
                        <a:solidFill>
                          <a:schemeClr val="bg1"/>
                        </a:solidFill>
                      </a:endParaRPr>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800" b="1">
                          <a:solidFill>
                            <a:schemeClr val="bg1"/>
                          </a:solidFill>
                        </a:rPr>
                        <a:t>TAK-003 </a:t>
                      </a:r>
                      <a:r>
                        <a:rPr lang="es" sz="800" b="0">
                          <a:solidFill>
                            <a:schemeClr val="bg1"/>
                          </a:solidFill>
                        </a:rPr>
                        <a:t> n/n (%)</a:t>
                      </a:r>
                    </a:p>
                  </a:txBody>
                  <a:tcPr marL="18000" marR="18000" marT="7200" marB="72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1" noProof="0" dirty="0"/>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 sz="900" b="1" kern="1200" noProof="0" dirty="0">
                          <a:solidFill>
                            <a:schemeClr val="bg1"/>
                          </a:solidFill>
                          <a:latin typeface="+mn-lt"/>
                          <a:ea typeface="+mn-ea"/>
                          <a:cs typeface="+mn-cs"/>
                        </a:rPr>
                        <a:t>VE</a:t>
                      </a:r>
                    </a:p>
                    <a:p>
                      <a:pPr marL="0" marR="0" lvl="0" indent="0" algn="ctr" defTabSz="914400" rtl="0" eaLnBrk="1" fontAlgn="auto" latinLnBrk="0" hangingPunct="1">
                        <a:lnSpc>
                          <a:spcPct val="100000"/>
                        </a:lnSpc>
                        <a:spcBef>
                          <a:spcPts val="0"/>
                        </a:spcBef>
                        <a:spcAft>
                          <a:spcPts val="0"/>
                        </a:spcAft>
                        <a:buClrTx/>
                        <a:buSzTx/>
                        <a:buFontTx/>
                        <a:buNone/>
                        <a:tabLst/>
                        <a:defRPr/>
                      </a:pPr>
                      <a:r>
                        <a:rPr lang="es" sz="900" b="1" kern="1200" noProof="0" dirty="0">
                          <a:solidFill>
                            <a:schemeClr val="bg1"/>
                          </a:solidFill>
                          <a:latin typeface="+mn-lt"/>
                          <a:ea typeface="+mn-ea"/>
                          <a:cs typeface="+mn-cs"/>
                        </a:rPr>
                        <a:t>(IC 95%)</a:t>
                      </a:r>
                    </a:p>
                  </a:txBody>
                  <a:tcPr marL="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 xmlns:a16="http://schemas.microsoft.com/office/drawing/2014/main" val="240712553"/>
                  </a:ext>
                </a:extLst>
              </a:tr>
              <a:tr h="285120">
                <a:tc vMerge="1">
                  <a:txBody>
                    <a:bodyPr/>
                    <a:lstStyle/>
                    <a:p>
                      <a:endParaRPr lang="en-US" sz="700" b="1">
                        <a:solidFill>
                          <a:schemeClr val="bg1"/>
                        </a:solidFill>
                      </a:endParaRPr>
                    </a:p>
                  </a:txBody>
                  <a:tcPr marL="18000" marR="18000" marT="7200" marB="72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 sz="900" b="1" noProof="0" dirty="0">
                          <a:solidFill>
                            <a:schemeClr val="bg1"/>
                          </a:solidFill>
                        </a:rPr>
                        <a:t>Placebo </a:t>
                      </a:r>
                    </a:p>
                    <a:p>
                      <a:pPr marL="0" marR="0" lvl="0" indent="0" algn="ctr" defTabSz="914400" rtl="0" eaLnBrk="1" fontAlgn="auto" latinLnBrk="0" hangingPunct="1">
                        <a:lnSpc>
                          <a:spcPct val="100000"/>
                        </a:lnSpc>
                        <a:spcBef>
                          <a:spcPts val="0"/>
                        </a:spcBef>
                        <a:spcAft>
                          <a:spcPts val="0"/>
                        </a:spcAft>
                        <a:buClrTx/>
                        <a:buSzTx/>
                        <a:buFontTx/>
                        <a:buNone/>
                        <a:tabLst/>
                        <a:defRPr/>
                      </a:pPr>
                      <a:r>
                        <a:rPr lang="es" sz="900" b="1" noProof="0" dirty="0">
                          <a:solidFill>
                            <a:schemeClr val="bg1"/>
                          </a:solidFill>
                        </a:rPr>
                        <a:t>(n=6687)</a:t>
                      </a:r>
                    </a:p>
                  </a:txBody>
                  <a:tcPr marL="0" marR="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 sz="900" b="1" noProof="0" dirty="0">
                          <a:solidFill>
                            <a:schemeClr val="bg1"/>
                          </a:solidFill>
                        </a:rPr>
                        <a:t>TAK-003</a:t>
                      </a:r>
                      <a:r>
                        <a:rPr lang="en-US" sz="900" b="1" noProof="0" dirty="0">
                          <a:solidFill>
                            <a:schemeClr val="bg1"/>
                          </a:solidFill>
                        </a:rPr>
                        <a:t/>
                      </a:r>
                      <a:br>
                        <a:rPr lang="en-US" sz="900" b="1" noProof="0" dirty="0">
                          <a:solidFill>
                            <a:schemeClr val="bg1"/>
                          </a:solidFill>
                        </a:rPr>
                      </a:br>
                      <a:r>
                        <a:rPr lang="es" sz="900" b="1" noProof="0" dirty="0">
                          <a:solidFill>
                            <a:schemeClr val="bg1"/>
                          </a:solidFill>
                        </a:rPr>
                        <a:t>(n=13.380)</a:t>
                      </a:r>
                    </a:p>
                  </a:txBody>
                  <a:tcPr marL="0" marR="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700" b="1"/>
                    </a:p>
                  </a:txBody>
                  <a:tcPr marL="18000" marR="18000" marT="7200" marB="72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 sz="900" b="1" kern="1200">
                          <a:solidFill>
                            <a:schemeClr val="bg1"/>
                          </a:solidFill>
                          <a:latin typeface="+mn-lt"/>
                          <a:ea typeface="+mn-ea"/>
                          <a:cs typeface="+mn-cs"/>
                        </a:rPr>
                        <a:t>VE</a:t>
                      </a:r>
                    </a:p>
                    <a:p>
                      <a:pPr marL="0" marR="0" lvl="0" indent="0" algn="ctr" defTabSz="914400" rtl="0" eaLnBrk="1" fontAlgn="auto" latinLnBrk="0" hangingPunct="1">
                        <a:lnSpc>
                          <a:spcPct val="100000"/>
                        </a:lnSpc>
                        <a:spcBef>
                          <a:spcPts val="0"/>
                        </a:spcBef>
                        <a:spcAft>
                          <a:spcPts val="0"/>
                        </a:spcAft>
                        <a:buClrTx/>
                        <a:buSzTx/>
                        <a:buFontTx/>
                        <a:buNone/>
                        <a:tabLst/>
                        <a:defRPr/>
                      </a:pPr>
                      <a:r>
                        <a:rPr lang="es" sz="900" b="1" kern="1200">
                          <a:solidFill>
                            <a:schemeClr val="bg1"/>
                          </a:solidFill>
                          <a:latin typeface="+mn-lt"/>
                          <a:ea typeface="+mn-ea"/>
                          <a:cs typeface="+mn-cs"/>
                        </a:rPr>
                        <a:t>(IC 95%)</a:t>
                      </a:r>
                    </a:p>
                  </a:txBody>
                  <a:tcPr marL="0" marR="18000" marT="7200" marB="7200">
                    <a:lnL w="3175" cap="flat" cmpd="sng" algn="ctr">
                      <a:no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 xmlns:a16="http://schemas.microsoft.com/office/drawing/2014/main" val="2338813421"/>
                  </a:ext>
                </a:extLst>
              </a:tr>
              <a:tr h="2441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900" b="1" noProof="0"/>
                        <a:t>En general</a:t>
                      </a:r>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s" sz="900" b="1" noProof="0">
                          <a:solidFill>
                            <a:schemeClr val="tx1"/>
                          </a:solidFill>
                        </a:rPr>
                        <a:t>547/6687 (8.2)</a:t>
                      </a:r>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s" sz="900" b="1" noProof="0">
                          <a:solidFill>
                            <a:schemeClr val="tx1"/>
                          </a:solidFill>
                        </a:rPr>
                        <a:t>442/13,380 (3.3)</a:t>
                      </a:r>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en-US" sz="800" b="0" noProof="0"/>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s" sz="900" b="1" kern="1200" noProof="0">
                          <a:solidFill>
                            <a:schemeClr val="tx1"/>
                          </a:solidFill>
                          <a:latin typeface="+mn-lt"/>
                          <a:ea typeface="+mn-ea"/>
                          <a:cs typeface="+mn-cs"/>
                        </a:rPr>
                        <a:t>61.2 (56.0, 65.8)</a:t>
                      </a:r>
                    </a:p>
                  </a:txBody>
                  <a:tcPr marL="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 xmlns:a16="http://schemas.microsoft.com/office/drawing/2014/main" val="225685001"/>
                  </a:ext>
                </a:extLst>
              </a:tr>
              <a:tr h="2441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900" b="1" noProof="0"/>
                        <a:t>Seropositivos*</a:t>
                      </a:r>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s" sz="900" b="0" noProof="0">
                          <a:solidFill>
                            <a:schemeClr val="tx1"/>
                          </a:solidFill>
                        </a:rPr>
                        <a:t>394/4854 (8.1)</a:t>
                      </a:r>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s" sz="900" b="0" noProof="0">
                          <a:solidFill>
                            <a:schemeClr val="tx1"/>
                          </a:solidFill>
                        </a:rPr>
                        <a:t>295/9663 (3.1)</a:t>
                      </a:r>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800" b="0" noProof="0"/>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 sz="900" b="0" noProof="0">
                          <a:solidFill>
                            <a:schemeClr val="tx1"/>
                          </a:solidFill>
                        </a:rPr>
                        <a:t>64.2 (58.4, 69.2)</a:t>
                      </a:r>
                      <a:endParaRPr lang="en-US" sz="900" b="0" baseline="30000" noProof="0">
                        <a:solidFill>
                          <a:schemeClr val="tx1"/>
                        </a:solidFill>
                      </a:endParaRPr>
                    </a:p>
                  </a:txBody>
                  <a:tcPr marL="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752619197"/>
                  </a:ext>
                </a:extLst>
              </a:tr>
              <a:tr h="244130">
                <a:tc>
                  <a:txBody>
                    <a:bodyPr/>
                    <a:lstStyle/>
                    <a:p>
                      <a:pPr marL="0" marR="0" lvl="0" indent="87313" algn="l" defTabSz="914400" rtl="0" eaLnBrk="1" fontAlgn="auto" latinLnBrk="0" hangingPunct="1">
                        <a:lnSpc>
                          <a:spcPct val="100000"/>
                        </a:lnSpc>
                        <a:spcBef>
                          <a:spcPts val="0"/>
                        </a:spcBef>
                        <a:spcAft>
                          <a:spcPts val="0"/>
                        </a:spcAft>
                        <a:buClrTx/>
                        <a:buSzTx/>
                        <a:buFontTx/>
                        <a:buNone/>
                        <a:tabLst/>
                        <a:defRPr/>
                      </a:pPr>
                      <a:r>
                        <a:rPr lang="es" sz="900" noProof="0"/>
                        <a:t>DENV-1</a:t>
                      </a:r>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s" sz="900" b="0" noProof="0">
                          <a:solidFill>
                            <a:schemeClr val="tx1"/>
                          </a:solidFill>
                        </a:rPr>
                        <a:t>151/4854 (3.1)</a:t>
                      </a:r>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s" sz="900" b="0" noProof="0">
                          <a:solidFill>
                            <a:schemeClr val="tx1"/>
                          </a:solidFill>
                        </a:rPr>
                        <a:t>133/9663 (1.4)</a:t>
                      </a:r>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en-US" sz="800" b="0" noProof="0"/>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 sz="900" b="0" noProof="0">
                          <a:solidFill>
                            <a:schemeClr val="tx1"/>
                          </a:solidFill>
                        </a:rPr>
                        <a:t>56.1 (44.6, 65.2)</a:t>
                      </a:r>
                      <a:endParaRPr lang="en-US" sz="900" b="0" baseline="30000" noProof="0">
                        <a:solidFill>
                          <a:schemeClr val="tx1"/>
                        </a:solidFill>
                      </a:endParaRPr>
                    </a:p>
                  </a:txBody>
                  <a:tcPr marL="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 xmlns:a16="http://schemas.microsoft.com/office/drawing/2014/main" val="1694202626"/>
                  </a:ext>
                </a:extLst>
              </a:tr>
              <a:tr h="244130">
                <a:tc>
                  <a:txBody>
                    <a:bodyPr/>
                    <a:lstStyle/>
                    <a:p>
                      <a:pPr marL="0" marR="0" lvl="0" indent="87313" algn="l" defTabSz="914400" rtl="0" eaLnBrk="1" fontAlgn="auto" latinLnBrk="0" hangingPunct="1">
                        <a:lnSpc>
                          <a:spcPct val="100000"/>
                        </a:lnSpc>
                        <a:spcBef>
                          <a:spcPts val="0"/>
                        </a:spcBef>
                        <a:spcAft>
                          <a:spcPts val="0"/>
                        </a:spcAft>
                        <a:buClrTx/>
                        <a:buSzTx/>
                        <a:buFontTx/>
                        <a:buNone/>
                        <a:tabLst/>
                        <a:defRPr/>
                      </a:pPr>
                      <a:r>
                        <a:rPr lang="es" sz="900" noProof="0"/>
                        <a:t>DENV-2</a:t>
                      </a:r>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s" sz="900" b="0" noProof="0">
                          <a:solidFill>
                            <a:schemeClr val="tx1"/>
                          </a:solidFill>
                        </a:rPr>
                        <a:t>135/4854 (2.8)</a:t>
                      </a:r>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s" sz="900" b="0" noProof="0">
                          <a:solidFill>
                            <a:schemeClr val="tx1"/>
                          </a:solidFill>
                        </a:rPr>
                        <a:t>54/9663 (0.6)</a:t>
                      </a:r>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800" b="0" noProof="0"/>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 sz="900" b="0" noProof="0">
                          <a:solidFill>
                            <a:schemeClr val="tx1"/>
                          </a:solidFill>
                        </a:rPr>
                        <a:t>80.4 (73.1, 85.7)</a:t>
                      </a:r>
                      <a:endParaRPr lang="en-US" sz="900" b="0" baseline="30000" noProof="0">
                        <a:solidFill>
                          <a:schemeClr val="tx1"/>
                        </a:solidFill>
                      </a:endParaRPr>
                    </a:p>
                  </a:txBody>
                  <a:tcPr marL="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2671767677"/>
                  </a:ext>
                </a:extLst>
              </a:tr>
              <a:tr h="244130">
                <a:tc>
                  <a:txBody>
                    <a:bodyPr/>
                    <a:lstStyle/>
                    <a:p>
                      <a:pPr marL="0" marR="0" lvl="0" indent="87313" algn="l" defTabSz="914400" rtl="0" eaLnBrk="1" fontAlgn="auto" latinLnBrk="0" hangingPunct="1">
                        <a:lnSpc>
                          <a:spcPct val="100000"/>
                        </a:lnSpc>
                        <a:spcBef>
                          <a:spcPts val="0"/>
                        </a:spcBef>
                        <a:spcAft>
                          <a:spcPts val="0"/>
                        </a:spcAft>
                        <a:buClrTx/>
                        <a:buSzTx/>
                        <a:buFontTx/>
                        <a:buNone/>
                        <a:tabLst/>
                        <a:defRPr/>
                      </a:pPr>
                      <a:r>
                        <a:rPr lang="es" sz="900" noProof="0"/>
                        <a:t>DENV-3</a:t>
                      </a:r>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s" sz="900" b="0" noProof="0">
                          <a:solidFill>
                            <a:schemeClr val="tx1"/>
                          </a:solidFill>
                        </a:rPr>
                        <a:t>97/4854 (2.0)</a:t>
                      </a:r>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s" sz="900" b="0" noProof="0">
                          <a:solidFill>
                            <a:schemeClr val="tx1"/>
                          </a:solidFill>
                        </a:rPr>
                        <a:t>96/9663 (1.0)</a:t>
                      </a:r>
                    </a:p>
                  </a:txBody>
                  <a:tcPr marL="13500" marR="13500" marT="5400" marB="54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en-US" sz="800" b="0" noProof="0"/>
                    </a:p>
                  </a:txBody>
                  <a:tcPr marL="13500" marR="13500" marT="5400" marB="54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 sz="900" b="0" noProof="0">
                          <a:solidFill>
                            <a:schemeClr val="tx1"/>
                          </a:solidFill>
                        </a:rPr>
                        <a:t>52.3 (36.7, 64.0)</a:t>
                      </a:r>
                      <a:endParaRPr lang="en-US" sz="900" b="0" baseline="30000" noProof="0">
                        <a:solidFill>
                          <a:schemeClr val="tx1"/>
                        </a:solidFill>
                      </a:endParaRPr>
                    </a:p>
                  </a:txBody>
                  <a:tcPr marL="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 xmlns:a16="http://schemas.microsoft.com/office/drawing/2014/main" val="2550909891"/>
                  </a:ext>
                </a:extLst>
              </a:tr>
              <a:tr h="244130">
                <a:tc>
                  <a:txBody>
                    <a:bodyPr/>
                    <a:lstStyle/>
                    <a:p>
                      <a:pPr marL="0" marR="0" lvl="0" indent="87313" algn="l" defTabSz="914400" rtl="0" eaLnBrk="1" fontAlgn="auto" latinLnBrk="0" hangingPunct="1">
                        <a:lnSpc>
                          <a:spcPct val="100000"/>
                        </a:lnSpc>
                        <a:spcBef>
                          <a:spcPts val="0"/>
                        </a:spcBef>
                        <a:spcAft>
                          <a:spcPts val="0"/>
                        </a:spcAft>
                        <a:buClrTx/>
                        <a:buSzTx/>
                        <a:buFontTx/>
                        <a:buNone/>
                        <a:tabLst/>
                        <a:defRPr/>
                      </a:pPr>
                      <a:r>
                        <a:rPr lang="es" sz="900" noProof="0"/>
                        <a:t>DENV-4</a:t>
                      </a:r>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s" sz="900" b="0" noProof="0">
                          <a:solidFill>
                            <a:schemeClr val="tx1"/>
                          </a:solidFill>
                        </a:rPr>
                        <a:t>20/4854 (0.4)</a:t>
                      </a:r>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s" sz="900" b="0" noProof="0">
                          <a:solidFill>
                            <a:schemeClr val="tx1"/>
                          </a:solidFill>
                        </a:rPr>
                        <a:t>12/9663 (0.1)</a:t>
                      </a:r>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800" b="0" noProof="0"/>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 sz="900" b="0" noProof="0">
                          <a:solidFill>
                            <a:schemeClr val="tx1"/>
                          </a:solidFill>
                        </a:rPr>
                        <a:t>70.6 (39.9, 85.6)</a:t>
                      </a:r>
                      <a:endParaRPr lang="en-US" sz="900" b="0" baseline="30000" noProof="0">
                        <a:solidFill>
                          <a:schemeClr val="tx1"/>
                        </a:solidFill>
                      </a:endParaRPr>
                    </a:p>
                  </a:txBody>
                  <a:tcPr marL="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3351468315"/>
                  </a:ext>
                </a:extLst>
              </a:tr>
              <a:tr h="2441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900" b="1" noProof="0"/>
                        <a:t>Seronegativo†</a:t>
                      </a:r>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s" sz="900" b="0" noProof="0">
                          <a:solidFill>
                            <a:schemeClr val="tx1"/>
                          </a:solidFill>
                        </a:rPr>
                        <a:t>153/1832 (8.4)</a:t>
                      </a:r>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s" sz="900" b="0" noProof="0">
                          <a:solidFill>
                            <a:schemeClr val="tx1"/>
                          </a:solidFill>
                        </a:rPr>
                        <a:t>147/3714 (4.0)</a:t>
                      </a:r>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en-US" sz="800" b="0" noProof="0"/>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 sz="900" b="0" noProof="0">
                          <a:solidFill>
                            <a:schemeClr val="tx1"/>
                          </a:solidFill>
                        </a:rPr>
                        <a:t>53.5 (41.6, 62.9)</a:t>
                      </a:r>
                      <a:endParaRPr lang="en-US" sz="900" b="0" baseline="30000" noProof="0">
                        <a:solidFill>
                          <a:schemeClr val="tx1"/>
                        </a:solidFill>
                      </a:endParaRPr>
                    </a:p>
                  </a:txBody>
                  <a:tcPr marL="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 xmlns:a16="http://schemas.microsoft.com/office/drawing/2014/main" val="3266475981"/>
                  </a:ext>
                </a:extLst>
              </a:tr>
              <a:tr h="244130">
                <a:tc>
                  <a:txBody>
                    <a:bodyPr/>
                    <a:lstStyle/>
                    <a:p>
                      <a:pPr marL="0" marR="0" lvl="0" indent="87313" algn="l" defTabSz="914400" rtl="0" eaLnBrk="1" fontAlgn="auto" latinLnBrk="0" hangingPunct="1">
                        <a:lnSpc>
                          <a:spcPct val="100000"/>
                        </a:lnSpc>
                        <a:spcBef>
                          <a:spcPts val="0"/>
                        </a:spcBef>
                        <a:spcAft>
                          <a:spcPts val="0"/>
                        </a:spcAft>
                        <a:buClrTx/>
                        <a:buSzTx/>
                        <a:buFontTx/>
                        <a:buNone/>
                        <a:tabLst/>
                        <a:defRPr/>
                      </a:pPr>
                      <a:r>
                        <a:rPr lang="es" sz="900" noProof="0"/>
                        <a:t>DENV-1</a:t>
                      </a:r>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s" sz="900" b="0" noProof="0">
                          <a:solidFill>
                            <a:schemeClr val="tx1"/>
                          </a:solidFill>
                        </a:rPr>
                        <a:t>79/1832 (4.3)</a:t>
                      </a:r>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s" sz="900" b="0" noProof="0">
                          <a:solidFill>
                            <a:schemeClr val="tx1"/>
                          </a:solidFill>
                        </a:rPr>
                        <a:t>89/3714 (2.4)</a:t>
                      </a:r>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800" b="0" noProof="0" dirty="0"/>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 sz="900" b="0" noProof="0">
                          <a:solidFill>
                            <a:schemeClr val="tx1"/>
                          </a:solidFill>
                        </a:rPr>
                        <a:t>45.4 (26.1, 59.7)</a:t>
                      </a:r>
                      <a:endParaRPr lang="en-US" sz="900" b="0" baseline="30000" noProof="0">
                        <a:solidFill>
                          <a:schemeClr val="tx1"/>
                        </a:solidFill>
                      </a:endParaRPr>
                    </a:p>
                  </a:txBody>
                  <a:tcPr marL="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679323667"/>
                  </a:ext>
                </a:extLst>
              </a:tr>
              <a:tr h="244130">
                <a:tc>
                  <a:txBody>
                    <a:bodyPr/>
                    <a:lstStyle/>
                    <a:p>
                      <a:pPr marL="0" marR="0" lvl="0" indent="87313" algn="l" defTabSz="914400" rtl="0" eaLnBrk="1" fontAlgn="auto" latinLnBrk="0" hangingPunct="1">
                        <a:lnSpc>
                          <a:spcPct val="100000"/>
                        </a:lnSpc>
                        <a:spcBef>
                          <a:spcPts val="0"/>
                        </a:spcBef>
                        <a:spcAft>
                          <a:spcPts val="0"/>
                        </a:spcAft>
                        <a:buClrTx/>
                        <a:buSzTx/>
                        <a:buFontTx/>
                        <a:buNone/>
                        <a:tabLst/>
                        <a:defRPr/>
                      </a:pPr>
                      <a:r>
                        <a:rPr lang="es" sz="900" noProof="0"/>
                        <a:t>DENV-2</a:t>
                      </a:r>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s" sz="900" b="0" noProof="0">
                          <a:solidFill>
                            <a:schemeClr val="tx1"/>
                          </a:solidFill>
                        </a:rPr>
                        <a:t>58/1832 (3.2)</a:t>
                      </a:r>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s" sz="900" b="0" noProof="0">
                          <a:solidFill>
                            <a:schemeClr val="tx1"/>
                          </a:solidFill>
                        </a:rPr>
                        <a:t>14/3714 (0.4)</a:t>
                      </a:r>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en-US" sz="800" b="0" noProof="0"/>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 sz="900" b="0" noProof="0">
                          <a:solidFill>
                            <a:schemeClr val="tx1"/>
                          </a:solidFill>
                        </a:rPr>
                        <a:t>88.1 (78.6, 93.3)</a:t>
                      </a:r>
                      <a:endParaRPr lang="en-US" sz="900" b="0" baseline="30000" noProof="0">
                        <a:solidFill>
                          <a:schemeClr val="tx1"/>
                        </a:solidFill>
                      </a:endParaRPr>
                    </a:p>
                  </a:txBody>
                  <a:tcPr marL="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 xmlns:a16="http://schemas.microsoft.com/office/drawing/2014/main" val="2160097559"/>
                  </a:ext>
                </a:extLst>
              </a:tr>
              <a:tr h="244130">
                <a:tc>
                  <a:txBody>
                    <a:bodyPr/>
                    <a:lstStyle/>
                    <a:p>
                      <a:pPr marL="0" marR="0" lvl="0" indent="87313" algn="l" defTabSz="914400" rtl="0" eaLnBrk="1" fontAlgn="auto" latinLnBrk="0" hangingPunct="1">
                        <a:lnSpc>
                          <a:spcPct val="100000"/>
                        </a:lnSpc>
                        <a:spcBef>
                          <a:spcPts val="0"/>
                        </a:spcBef>
                        <a:spcAft>
                          <a:spcPts val="0"/>
                        </a:spcAft>
                        <a:buClrTx/>
                        <a:buSzTx/>
                        <a:buFontTx/>
                        <a:buNone/>
                        <a:tabLst/>
                        <a:defRPr/>
                      </a:pPr>
                      <a:r>
                        <a:rPr lang="es" sz="900" noProof="0"/>
                        <a:t>DENV-3</a:t>
                      </a:r>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s" sz="900" b="0" noProof="0">
                          <a:solidFill>
                            <a:schemeClr val="tx1"/>
                          </a:solidFill>
                        </a:rPr>
                        <a:t>16/1832 (0.9)</a:t>
                      </a:r>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s" sz="900" b="0" noProof="0">
                          <a:solidFill>
                            <a:schemeClr val="tx1"/>
                          </a:solidFill>
                        </a:rPr>
                        <a:t>36/3714 (1.0)</a:t>
                      </a:r>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800" b="0" noProof="0"/>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 sz="900" b="0" noProof="0">
                          <a:solidFill>
                            <a:schemeClr val="tx1"/>
                          </a:solidFill>
                        </a:rPr>
                        <a:t>−15,5 (−108,2, 35,9)</a:t>
                      </a:r>
                      <a:endParaRPr lang="en-US" sz="900" b="0" baseline="30000" noProof="0">
                        <a:solidFill>
                          <a:schemeClr val="tx1"/>
                        </a:solidFill>
                      </a:endParaRPr>
                    </a:p>
                  </a:txBody>
                  <a:tcPr marL="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896547318"/>
                  </a:ext>
                </a:extLst>
              </a:tr>
              <a:tr h="244130">
                <a:tc>
                  <a:txBody>
                    <a:bodyPr/>
                    <a:lstStyle/>
                    <a:p>
                      <a:pPr marL="0" marR="0" lvl="0" indent="87313" algn="l" defTabSz="914400" rtl="0" eaLnBrk="1" fontAlgn="auto" latinLnBrk="0" hangingPunct="1">
                        <a:lnSpc>
                          <a:spcPct val="100000"/>
                        </a:lnSpc>
                        <a:spcBef>
                          <a:spcPts val="0"/>
                        </a:spcBef>
                        <a:spcAft>
                          <a:spcPts val="0"/>
                        </a:spcAft>
                        <a:buClrTx/>
                        <a:buSzTx/>
                        <a:buFontTx/>
                        <a:buNone/>
                        <a:tabLst/>
                        <a:defRPr/>
                      </a:pPr>
                      <a:r>
                        <a:rPr lang="es" sz="900" noProof="0"/>
                        <a:t>DENV-4</a:t>
                      </a:r>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s" sz="900" b="0" noProof="0">
                          <a:solidFill>
                            <a:schemeClr val="tx1"/>
                          </a:solidFill>
                        </a:rPr>
                        <a:t>3/1832 (0.2)</a:t>
                      </a:r>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s" sz="900" b="0" noProof="0" dirty="0">
                          <a:solidFill>
                            <a:schemeClr val="tx1"/>
                          </a:solidFill>
                        </a:rPr>
                        <a:t>12/3714 (0.3)</a:t>
                      </a:r>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en-US" sz="800" b="0" noProof="0"/>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 sz="900" b="0" noProof="0">
                          <a:solidFill>
                            <a:schemeClr val="tx1"/>
                          </a:solidFill>
                        </a:rPr>
                        <a:t>−105,6 (−628,7, 42,0)</a:t>
                      </a:r>
                      <a:endParaRPr lang="en-US" sz="900" b="0" baseline="30000" noProof="0">
                        <a:solidFill>
                          <a:schemeClr val="tx1"/>
                        </a:solidFill>
                      </a:endParaRPr>
                    </a:p>
                  </a:txBody>
                  <a:tcPr marL="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 xmlns:a16="http://schemas.microsoft.com/office/drawing/2014/main" val="2761138837"/>
                  </a:ext>
                </a:extLst>
              </a:tr>
            </a:tbl>
          </a:graphicData>
        </a:graphic>
      </p:graphicFrame>
      <p:sp>
        <p:nvSpPr>
          <p:cNvPr id="156" name="TextBox 155">
            <a:extLst>
              <a:ext uri="{FF2B5EF4-FFF2-40B4-BE49-F238E27FC236}">
                <a16:creationId xmlns="" xmlns:a16="http://schemas.microsoft.com/office/drawing/2014/main" id="{F736291B-F57A-95E4-CBCF-6D27BC5BF20F}"/>
              </a:ext>
            </a:extLst>
          </p:cNvPr>
          <p:cNvSpPr txBox="1"/>
          <p:nvPr/>
        </p:nvSpPr>
        <p:spPr>
          <a:xfrm>
            <a:off x="5254747" y="776765"/>
            <a:ext cx="1637954" cy="346249"/>
          </a:xfrm>
          <a:prstGeom prst="rect">
            <a:avLst/>
          </a:prstGeom>
          <a:noFill/>
        </p:spPr>
        <p:txBody>
          <a:bodyPr wrap="square" lIns="68553" tIns="34289" rIns="68553" bIns="34289">
            <a:spAutoFit/>
          </a:bodyPr>
          <a:lstStyle/>
          <a:p>
            <a:pPr algn="ctr" defTabSz="685494">
              <a:defRPr/>
            </a:pPr>
            <a:r>
              <a:rPr kumimoji="1" lang="es" sz="900" b="1" dirty="0">
                <a:solidFill>
                  <a:srgbClr val="FFFFFF"/>
                </a:solidFill>
                <a:cs typeface="Calibri" panose="020F0502020204030204" pitchFamily="34" charset="0"/>
              </a:rPr>
              <a:t>Favorece el </a:t>
            </a:r>
            <a:r>
              <a:rPr kumimoji="1" lang="en-US" sz="900" b="1" dirty="0">
                <a:solidFill>
                  <a:srgbClr val="FFFFFF"/>
                </a:solidFill>
                <a:cs typeface="Calibri" panose="020F0502020204030204" pitchFamily="34" charset="0"/>
              </a:rPr>
              <a:t/>
            </a:r>
            <a:br>
              <a:rPr kumimoji="1" lang="en-US" sz="900" b="1" dirty="0">
                <a:solidFill>
                  <a:srgbClr val="FFFFFF"/>
                </a:solidFill>
                <a:cs typeface="Calibri" panose="020F0502020204030204" pitchFamily="34" charset="0"/>
              </a:rPr>
            </a:br>
            <a:r>
              <a:rPr kumimoji="1" lang="es" sz="900" b="1" dirty="0">
                <a:solidFill>
                  <a:srgbClr val="FFFFFF"/>
                </a:solidFill>
                <a:cs typeface="Calibri" panose="020F0502020204030204" pitchFamily="34" charset="0"/>
              </a:rPr>
              <a:t>placebo</a:t>
            </a:r>
            <a:endParaRPr kumimoji="1" lang="en-US" sz="900" dirty="0">
              <a:solidFill>
                <a:srgbClr val="000000"/>
              </a:solidFill>
              <a:cs typeface="Calibri" panose="020F0502020204030204" pitchFamily="34" charset="0"/>
            </a:endParaRPr>
          </a:p>
        </p:txBody>
      </p:sp>
      <p:sp>
        <p:nvSpPr>
          <p:cNvPr id="22" name="Text Placeholder 21">
            <a:extLst>
              <a:ext uri="{FF2B5EF4-FFF2-40B4-BE49-F238E27FC236}">
                <a16:creationId xmlns="" xmlns:a16="http://schemas.microsoft.com/office/drawing/2014/main" id="{5BF9D45F-D699-F1CA-2ED3-08F56F856BF7}"/>
              </a:ext>
            </a:extLst>
          </p:cNvPr>
          <p:cNvSpPr>
            <a:spLocks noGrp="1"/>
          </p:cNvSpPr>
          <p:nvPr>
            <p:ph type="body" sz="quarter" idx="14"/>
          </p:nvPr>
        </p:nvSpPr>
        <p:spPr>
          <a:xfrm>
            <a:off x="395290" y="4431359"/>
            <a:ext cx="7530296" cy="340727"/>
          </a:xfrm>
        </p:spPr>
        <p:txBody>
          <a:bodyPr/>
          <a:lstStyle/>
          <a:p>
            <a:r>
              <a:rPr lang="en-US" dirty="0"/>
              <a:t/>
            </a:r>
            <a:br>
              <a:rPr lang="en-US" dirty="0"/>
            </a:br>
            <a:r>
              <a:rPr lang="es" dirty="0"/>
              <a:t>*Título neutralizante recíproco ≥10 para uno o más serotipos de DENV al inicio del estudio; †Seronegativo a los cuatro serotipos de DENV al inicio del estudio.</a:t>
            </a:r>
          </a:p>
          <a:p>
            <a:r>
              <a:rPr lang="es" dirty="0"/>
              <a:t>IC: intervalo de confianza; DENV: virus del dengue; VCD: dengue virológicamente confirmado; EV: eficacia de la vacuna. </a:t>
            </a:r>
            <a:r>
              <a:rPr lang="en-US" dirty="0"/>
              <a:t/>
            </a:r>
            <a:br>
              <a:rPr lang="en-US" dirty="0"/>
            </a:br>
            <a:r>
              <a:rPr lang="es" dirty="0"/>
              <a:t>Tricou V, Biswal S, Lloyd E, Rauscher M, Folschweiller N. Eficacia y seguridad de la vacuna candidata tetravalente contra el dengue de Takeda (TAK-003) después de 4,5 años de seguimiento. Presentado en la 5ª Cumbre Asiática del Dengue 2022; 13–15 de junio de 2022 Singapur; Grabaciones: </a:t>
            </a:r>
            <a:r>
              <a:rPr lang="es" dirty="0">
                <a:hlinkClick r:id="rId3"/>
              </a:rPr>
              <a:t>adva.asia/5th-asia-dengue-summit-recordings/</a:t>
            </a:r>
            <a:r>
              <a:rPr lang="es" dirty="0"/>
              <a:t>.</a:t>
            </a:r>
          </a:p>
        </p:txBody>
      </p:sp>
      <p:sp>
        <p:nvSpPr>
          <p:cNvPr id="4" name="Slide Number Placeholder 3">
            <a:extLst>
              <a:ext uri="{FF2B5EF4-FFF2-40B4-BE49-F238E27FC236}">
                <a16:creationId xmlns="" xmlns:a16="http://schemas.microsoft.com/office/drawing/2014/main" id="{5076A952-C7D1-4CDF-93E8-67666CB0ADBC}"/>
              </a:ext>
            </a:extLst>
          </p:cNvPr>
          <p:cNvSpPr>
            <a:spLocks noGrp="1"/>
          </p:cNvSpPr>
          <p:nvPr>
            <p:ph type="sldNum" sz="quarter" idx="16"/>
          </p:nvPr>
        </p:nvSpPr>
        <p:spPr/>
        <p:txBody>
          <a:bodyPr/>
          <a:lstStyle/>
          <a:p>
            <a:pPr>
              <a:defRPr/>
            </a:pPr>
            <a:fld id="{E9B57936-92EF-4126-AE48-1D9D36D15E98}" type="slidenum">
              <a:rPr kumimoji="1" lang="en-US" altLang="ja-JP">
                <a:solidFill>
                  <a:srgbClr val="A1A4AC"/>
                </a:solidFill>
              </a:rPr>
              <a:pPr>
                <a:defRPr/>
              </a:pPr>
              <a:t>44</a:t>
            </a:fld>
            <a:endParaRPr kumimoji="1" lang="en-US" altLang="ja-JP">
              <a:solidFill>
                <a:srgbClr val="A1A4AC"/>
              </a:solidFill>
            </a:endParaRPr>
          </a:p>
        </p:txBody>
      </p:sp>
      <p:sp>
        <p:nvSpPr>
          <p:cNvPr id="2" name="Title 1">
            <a:extLst>
              <a:ext uri="{FF2B5EF4-FFF2-40B4-BE49-F238E27FC236}">
                <a16:creationId xmlns="" xmlns:a16="http://schemas.microsoft.com/office/drawing/2014/main" id="{0D70F46A-8390-46E4-B2C7-211DAF898DFB}"/>
              </a:ext>
            </a:extLst>
          </p:cNvPr>
          <p:cNvSpPr>
            <a:spLocks noGrp="1"/>
          </p:cNvSpPr>
          <p:nvPr>
            <p:ph type="title"/>
          </p:nvPr>
        </p:nvSpPr>
        <p:spPr>
          <a:xfrm>
            <a:off x="277375" y="130934"/>
            <a:ext cx="8691695" cy="527957"/>
          </a:xfrm>
        </p:spPr>
        <p:txBody>
          <a:bodyPr/>
          <a:lstStyle/>
          <a:p>
            <a:r>
              <a:rPr lang="es" b="1" dirty="0"/>
              <a:t>La EV contra </a:t>
            </a:r>
            <a:r>
              <a:rPr lang="es" b="1" u="sng" dirty="0"/>
              <a:t>DVC</a:t>
            </a:r>
            <a:r>
              <a:rPr lang="es" b="1" dirty="0"/>
              <a:t> varió según el serotipo y el estado serológico hasta 54 meses después de la 2ª dosis</a:t>
            </a:r>
          </a:p>
        </p:txBody>
      </p:sp>
      <p:sp>
        <p:nvSpPr>
          <p:cNvPr id="5" name="Footer Placeholder 4">
            <a:extLst>
              <a:ext uri="{FF2B5EF4-FFF2-40B4-BE49-F238E27FC236}">
                <a16:creationId xmlns="" xmlns:a16="http://schemas.microsoft.com/office/drawing/2014/main" id="{9471E69D-5918-40C9-8E1F-9638B64C4DD8}"/>
              </a:ext>
            </a:extLst>
          </p:cNvPr>
          <p:cNvSpPr>
            <a:spLocks noGrp="1"/>
          </p:cNvSpPr>
          <p:nvPr>
            <p:ph type="ftr" sz="quarter" idx="17"/>
          </p:nvPr>
        </p:nvSpPr>
        <p:spPr>
          <a:xfrm>
            <a:off x="395289" y="4749564"/>
            <a:ext cx="7312394" cy="272700"/>
          </a:xfrm>
        </p:spPr>
        <p:txBody>
          <a:bodyPr/>
          <a:lstStyle/>
          <a:p>
            <a:pPr>
              <a:defRPr/>
            </a:pPr>
            <a:r>
              <a:rPr kumimoji="1" lang="es" altLang="ja-JP">
                <a:solidFill>
                  <a:srgbClr val="000000">
                    <a:tint val="75000"/>
                  </a:srgbClr>
                </a:solidFill>
                <a:cs typeface="Calibri" panose="020F0502020204030204" pitchFamily="34" charset="0"/>
              </a:rPr>
              <a:t>Eficacia y seguridad a largo plazo de la vacuna candidata contra el dengue de Takeda (TAK-003) tras 4,5 años de seguimiento | VV-MEDMAT-80424 | Fecha de aprobación: marzo de 2023</a:t>
            </a:r>
          </a:p>
        </p:txBody>
      </p:sp>
      <p:sp>
        <p:nvSpPr>
          <p:cNvPr id="174" name="Rectangle 173">
            <a:extLst>
              <a:ext uri="{FF2B5EF4-FFF2-40B4-BE49-F238E27FC236}">
                <a16:creationId xmlns="" xmlns:a16="http://schemas.microsoft.com/office/drawing/2014/main" id="{16AC580E-0135-45D6-9177-DDA98EFB68B8}"/>
              </a:ext>
            </a:extLst>
          </p:cNvPr>
          <p:cNvSpPr/>
          <p:nvPr/>
        </p:nvSpPr>
        <p:spPr>
          <a:xfrm>
            <a:off x="328870" y="918347"/>
            <a:ext cx="1923008" cy="1375597"/>
          </a:xfrm>
          <a:prstGeom prst="rect">
            <a:avLst/>
          </a:prstGeom>
          <a:solidFill>
            <a:srgbClr val="007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494">
              <a:defRPr/>
            </a:pPr>
            <a:r>
              <a:rPr kumimoji="1" lang="es" sz="1200" dirty="0">
                <a:solidFill>
                  <a:srgbClr val="FFFFFF"/>
                </a:solidFill>
                <a:cs typeface="Calibri" panose="020F0502020204030204" pitchFamily="34" charset="0"/>
              </a:rPr>
              <a:t>TAK-003 fue eficaz contra VCD causado por</a:t>
            </a:r>
          </a:p>
          <a:p>
            <a:pPr algn="ctr" defTabSz="685494">
              <a:defRPr/>
            </a:pPr>
            <a:r>
              <a:rPr kumimoji="1" lang="es" sz="1200" dirty="0">
                <a:solidFill>
                  <a:srgbClr val="FFFFFF"/>
                </a:solidFill>
                <a:cs typeface="Calibri" panose="020F0502020204030204" pitchFamily="34" charset="0"/>
              </a:rPr>
              <a:t>los cuatro serotipos en los seropositivos basales y DENV-1 y DENV-2 en los seronegativos basales</a:t>
            </a:r>
            <a:r>
              <a:rPr kumimoji="1" lang="en-US" sz="1200" dirty="0">
                <a:solidFill>
                  <a:srgbClr val="FFFFFF"/>
                </a:solidFill>
                <a:cs typeface="Calibri" panose="020F0502020204030204" pitchFamily="34" charset="0"/>
              </a:rPr>
              <a:t/>
            </a:r>
            <a:br>
              <a:rPr kumimoji="1" lang="en-US" sz="1200" dirty="0">
                <a:solidFill>
                  <a:srgbClr val="FFFFFF"/>
                </a:solidFill>
                <a:cs typeface="Calibri" panose="020F0502020204030204" pitchFamily="34" charset="0"/>
              </a:rPr>
            </a:br>
            <a:r>
              <a:rPr kumimoji="1" lang="es" sz="1200" dirty="0">
                <a:solidFill>
                  <a:srgbClr val="FFFFFF"/>
                </a:solidFill>
                <a:cs typeface="Calibri" panose="020F0502020204030204" pitchFamily="34" charset="0"/>
              </a:rPr>
              <a:t>  </a:t>
            </a:r>
            <a:endParaRPr kumimoji="1" lang="en-US" sz="1200" dirty="0">
              <a:solidFill>
                <a:srgbClr val="FFFFFF"/>
              </a:solidFill>
              <a:cs typeface="Calibri" panose="020F0502020204030204" pitchFamily="34" charset="0"/>
            </a:endParaRPr>
          </a:p>
        </p:txBody>
      </p:sp>
      <p:sp>
        <p:nvSpPr>
          <p:cNvPr id="178" name="TextBox 177">
            <a:extLst>
              <a:ext uri="{FF2B5EF4-FFF2-40B4-BE49-F238E27FC236}">
                <a16:creationId xmlns="" xmlns:a16="http://schemas.microsoft.com/office/drawing/2014/main" id="{244DB4C0-9A4A-4B72-A9C1-5E167F3755ED}"/>
              </a:ext>
            </a:extLst>
          </p:cNvPr>
          <p:cNvSpPr txBox="1"/>
          <p:nvPr/>
        </p:nvSpPr>
        <p:spPr>
          <a:xfrm>
            <a:off x="715293" y="2441424"/>
            <a:ext cx="1719101" cy="1546577"/>
          </a:xfrm>
          <a:prstGeom prst="rect">
            <a:avLst/>
          </a:prstGeom>
          <a:noFill/>
        </p:spPr>
        <p:txBody>
          <a:bodyPr wrap="square" lIns="68553" tIns="34289" rIns="68553" bIns="34289">
            <a:spAutoFit/>
          </a:bodyPr>
          <a:lstStyle/>
          <a:p>
            <a:pPr marL="0" lvl="1" defTabSz="685494">
              <a:defRPr/>
            </a:pPr>
            <a:r>
              <a:rPr kumimoji="1" lang="es" sz="1200">
                <a:solidFill>
                  <a:srgbClr val="000000"/>
                </a:solidFill>
                <a:cs typeface="Calibri" panose="020F0502020204030204" pitchFamily="34" charset="0"/>
              </a:rPr>
              <a:t>No se demostró EV contra DENV-3 en seronegativos basales</a:t>
            </a:r>
          </a:p>
          <a:p>
            <a:pPr marL="0" lvl="1" defTabSz="685494">
              <a:defRPr/>
            </a:pPr>
            <a:endParaRPr kumimoji="1" lang="en-US" sz="1200">
              <a:solidFill>
                <a:srgbClr val="000000"/>
              </a:solidFill>
              <a:cs typeface="Calibri" panose="020F0502020204030204" pitchFamily="34" charset="0"/>
            </a:endParaRPr>
          </a:p>
          <a:p>
            <a:pPr marL="0" lvl="1" defTabSz="685494">
              <a:defRPr/>
            </a:pPr>
            <a:r>
              <a:rPr kumimoji="1" lang="es" sz="1200">
                <a:solidFill>
                  <a:srgbClr val="000000"/>
                </a:solidFill>
                <a:cs typeface="Calibri" panose="020F0502020204030204" pitchFamily="34" charset="0"/>
              </a:rPr>
              <a:t>La evaluación robusta de DENV-4 en seronegativos no fue posible debido a la baja incidencia</a:t>
            </a:r>
            <a:endParaRPr kumimoji="1" lang="en-US" sz="1200" strike="sngStrike">
              <a:solidFill>
                <a:srgbClr val="000000"/>
              </a:solidFill>
              <a:cs typeface="Calibri" panose="020F0502020204030204" pitchFamily="34" charset="0"/>
            </a:endParaRPr>
          </a:p>
        </p:txBody>
      </p:sp>
      <p:cxnSp>
        <p:nvCxnSpPr>
          <p:cNvPr id="15" name="Straight Connector 14">
            <a:extLst>
              <a:ext uri="{FF2B5EF4-FFF2-40B4-BE49-F238E27FC236}">
                <a16:creationId xmlns="" xmlns:a16="http://schemas.microsoft.com/office/drawing/2014/main" id="{A35B952C-057C-20BB-4A78-DFFE724F9C56}"/>
              </a:ext>
            </a:extLst>
          </p:cNvPr>
          <p:cNvCxnSpPr>
            <a:cxnSpLocks/>
          </p:cNvCxnSpPr>
          <p:nvPr/>
        </p:nvCxnSpPr>
        <p:spPr>
          <a:xfrm>
            <a:off x="482747" y="2155182"/>
            <a:ext cx="0" cy="1344383"/>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 xmlns:a16="http://schemas.microsoft.com/office/drawing/2014/main" id="{9802BD3D-6826-269B-742E-8FCCD030E3C2}"/>
              </a:ext>
            </a:extLst>
          </p:cNvPr>
          <p:cNvSpPr/>
          <p:nvPr/>
        </p:nvSpPr>
        <p:spPr>
          <a:xfrm>
            <a:off x="586032" y="2517995"/>
            <a:ext cx="134927" cy="13500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494">
              <a:defRPr/>
            </a:pPr>
            <a:endParaRPr kumimoji="1" lang="en-US" sz="900">
              <a:solidFill>
                <a:srgbClr val="FFFFFF"/>
              </a:solidFill>
              <a:cs typeface="Calibri" panose="020F0502020204030204" pitchFamily="34" charset="0"/>
            </a:endParaRPr>
          </a:p>
        </p:txBody>
      </p:sp>
      <p:cxnSp>
        <p:nvCxnSpPr>
          <p:cNvPr id="17" name="Straight Connector 16">
            <a:extLst>
              <a:ext uri="{FF2B5EF4-FFF2-40B4-BE49-F238E27FC236}">
                <a16:creationId xmlns="" xmlns:a16="http://schemas.microsoft.com/office/drawing/2014/main" id="{B0EB6C69-F02F-89B7-9FED-D33B7C78DE07}"/>
              </a:ext>
            </a:extLst>
          </p:cNvPr>
          <p:cNvCxnSpPr>
            <a:cxnSpLocks/>
          </p:cNvCxnSpPr>
          <p:nvPr/>
        </p:nvCxnSpPr>
        <p:spPr>
          <a:xfrm>
            <a:off x="482746" y="2587154"/>
            <a:ext cx="216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8" name="Oval 17">
            <a:extLst>
              <a:ext uri="{FF2B5EF4-FFF2-40B4-BE49-F238E27FC236}">
                <a16:creationId xmlns="" xmlns:a16="http://schemas.microsoft.com/office/drawing/2014/main" id="{27446917-6CD4-B4B9-79BA-9C3E19928BEC}"/>
              </a:ext>
            </a:extLst>
          </p:cNvPr>
          <p:cNvSpPr/>
          <p:nvPr/>
        </p:nvSpPr>
        <p:spPr>
          <a:xfrm>
            <a:off x="598495" y="3420875"/>
            <a:ext cx="134927" cy="13500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494">
              <a:defRPr/>
            </a:pPr>
            <a:endParaRPr kumimoji="1" lang="en-US" sz="900">
              <a:solidFill>
                <a:srgbClr val="FFFFFF"/>
              </a:solidFill>
              <a:cs typeface="Calibri" panose="020F0502020204030204" pitchFamily="34" charset="0"/>
            </a:endParaRPr>
          </a:p>
        </p:txBody>
      </p:sp>
      <p:cxnSp>
        <p:nvCxnSpPr>
          <p:cNvPr id="19" name="Straight Connector 18">
            <a:extLst>
              <a:ext uri="{FF2B5EF4-FFF2-40B4-BE49-F238E27FC236}">
                <a16:creationId xmlns="" xmlns:a16="http://schemas.microsoft.com/office/drawing/2014/main" id="{3C58F042-E660-54CC-F50C-8C134F4CD295}"/>
              </a:ext>
            </a:extLst>
          </p:cNvPr>
          <p:cNvCxnSpPr>
            <a:cxnSpLocks/>
          </p:cNvCxnSpPr>
          <p:nvPr/>
        </p:nvCxnSpPr>
        <p:spPr>
          <a:xfrm>
            <a:off x="482746" y="3490034"/>
            <a:ext cx="216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21" name="Freeform: Shape 20">
            <a:extLst>
              <a:ext uri="{FF2B5EF4-FFF2-40B4-BE49-F238E27FC236}">
                <a16:creationId xmlns="" xmlns:a16="http://schemas.microsoft.com/office/drawing/2014/main" id="{87A22557-8C01-468C-E97F-A1F0601FBA37}"/>
              </a:ext>
            </a:extLst>
          </p:cNvPr>
          <p:cNvSpPr/>
          <p:nvPr/>
        </p:nvSpPr>
        <p:spPr>
          <a:xfrm>
            <a:off x="5314445" y="1144572"/>
            <a:ext cx="2295000" cy="9664"/>
          </a:xfrm>
          <a:custGeom>
            <a:avLst/>
            <a:gdLst>
              <a:gd name="connsiteX0" fmla="*/ 0 w 3997841"/>
              <a:gd name="connsiteY0" fmla="*/ 0 h 12885"/>
              <a:gd name="connsiteX1" fmla="*/ 3997842 w 3997841"/>
              <a:gd name="connsiteY1" fmla="*/ 0 h 12885"/>
            </a:gdLst>
            <a:ahLst/>
            <a:cxnLst>
              <a:cxn ang="0">
                <a:pos x="connsiteX0" y="connsiteY0"/>
              </a:cxn>
              <a:cxn ang="0">
                <a:pos x="connsiteX1" y="connsiteY1"/>
              </a:cxn>
            </a:cxnLst>
            <a:rect l="l" t="t" r="r" b="b"/>
            <a:pathLst>
              <a:path w="3997841" h="12885">
                <a:moveTo>
                  <a:pt x="0" y="0"/>
                </a:moveTo>
                <a:lnTo>
                  <a:pt x="3997842" y="0"/>
                </a:lnTo>
              </a:path>
            </a:pathLst>
          </a:custGeom>
          <a:ln w="12700" cap="flat">
            <a:solidFill>
              <a:schemeClr val="bg1"/>
            </a:solidFill>
            <a:prstDash val="solid"/>
            <a:miter/>
            <a:headEnd type="triangle"/>
            <a:tailEnd type="triangle"/>
          </a:ln>
        </p:spPr>
        <p:txBody>
          <a:bodyPr lIns="68553" tIns="34289" rIns="68553" bIns="34289" rtlCol="0" anchor="ctr"/>
          <a:lstStyle/>
          <a:p>
            <a:pPr defTabSz="685494">
              <a:defRPr/>
            </a:pPr>
            <a:endParaRPr kumimoji="1" lang="en-US" sz="1400">
              <a:solidFill>
                <a:srgbClr val="000000"/>
              </a:solidFill>
              <a:cs typeface="Calibri" panose="020F0502020204030204" pitchFamily="34" charset="0"/>
            </a:endParaRPr>
          </a:p>
        </p:txBody>
      </p:sp>
      <p:grpSp>
        <p:nvGrpSpPr>
          <p:cNvPr id="79" name="Group 78">
            <a:extLst>
              <a:ext uri="{FF2B5EF4-FFF2-40B4-BE49-F238E27FC236}">
                <a16:creationId xmlns="" xmlns:a16="http://schemas.microsoft.com/office/drawing/2014/main" id="{33C2302D-BA13-BB29-52AB-ECEC3A1FE5ED}"/>
              </a:ext>
            </a:extLst>
          </p:cNvPr>
          <p:cNvGrpSpPr/>
          <p:nvPr/>
        </p:nvGrpSpPr>
        <p:grpSpPr>
          <a:xfrm>
            <a:off x="6465866" y="3766789"/>
            <a:ext cx="579147" cy="40404"/>
            <a:chOff x="9114029" y="3882924"/>
            <a:chExt cx="772196" cy="53872"/>
          </a:xfrm>
          <a:solidFill>
            <a:schemeClr val="accent1"/>
          </a:solidFill>
        </p:grpSpPr>
        <p:sp>
          <p:nvSpPr>
            <p:cNvPr id="80" name="Freeform: Shape 79">
              <a:extLst>
                <a:ext uri="{FF2B5EF4-FFF2-40B4-BE49-F238E27FC236}">
                  <a16:creationId xmlns="" xmlns:a16="http://schemas.microsoft.com/office/drawing/2014/main" id="{CBB9285D-C0F8-EF40-2E99-2881E49FEE6B}"/>
                </a:ext>
              </a:extLst>
            </p:cNvPr>
            <p:cNvSpPr/>
            <p:nvPr/>
          </p:nvSpPr>
          <p:spPr>
            <a:xfrm>
              <a:off x="9601779" y="3909734"/>
              <a:ext cx="271545" cy="12646"/>
            </a:xfrm>
            <a:custGeom>
              <a:avLst/>
              <a:gdLst>
                <a:gd name="connsiteX0" fmla="*/ 271546 w 271545"/>
                <a:gd name="connsiteY0" fmla="*/ 0 h 12646"/>
                <a:gd name="connsiteX1" fmla="*/ 0 w 271545"/>
                <a:gd name="connsiteY1" fmla="*/ 0 h 12646"/>
              </a:gdLst>
              <a:ahLst/>
              <a:cxnLst>
                <a:cxn ang="0">
                  <a:pos x="connsiteX0" y="connsiteY0"/>
                </a:cxn>
                <a:cxn ang="0">
                  <a:pos x="connsiteX1" y="connsiteY1"/>
                </a:cxn>
              </a:cxnLst>
              <a:rect l="l" t="t" r="r" b="b"/>
              <a:pathLst>
                <a:path w="271545" h="12646">
                  <a:moveTo>
                    <a:pt x="271546" y="0"/>
                  </a:moveTo>
                  <a:lnTo>
                    <a:pt x="0" y="0"/>
                  </a:lnTo>
                </a:path>
              </a:pathLst>
            </a:custGeom>
            <a:grpFill/>
            <a:ln w="12760" cap="flat">
              <a:solidFill>
                <a:srgbClr val="000000"/>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sp>
          <p:nvSpPr>
            <p:cNvPr id="81" name="Freeform: Shape 80">
              <a:extLst>
                <a:ext uri="{FF2B5EF4-FFF2-40B4-BE49-F238E27FC236}">
                  <a16:creationId xmlns="" xmlns:a16="http://schemas.microsoft.com/office/drawing/2014/main" id="{154E85F8-AA5C-836D-AC84-41A683262845}"/>
                </a:ext>
              </a:extLst>
            </p:cNvPr>
            <p:cNvSpPr/>
            <p:nvPr/>
          </p:nvSpPr>
          <p:spPr>
            <a:xfrm>
              <a:off x="9114029" y="3909734"/>
              <a:ext cx="487750" cy="12646"/>
            </a:xfrm>
            <a:custGeom>
              <a:avLst/>
              <a:gdLst>
                <a:gd name="connsiteX0" fmla="*/ 487750 w 487750"/>
                <a:gd name="connsiteY0" fmla="*/ 0 h 12646"/>
                <a:gd name="connsiteX1" fmla="*/ 0 w 487750"/>
                <a:gd name="connsiteY1" fmla="*/ 0 h 12646"/>
              </a:gdLst>
              <a:ahLst/>
              <a:cxnLst>
                <a:cxn ang="0">
                  <a:pos x="connsiteX0" y="connsiteY0"/>
                </a:cxn>
                <a:cxn ang="0">
                  <a:pos x="connsiteX1" y="connsiteY1"/>
                </a:cxn>
              </a:cxnLst>
              <a:rect l="l" t="t" r="r" b="b"/>
              <a:pathLst>
                <a:path w="487750" h="12646">
                  <a:moveTo>
                    <a:pt x="487750" y="0"/>
                  </a:moveTo>
                  <a:lnTo>
                    <a:pt x="0" y="0"/>
                  </a:lnTo>
                </a:path>
              </a:pathLst>
            </a:custGeom>
            <a:grpFill/>
            <a:ln w="12760" cap="flat">
              <a:solidFill>
                <a:srgbClr val="000000"/>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sp>
          <p:nvSpPr>
            <p:cNvPr id="82" name="Freeform: Shape 81">
              <a:extLst>
                <a:ext uri="{FF2B5EF4-FFF2-40B4-BE49-F238E27FC236}">
                  <a16:creationId xmlns="" xmlns:a16="http://schemas.microsoft.com/office/drawing/2014/main" id="{B7EF342B-7AC3-E967-20BC-B33B7FAF68A8}"/>
                </a:ext>
              </a:extLst>
            </p:cNvPr>
            <p:cNvSpPr/>
            <p:nvPr/>
          </p:nvSpPr>
          <p:spPr>
            <a:xfrm>
              <a:off x="9873325" y="3885453"/>
              <a:ext cx="12900" cy="48687"/>
            </a:xfrm>
            <a:custGeom>
              <a:avLst/>
              <a:gdLst>
                <a:gd name="connsiteX0" fmla="*/ 0 w 12900"/>
                <a:gd name="connsiteY0" fmla="*/ 0 h 48687"/>
                <a:gd name="connsiteX1" fmla="*/ 0 w 12900"/>
                <a:gd name="connsiteY1" fmla="*/ 48688 h 48687"/>
              </a:gdLst>
              <a:ahLst/>
              <a:cxnLst>
                <a:cxn ang="0">
                  <a:pos x="connsiteX0" y="connsiteY0"/>
                </a:cxn>
                <a:cxn ang="0">
                  <a:pos x="connsiteX1" y="connsiteY1"/>
                </a:cxn>
              </a:cxnLst>
              <a:rect l="l" t="t" r="r" b="b"/>
              <a:pathLst>
                <a:path w="12900" h="48687">
                  <a:moveTo>
                    <a:pt x="0" y="0"/>
                  </a:moveTo>
                  <a:lnTo>
                    <a:pt x="0" y="48688"/>
                  </a:lnTo>
                </a:path>
              </a:pathLst>
            </a:custGeom>
            <a:grpFill/>
            <a:ln w="12760" cap="flat">
              <a:solidFill>
                <a:srgbClr val="000000"/>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sp>
          <p:nvSpPr>
            <p:cNvPr id="83" name="Freeform: Shape 82">
              <a:extLst>
                <a:ext uri="{FF2B5EF4-FFF2-40B4-BE49-F238E27FC236}">
                  <a16:creationId xmlns="" xmlns:a16="http://schemas.microsoft.com/office/drawing/2014/main" id="{3E9A21B2-E9B3-2574-F69F-D432ED28F909}"/>
                </a:ext>
              </a:extLst>
            </p:cNvPr>
            <p:cNvSpPr/>
            <p:nvPr/>
          </p:nvSpPr>
          <p:spPr>
            <a:xfrm>
              <a:off x="9114029" y="3885453"/>
              <a:ext cx="12900" cy="48687"/>
            </a:xfrm>
            <a:custGeom>
              <a:avLst/>
              <a:gdLst>
                <a:gd name="connsiteX0" fmla="*/ 0 w 12900"/>
                <a:gd name="connsiteY0" fmla="*/ 0 h 48687"/>
                <a:gd name="connsiteX1" fmla="*/ 0 w 12900"/>
                <a:gd name="connsiteY1" fmla="*/ 48688 h 48687"/>
              </a:gdLst>
              <a:ahLst/>
              <a:cxnLst>
                <a:cxn ang="0">
                  <a:pos x="connsiteX0" y="connsiteY0"/>
                </a:cxn>
                <a:cxn ang="0">
                  <a:pos x="connsiteX1" y="connsiteY1"/>
                </a:cxn>
              </a:cxnLst>
              <a:rect l="l" t="t" r="r" b="b"/>
              <a:pathLst>
                <a:path w="12900" h="48687">
                  <a:moveTo>
                    <a:pt x="0" y="0"/>
                  </a:moveTo>
                  <a:lnTo>
                    <a:pt x="0" y="48688"/>
                  </a:lnTo>
                </a:path>
              </a:pathLst>
            </a:custGeom>
            <a:grpFill/>
            <a:ln w="12760" cap="flat">
              <a:solidFill>
                <a:srgbClr val="000000"/>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sp>
          <p:nvSpPr>
            <p:cNvPr id="84" name="Freeform: Shape 83">
              <a:extLst>
                <a:ext uri="{FF2B5EF4-FFF2-40B4-BE49-F238E27FC236}">
                  <a16:creationId xmlns="" xmlns:a16="http://schemas.microsoft.com/office/drawing/2014/main" id="{F5F81168-1F69-49F9-FEAB-665E60C67C0E}"/>
                </a:ext>
              </a:extLst>
            </p:cNvPr>
            <p:cNvSpPr/>
            <p:nvPr/>
          </p:nvSpPr>
          <p:spPr>
            <a:xfrm>
              <a:off x="9575076" y="3882924"/>
              <a:ext cx="54954" cy="53872"/>
            </a:xfrm>
            <a:custGeom>
              <a:avLst/>
              <a:gdLst>
                <a:gd name="connsiteX0" fmla="*/ 54343 w 54954"/>
                <a:gd name="connsiteY0" fmla="*/ 26635 h 53872"/>
                <a:gd name="connsiteX1" fmla="*/ 26995 w 54954"/>
                <a:gd name="connsiteY1" fmla="*/ 53698 h 53872"/>
                <a:gd name="connsiteX2" fmla="*/ -611 w 54954"/>
                <a:gd name="connsiteY2" fmla="*/ 26888 h 53872"/>
                <a:gd name="connsiteX3" fmla="*/ 26737 w 54954"/>
                <a:gd name="connsiteY3" fmla="*/ -174 h 53872"/>
                <a:gd name="connsiteX4" fmla="*/ 26866 w 54954"/>
                <a:gd name="connsiteY4" fmla="*/ -174 h 53872"/>
                <a:gd name="connsiteX5" fmla="*/ 54343 w 54954"/>
                <a:gd name="connsiteY5" fmla="*/ 26635 h 53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954" h="53872">
                  <a:moveTo>
                    <a:pt x="54343" y="26635"/>
                  </a:moveTo>
                  <a:cubicBezTo>
                    <a:pt x="54421" y="41507"/>
                    <a:pt x="42165" y="53622"/>
                    <a:pt x="26995" y="53698"/>
                  </a:cubicBezTo>
                  <a:cubicBezTo>
                    <a:pt x="11825" y="53774"/>
                    <a:pt x="-534" y="41760"/>
                    <a:pt x="-611" y="26888"/>
                  </a:cubicBezTo>
                  <a:cubicBezTo>
                    <a:pt x="-675" y="12016"/>
                    <a:pt x="11567" y="-99"/>
                    <a:pt x="26737" y="-174"/>
                  </a:cubicBezTo>
                  <a:cubicBezTo>
                    <a:pt x="26776" y="-174"/>
                    <a:pt x="26828" y="-174"/>
                    <a:pt x="26866" y="-174"/>
                  </a:cubicBezTo>
                  <a:cubicBezTo>
                    <a:pt x="41985" y="-174"/>
                    <a:pt x="54279" y="11814"/>
                    <a:pt x="54343" y="26635"/>
                  </a:cubicBezTo>
                </a:path>
              </a:pathLst>
            </a:custGeom>
            <a:grpFill/>
            <a:ln w="12889" cap="flat">
              <a:solidFill>
                <a:srgbClr val="000000"/>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grpSp>
      <p:grpSp>
        <p:nvGrpSpPr>
          <p:cNvPr id="85" name="Group 84">
            <a:extLst>
              <a:ext uri="{FF2B5EF4-FFF2-40B4-BE49-F238E27FC236}">
                <a16:creationId xmlns="" xmlns:a16="http://schemas.microsoft.com/office/drawing/2014/main" id="{D90F6D65-2A0F-2C5C-71DB-DE5579DB154B}"/>
              </a:ext>
            </a:extLst>
          </p:cNvPr>
          <p:cNvGrpSpPr/>
          <p:nvPr/>
        </p:nvGrpSpPr>
        <p:grpSpPr>
          <a:xfrm>
            <a:off x="7204377" y="3522695"/>
            <a:ext cx="67919" cy="40404"/>
            <a:chOff x="10098689" y="3735343"/>
            <a:chExt cx="90558" cy="53872"/>
          </a:xfrm>
          <a:solidFill>
            <a:schemeClr val="accent1"/>
          </a:solidFill>
        </p:grpSpPr>
        <p:sp>
          <p:nvSpPr>
            <p:cNvPr id="86" name="Freeform: Shape 85">
              <a:extLst>
                <a:ext uri="{FF2B5EF4-FFF2-40B4-BE49-F238E27FC236}">
                  <a16:creationId xmlns="" xmlns:a16="http://schemas.microsoft.com/office/drawing/2014/main" id="{B597BC7B-C234-900A-3486-BB49EC006B70}"/>
                </a:ext>
              </a:extLst>
            </p:cNvPr>
            <p:cNvSpPr/>
            <p:nvPr/>
          </p:nvSpPr>
          <p:spPr>
            <a:xfrm>
              <a:off x="10098689" y="3762912"/>
              <a:ext cx="51729" cy="12646"/>
            </a:xfrm>
            <a:custGeom>
              <a:avLst/>
              <a:gdLst>
                <a:gd name="connsiteX0" fmla="*/ 0 w 51729"/>
                <a:gd name="connsiteY0" fmla="*/ 0 h 12646"/>
                <a:gd name="connsiteX1" fmla="*/ 51729 w 51729"/>
                <a:gd name="connsiteY1" fmla="*/ 0 h 12646"/>
              </a:gdLst>
              <a:ahLst/>
              <a:cxnLst>
                <a:cxn ang="0">
                  <a:pos x="connsiteX0" y="connsiteY0"/>
                </a:cxn>
                <a:cxn ang="0">
                  <a:pos x="connsiteX1" y="connsiteY1"/>
                </a:cxn>
              </a:cxnLst>
              <a:rect l="l" t="t" r="r" b="b"/>
              <a:pathLst>
                <a:path w="51729" h="12646">
                  <a:moveTo>
                    <a:pt x="0" y="0"/>
                  </a:moveTo>
                  <a:lnTo>
                    <a:pt x="51729" y="0"/>
                  </a:lnTo>
                </a:path>
              </a:pathLst>
            </a:custGeom>
            <a:grpFill/>
            <a:ln w="12700" cap="flat">
              <a:solidFill>
                <a:srgbClr val="000000"/>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sp>
          <p:nvSpPr>
            <p:cNvPr id="87" name="Freeform: Shape 86">
              <a:extLst>
                <a:ext uri="{FF2B5EF4-FFF2-40B4-BE49-F238E27FC236}">
                  <a16:creationId xmlns="" xmlns:a16="http://schemas.microsoft.com/office/drawing/2014/main" id="{75031E16-D981-684A-48CC-C354C776D665}"/>
                </a:ext>
              </a:extLst>
            </p:cNvPr>
            <p:cNvSpPr/>
            <p:nvPr/>
          </p:nvSpPr>
          <p:spPr>
            <a:xfrm>
              <a:off x="10150418" y="3762912"/>
              <a:ext cx="25929" cy="12646"/>
            </a:xfrm>
            <a:custGeom>
              <a:avLst/>
              <a:gdLst>
                <a:gd name="connsiteX0" fmla="*/ 0 w 25929"/>
                <a:gd name="connsiteY0" fmla="*/ 0 h 12646"/>
                <a:gd name="connsiteX1" fmla="*/ 25929 w 25929"/>
                <a:gd name="connsiteY1" fmla="*/ 0 h 12646"/>
              </a:gdLst>
              <a:ahLst/>
              <a:cxnLst>
                <a:cxn ang="0">
                  <a:pos x="connsiteX0" y="connsiteY0"/>
                </a:cxn>
                <a:cxn ang="0">
                  <a:pos x="connsiteX1" y="connsiteY1"/>
                </a:cxn>
              </a:cxnLst>
              <a:rect l="l" t="t" r="r" b="b"/>
              <a:pathLst>
                <a:path w="25929" h="12646">
                  <a:moveTo>
                    <a:pt x="0" y="0"/>
                  </a:moveTo>
                  <a:lnTo>
                    <a:pt x="25929" y="0"/>
                  </a:lnTo>
                </a:path>
              </a:pathLst>
            </a:custGeom>
            <a:grpFill/>
            <a:ln w="12700" cap="flat">
              <a:solidFill>
                <a:srgbClr val="000000"/>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sp>
          <p:nvSpPr>
            <p:cNvPr id="88" name="Freeform: Shape 87">
              <a:extLst>
                <a:ext uri="{FF2B5EF4-FFF2-40B4-BE49-F238E27FC236}">
                  <a16:creationId xmlns="" xmlns:a16="http://schemas.microsoft.com/office/drawing/2014/main" id="{27D5194B-2D9B-17E8-7CAF-550BE359F1D6}"/>
                </a:ext>
              </a:extLst>
            </p:cNvPr>
            <p:cNvSpPr/>
            <p:nvPr/>
          </p:nvSpPr>
          <p:spPr>
            <a:xfrm>
              <a:off x="10098689" y="3737114"/>
              <a:ext cx="12900" cy="50078"/>
            </a:xfrm>
            <a:custGeom>
              <a:avLst/>
              <a:gdLst>
                <a:gd name="connsiteX0" fmla="*/ 0 w 12900"/>
                <a:gd name="connsiteY0" fmla="*/ 0 h 50078"/>
                <a:gd name="connsiteX1" fmla="*/ 0 w 12900"/>
                <a:gd name="connsiteY1" fmla="*/ 50079 h 50078"/>
              </a:gdLst>
              <a:ahLst/>
              <a:cxnLst>
                <a:cxn ang="0">
                  <a:pos x="connsiteX0" y="connsiteY0"/>
                </a:cxn>
                <a:cxn ang="0">
                  <a:pos x="connsiteX1" y="connsiteY1"/>
                </a:cxn>
              </a:cxnLst>
              <a:rect l="l" t="t" r="r" b="b"/>
              <a:pathLst>
                <a:path w="12900" h="50078">
                  <a:moveTo>
                    <a:pt x="0" y="0"/>
                  </a:moveTo>
                  <a:lnTo>
                    <a:pt x="0" y="50079"/>
                  </a:lnTo>
                </a:path>
              </a:pathLst>
            </a:custGeom>
            <a:grpFill/>
            <a:ln w="12700" cap="flat">
              <a:solidFill>
                <a:srgbClr val="000000"/>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sp>
          <p:nvSpPr>
            <p:cNvPr id="89" name="Freeform: Shape 88">
              <a:extLst>
                <a:ext uri="{FF2B5EF4-FFF2-40B4-BE49-F238E27FC236}">
                  <a16:creationId xmlns="" xmlns:a16="http://schemas.microsoft.com/office/drawing/2014/main" id="{420A3422-8CDB-30F3-8C1C-CECCFE604CAD}"/>
                </a:ext>
              </a:extLst>
            </p:cNvPr>
            <p:cNvSpPr/>
            <p:nvPr/>
          </p:nvSpPr>
          <p:spPr>
            <a:xfrm>
              <a:off x="10176347" y="3737114"/>
              <a:ext cx="12900" cy="50078"/>
            </a:xfrm>
            <a:custGeom>
              <a:avLst/>
              <a:gdLst>
                <a:gd name="connsiteX0" fmla="*/ 0 w 12900"/>
                <a:gd name="connsiteY0" fmla="*/ 0 h 50078"/>
                <a:gd name="connsiteX1" fmla="*/ 0 w 12900"/>
                <a:gd name="connsiteY1" fmla="*/ 50079 h 50078"/>
              </a:gdLst>
              <a:ahLst/>
              <a:cxnLst>
                <a:cxn ang="0">
                  <a:pos x="connsiteX0" y="connsiteY0"/>
                </a:cxn>
                <a:cxn ang="0">
                  <a:pos x="connsiteX1" y="connsiteY1"/>
                </a:cxn>
              </a:cxnLst>
              <a:rect l="l" t="t" r="r" b="b"/>
              <a:pathLst>
                <a:path w="12900" h="50078">
                  <a:moveTo>
                    <a:pt x="0" y="0"/>
                  </a:moveTo>
                  <a:lnTo>
                    <a:pt x="0" y="50079"/>
                  </a:lnTo>
                </a:path>
              </a:pathLst>
            </a:custGeom>
            <a:grpFill/>
            <a:ln w="12700" cap="flat">
              <a:solidFill>
                <a:srgbClr val="000000"/>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sp>
          <p:nvSpPr>
            <p:cNvPr id="90" name="Freeform: Shape 89">
              <a:extLst>
                <a:ext uri="{FF2B5EF4-FFF2-40B4-BE49-F238E27FC236}">
                  <a16:creationId xmlns="" xmlns:a16="http://schemas.microsoft.com/office/drawing/2014/main" id="{F885A124-1B00-89C8-562B-208D044959E2}"/>
                </a:ext>
              </a:extLst>
            </p:cNvPr>
            <p:cNvSpPr/>
            <p:nvPr/>
          </p:nvSpPr>
          <p:spPr>
            <a:xfrm>
              <a:off x="10121909" y="3735343"/>
              <a:ext cx="54954" cy="53872"/>
            </a:xfrm>
            <a:custGeom>
              <a:avLst/>
              <a:gdLst>
                <a:gd name="connsiteX0" fmla="*/ 54343 w 54954"/>
                <a:gd name="connsiteY0" fmla="*/ 26635 h 53872"/>
                <a:gd name="connsiteX1" fmla="*/ 26995 w 54954"/>
                <a:gd name="connsiteY1" fmla="*/ 53698 h 53872"/>
                <a:gd name="connsiteX2" fmla="*/ -611 w 54954"/>
                <a:gd name="connsiteY2" fmla="*/ 26889 h 53872"/>
                <a:gd name="connsiteX3" fmla="*/ 26737 w 54954"/>
                <a:gd name="connsiteY3" fmla="*/ -174 h 53872"/>
                <a:gd name="connsiteX4" fmla="*/ 26995 w 54954"/>
                <a:gd name="connsiteY4" fmla="*/ -174 h 53872"/>
                <a:gd name="connsiteX5" fmla="*/ 54343 w 54954"/>
                <a:gd name="connsiteY5" fmla="*/ 26635 h 53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954" h="53872">
                  <a:moveTo>
                    <a:pt x="54343" y="26635"/>
                  </a:moveTo>
                  <a:cubicBezTo>
                    <a:pt x="54421" y="41507"/>
                    <a:pt x="42165" y="53622"/>
                    <a:pt x="26995" y="53698"/>
                  </a:cubicBezTo>
                  <a:cubicBezTo>
                    <a:pt x="11825" y="53762"/>
                    <a:pt x="-534" y="41760"/>
                    <a:pt x="-611" y="26889"/>
                  </a:cubicBezTo>
                  <a:cubicBezTo>
                    <a:pt x="-675" y="12016"/>
                    <a:pt x="11566" y="-98"/>
                    <a:pt x="26737" y="-174"/>
                  </a:cubicBezTo>
                  <a:cubicBezTo>
                    <a:pt x="26828" y="-174"/>
                    <a:pt x="26905" y="-174"/>
                    <a:pt x="26995" y="-174"/>
                  </a:cubicBezTo>
                  <a:cubicBezTo>
                    <a:pt x="42075" y="-111"/>
                    <a:pt x="54279" y="11852"/>
                    <a:pt x="54343" y="26635"/>
                  </a:cubicBezTo>
                </a:path>
              </a:pathLst>
            </a:custGeom>
            <a:grpFill/>
            <a:ln w="12700" cap="flat">
              <a:solidFill>
                <a:srgbClr val="000000"/>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grpSp>
      <p:grpSp>
        <p:nvGrpSpPr>
          <p:cNvPr id="91" name="Group 90">
            <a:extLst>
              <a:ext uri="{FF2B5EF4-FFF2-40B4-BE49-F238E27FC236}">
                <a16:creationId xmlns="" xmlns:a16="http://schemas.microsoft.com/office/drawing/2014/main" id="{31DAF4CA-F261-8D3F-D73A-3561781C6335}"/>
              </a:ext>
            </a:extLst>
          </p:cNvPr>
          <p:cNvGrpSpPr/>
          <p:nvPr/>
        </p:nvGrpSpPr>
        <p:grpSpPr>
          <a:xfrm>
            <a:off x="6996541" y="3278602"/>
            <a:ext cx="142706" cy="40404"/>
            <a:chOff x="9821596" y="3586877"/>
            <a:chExt cx="190275" cy="53872"/>
          </a:xfrm>
          <a:solidFill>
            <a:schemeClr val="accent1"/>
          </a:solidFill>
        </p:grpSpPr>
        <p:grpSp>
          <p:nvGrpSpPr>
            <p:cNvPr id="92" name="Group 91">
              <a:extLst>
                <a:ext uri="{FF2B5EF4-FFF2-40B4-BE49-F238E27FC236}">
                  <a16:creationId xmlns="" xmlns:a16="http://schemas.microsoft.com/office/drawing/2014/main" id="{E8B4CD89-F195-2865-0AF4-2A91AD1BE7ED}"/>
                </a:ext>
              </a:extLst>
            </p:cNvPr>
            <p:cNvGrpSpPr/>
            <p:nvPr/>
          </p:nvGrpSpPr>
          <p:grpSpPr>
            <a:xfrm>
              <a:off x="9821596" y="3588648"/>
              <a:ext cx="190275" cy="50205"/>
              <a:chOff x="9821596" y="3588648"/>
              <a:chExt cx="190275" cy="50205"/>
            </a:xfrm>
            <a:grpFill/>
          </p:grpSpPr>
          <p:sp>
            <p:nvSpPr>
              <p:cNvPr id="94" name="Freeform: Shape 93">
                <a:extLst>
                  <a:ext uri="{FF2B5EF4-FFF2-40B4-BE49-F238E27FC236}">
                    <a16:creationId xmlns="" xmlns:a16="http://schemas.microsoft.com/office/drawing/2014/main" id="{EFF2C7BA-D1A1-8999-7244-45186471AD16}"/>
                  </a:ext>
                </a:extLst>
              </p:cNvPr>
              <p:cNvSpPr/>
              <p:nvPr/>
            </p:nvSpPr>
            <p:spPr>
              <a:xfrm>
                <a:off x="9821596" y="3613055"/>
                <a:ext cx="101652" cy="12646"/>
              </a:xfrm>
              <a:custGeom>
                <a:avLst/>
                <a:gdLst>
                  <a:gd name="connsiteX0" fmla="*/ 0 w 101652"/>
                  <a:gd name="connsiteY0" fmla="*/ 0 h 12646"/>
                  <a:gd name="connsiteX1" fmla="*/ 101652 w 101652"/>
                  <a:gd name="connsiteY1" fmla="*/ 0 h 12646"/>
                </a:gdLst>
                <a:ahLst/>
                <a:cxnLst>
                  <a:cxn ang="0">
                    <a:pos x="connsiteX0" y="connsiteY0"/>
                  </a:cxn>
                  <a:cxn ang="0">
                    <a:pos x="connsiteX1" y="connsiteY1"/>
                  </a:cxn>
                </a:cxnLst>
                <a:rect l="l" t="t" r="r" b="b"/>
                <a:pathLst>
                  <a:path w="101652" h="12646">
                    <a:moveTo>
                      <a:pt x="0" y="0"/>
                    </a:moveTo>
                    <a:lnTo>
                      <a:pt x="101652" y="0"/>
                    </a:lnTo>
                  </a:path>
                </a:pathLst>
              </a:custGeom>
              <a:grpFill/>
              <a:ln w="12760" cap="flat">
                <a:solidFill>
                  <a:srgbClr val="000000"/>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sp>
            <p:nvSpPr>
              <p:cNvPr id="95" name="Freeform: Shape 94">
                <a:extLst>
                  <a:ext uri="{FF2B5EF4-FFF2-40B4-BE49-F238E27FC236}">
                    <a16:creationId xmlns="" xmlns:a16="http://schemas.microsoft.com/office/drawing/2014/main" id="{33E271F7-944D-754B-0AA7-93F19B9758F4}"/>
                  </a:ext>
                </a:extLst>
              </p:cNvPr>
              <p:cNvSpPr/>
              <p:nvPr/>
            </p:nvSpPr>
            <p:spPr>
              <a:xfrm>
                <a:off x="9923248" y="3613055"/>
                <a:ext cx="75723" cy="12646"/>
              </a:xfrm>
              <a:custGeom>
                <a:avLst/>
                <a:gdLst>
                  <a:gd name="connsiteX0" fmla="*/ 0 w 75723"/>
                  <a:gd name="connsiteY0" fmla="*/ 0 h 12646"/>
                  <a:gd name="connsiteX1" fmla="*/ 75723 w 75723"/>
                  <a:gd name="connsiteY1" fmla="*/ 0 h 12646"/>
                </a:gdLst>
                <a:ahLst/>
                <a:cxnLst>
                  <a:cxn ang="0">
                    <a:pos x="connsiteX0" y="connsiteY0"/>
                  </a:cxn>
                  <a:cxn ang="0">
                    <a:pos x="connsiteX1" y="connsiteY1"/>
                  </a:cxn>
                </a:cxnLst>
                <a:rect l="l" t="t" r="r" b="b"/>
                <a:pathLst>
                  <a:path w="75723" h="12646">
                    <a:moveTo>
                      <a:pt x="0" y="0"/>
                    </a:moveTo>
                    <a:lnTo>
                      <a:pt x="75723" y="0"/>
                    </a:lnTo>
                  </a:path>
                </a:pathLst>
              </a:custGeom>
              <a:grpFill/>
              <a:ln w="12760" cap="flat">
                <a:solidFill>
                  <a:srgbClr val="000000"/>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sp>
            <p:nvSpPr>
              <p:cNvPr id="96" name="Freeform: Shape 95">
                <a:extLst>
                  <a:ext uri="{FF2B5EF4-FFF2-40B4-BE49-F238E27FC236}">
                    <a16:creationId xmlns="" xmlns:a16="http://schemas.microsoft.com/office/drawing/2014/main" id="{67E164F3-C167-4147-6CCF-93EE0822494F}"/>
                  </a:ext>
                </a:extLst>
              </p:cNvPr>
              <p:cNvSpPr/>
              <p:nvPr/>
            </p:nvSpPr>
            <p:spPr>
              <a:xfrm>
                <a:off x="9821596" y="3588648"/>
                <a:ext cx="12900" cy="50205"/>
              </a:xfrm>
              <a:custGeom>
                <a:avLst/>
                <a:gdLst>
                  <a:gd name="connsiteX0" fmla="*/ 0 w 12900"/>
                  <a:gd name="connsiteY0" fmla="*/ 0 h 50205"/>
                  <a:gd name="connsiteX1" fmla="*/ 0 w 12900"/>
                  <a:gd name="connsiteY1" fmla="*/ 50205 h 50205"/>
                </a:gdLst>
                <a:ahLst/>
                <a:cxnLst>
                  <a:cxn ang="0">
                    <a:pos x="connsiteX0" y="connsiteY0"/>
                  </a:cxn>
                  <a:cxn ang="0">
                    <a:pos x="connsiteX1" y="connsiteY1"/>
                  </a:cxn>
                </a:cxnLst>
                <a:rect l="l" t="t" r="r" b="b"/>
                <a:pathLst>
                  <a:path w="12900" h="50205">
                    <a:moveTo>
                      <a:pt x="0" y="0"/>
                    </a:moveTo>
                    <a:lnTo>
                      <a:pt x="0" y="50205"/>
                    </a:lnTo>
                  </a:path>
                </a:pathLst>
              </a:custGeom>
              <a:grpFill/>
              <a:ln w="12760" cap="flat">
                <a:solidFill>
                  <a:srgbClr val="000000"/>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sp>
            <p:nvSpPr>
              <p:cNvPr id="97" name="Freeform: Shape 96">
                <a:extLst>
                  <a:ext uri="{FF2B5EF4-FFF2-40B4-BE49-F238E27FC236}">
                    <a16:creationId xmlns="" xmlns:a16="http://schemas.microsoft.com/office/drawing/2014/main" id="{CEBBA06E-3F27-D369-91EA-5545CE5AD963}"/>
                  </a:ext>
                </a:extLst>
              </p:cNvPr>
              <p:cNvSpPr/>
              <p:nvPr/>
            </p:nvSpPr>
            <p:spPr>
              <a:xfrm>
                <a:off x="9998971" y="3588648"/>
                <a:ext cx="12900" cy="50205"/>
              </a:xfrm>
              <a:custGeom>
                <a:avLst/>
                <a:gdLst>
                  <a:gd name="connsiteX0" fmla="*/ 0 w 12900"/>
                  <a:gd name="connsiteY0" fmla="*/ 0 h 50205"/>
                  <a:gd name="connsiteX1" fmla="*/ 0 w 12900"/>
                  <a:gd name="connsiteY1" fmla="*/ 50205 h 50205"/>
                </a:gdLst>
                <a:ahLst/>
                <a:cxnLst>
                  <a:cxn ang="0">
                    <a:pos x="connsiteX0" y="connsiteY0"/>
                  </a:cxn>
                  <a:cxn ang="0">
                    <a:pos x="connsiteX1" y="connsiteY1"/>
                  </a:cxn>
                </a:cxnLst>
                <a:rect l="l" t="t" r="r" b="b"/>
                <a:pathLst>
                  <a:path w="12900" h="50205">
                    <a:moveTo>
                      <a:pt x="0" y="0"/>
                    </a:moveTo>
                    <a:lnTo>
                      <a:pt x="0" y="50205"/>
                    </a:lnTo>
                  </a:path>
                </a:pathLst>
              </a:custGeom>
              <a:grpFill/>
              <a:ln w="12760" cap="flat">
                <a:solidFill>
                  <a:srgbClr val="000000"/>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grpSp>
        <p:sp>
          <p:nvSpPr>
            <p:cNvPr id="93" name="Freeform: Shape 92">
              <a:extLst>
                <a:ext uri="{FF2B5EF4-FFF2-40B4-BE49-F238E27FC236}">
                  <a16:creationId xmlns="" xmlns:a16="http://schemas.microsoft.com/office/drawing/2014/main" id="{64692C74-A5BE-60CB-2DBA-BA894E0F786D}"/>
                </a:ext>
              </a:extLst>
            </p:cNvPr>
            <p:cNvSpPr/>
            <p:nvPr/>
          </p:nvSpPr>
          <p:spPr>
            <a:xfrm>
              <a:off x="9896545" y="3586877"/>
              <a:ext cx="54954" cy="53872"/>
            </a:xfrm>
            <a:custGeom>
              <a:avLst/>
              <a:gdLst>
                <a:gd name="connsiteX0" fmla="*/ 54343 w 54954"/>
                <a:gd name="connsiteY0" fmla="*/ 26762 h 53872"/>
                <a:gd name="connsiteX1" fmla="*/ 26866 w 54954"/>
                <a:gd name="connsiteY1" fmla="*/ 53698 h 53872"/>
                <a:gd name="connsiteX2" fmla="*/ -611 w 54954"/>
                <a:gd name="connsiteY2" fmla="*/ 26762 h 53872"/>
                <a:gd name="connsiteX3" fmla="*/ 26866 w 54954"/>
                <a:gd name="connsiteY3" fmla="*/ -174 h 53872"/>
                <a:gd name="connsiteX4" fmla="*/ 54343 w 54954"/>
                <a:gd name="connsiteY4" fmla="*/ 26509 h 53872"/>
                <a:gd name="connsiteX5" fmla="*/ 54343 w 54954"/>
                <a:gd name="connsiteY5" fmla="*/ 26762 h 53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954" h="53872">
                  <a:moveTo>
                    <a:pt x="54343" y="26762"/>
                  </a:moveTo>
                  <a:cubicBezTo>
                    <a:pt x="54343" y="41634"/>
                    <a:pt x="42037" y="53698"/>
                    <a:pt x="26866" y="53698"/>
                  </a:cubicBezTo>
                  <a:cubicBezTo>
                    <a:pt x="11696" y="53698"/>
                    <a:pt x="-611" y="41634"/>
                    <a:pt x="-611" y="26762"/>
                  </a:cubicBezTo>
                  <a:cubicBezTo>
                    <a:pt x="-611" y="11890"/>
                    <a:pt x="11696" y="-174"/>
                    <a:pt x="26866" y="-174"/>
                  </a:cubicBezTo>
                  <a:cubicBezTo>
                    <a:pt x="41972" y="-250"/>
                    <a:pt x="54266" y="11701"/>
                    <a:pt x="54343" y="26509"/>
                  </a:cubicBezTo>
                  <a:cubicBezTo>
                    <a:pt x="54343" y="26598"/>
                    <a:pt x="54343" y="26674"/>
                    <a:pt x="54343" y="26762"/>
                  </a:cubicBezTo>
                </a:path>
              </a:pathLst>
            </a:custGeom>
            <a:grpFill/>
            <a:ln w="12889" cap="flat">
              <a:solidFill>
                <a:srgbClr val="000000"/>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grpSp>
      <p:grpSp>
        <p:nvGrpSpPr>
          <p:cNvPr id="98" name="Group 97">
            <a:extLst>
              <a:ext uri="{FF2B5EF4-FFF2-40B4-BE49-F238E27FC236}">
                <a16:creationId xmlns="" xmlns:a16="http://schemas.microsoft.com/office/drawing/2014/main" id="{06DDA0FF-C3A8-E23F-D8DC-99F3A144B0C1}"/>
              </a:ext>
            </a:extLst>
          </p:cNvPr>
          <p:cNvGrpSpPr/>
          <p:nvPr/>
        </p:nvGrpSpPr>
        <p:grpSpPr>
          <a:xfrm>
            <a:off x="7058846" y="3034508"/>
            <a:ext cx="92880" cy="40404"/>
            <a:chOff x="9904672" y="3413246"/>
            <a:chExt cx="123840" cy="53872"/>
          </a:xfrm>
          <a:solidFill>
            <a:schemeClr val="accent1"/>
          </a:solidFill>
        </p:grpSpPr>
        <p:sp>
          <p:nvSpPr>
            <p:cNvPr id="99" name="Freeform: Shape 98">
              <a:extLst>
                <a:ext uri="{FF2B5EF4-FFF2-40B4-BE49-F238E27FC236}">
                  <a16:creationId xmlns="" xmlns:a16="http://schemas.microsoft.com/office/drawing/2014/main" id="{C160615E-90A1-5579-0B26-D4359EC08469}"/>
                </a:ext>
              </a:extLst>
            </p:cNvPr>
            <p:cNvSpPr/>
            <p:nvPr/>
          </p:nvSpPr>
          <p:spPr>
            <a:xfrm>
              <a:off x="9904672" y="3439297"/>
              <a:ext cx="62823" cy="12646"/>
            </a:xfrm>
            <a:custGeom>
              <a:avLst/>
              <a:gdLst>
                <a:gd name="connsiteX0" fmla="*/ 0 w 62823"/>
                <a:gd name="connsiteY0" fmla="*/ 0 h 12646"/>
                <a:gd name="connsiteX1" fmla="*/ 62823 w 62823"/>
                <a:gd name="connsiteY1" fmla="*/ 0 h 12646"/>
              </a:gdLst>
              <a:ahLst/>
              <a:cxnLst>
                <a:cxn ang="0">
                  <a:pos x="connsiteX0" y="connsiteY0"/>
                </a:cxn>
                <a:cxn ang="0">
                  <a:pos x="connsiteX1" y="connsiteY1"/>
                </a:cxn>
              </a:cxnLst>
              <a:rect l="l" t="t" r="r" b="b"/>
              <a:pathLst>
                <a:path w="62823" h="12646">
                  <a:moveTo>
                    <a:pt x="0" y="0"/>
                  </a:moveTo>
                  <a:lnTo>
                    <a:pt x="62823" y="0"/>
                  </a:lnTo>
                </a:path>
              </a:pathLst>
            </a:custGeom>
            <a:grpFill/>
            <a:ln w="12760" cap="flat">
              <a:solidFill>
                <a:srgbClr val="000000"/>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sp>
          <p:nvSpPr>
            <p:cNvPr id="100" name="Freeform: Shape 99">
              <a:extLst>
                <a:ext uri="{FF2B5EF4-FFF2-40B4-BE49-F238E27FC236}">
                  <a16:creationId xmlns="" xmlns:a16="http://schemas.microsoft.com/office/drawing/2014/main" id="{33BC4756-47FD-3931-02B1-37A1DA5A2F3B}"/>
                </a:ext>
              </a:extLst>
            </p:cNvPr>
            <p:cNvSpPr/>
            <p:nvPr/>
          </p:nvSpPr>
          <p:spPr>
            <a:xfrm>
              <a:off x="9967495" y="3439297"/>
              <a:ext cx="48117" cy="12646"/>
            </a:xfrm>
            <a:custGeom>
              <a:avLst/>
              <a:gdLst>
                <a:gd name="connsiteX0" fmla="*/ 0 w 48117"/>
                <a:gd name="connsiteY0" fmla="*/ 0 h 12646"/>
                <a:gd name="connsiteX1" fmla="*/ 48117 w 48117"/>
                <a:gd name="connsiteY1" fmla="*/ 0 h 12646"/>
              </a:gdLst>
              <a:ahLst/>
              <a:cxnLst>
                <a:cxn ang="0">
                  <a:pos x="connsiteX0" y="connsiteY0"/>
                </a:cxn>
                <a:cxn ang="0">
                  <a:pos x="connsiteX1" y="connsiteY1"/>
                </a:cxn>
              </a:cxnLst>
              <a:rect l="l" t="t" r="r" b="b"/>
              <a:pathLst>
                <a:path w="48117" h="12646">
                  <a:moveTo>
                    <a:pt x="0" y="0"/>
                  </a:moveTo>
                  <a:lnTo>
                    <a:pt x="48117" y="0"/>
                  </a:lnTo>
                </a:path>
              </a:pathLst>
            </a:custGeom>
            <a:grpFill/>
            <a:ln w="12760" cap="flat">
              <a:solidFill>
                <a:srgbClr val="000000"/>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sp>
          <p:nvSpPr>
            <p:cNvPr id="101" name="Freeform: Shape 100">
              <a:extLst>
                <a:ext uri="{FF2B5EF4-FFF2-40B4-BE49-F238E27FC236}">
                  <a16:creationId xmlns="" xmlns:a16="http://schemas.microsoft.com/office/drawing/2014/main" id="{AFB7A47A-465B-B737-B3F4-531385F0DC9E}"/>
                </a:ext>
              </a:extLst>
            </p:cNvPr>
            <p:cNvSpPr/>
            <p:nvPr/>
          </p:nvSpPr>
          <p:spPr>
            <a:xfrm>
              <a:off x="9904672" y="3415016"/>
              <a:ext cx="12900" cy="50078"/>
            </a:xfrm>
            <a:custGeom>
              <a:avLst/>
              <a:gdLst>
                <a:gd name="connsiteX0" fmla="*/ 0 w 12900"/>
                <a:gd name="connsiteY0" fmla="*/ 0 h 50078"/>
                <a:gd name="connsiteX1" fmla="*/ 0 w 12900"/>
                <a:gd name="connsiteY1" fmla="*/ 50079 h 50078"/>
              </a:gdLst>
              <a:ahLst/>
              <a:cxnLst>
                <a:cxn ang="0">
                  <a:pos x="connsiteX0" y="connsiteY0"/>
                </a:cxn>
                <a:cxn ang="0">
                  <a:pos x="connsiteX1" y="connsiteY1"/>
                </a:cxn>
              </a:cxnLst>
              <a:rect l="l" t="t" r="r" b="b"/>
              <a:pathLst>
                <a:path w="12900" h="50078">
                  <a:moveTo>
                    <a:pt x="0" y="0"/>
                  </a:moveTo>
                  <a:lnTo>
                    <a:pt x="0" y="50079"/>
                  </a:lnTo>
                </a:path>
              </a:pathLst>
            </a:custGeom>
            <a:grpFill/>
            <a:ln w="12760" cap="flat">
              <a:solidFill>
                <a:srgbClr val="000000"/>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sp>
          <p:nvSpPr>
            <p:cNvPr id="102" name="Freeform: Shape 101">
              <a:extLst>
                <a:ext uri="{FF2B5EF4-FFF2-40B4-BE49-F238E27FC236}">
                  <a16:creationId xmlns="" xmlns:a16="http://schemas.microsoft.com/office/drawing/2014/main" id="{781E7DD5-CC4C-3CF9-2D4F-7415FAAC1694}"/>
                </a:ext>
              </a:extLst>
            </p:cNvPr>
            <p:cNvSpPr/>
            <p:nvPr/>
          </p:nvSpPr>
          <p:spPr>
            <a:xfrm>
              <a:off x="10015612" y="3415016"/>
              <a:ext cx="12900" cy="50078"/>
            </a:xfrm>
            <a:custGeom>
              <a:avLst/>
              <a:gdLst>
                <a:gd name="connsiteX0" fmla="*/ 0 w 12900"/>
                <a:gd name="connsiteY0" fmla="*/ 0 h 50078"/>
                <a:gd name="connsiteX1" fmla="*/ 0 w 12900"/>
                <a:gd name="connsiteY1" fmla="*/ 50079 h 50078"/>
              </a:gdLst>
              <a:ahLst/>
              <a:cxnLst>
                <a:cxn ang="0">
                  <a:pos x="connsiteX0" y="connsiteY0"/>
                </a:cxn>
                <a:cxn ang="0">
                  <a:pos x="connsiteX1" y="connsiteY1"/>
                </a:cxn>
              </a:cxnLst>
              <a:rect l="l" t="t" r="r" b="b"/>
              <a:pathLst>
                <a:path w="12900" h="50078">
                  <a:moveTo>
                    <a:pt x="0" y="0"/>
                  </a:moveTo>
                  <a:lnTo>
                    <a:pt x="0" y="50079"/>
                  </a:lnTo>
                </a:path>
              </a:pathLst>
            </a:custGeom>
            <a:grpFill/>
            <a:ln w="12760" cap="flat">
              <a:solidFill>
                <a:srgbClr val="000000"/>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sp>
          <p:nvSpPr>
            <p:cNvPr id="103" name="Freeform: Shape 102">
              <a:extLst>
                <a:ext uri="{FF2B5EF4-FFF2-40B4-BE49-F238E27FC236}">
                  <a16:creationId xmlns="" xmlns:a16="http://schemas.microsoft.com/office/drawing/2014/main" id="{6FFE48A4-A1CF-2584-C77F-038B4ABBA1C2}"/>
                </a:ext>
              </a:extLst>
            </p:cNvPr>
            <p:cNvSpPr/>
            <p:nvPr/>
          </p:nvSpPr>
          <p:spPr>
            <a:xfrm>
              <a:off x="9938986" y="3413246"/>
              <a:ext cx="54954" cy="53872"/>
            </a:xfrm>
            <a:custGeom>
              <a:avLst/>
              <a:gdLst>
                <a:gd name="connsiteX0" fmla="*/ 54343 w 54954"/>
                <a:gd name="connsiteY0" fmla="*/ 26635 h 53872"/>
                <a:gd name="connsiteX1" fmla="*/ 26995 w 54954"/>
                <a:gd name="connsiteY1" fmla="*/ 53698 h 53872"/>
                <a:gd name="connsiteX2" fmla="*/ -611 w 54954"/>
                <a:gd name="connsiteY2" fmla="*/ 26889 h 53872"/>
                <a:gd name="connsiteX3" fmla="*/ 26737 w 54954"/>
                <a:gd name="connsiteY3" fmla="*/ -174 h 53872"/>
                <a:gd name="connsiteX4" fmla="*/ 26995 w 54954"/>
                <a:gd name="connsiteY4" fmla="*/ -174 h 53872"/>
                <a:gd name="connsiteX5" fmla="*/ 54343 w 54954"/>
                <a:gd name="connsiteY5" fmla="*/ 26635 h 53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954" h="53872">
                  <a:moveTo>
                    <a:pt x="54343" y="26635"/>
                  </a:moveTo>
                  <a:cubicBezTo>
                    <a:pt x="54421" y="41507"/>
                    <a:pt x="42165" y="53622"/>
                    <a:pt x="26995" y="53698"/>
                  </a:cubicBezTo>
                  <a:cubicBezTo>
                    <a:pt x="11825" y="53762"/>
                    <a:pt x="-534" y="41760"/>
                    <a:pt x="-611" y="26889"/>
                  </a:cubicBezTo>
                  <a:cubicBezTo>
                    <a:pt x="-675" y="12017"/>
                    <a:pt x="11566" y="-98"/>
                    <a:pt x="26737" y="-174"/>
                  </a:cubicBezTo>
                  <a:cubicBezTo>
                    <a:pt x="26827" y="-174"/>
                    <a:pt x="26905" y="-174"/>
                    <a:pt x="26995" y="-174"/>
                  </a:cubicBezTo>
                  <a:cubicBezTo>
                    <a:pt x="42101" y="-174"/>
                    <a:pt x="54343" y="11827"/>
                    <a:pt x="54343" y="26635"/>
                  </a:cubicBezTo>
                </a:path>
              </a:pathLst>
            </a:custGeom>
            <a:grpFill/>
            <a:ln w="12889" cap="flat">
              <a:solidFill>
                <a:srgbClr val="000000"/>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grpSp>
      <p:grpSp>
        <p:nvGrpSpPr>
          <p:cNvPr id="104" name="Group 103">
            <a:extLst>
              <a:ext uri="{FF2B5EF4-FFF2-40B4-BE49-F238E27FC236}">
                <a16:creationId xmlns="" xmlns:a16="http://schemas.microsoft.com/office/drawing/2014/main" id="{1ABA3B48-F146-164F-809C-926B8B4E9132}"/>
              </a:ext>
            </a:extLst>
          </p:cNvPr>
          <p:cNvGrpSpPr/>
          <p:nvPr/>
        </p:nvGrpSpPr>
        <p:grpSpPr>
          <a:xfrm>
            <a:off x="7051978" y="2790415"/>
            <a:ext cx="189728" cy="40404"/>
            <a:chOff x="9895513" y="3268321"/>
            <a:chExt cx="252970" cy="53872"/>
          </a:xfrm>
          <a:solidFill>
            <a:schemeClr val="accent1"/>
          </a:solidFill>
        </p:grpSpPr>
        <p:sp>
          <p:nvSpPr>
            <p:cNvPr id="105" name="Freeform: Shape 104">
              <a:extLst>
                <a:ext uri="{FF2B5EF4-FFF2-40B4-BE49-F238E27FC236}">
                  <a16:creationId xmlns="" xmlns:a16="http://schemas.microsoft.com/office/drawing/2014/main" id="{3EB6AEB7-2804-C68A-4D31-B509CAA8833F}"/>
                </a:ext>
              </a:extLst>
            </p:cNvPr>
            <p:cNvSpPr/>
            <p:nvPr/>
          </p:nvSpPr>
          <p:spPr>
            <a:xfrm>
              <a:off x="9895513" y="3295890"/>
              <a:ext cx="160734" cy="12646"/>
            </a:xfrm>
            <a:custGeom>
              <a:avLst/>
              <a:gdLst>
                <a:gd name="connsiteX0" fmla="*/ 0 w 160734"/>
                <a:gd name="connsiteY0" fmla="*/ 0 h 12646"/>
                <a:gd name="connsiteX1" fmla="*/ 160734 w 160734"/>
                <a:gd name="connsiteY1" fmla="*/ 0 h 12646"/>
              </a:gdLst>
              <a:ahLst/>
              <a:cxnLst>
                <a:cxn ang="0">
                  <a:pos x="connsiteX0" y="connsiteY0"/>
                </a:cxn>
                <a:cxn ang="0">
                  <a:pos x="connsiteX1" y="connsiteY1"/>
                </a:cxn>
              </a:cxnLst>
              <a:rect l="l" t="t" r="r" b="b"/>
              <a:pathLst>
                <a:path w="160734" h="12646">
                  <a:moveTo>
                    <a:pt x="0" y="0"/>
                  </a:moveTo>
                  <a:lnTo>
                    <a:pt x="160734" y="0"/>
                  </a:lnTo>
                </a:path>
              </a:pathLst>
            </a:custGeom>
            <a:grpFill/>
            <a:ln w="12760" cap="flat">
              <a:solidFill>
                <a:srgbClr val="000000"/>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sp>
          <p:nvSpPr>
            <p:cNvPr id="106" name="Freeform: Shape 105">
              <a:extLst>
                <a:ext uri="{FF2B5EF4-FFF2-40B4-BE49-F238E27FC236}">
                  <a16:creationId xmlns="" xmlns:a16="http://schemas.microsoft.com/office/drawing/2014/main" id="{87C77E25-C73F-6410-EADF-F80264C048F7}"/>
                </a:ext>
              </a:extLst>
            </p:cNvPr>
            <p:cNvSpPr/>
            <p:nvPr/>
          </p:nvSpPr>
          <p:spPr>
            <a:xfrm>
              <a:off x="10056248" y="3295890"/>
              <a:ext cx="79335" cy="12646"/>
            </a:xfrm>
            <a:custGeom>
              <a:avLst/>
              <a:gdLst>
                <a:gd name="connsiteX0" fmla="*/ 0 w 79335"/>
                <a:gd name="connsiteY0" fmla="*/ 0 h 12646"/>
                <a:gd name="connsiteX1" fmla="*/ 79335 w 79335"/>
                <a:gd name="connsiteY1" fmla="*/ 0 h 12646"/>
              </a:gdLst>
              <a:ahLst/>
              <a:cxnLst>
                <a:cxn ang="0">
                  <a:pos x="connsiteX0" y="connsiteY0"/>
                </a:cxn>
                <a:cxn ang="0">
                  <a:pos x="connsiteX1" y="connsiteY1"/>
                </a:cxn>
              </a:cxnLst>
              <a:rect l="l" t="t" r="r" b="b"/>
              <a:pathLst>
                <a:path w="79335" h="12646">
                  <a:moveTo>
                    <a:pt x="0" y="0"/>
                  </a:moveTo>
                  <a:lnTo>
                    <a:pt x="79335" y="0"/>
                  </a:lnTo>
                </a:path>
              </a:pathLst>
            </a:custGeom>
            <a:grpFill/>
            <a:ln w="12760" cap="flat">
              <a:solidFill>
                <a:srgbClr val="000000"/>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sp>
          <p:nvSpPr>
            <p:cNvPr id="107" name="Freeform: Shape 106">
              <a:extLst>
                <a:ext uri="{FF2B5EF4-FFF2-40B4-BE49-F238E27FC236}">
                  <a16:creationId xmlns="" xmlns:a16="http://schemas.microsoft.com/office/drawing/2014/main" id="{627E6AB3-38C9-A7A6-B62B-11ABF05607F3}"/>
                </a:ext>
              </a:extLst>
            </p:cNvPr>
            <p:cNvSpPr/>
            <p:nvPr/>
          </p:nvSpPr>
          <p:spPr>
            <a:xfrm>
              <a:off x="9895513" y="3270091"/>
              <a:ext cx="12900" cy="50205"/>
            </a:xfrm>
            <a:custGeom>
              <a:avLst/>
              <a:gdLst>
                <a:gd name="connsiteX0" fmla="*/ 0 w 12900"/>
                <a:gd name="connsiteY0" fmla="*/ 0 h 50205"/>
                <a:gd name="connsiteX1" fmla="*/ 0 w 12900"/>
                <a:gd name="connsiteY1" fmla="*/ 50205 h 50205"/>
              </a:gdLst>
              <a:ahLst/>
              <a:cxnLst>
                <a:cxn ang="0">
                  <a:pos x="connsiteX0" y="connsiteY0"/>
                </a:cxn>
                <a:cxn ang="0">
                  <a:pos x="connsiteX1" y="connsiteY1"/>
                </a:cxn>
              </a:cxnLst>
              <a:rect l="l" t="t" r="r" b="b"/>
              <a:pathLst>
                <a:path w="12900" h="50205">
                  <a:moveTo>
                    <a:pt x="0" y="0"/>
                  </a:moveTo>
                  <a:lnTo>
                    <a:pt x="0" y="50205"/>
                  </a:lnTo>
                </a:path>
              </a:pathLst>
            </a:custGeom>
            <a:grpFill/>
            <a:ln w="12760" cap="flat">
              <a:solidFill>
                <a:srgbClr val="000000"/>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sp>
          <p:nvSpPr>
            <p:cNvPr id="108" name="Freeform: Shape 107">
              <a:extLst>
                <a:ext uri="{FF2B5EF4-FFF2-40B4-BE49-F238E27FC236}">
                  <a16:creationId xmlns="" xmlns:a16="http://schemas.microsoft.com/office/drawing/2014/main" id="{5BD55D6D-24EA-452D-E6E0-7FD566211111}"/>
                </a:ext>
              </a:extLst>
            </p:cNvPr>
            <p:cNvSpPr/>
            <p:nvPr/>
          </p:nvSpPr>
          <p:spPr>
            <a:xfrm>
              <a:off x="10135583" y="3270091"/>
              <a:ext cx="12900" cy="50205"/>
            </a:xfrm>
            <a:custGeom>
              <a:avLst/>
              <a:gdLst>
                <a:gd name="connsiteX0" fmla="*/ 0 w 12900"/>
                <a:gd name="connsiteY0" fmla="*/ 0 h 50205"/>
                <a:gd name="connsiteX1" fmla="*/ 0 w 12900"/>
                <a:gd name="connsiteY1" fmla="*/ 50205 h 50205"/>
              </a:gdLst>
              <a:ahLst/>
              <a:cxnLst>
                <a:cxn ang="0">
                  <a:pos x="connsiteX0" y="connsiteY0"/>
                </a:cxn>
                <a:cxn ang="0">
                  <a:pos x="connsiteX1" y="connsiteY1"/>
                </a:cxn>
              </a:cxnLst>
              <a:rect l="l" t="t" r="r" b="b"/>
              <a:pathLst>
                <a:path w="12900" h="50205">
                  <a:moveTo>
                    <a:pt x="0" y="0"/>
                  </a:moveTo>
                  <a:lnTo>
                    <a:pt x="0" y="50205"/>
                  </a:lnTo>
                </a:path>
              </a:pathLst>
            </a:custGeom>
            <a:grpFill/>
            <a:ln w="12760" cap="flat">
              <a:solidFill>
                <a:srgbClr val="000000"/>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sp>
          <p:nvSpPr>
            <p:cNvPr id="109" name="Freeform: Shape 108">
              <a:extLst>
                <a:ext uri="{FF2B5EF4-FFF2-40B4-BE49-F238E27FC236}">
                  <a16:creationId xmlns="" xmlns:a16="http://schemas.microsoft.com/office/drawing/2014/main" id="{79D4D49B-4B4F-8E8E-57B0-5E0B445C8578}"/>
                </a:ext>
              </a:extLst>
            </p:cNvPr>
            <p:cNvSpPr/>
            <p:nvPr/>
          </p:nvSpPr>
          <p:spPr>
            <a:xfrm>
              <a:off x="10028641" y="3268321"/>
              <a:ext cx="54954" cy="53872"/>
            </a:xfrm>
            <a:custGeom>
              <a:avLst/>
              <a:gdLst>
                <a:gd name="connsiteX0" fmla="*/ 54343 w 54954"/>
                <a:gd name="connsiteY0" fmla="*/ 26762 h 53872"/>
                <a:gd name="connsiteX1" fmla="*/ 26866 w 54954"/>
                <a:gd name="connsiteY1" fmla="*/ 53699 h 53872"/>
                <a:gd name="connsiteX2" fmla="*/ -611 w 54954"/>
                <a:gd name="connsiteY2" fmla="*/ 26762 h 53872"/>
                <a:gd name="connsiteX3" fmla="*/ 26866 w 54954"/>
                <a:gd name="connsiteY3" fmla="*/ -174 h 53872"/>
                <a:gd name="connsiteX4" fmla="*/ 54343 w 54954"/>
                <a:gd name="connsiteY4" fmla="*/ 26509 h 53872"/>
                <a:gd name="connsiteX5" fmla="*/ 54343 w 54954"/>
                <a:gd name="connsiteY5" fmla="*/ 26762 h 53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954" h="53872">
                  <a:moveTo>
                    <a:pt x="54343" y="26762"/>
                  </a:moveTo>
                  <a:cubicBezTo>
                    <a:pt x="54343" y="41634"/>
                    <a:pt x="42037" y="53699"/>
                    <a:pt x="26866" y="53699"/>
                  </a:cubicBezTo>
                  <a:cubicBezTo>
                    <a:pt x="11696" y="53699"/>
                    <a:pt x="-611" y="41634"/>
                    <a:pt x="-611" y="26762"/>
                  </a:cubicBezTo>
                  <a:cubicBezTo>
                    <a:pt x="-611" y="11890"/>
                    <a:pt x="11696" y="-174"/>
                    <a:pt x="26866" y="-174"/>
                  </a:cubicBezTo>
                  <a:cubicBezTo>
                    <a:pt x="41972" y="-250"/>
                    <a:pt x="54266" y="11701"/>
                    <a:pt x="54343" y="26509"/>
                  </a:cubicBezTo>
                  <a:cubicBezTo>
                    <a:pt x="54343" y="26598"/>
                    <a:pt x="54343" y="26674"/>
                    <a:pt x="54343" y="26762"/>
                  </a:cubicBezTo>
                </a:path>
              </a:pathLst>
            </a:custGeom>
            <a:grpFill/>
            <a:ln w="12889" cap="flat">
              <a:solidFill>
                <a:srgbClr val="000000"/>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grpSp>
      <p:grpSp>
        <p:nvGrpSpPr>
          <p:cNvPr id="110" name="Group 109">
            <a:extLst>
              <a:ext uri="{FF2B5EF4-FFF2-40B4-BE49-F238E27FC236}">
                <a16:creationId xmlns="" xmlns:a16="http://schemas.microsoft.com/office/drawing/2014/main" id="{F35498EB-A25B-0A97-2553-CA71BB2BF136}"/>
              </a:ext>
            </a:extLst>
          </p:cNvPr>
          <p:cNvGrpSpPr/>
          <p:nvPr/>
        </p:nvGrpSpPr>
        <p:grpSpPr>
          <a:xfrm>
            <a:off x="7039515" y="2546321"/>
            <a:ext cx="117745" cy="40404"/>
            <a:chOff x="9878872" y="3107335"/>
            <a:chExt cx="156993" cy="53872"/>
          </a:xfrm>
          <a:solidFill>
            <a:schemeClr val="accent1"/>
          </a:solidFill>
        </p:grpSpPr>
        <p:sp>
          <p:nvSpPr>
            <p:cNvPr id="111" name="Freeform: Shape 110">
              <a:extLst>
                <a:ext uri="{FF2B5EF4-FFF2-40B4-BE49-F238E27FC236}">
                  <a16:creationId xmlns="" xmlns:a16="http://schemas.microsoft.com/office/drawing/2014/main" id="{930547C8-2819-F855-334D-92B1AAE700CF}"/>
                </a:ext>
              </a:extLst>
            </p:cNvPr>
            <p:cNvSpPr/>
            <p:nvPr/>
          </p:nvSpPr>
          <p:spPr>
            <a:xfrm>
              <a:off x="9878872" y="3133387"/>
              <a:ext cx="81270" cy="12646"/>
            </a:xfrm>
            <a:custGeom>
              <a:avLst/>
              <a:gdLst>
                <a:gd name="connsiteX0" fmla="*/ 0 w 81270"/>
                <a:gd name="connsiteY0" fmla="*/ 0 h 12646"/>
                <a:gd name="connsiteX1" fmla="*/ 81270 w 81270"/>
                <a:gd name="connsiteY1" fmla="*/ 0 h 12646"/>
              </a:gdLst>
              <a:ahLst/>
              <a:cxnLst>
                <a:cxn ang="0">
                  <a:pos x="connsiteX0" y="connsiteY0"/>
                </a:cxn>
                <a:cxn ang="0">
                  <a:pos x="connsiteX1" y="connsiteY1"/>
                </a:cxn>
              </a:cxnLst>
              <a:rect l="l" t="t" r="r" b="b"/>
              <a:pathLst>
                <a:path w="81270" h="12646">
                  <a:moveTo>
                    <a:pt x="0" y="0"/>
                  </a:moveTo>
                  <a:lnTo>
                    <a:pt x="81270" y="0"/>
                  </a:lnTo>
                </a:path>
              </a:pathLst>
            </a:custGeom>
            <a:grpFill/>
            <a:ln w="12760" cap="flat">
              <a:solidFill>
                <a:srgbClr val="000000"/>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sp>
          <p:nvSpPr>
            <p:cNvPr id="112" name="Freeform: Shape 111">
              <a:extLst>
                <a:ext uri="{FF2B5EF4-FFF2-40B4-BE49-F238E27FC236}">
                  <a16:creationId xmlns="" xmlns:a16="http://schemas.microsoft.com/office/drawing/2014/main" id="{3347F7BE-5328-EF16-04E0-D6C0DC648635}"/>
                </a:ext>
              </a:extLst>
            </p:cNvPr>
            <p:cNvSpPr/>
            <p:nvPr/>
          </p:nvSpPr>
          <p:spPr>
            <a:xfrm>
              <a:off x="9960142" y="3133387"/>
              <a:ext cx="62823" cy="12646"/>
            </a:xfrm>
            <a:custGeom>
              <a:avLst/>
              <a:gdLst>
                <a:gd name="connsiteX0" fmla="*/ 0 w 62823"/>
                <a:gd name="connsiteY0" fmla="*/ 0 h 12646"/>
                <a:gd name="connsiteX1" fmla="*/ 62823 w 62823"/>
                <a:gd name="connsiteY1" fmla="*/ 0 h 12646"/>
              </a:gdLst>
              <a:ahLst/>
              <a:cxnLst>
                <a:cxn ang="0">
                  <a:pos x="connsiteX0" y="connsiteY0"/>
                </a:cxn>
                <a:cxn ang="0">
                  <a:pos x="connsiteX1" y="connsiteY1"/>
                </a:cxn>
              </a:cxnLst>
              <a:rect l="l" t="t" r="r" b="b"/>
              <a:pathLst>
                <a:path w="62823" h="12646">
                  <a:moveTo>
                    <a:pt x="0" y="0"/>
                  </a:moveTo>
                  <a:lnTo>
                    <a:pt x="62823" y="0"/>
                  </a:lnTo>
                </a:path>
              </a:pathLst>
            </a:custGeom>
            <a:grpFill/>
            <a:ln w="12760" cap="flat">
              <a:solidFill>
                <a:srgbClr val="000000"/>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sp>
          <p:nvSpPr>
            <p:cNvPr id="113" name="Freeform: Shape 112">
              <a:extLst>
                <a:ext uri="{FF2B5EF4-FFF2-40B4-BE49-F238E27FC236}">
                  <a16:creationId xmlns="" xmlns:a16="http://schemas.microsoft.com/office/drawing/2014/main" id="{A88BA868-0ACF-5506-1771-BDA0FAD9F813}"/>
                </a:ext>
              </a:extLst>
            </p:cNvPr>
            <p:cNvSpPr/>
            <p:nvPr/>
          </p:nvSpPr>
          <p:spPr>
            <a:xfrm>
              <a:off x="9878872" y="3109106"/>
              <a:ext cx="12900" cy="50078"/>
            </a:xfrm>
            <a:custGeom>
              <a:avLst/>
              <a:gdLst>
                <a:gd name="connsiteX0" fmla="*/ 0 w 12900"/>
                <a:gd name="connsiteY0" fmla="*/ 0 h 50078"/>
                <a:gd name="connsiteX1" fmla="*/ 0 w 12900"/>
                <a:gd name="connsiteY1" fmla="*/ 50079 h 50078"/>
              </a:gdLst>
              <a:ahLst/>
              <a:cxnLst>
                <a:cxn ang="0">
                  <a:pos x="connsiteX0" y="connsiteY0"/>
                </a:cxn>
                <a:cxn ang="0">
                  <a:pos x="connsiteX1" y="connsiteY1"/>
                </a:cxn>
              </a:cxnLst>
              <a:rect l="l" t="t" r="r" b="b"/>
              <a:pathLst>
                <a:path w="12900" h="50078">
                  <a:moveTo>
                    <a:pt x="0" y="0"/>
                  </a:moveTo>
                  <a:lnTo>
                    <a:pt x="0" y="50079"/>
                  </a:lnTo>
                </a:path>
              </a:pathLst>
            </a:custGeom>
            <a:grpFill/>
            <a:ln w="12760" cap="flat">
              <a:solidFill>
                <a:srgbClr val="000000"/>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sp>
          <p:nvSpPr>
            <p:cNvPr id="114" name="Freeform: Shape 113">
              <a:extLst>
                <a:ext uri="{FF2B5EF4-FFF2-40B4-BE49-F238E27FC236}">
                  <a16:creationId xmlns="" xmlns:a16="http://schemas.microsoft.com/office/drawing/2014/main" id="{3F3BCE52-3A01-BED2-FF96-C80CD7729F49}"/>
                </a:ext>
              </a:extLst>
            </p:cNvPr>
            <p:cNvSpPr/>
            <p:nvPr/>
          </p:nvSpPr>
          <p:spPr>
            <a:xfrm>
              <a:off x="10022965" y="3109106"/>
              <a:ext cx="12900" cy="50078"/>
            </a:xfrm>
            <a:custGeom>
              <a:avLst/>
              <a:gdLst>
                <a:gd name="connsiteX0" fmla="*/ 0 w 12900"/>
                <a:gd name="connsiteY0" fmla="*/ 0 h 50078"/>
                <a:gd name="connsiteX1" fmla="*/ 0 w 12900"/>
                <a:gd name="connsiteY1" fmla="*/ 50079 h 50078"/>
              </a:gdLst>
              <a:ahLst/>
              <a:cxnLst>
                <a:cxn ang="0">
                  <a:pos x="connsiteX0" y="connsiteY0"/>
                </a:cxn>
                <a:cxn ang="0">
                  <a:pos x="connsiteX1" y="connsiteY1"/>
                </a:cxn>
              </a:cxnLst>
              <a:rect l="l" t="t" r="r" b="b"/>
              <a:pathLst>
                <a:path w="12900" h="50078">
                  <a:moveTo>
                    <a:pt x="0" y="0"/>
                  </a:moveTo>
                  <a:lnTo>
                    <a:pt x="0" y="50079"/>
                  </a:lnTo>
                </a:path>
              </a:pathLst>
            </a:custGeom>
            <a:grpFill/>
            <a:ln w="12760" cap="flat">
              <a:solidFill>
                <a:srgbClr val="000000"/>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sp>
          <p:nvSpPr>
            <p:cNvPr id="115" name="Freeform: Shape 114">
              <a:extLst>
                <a:ext uri="{FF2B5EF4-FFF2-40B4-BE49-F238E27FC236}">
                  <a16:creationId xmlns="" xmlns:a16="http://schemas.microsoft.com/office/drawing/2014/main" id="{625BE7B1-FDFA-8030-8597-BE8C9280DEF4}"/>
                </a:ext>
              </a:extLst>
            </p:cNvPr>
            <p:cNvSpPr/>
            <p:nvPr/>
          </p:nvSpPr>
          <p:spPr>
            <a:xfrm>
              <a:off x="9933439" y="3107335"/>
              <a:ext cx="54953" cy="53872"/>
            </a:xfrm>
            <a:custGeom>
              <a:avLst/>
              <a:gdLst>
                <a:gd name="connsiteX0" fmla="*/ 54343 w 54953"/>
                <a:gd name="connsiteY0" fmla="*/ 26636 h 53872"/>
                <a:gd name="connsiteX1" fmla="*/ 26995 w 54953"/>
                <a:gd name="connsiteY1" fmla="*/ 53698 h 53872"/>
                <a:gd name="connsiteX2" fmla="*/ -611 w 54953"/>
                <a:gd name="connsiteY2" fmla="*/ 26889 h 53872"/>
                <a:gd name="connsiteX3" fmla="*/ 26737 w 54953"/>
                <a:gd name="connsiteY3" fmla="*/ -174 h 53872"/>
                <a:gd name="connsiteX4" fmla="*/ 26995 w 54953"/>
                <a:gd name="connsiteY4" fmla="*/ -174 h 53872"/>
                <a:gd name="connsiteX5" fmla="*/ 54343 w 54953"/>
                <a:gd name="connsiteY5" fmla="*/ 26636 h 53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953" h="53872">
                  <a:moveTo>
                    <a:pt x="54343" y="26636"/>
                  </a:moveTo>
                  <a:cubicBezTo>
                    <a:pt x="54407" y="41507"/>
                    <a:pt x="42165" y="53623"/>
                    <a:pt x="26995" y="53698"/>
                  </a:cubicBezTo>
                  <a:cubicBezTo>
                    <a:pt x="11825" y="53762"/>
                    <a:pt x="-534" y="41760"/>
                    <a:pt x="-611" y="26889"/>
                  </a:cubicBezTo>
                  <a:cubicBezTo>
                    <a:pt x="-675" y="12017"/>
                    <a:pt x="11566" y="-98"/>
                    <a:pt x="26737" y="-174"/>
                  </a:cubicBezTo>
                  <a:cubicBezTo>
                    <a:pt x="26827" y="-174"/>
                    <a:pt x="26905" y="-174"/>
                    <a:pt x="26995" y="-174"/>
                  </a:cubicBezTo>
                  <a:cubicBezTo>
                    <a:pt x="42101" y="-174"/>
                    <a:pt x="54343" y="11827"/>
                    <a:pt x="54343" y="26636"/>
                  </a:cubicBezTo>
                </a:path>
              </a:pathLst>
            </a:custGeom>
            <a:grpFill/>
            <a:ln w="12889" cap="flat">
              <a:solidFill>
                <a:srgbClr val="000000"/>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grpSp>
      <p:grpSp>
        <p:nvGrpSpPr>
          <p:cNvPr id="116" name="Group 115">
            <a:extLst>
              <a:ext uri="{FF2B5EF4-FFF2-40B4-BE49-F238E27FC236}">
                <a16:creationId xmlns="" xmlns:a16="http://schemas.microsoft.com/office/drawing/2014/main" id="{EDA4A0D7-810A-5D4A-07C5-D977E5FDBC99}"/>
              </a:ext>
            </a:extLst>
          </p:cNvPr>
          <p:cNvGrpSpPr/>
          <p:nvPr/>
        </p:nvGrpSpPr>
        <p:grpSpPr>
          <a:xfrm>
            <a:off x="7183558" y="2302228"/>
            <a:ext cx="59598" cy="40404"/>
            <a:chOff x="10070954" y="2933577"/>
            <a:chExt cx="79464" cy="53872"/>
          </a:xfrm>
          <a:solidFill>
            <a:schemeClr val="accent1"/>
          </a:solidFill>
        </p:grpSpPr>
        <p:sp>
          <p:nvSpPr>
            <p:cNvPr id="117" name="Freeform: Shape 116">
              <a:extLst>
                <a:ext uri="{FF2B5EF4-FFF2-40B4-BE49-F238E27FC236}">
                  <a16:creationId xmlns="" xmlns:a16="http://schemas.microsoft.com/office/drawing/2014/main" id="{81E08D31-DAB4-53BD-9548-336E660F0C5E}"/>
                </a:ext>
              </a:extLst>
            </p:cNvPr>
            <p:cNvSpPr/>
            <p:nvPr/>
          </p:nvSpPr>
          <p:spPr>
            <a:xfrm>
              <a:off x="10070954" y="2961272"/>
              <a:ext cx="37023" cy="12646"/>
            </a:xfrm>
            <a:custGeom>
              <a:avLst/>
              <a:gdLst>
                <a:gd name="connsiteX0" fmla="*/ 0 w 37023"/>
                <a:gd name="connsiteY0" fmla="*/ 0 h 12646"/>
                <a:gd name="connsiteX1" fmla="*/ 37023 w 37023"/>
                <a:gd name="connsiteY1" fmla="*/ 0 h 12646"/>
              </a:gdLst>
              <a:ahLst/>
              <a:cxnLst>
                <a:cxn ang="0">
                  <a:pos x="connsiteX0" y="connsiteY0"/>
                </a:cxn>
                <a:cxn ang="0">
                  <a:pos x="connsiteX1" y="connsiteY1"/>
                </a:cxn>
              </a:cxnLst>
              <a:rect l="l" t="t" r="r" b="b"/>
              <a:pathLst>
                <a:path w="37023" h="12646">
                  <a:moveTo>
                    <a:pt x="0" y="0"/>
                  </a:moveTo>
                  <a:lnTo>
                    <a:pt x="37023" y="0"/>
                  </a:lnTo>
                </a:path>
              </a:pathLst>
            </a:custGeom>
            <a:grpFill/>
            <a:ln w="12760" cap="flat">
              <a:solidFill>
                <a:srgbClr val="000000"/>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sp>
          <p:nvSpPr>
            <p:cNvPr id="118" name="Freeform: Shape 117">
              <a:extLst>
                <a:ext uri="{FF2B5EF4-FFF2-40B4-BE49-F238E27FC236}">
                  <a16:creationId xmlns="" xmlns:a16="http://schemas.microsoft.com/office/drawing/2014/main" id="{C4C2FD38-AECF-309C-9E36-3C801E47CC9C}"/>
                </a:ext>
              </a:extLst>
            </p:cNvPr>
            <p:cNvSpPr/>
            <p:nvPr/>
          </p:nvSpPr>
          <p:spPr>
            <a:xfrm>
              <a:off x="10107977" y="2961272"/>
              <a:ext cx="29541" cy="12646"/>
            </a:xfrm>
            <a:custGeom>
              <a:avLst/>
              <a:gdLst>
                <a:gd name="connsiteX0" fmla="*/ 0 w 29541"/>
                <a:gd name="connsiteY0" fmla="*/ 0 h 12646"/>
                <a:gd name="connsiteX1" fmla="*/ 29541 w 29541"/>
                <a:gd name="connsiteY1" fmla="*/ 0 h 12646"/>
              </a:gdLst>
              <a:ahLst/>
              <a:cxnLst>
                <a:cxn ang="0">
                  <a:pos x="connsiteX0" y="connsiteY0"/>
                </a:cxn>
                <a:cxn ang="0">
                  <a:pos x="connsiteX1" y="connsiteY1"/>
                </a:cxn>
              </a:cxnLst>
              <a:rect l="l" t="t" r="r" b="b"/>
              <a:pathLst>
                <a:path w="29541" h="12646">
                  <a:moveTo>
                    <a:pt x="0" y="0"/>
                  </a:moveTo>
                  <a:lnTo>
                    <a:pt x="29541" y="0"/>
                  </a:lnTo>
                </a:path>
              </a:pathLst>
            </a:custGeom>
            <a:grpFill/>
            <a:ln w="12760" cap="flat">
              <a:solidFill>
                <a:srgbClr val="000000"/>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sp>
          <p:nvSpPr>
            <p:cNvPr id="119" name="Freeform: Shape 118">
              <a:extLst>
                <a:ext uri="{FF2B5EF4-FFF2-40B4-BE49-F238E27FC236}">
                  <a16:creationId xmlns="" xmlns:a16="http://schemas.microsoft.com/office/drawing/2014/main" id="{B258B2BC-DC04-F890-2B95-F193315A081E}"/>
                </a:ext>
              </a:extLst>
            </p:cNvPr>
            <p:cNvSpPr/>
            <p:nvPr/>
          </p:nvSpPr>
          <p:spPr>
            <a:xfrm>
              <a:off x="10070954" y="2935348"/>
              <a:ext cx="12900" cy="50205"/>
            </a:xfrm>
            <a:custGeom>
              <a:avLst/>
              <a:gdLst>
                <a:gd name="connsiteX0" fmla="*/ 0 w 12900"/>
                <a:gd name="connsiteY0" fmla="*/ 0 h 50205"/>
                <a:gd name="connsiteX1" fmla="*/ 0 w 12900"/>
                <a:gd name="connsiteY1" fmla="*/ 50205 h 50205"/>
              </a:gdLst>
              <a:ahLst/>
              <a:cxnLst>
                <a:cxn ang="0">
                  <a:pos x="connsiteX0" y="connsiteY0"/>
                </a:cxn>
                <a:cxn ang="0">
                  <a:pos x="connsiteX1" y="connsiteY1"/>
                </a:cxn>
              </a:cxnLst>
              <a:rect l="l" t="t" r="r" b="b"/>
              <a:pathLst>
                <a:path w="12900" h="50205">
                  <a:moveTo>
                    <a:pt x="0" y="0"/>
                  </a:moveTo>
                  <a:lnTo>
                    <a:pt x="0" y="50205"/>
                  </a:lnTo>
                </a:path>
              </a:pathLst>
            </a:custGeom>
            <a:grpFill/>
            <a:ln w="12760" cap="flat">
              <a:solidFill>
                <a:srgbClr val="000000"/>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sp>
          <p:nvSpPr>
            <p:cNvPr id="120" name="Freeform: Shape 119">
              <a:extLst>
                <a:ext uri="{FF2B5EF4-FFF2-40B4-BE49-F238E27FC236}">
                  <a16:creationId xmlns="" xmlns:a16="http://schemas.microsoft.com/office/drawing/2014/main" id="{9B369340-B1C6-4381-EDF5-703A9B77712F}"/>
                </a:ext>
              </a:extLst>
            </p:cNvPr>
            <p:cNvSpPr/>
            <p:nvPr/>
          </p:nvSpPr>
          <p:spPr>
            <a:xfrm>
              <a:off x="10137518" y="2935348"/>
              <a:ext cx="12900" cy="50205"/>
            </a:xfrm>
            <a:custGeom>
              <a:avLst/>
              <a:gdLst>
                <a:gd name="connsiteX0" fmla="*/ 0 w 12900"/>
                <a:gd name="connsiteY0" fmla="*/ 0 h 50205"/>
                <a:gd name="connsiteX1" fmla="*/ 0 w 12900"/>
                <a:gd name="connsiteY1" fmla="*/ 50205 h 50205"/>
              </a:gdLst>
              <a:ahLst/>
              <a:cxnLst>
                <a:cxn ang="0">
                  <a:pos x="connsiteX0" y="connsiteY0"/>
                </a:cxn>
                <a:cxn ang="0">
                  <a:pos x="connsiteX1" y="connsiteY1"/>
                </a:cxn>
              </a:cxnLst>
              <a:rect l="l" t="t" r="r" b="b"/>
              <a:pathLst>
                <a:path w="12900" h="50205">
                  <a:moveTo>
                    <a:pt x="0" y="0"/>
                  </a:moveTo>
                  <a:lnTo>
                    <a:pt x="0" y="50205"/>
                  </a:lnTo>
                </a:path>
              </a:pathLst>
            </a:custGeom>
            <a:grpFill/>
            <a:ln w="12760" cap="flat">
              <a:solidFill>
                <a:srgbClr val="000000"/>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sp>
          <p:nvSpPr>
            <p:cNvPr id="121" name="Freeform: Shape 120">
              <a:extLst>
                <a:ext uri="{FF2B5EF4-FFF2-40B4-BE49-F238E27FC236}">
                  <a16:creationId xmlns="" xmlns:a16="http://schemas.microsoft.com/office/drawing/2014/main" id="{93B2BB25-4550-D6A4-7D23-36DAC50790AA}"/>
                </a:ext>
              </a:extLst>
            </p:cNvPr>
            <p:cNvSpPr/>
            <p:nvPr/>
          </p:nvSpPr>
          <p:spPr>
            <a:xfrm>
              <a:off x="10080370" y="2933577"/>
              <a:ext cx="54954" cy="53872"/>
            </a:xfrm>
            <a:custGeom>
              <a:avLst/>
              <a:gdLst>
                <a:gd name="connsiteX0" fmla="*/ 54343 w 54954"/>
                <a:gd name="connsiteY0" fmla="*/ 26762 h 53872"/>
                <a:gd name="connsiteX1" fmla="*/ 26866 w 54954"/>
                <a:gd name="connsiteY1" fmla="*/ 53699 h 53872"/>
                <a:gd name="connsiteX2" fmla="*/ -611 w 54954"/>
                <a:gd name="connsiteY2" fmla="*/ 26762 h 53872"/>
                <a:gd name="connsiteX3" fmla="*/ 26866 w 54954"/>
                <a:gd name="connsiteY3" fmla="*/ -174 h 53872"/>
                <a:gd name="connsiteX4" fmla="*/ 54343 w 54954"/>
                <a:gd name="connsiteY4" fmla="*/ 26509 h 53872"/>
                <a:gd name="connsiteX5" fmla="*/ 54343 w 54954"/>
                <a:gd name="connsiteY5" fmla="*/ 26762 h 53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954" h="53872">
                  <a:moveTo>
                    <a:pt x="54343" y="26762"/>
                  </a:moveTo>
                  <a:cubicBezTo>
                    <a:pt x="54343" y="41634"/>
                    <a:pt x="42037" y="53699"/>
                    <a:pt x="26866" y="53699"/>
                  </a:cubicBezTo>
                  <a:cubicBezTo>
                    <a:pt x="11696" y="53699"/>
                    <a:pt x="-611" y="41634"/>
                    <a:pt x="-611" y="26762"/>
                  </a:cubicBezTo>
                  <a:cubicBezTo>
                    <a:pt x="-611" y="11890"/>
                    <a:pt x="11696" y="-174"/>
                    <a:pt x="26866" y="-174"/>
                  </a:cubicBezTo>
                  <a:cubicBezTo>
                    <a:pt x="41972" y="-250"/>
                    <a:pt x="54266" y="11701"/>
                    <a:pt x="54343" y="26509"/>
                  </a:cubicBezTo>
                  <a:cubicBezTo>
                    <a:pt x="54343" y="26598"/>
                    <a:pt x="54343" y="26674"/>
                    <a:pt x="54343" y="26762"/>
                  </a:cubicBezTo>
                </a:path>
              </a:pathLst>
            </a:custGeom>
            <a:grpFill/>
            <a:ln w="12889" cap="flat">
              <a:solidFill>
                <a:srgbClr val="000000"/>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grpSp>
      <p:grpSp>
        <p:nvGrpSpPr>
          <p:cNvPr id="122" name="Group 121">
            <a:extLst>
              <a:ext uri="{FF2B5EF4-FFF2-40B4-BE49-F238E27FC236}">
                <a16:creationId xmlns="" xmlns:a16="http://schemas.microsoft.com/office/drawing/2014/main" id="{5E298EE5-C3B4-6830-7107-864BE0D5AA67}"/>
              </a:ext>
            </a:extLst>
          </p:cNvPr>
          <p:cNvGrpSpPr/>
          <p:nvPr/>
        </p:nvGrpSpPr>
        <p:grpSpPr>
          <a:xfrm>
            <a:off x="7069991" y="2058134"/>
            <a:ext cx="91429" cy="40404"/>
            <a:chOff x="9919507" y="2785238"/>
            <a:chExt cx="121905" cy="53872"/>
          </a:xfrm>
        </p:grpSpPr>
        <p:sp>
          <p:nvSpPr>
            <p:cNvPr id="123" name="Freeform: Shape 122">
              <a:extLst>
                <a:ext uri="{FF2B5EF4-FFF2-40B4-BE49-F238E27FC236}">
                  <a16:creationId xmlns="" xmlns:a16="http://schemas.microsoft.com/office/drawing/2014/main" id="{723065EC-6E0B-3D38-E52F-62E635F334A8}"/>
                </a:ext>
              </a:extLst>
            </p:cNvPr>
            <p:cNvSpPr/>
            <p:nvPr/>
          </p:nvSpPr>
          <p:spPr>
            <a:xfrm>
              <a:off x="9919507" y="2812807"/>
              <a:ext cx="60888" cy="12646"/>
            </a:xfrm>
            <a:custGeom>
              <a:avLst/>
              <a:gdLst>
                <a:gd name="connsiteX0" fmla="*/ 0 w 60888"/>
                <a:gd name="connsiteY0" fmla="*/ 0 h 12646"/>
                <a:gd name="connsiteX1" fmla="*/ 60888 w 60888"/>
                <a:gd name="connsiteY1" fmla="*/ 0 h 12646"/>
              </a:gdLst>
              <a:ahLst/>
              <a:cxnLst>
                <a:cxn ang="0">
                  <a:pos x="connsiteX0" y="connsiteY0"/>
                </a:cxn>
                <a:cxn ang="0">
                  <a:pos x="connsiteX1" y="connsiteY1"/>
                </a:cxn>
              </a:cxnLst>
              <a:rect l="l" t="t" r="r" b="b"/>
              <a:pathLst>
                <a:path w="60888" h="12646">
                  <a:moveTo>
                    <a:pt x="0" y="0"/>
                  </a:moveTo>
                  <a:lnTo>
                    <a:pt x="60888" y="0"/>
                  </a:lnTo>
                </a:path>
              </a:pathLst>
            </a:custGeom>
            <a:ln w="12760" cap="flat">
              <a:solidFill>
                <a:srgbClr val="000000"/>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sp>
          <p:nvSpPr>
            <p:cNvPr id="124" name="Freeform: Shape 123">
              <a:extLst>
                <a:ext uri="{FF2B5EF4-FFF2-40B4-BE49-F238E27FC236}">
                  <a16:creationId xmlns="" xmlns:a16="http://schemas.microsoft.com/office/drawing/2014/main" id="{DB69D62C-29FF-66AE-3823-9CDB6DFCBEDC}"/>
                </a:ext>
              </a:extLst>
            </p:cNvPr>
            <p:cNvSpPr/>
            <p:nvPr/>
          </p:nvSpPr>
          <p:spPr>
            <a:xfrm>
              <a:off x="9980395" y="2812807"/>
              <a:ext cx="48117" cy="12646"/>
            </a:xfrm>
            <a:custGeom>
              <a:avLst/>
              <a:gdLst>
                <a:gd name="connsiteX0" fmla="*/ 0 w 48117"/>
                <a:gd name="connsiteY0" fmla="*/ 0 h 12646"/>
                <a:gd name="connsiteX1" fmla="*/ 48117 w 48117"/>
                <a:gd name="connsiteY1" fmla="*/ 0 h 12646"/>
              </a:gdLst>
              <a:ahLst/>
              <a:cxnLst>
                <a:cxn ang="0">
                  <a:pos x="connsiteX0" y="connsiteY0"/>
                </a:cxn>
                <a:cxn ang="0">
                  <a:pos x="connsiteX1" y="connsiteY1"/>
                </a:cxn>
              </a:cxnLst>
              <a:rect l="l" t="t" r="r" b="b"/>
              <a:pathLst>
                <a:path w="48117" h="12646">
                  <a:moveTo>
                    <a:pt x="0" y="0"/>
                  </a:moveTo>
                  <a:lnTo>
                    <a:pt x="48117" y="0"/>
                  </a:lnTo>
                </a:path>
              </a:pathLst>
            </a:custGeom>
            <a:ln w="12760" cap="flat">
              <a:solidFill>
                <a:srgbClr val="000000"/>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sp>
          <p:nvSpPr>
            <p:cNvPr id="125" name="Freeform: Shape 124">
              <a:extLst>
                <a:ext uri="{FF2B5EF4-FFF2-40B4-BE49-F238E27FC236}">
                  <a16:creationId xmlns="" xmlns:a16="http://schemas.microsoft.com/office/drawing/2014/main" id="{9091CBBC-3E0F-DA7C-39E1-26C6ACC7423E}"/>
                </a:ext>
              </a:extLst>
            </p:cNvPr>
            <p:cNvSpPr/>
            <p:nvPr/>
          </p:nvSpPr>
          <p:spPr>
            <a:xfrm>
              <a:off x="9919507" y="2787008"/>
              <a:ext cx="12900" cy="50205"/>
            </a:xfrm>
            <a:custGeom>
              <a:avLst/>
              <a:gdLst>
                <a:gd name="connsiteX0" fmla="*/ 0 w 12900"/>
                <a:gd name="connsiteY0" fmla="*/ 0 h 50205"/>
                <a:gd name="connsiteX1" fmla="*/ 0 w 12900"/>
                <a:gd name="connsiteY1" fmla="*/ 50205 h 50205"/>
              </a:gdLst>
              <a:ahLst/>
              <a:cxnLst>
                <a:cxn ang="0">
                  <a:pos x="connsiteX0" y="connsiteY0"/>
                </a:cxn>
                <a:cxn ang="0">
                  <a:pos x="connsiteX1" y="connsiteY1"/>
                </a:cxn>
              </a:cxnLst>
              <a:rect l="l" t="t" r="r" b="b"/>
              <a:pathLst>
                <a:path w="12900" h="50205">
                  <a:moveTo>
                    <a:pt x="0" y="0"/>
                  </a:moveTo>
                  <a:lnTo>
                    <a:pt x="0" y="50205"/>
                  </a:lnTo>
                </a:path>
              </a:pathLst>
            </a:custGeom>
            <a:ln w="12760" cap="flat">
              <a:solidFill>
                <a:srgbClr val="000000"/>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sp>
          <p:nvSpPr>
            <p:cNvPr id="126" name="Freeform: Shape 125">
              <a:extLst>
                <a:ext uri="{FF2B5EF4-FFF2-40B4-BE49-F238E27FC236}">
                  <a16:creationId xmlns="" xmlns:a16="http://schemas.microsoft.com/office/drawing/2014/main" id="{61D65535-B929-6DBB-E6F0-1B9356EDF723}"/>
                </a:ext>
              </a:extLst>
            </p:cNvPr>
            <p:cNvSpPr/>
            <p:nvPr/>
          </p:nvSpPr>
          <p:spPr>
            <a:xfrm>
              <a:off x="10028512" y="2787008"/>
              <a:ext cx="12900" cy="50205"/>
            </a:xfrm>
            <a:custGeom>
              <a:avLst/>
              <a:gdLst>
                <a:gd name="connsiteX0" fmla="*/ 0 w 12900"/>
                <a:gd name="connsiteY0" fmla="*/ 0 h 50205"/>
                <a:gd name="connsiteX1" fmla="*/ 0 w 12900"/>
                <a:gd name="connsiteY1" fmla="*/ 50205 h 50205"/>
              </a:gdLst>
              <a:ahLst/>
              <a:cxnLst>
                <a:cxn ang="0">
                  <a:pos x="connsiteX0" y="connsiteY0"/>
                </a:cxn>
                <a:cxn ang="0">
                  <a:pos x="connsiteX1" y="connsiteY1"/>
                </a:cxn>
              </a:cxnLst>
              <a:rect l="l" t="t" r="r" b="b"/>
              <a:pathLst>
                <a:path w="12900" h="50205">
                  <a:moveTo>
                    <a:pt x="0" y="0"/>
                  </a:moveTo>
                  <a:lnTo>
                    <a:pt x="0" y="50205"/>
                  </a:lnTo>
                </a:path>
              </a:pathLst>
            </a:custGeom>
            <a:ln w="12760" cap="flat">
              <a:solidFill>
                <a:srgbClr val="000000"/>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sp>
          <p:nvSpPr>
            <p:cNvPr id="127" name="Freeform: Shape 126">
              <a:extLst>
                <a:ext uri="{FF2B5EF4-FFF2-40B4-BE49-F238E27FC236}">
                  <a16:creationId xmlns="" xmlns:a16="http://schemas.microsoft.com/office/drawing/2014/main" id="{A124E6A0-0042-B44F-6955-7A36258FCBC5}"/>
                </a:ext>
              </a:extLst>
            </p:cNvPr>
            <p:cNvSpPr/>
            <p:nvPr/>
          </p:nvSpPr>
          <p:spPr>
            <a:xfrm>
              <a:off x="9952918" y="2785238"/>
              <a:ext cx="54954" cy="53872"/>
            </a:xfrm>
            <a:custGeom>
              <a:avLst/>
              <a:gdLst>
                <a:gd name="connsiteX0" fmla="*/ 54343 w 54954"/>
                <a:gd name="connsiteY0" fmla="*/ 26635 h 53872"/>
                <a:gd name="connsiteX1" fmla="*/ 26995 w 54954"/>
                <a:gd name="connsiteY1" fmla="*/ 53698 h 53872"/>
                <a:gd name="connsiteX2" fmla="*/ -611 w 54954"/>
                <a:gd name="connsiteY2" fmla="*/ 26888 h 53872"/>
                <a:gd name="connsiteX3" fmla="*/ 26737 w 54954"/>
                <a:gd name="connsiteY3" fmla="*/ -174 h 53872"/>
                <a:gd name="connsiteX4" fmla="*/ 26866 w 54954"/>
                <a:gd name="connsiteY4" fmla="*/ -174 h 53872"/>
                <a:gd name="connsiteX5" fmla="*/ 54343 w 54954"/>
                <a:gd name="connsiteY5" fmla="*/ 26635 h 53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954" h="53872">
                  <a:moveTo>
                    <a:pt x="54343" y="26635"/>
                  </a:moveTo>
                  <a:cubicBezTo>
                    <a:pt x="54408" y="41507"/>
                    <a:pt x="42166" y="53622"/>
                    <a:pt x="26995" y="53698"/>
                  </a:cubicBezTo>
                  <a:cubicBezTo>
                    <a:pt x="11825" y="53774"/>
                    <a:pt x="-533" y="41760"/>
                    <a:pt x="-611" y="26888"/>
                  </a:cubicBezTo>
                  <a:cubicBezTo>
                    <a:pt x="-675" y="12016"/>
                    <a:pt x="11567" y="-99"/>
                    <a:pt x="26737" y="-174"/>
                  </a:cubicBezTo>
                  <a:cubicBezTo>
                    <a:pt x="26776" y="-174"/>
                    <a:pt x="26828" y="-174"/>
                    <a:pt x="26866" y="-174"/>
                  </a:cubicBezTo>
                  <a:cubicBezTo>
                    <a:pt x="41985" y="-174"/>
                    <a:pt x="54266" y="11814"/>
                    <a:pt x="54343" y="26635"/>
                  </a:cubicBezTo>
                </a:path>
              </a:pathLst>
            </a:custGeom>
            <a:solidFill>
              <a:schemeClr val="accent1"/>
            </a:solidFill>
            <a:ln w="12889" cap="flat">
              <a:solidFill>
                <a:srgbClr val="000000"/>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grpSp>
      <p:grpSp>
        <p:nvGrpSpPr>
          <p:cNvPr id="128" name="Group 127">
            <a:extLst>
              <a:ext uri="{FF2B5EF4-FFF2-40B4-BE49-F238E27FC236}">
                <a16:creationId xmlns="" xmlns:a16="http://schemas.microsoft.com/office/drawing/2014/main" id="{B33170CB-F775-8817-1DB3-4310F0373178}"/>
              </a:ext>
            </a:extLst>
          </p:cNvPr>
          <p:cNvGrpSpPr/>
          <p:nvPr/>
        </p:nvGrpSpPr>
        <p:grpSpPr>
          <a:xfrm>
            <a:off x="7123959" y="1814041"/>
            <a:ext cx="54084" cy="40404"/>
            <a:chOff x="9991489" y="2625643"/>
            <a:chExt cx="72112" cy="53872"/>
          </a:xfrm>
        </p:grpSpPr>
        <p:sp>
          <p:nvSpPr>
            <p:cNvPr id="129" name="Freeform: Shape 128">
              <a:extLst>
                <a:ext uri="{FF2B5EF4-FFF2-40B4-BE49-F238E27FC236}">
                  <a16:creationId xmlns="" xmlns:a16="http://schemas.microsoft.com/office/drawing/2014/main" id="{B8E2F254-801C-23FE-80E9-87B3692979F9}"/>
                </a:ext>
              </a:extLst>
            </p:cNvPr>
            <p:cNvSpPr/>
            <p:nvPr/>
          </p:nvSpPr>
          <p:spPr>
            <a:xfrm>
              <a:off x="9991489" y="2651821"/>
              <a:ext cx="31476" cy="12646"/>
            </a:xfrm>
            <a:custGeom>
              <a:avLst/>
              <a:gdLst>
                <a:gd name="connsiteX0" fmla="*/ 0 w 31476"/>
                <a:gd name="connsiteY0" fmla="*/ 0 h 12646"/>
                <a:gd name="connsiteX1" fmla="*/ 31476 w 31476"/>
                <a:gd name="connsiteY1" fmla="*/ 0 h 12646"/>
              </a:gdLst>
              <a:ahLst/>
              <a:cxnLst>
                <a:cxn ang="0">
                  <a:pos x="connsiteX0" y="connsiteY0"/>
                </a:cxn>
                <a:cxn ang="0">
                  <a:pos x="connsiteX1" y="connsiteY1"/>
                </a:cxn>
              </a:cxnLst>
              <a:rect l="l" t="t" r="r" b="b"/>
              <a:pathLst>
                <a:path w="31476" h="12646">
                  <a:moveTo>
                    <a:pt x="0" y="0"/>
                  </a:moveTo>
                  <a:lnTo>
                    <a:pt x="31476" y="0"/>
                  </a:lnTo>
                </a:path>
              </a:pathLst>
            </a:custGeom>
            <a:ln w="12760" cap="flat">
              <a:solidFill>
                <a:srgbClr val="000000"/>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sp>
          <p:nvSpPr>
            <p:cNvPr id="130" name="Freeform: Shape 129">
              <a:extLst>
                <a:ext uri="{FF2B5EF4-FFF2-40B4-BE49-F238E27FC236}">
                  <a16:creationId xmlns="" xmlns:a16="http://schemas.microsoft.com/office/drawing/2014/main" id="{CA8B3730-7308-A96E-37BB-B1423AE70C6F}"/>
                </a:ext>
              </a:extLst>
            </p:cNvPr>
            <p:cNvSpPr/>
            <p:nvPr/>
          </p:nvSpPr>
          <p:spPr>
            <a:xfrm>
              <a:off x="10022965" y="2651821"/>
              <a:ext cx="27735" cy="12646"/>
            </a:xfrm>
            <a:custGeom>
              <a:avLst/>
              <a:gdLst>
                <a:gd name="connsiteX0" fmla="*/ 0 w 27735"/>
                <a:gd name="connsiteY0" fmla="*/ 0 h 12646"/>
                <a:gd name="connsiteX1" fmla="*/ 27735 w 27735"/>
                <a:gd name="connsiteY1" fmla="*/ 0 h 12646"/>
              </a:gdLst>
              <a:ahLst/>
              <a:cxnLst>
                <a:cxn ang="0">
                  <a:pos x="connsiteX0" y="connsiteY0"/>
                </a:cxn>
                <a:cxn ang="0">
                  <a:pos x="connsiteX1" y="connsiteY1"/>
                </a:cxn>
              </a:cxnLst>
              <a:rect l="l" t="t" r="r" b="b"/>
              <a:pathLst>
                <a:path w="27735" h="12646">
                  <a:moveTo>
                    <a:pt x="0" y="0"/>
                  </a:moveTo>
                  <a:lnTo>
                    <a:pt x="27735" y="0"/>
                  </a:lnTo>
                </a:path>
              </a:pathLst>
            </a:custGeom>
            <a:ln w="12760" cap="flat">
              <a:solidFill>
                <a:srgbClr val="000000"/>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sp>
          <p:nvSpPr>
            <p:cNvPr id="131" name="Freeform: Shape 130">
              <a:extLst>
                <a:ext uri="{FF2B5EF4-FFF2-40B4-BE49-F238E27FC236}">
                  <a16:creationId xmlns="" xmlns:a16="http://schemas.microsoft.com/office/drawing/2014/main" id="{6AB02002-99C9-99E3-1F5B-9C7E34E0E301}"/>
                </a:ext>
              </a:extLst>
            </p:cNvPr>
            <p:cNvSpPr/>
            <p:nvPr/>
          </p:nvSpPr>
          <p:spPr>
            <a:xfrm>
              <a:off x="9991489" y="2627540"/>
              <a:ext cx="12900" cy="50078"/>
            </a:xfrm>
            <a:custGeom>
              <a:avLst/>
              <a:gdLst>
                <a:gd name="connsiteX0" fmla="*/ 0 w 12900"/>
                <a:gd name="connsiteY0" fmla="*/ 0 h 50078"/>
                <a:gd name="connsiteX1" fmla="*/ 0 w 12900"/>
                <a:gd name="connsiteY1" fmla="*/ 50079 h 50078"/>
              </a:gdLst>
              <a:ahLst/>
              <a:cxnLst>
                <a:cxn ang="0">
                  <a:pos x="connsiteX0" y="connsiteY0"/>
                </a:cxn>
                <a:cxn ang="0">
                  <a:pos x="connsiteX1" y="connsiteY1"/>
                </a:cxn>
              </a:cxnLst>
              <a:rect l="l" t="t" r="r" b="b"/>
              <a:pathLst>
                <a:path w="12900" h="50078">
                  <a:moveTo>
                    <a:pt x="0" y="0"/>
                  </a:moveTo>
                  <a:lnTo>
                    <a:pt x="0" y="50079"/>
                  </a:lnTo>
                </a:path>
              </a:pathLst>
            </a:custGeom>
            <a:ln w="12760" cap="flat">
              <a:solidFill>
                <a:srgbClr val="000000"/>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sp>
          <p:nvSpPr>
            <p:cNvPr id="132" name="Freeform: Shape 131">
              <a:extLst>
                <a:ext uri="{FF2B5EF4-FFF2-40B4-BE49-F238E27FC236}">
                  <a16:creationId xmlns="" xmlns:a16="http://schemas.microsoft.com/office/drawing/2014/main" id="{744B02A7-8D2B-B5D8-9B66-5EFD5C00887E}"/>
                </a:ext>
              </a:extLst>
            </p:cNvPr>
            <p:cNvSpPr/>
            <p:nvPr/>
          </p:nvSpPr>
          <p:spPr>
            <a:xfrm>
              <a:off x="10050701" y="2627540"/>
              <a:ext cx="12900" cy="50078"/>
            </a:xfrm>
            <a:custGeom>
              <a:avLst/>
              <a:gdLst>
                <a:gd name="connsiteX0" fmla="*/ 0 w 12900"/>
                <a:gd name="connsiteY0" fmla="*/ 0 h 50078"/>
                <a:gd name="connsiteX1" fmla="*/ 0 w 12900"/>
                <a:gd name="connsiteY1" fmla="*/ 50079 h 50078"/>
              </a:gdLst>
              <a:ahLst/>
              <a:cxnLst>
                <a:cxn ang="0">
                  <a:pos x="connsiteX0" y="connsiteY0"/>
                </a:cxn>
                <a:cxn ang="0">
                  <a:pos x="connsiteX1" y="connsiteY1"/>
                </a:cxn>
              </a:cxnLst>
              <a:rect l="l" t="t" r="r" b="b"/>
              <a:pathLst>
                <a:path w="12900" h="50078">
                  <a:moveTo>
                    <a:pt x="0" y="0"/>
                  </a:moveTo>
                  <a:lnTo>
                    <a:pt x="0" y="50079"/>
                  </a:lnTo>
                </a:path>
              </a:pathLst>
            </a:custGeom>
            <a:ln w="12760" cap="flat">
              <a:solidFill>
                <a:srgbClr val="000000"/>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sp>
          <p:nvSpPr>
            <p:cNvPr id="133" name="Freeform: Shape 132">
              <a:extLst>
                <a:ext uri="{FF2B5EF4-FFF2-40B4-BE49-F238E27FC236}">
                  <a16:creationId xmlns="" xmlns:a16="http://schemas.microsoft.com/office/drawing/2014/main" id="{F76AD65F-79DA-4CA1-883D-C4A39115DF40}"/>
                </a:ext>
              </a:extLst>
            </p:cNvPr>
            <p:cNvSpPr/>
            <p:nvPr/>
          </p:nvSpPr>
          <p:spPr>
            <a:xfrm>
              <a:off x="9996649" y="2625643"/>
              <a:ext cx="54954" cy="53872"/>
            </a:xfrm>
            <a:custGeom>
              <a:avLst/>
              <a:gdLst>
                <a:gd name="connsiteX0" fmla="*/ 54343 w 54954"/>
                <a:gd name="connsiteY0" fmla="*/ 26762 h 53872"/>
                <a:gd name="connsiteX1" fmla="*/ 26866 w 54954"/>
                <a:gd name="connsiteY1" fmla="*/ 53698 h 53872"/>
                <a:gd name="connsiteX2" fmla="*/ -611 w 54954"/>
                <a:gd name="connsiteY2" fmla="*/ 26762 h 53872"/>
                <a:gd name="connsiteX3" fmla="*/ 26866 w 54954"/>
                <a:gd name="connsiteY3" fmla="*/ -174 h 53872"/>
                <a:gd name="connsiteX4" fmla="*/ 26995 w 54954"/>
                <a:gd name="connsiteY4" fmla="*/ -174 h 53872"/>
                <a:gd name="connsiteX5" fmla="*/ 54343 w 54954"/>
                <a:gd name="connsiteY5" fmla="*/ 26762 h 53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954" h="53872">
                  <a:moveTo>
                    <a:pt x="54343" y="26762"/>
                  </a:moveTo>
                  <a:cubicBezTo>
                    <a:pt x="54343" y="41634"/>
                    <a:pt x="42037" y="53698"/>
                    <a:pt x="26866" y="53698"/>
                  </a:cubicBezTo>
                  <a:cubicBezTo>
                    <a:pt x="11695" y="53698"/>
                    <a:pt x="-611" y="41634"/>
                    <a:pt x="-611" y="26762"/>
                  </a:cubicBezTo>
                  <a:cubicBezTo>
                    <a:pt x="-611" y="11890"/>
                    <a:pt x="11695" y="-174"/>
                    <a:pt x="26866" y="-174"/>
                  </a:cubicBezTo>
                  <a:cubicBezTo>
                    <a:pt x="26905" y="-174"/>
                    <a:pt x="26957" y="-174"/>
                    <a:pt x="26995" y="-174"/>
                  </a:cubicBezTo>
                  <a:cubicBezTo>
                    <a:pt x="42114" y="-99"/>
                    <a:pt x="54343" y="11941"/>
                    <a:pt x="54343" y="26762"/>
                  </a:cubicBezTo>
                </a:path>
              </a:pathLst>
            </a:custGeom>
            <a:solidFill>
              <a:schemeClr val="accent1"/>
            </a:solidFill>
            <a:ln w="12889" cap="flat">
              <a:solidFill>
                <a:srgbClr val="000000"/>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grpSp>
      <p:grpSp>
        <p:nvGrpSpPr>
          <p:cNvPr id="134" name="Group 133">
            <a:extLst>
              <a:ext uri="{FF2B5EF4-FFF2-40B4-BE49-F238E27FC236}">
                <a16:creationId xmlns="" xmlns:a16="http://schemas.microsoft.com/office/drawing/2014/main" id="{5886EAA3-29FD-3CA3-D250-851D17046619}"/>
              </a:ext>
            </a:extLst>
          </p:cNvPr>
          <p:cNvGrpSpPr/>
          <p:nvPr/>
        </p:nvGrpSpPr>
        <p:grpSpPr>
          <a:xfrm>
            <a:off x="7114284" y="1567721"/>
            <a:ext cx="48472" cy="42649"/>
            <a:chOff x="9978589" y="2468452"/>
            <a:chExt cx="64629" cy="56865"/>
          </a:xfrm>
        </p:grpSpPr>
        <p:sp>
          <p:nvSpPr>
            <p:cNvPr id="135" name="Freeform: Shape 134">
              <a:extLst>
                <a:ext uri="{FF2B5EF4-FFF2-40B4-BE49-F238E27FC236}">
                  <a16:creationId xmlns="" xmlns:a16="http://schemas.microsoft.com/office/drawing/2014/main" id="{211C88FA-BC7F-C247-ADF1-1A1EE364CCDB}"/>
                </a:ext>
              </a:extLst>
            </p:cNvPr>
            <p:cNvSpPr/>
            <p:nvPr/>
          </p:nvSpPr>
          <p:spPr>
            <a:xfrm>
              <a:off x="9978589" y="2494250"/>
              <a:ext cx="27735" cy="12646"/>
            </a:xfrm>
            <a:custGeom>
              <a:avLst/>
              <a:gdLst>
                <a:gd name="connsiteX0" fmla="*/ 0 w 27735"/>
                <a:gd name="connsiteY0" fmla="*/ 0 h 12646"/>
                <a:gd name="connsiteX1" fmla="*/ 27735 w 27735"/>
                <a:gd name="connsiteY1" fmla="*/ 0 h 12646"/>
              </a:gdLst>
              <a:ahLst/>
              <a:cxnLst>
                <a:cxn ang="0">
                  <a:pos x="connsiteX0" y="connsiteY0"/>
                </a:cxn>
                <a:cxn ang="0">
                  <a:pos x="connsiteX1" y="connsiteY1"/>
                </a:cxn>
              </a:cxnLst>
              <a:rect l="l" t="t" r="r" b="b"/>
              <a:pathLst>
                <a:path w="27735" h="12646">
                  <a:moveTo>
                    <a:pt x="0" y="0"/>
                  </a:moveTo>
                  <a:lnTo>
                    <a:pt x="27735" y="0"/>
                  </a:lnTo>
                </a:path>
              </a:pathLst>
            </a:custGeom>
            <a:ln w="12760" cap="flat">
              <a:solidFill>
                <a:srgbClr val="000000"/>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sp>
          <p:nvSpPr>
            <p:cNvPr id="136" name="Freeform: Shape 135">
              <a:extLst>
                <a:ext uri="{FF2B5EF4-FFF2-40B4-BE49-F238E27FC236}">
                  <a16:creationId xmlns="" xmlns:a16="http://schemas.microsoft.com/office/drawing/2014/main" id="{C4DA8A91-B2F6-3E41-A5E7-4E1ED84018DF}"/>
                </a:ext>
              </a:extLst>
            </p:cNvPr>
            <p:cNvSpPr/>
            <p:nvPr/>
          </p:nvSpPr>
          <p:spPr>
            <a:xfrm>
              <a:off x="10006324" y="2494250"/>
              <a:ext cx="23994" cy="12646"/>
            </a:xfrm>
            <a:custGeom>
              <a:avLst/>
              <a:gdLst>
                <a:gd name="connsiteX0" fmla="*/ 0 w 23994"/>
                <a:gd name="connsiteY0" fmla="*/ 0 h 12646"/>
                <a:gd name="connsiteX1" fmla="*/ 23994 w 23994"/>
                <a:gd name="connsiteY1" fmla="*/ 0 h 12646"/>
              </a:gdLst>
              <a:ahLst/>
              <a:cxnLst>
                <a:cxn ang="0">
                  <a:pos x="connsiteX0" y="connsiteY0"/>
                </a:cxn>
                <a:cxn ang="0">
                  <a:pos x="connsiteX1" y="connsiteY1"/>
                </a:cxn>
              </a:cxnLst>
              <a:rect l="l" t="t" r="r" b="b"/>
              <a:pathLst>
                <a:path w="23994" h="12646">
                  <a:moveTo>
                    <a:pt x="0" y="0"/>
                  </a:moveTo>
                  <a:lnTo>
                    <a:pt x="23994" y="0"/>
                  </a:lnTo>
                </a:path>
              </a:pathLst>
            </a:custGeom>
            <a:ln w="12760" cap="flat">
              <a:solidFill>
                <a:srgbClr val="000000"/>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sp>
          <p:nvSpPr>
            <p:cNvPr id="137" name="Freeform: Shape 136">
              <a:extLst>
                <a:ext uri="{FF2B5EF4-FFF2-40B4-BE49-F238E27FC236}">
                  <a16:creationId xmlns="" xmlns:a16="http://schemas.microsoft.com/office/drawing/2014/main" id="{D8AC1D4F-EE52-F9E8-5BF8-418E60A1CF88}"/>
                </a:ext>
              </a:extLst>
            </p:cNvPr>
            <p:cNvSpPr/>
            <p:nvPr/>
          </p:nvSpPr>
          <p:spPr>
            <a:xfrm>
              <a:off x="9978589" y="2468452"/>
              <a:ext cx="12900" cy="50078"/>
            </a:xfrm>
            <a:custGeom>
              <a:avLst/>
              <a:gdLst>
                <a:gd name="connsiteX0" fmla="*/ 0 w 12900"/>
                <a:gd name="connsiteY0" fmla="*/ 0 h 50078"/>
                <a:gd name="connsiteX1" fmla="*/ 0 w 12900"/>
                <a:gd name="connsiteY1" fmla="*/ 50079 h 50078"/>
              </a:gdLst>
              <a:ahLst/>
              <a:cxnLst>
                <a:cxn ang="0">
                  <a:pos x="connsiteX0" y="connsiteY0"/>
                </a:cxn>
                <a:cxn ang="0">
                  <a:pos x="connsiteX1" y="connsiteY1"/>
                </a:cxn>
              </a:cxnLst>
              <a:rect l="l" t="t" r="r" b="b"/>
              <a:pathLst>
                <a:path w="12900" h="50078">
                  <a:moveTo>
                    <a:pt x="0" y="0"/>
                  </a:moveTo>
                  <a:lnTo>
                    <a:pt x="0" y="50079"/>
                  </a:lnTo>
                </a:path>
              </a:pathLst>
            </a:custGeom>
            <a:ln w="12760" cap="flat">
              <a:solidFill>
                <a:srgbClr val="000000"/>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sp>
          <p:nvSpPr>
            <p:cNvPr id="138" name="Freeform: Shape 137">
              <a:extLst>
                <a:ext uri="{FF2B5EF4-FFF2-40B4-BE49-F238E27FC236}">
                  <a16:creationId xmlns="" xmlns:a16="http://schemas.microsoft.com/office/drawing/2014/main" id="{087E24A7-C326-CE67-F931-EADF6B7B7CE2}"/>
                </a:ext>
              </a:extLst>
            </p:cNvPr>
            <p:cNvSpPr/>
            <p:nvPr/>
          </p:nvSpPr>
          <p:spPr>
            <a:xfrm>
              <a:off x="10030318" y="2468452"/>
              <a:ext cx="12900" cy="50078"/>
            </a:xfrm>
            <a:custGeom>
              <a:avLst/>
              <a:gdLst>
                <a:gd name="connsiteX0" fmla="*/ 0 w 12900"/>
                <a:gd name="connsiteY0" fmla="*/ 0 h 50078"/>
                <a:gd name="connsiteX1" fmla="*/ 0 w 12900"/>
                <a:gd name="connsiteY1" fmla="*/ 50079 h 50078"/>
              </a:gdLst>
              <a:ahLst/>
              <a:cxnLst>
                <a:cxn ang="0">
                  <a:pos x="connsiteX0" y="connsiteY0"/>
                </a:cxn>
                <a:cxn ang="0">
                  <a:pos x="connsiteX1" y="connsiteY1"/>
                </a:cxn>
              </a:cxnLst>
              <a:rect l="l" t="t" r="r" b="b"/>
              <a:pathLst>
                <a:path w="12900" h="50078">
                  <a:moveTo>
                    <a:pt x="0" y="0"/>
                  </a:moveTo>
                  <a:lnTo>
                    <a:pt x="0" y="50079"/>
                  </a:lnTo>
                </a:path>
              </a:pathLst>
            </a:custGeom>
            <a:ln w="12760" cap="flat">
              <a:solidFill>
                <a:srgbClr val="000000"/>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sp>
          <p:nvSpPr>
            <p:cNvPr id="139" name="Freeform: Shape 138">
              <a:extLst>
                <a:ext uri="{FF2B5EF4-FFF2-40B4-BE49-F238E27FC236}">
                  <a16:creationId xmlns="" xmlns:a16="http://schemas.microsoft.com/office/drawing/2014/main" id="{104F3DC4-3CD4-924D-0995-5C84CFEE7339}"/>
                </a:ext>
              </a:extLst>
            </p:cNvPr>
            <p:cNvSpPr/>
            <p:nvPr/>
          </p:nvSpPr>
          <p:spPr>
            <a:xfrm>
              <a:off x="9979621" y="2471445"/>
              <a:ext cx="54954" cy="53872"/>
            </a:xfrm>
            <a:custGeom>
              <a:avLst/>
              <a:gdLst>
                <a:gd name="connsiteX0" fmla="*/ 54343 w 54954"/>
                <a:gd name="connsiteY0" fmla="*/ 26635 h 53872"/>
                <a:gd name="connsiteX1" fmla="*/ 26995 w 54954"/>
                <a:gd name="connsiteY1" fmla="*/ 53698 h 53872"/>
                <a:gd name="connsiteX2" fmla="*/ -611 w 54954"/>
                <a:gd name="connsiteY2" fmla="*/ 26888 h 53872"/>
                <a:gd name="connsiteX3" fmla="*/ 26737 w 54954"/>
                <a:gd name="connsiteY3" fmla="*/ -174 h 53872"/>
                <a:gd name="connsiteX4" fmla="*/ 26995 w 54954"/>
                <a:gd name="connsiteY4" fmla="*/ -174 h 53872"/>
                <a:gd name="connsiteX5" fmla="*/ 54343 w 54954"/>
                <a:gd name="connsiteY5" fmla="*/ 26635 h 53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954" h="53872">
                  <a:moveTo>
                    <a:pt x="54343" y="26635"/>
                  </a:moveTo>
                  <a:cubicBezTo>
                    <a:pt x="54408" y="41507"/>
                    <a:pt x="42166" y="53622"/>
                    <a:pt x="26995" y="53698"/>
                  </a:cubicBezTo>
                  <a:cubicBezTo>
                    <a:pt x="11825" y="53762"/>
                    <a:pt x="-533" y="41760"/>
                    <a:pt x="-611" y="26888"/>
                  </a:cubicBezTo>
                  <a:cubicBezTo>
                    <a:pt x="-675" y="12016"/>
                    <a:pt x="11567" y="-99"/>
                    <a:pt x="26737" y="-174"/>
                  </a:cubicBezTo>
                  <a:cubicBezTo>
                    <a:pt x="26828" y="-174"/>
                    <a:pt x="26905" y="-174"/>
                    <a:pt x="26995" y="-174"/>
                  </a:cubicBezTo>
                  <a:cubicBezTo>
                    <a:pt x="42102" y="-174"/>
                    <a:pt x="54343" y="11827"/>
                    <a:pt x="54343" y="26635"/>
                  </a:cubicBezTo>
                </a:path>
              </a:pathLst>
            </a:custGeom>
            <a:solidFill>
              <a:schemeClr val="accent1"/>
            </a:solidFill>
            <a:ln w="12889" cap="flat">
              <a:solidFill>
                <a:srgbClr val="000000"/>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grpSp>
      <p:grpSp>
        <p:nvGrpSpPr>
          <p:cNvPr id="140" name="Group 139">
            <a:extLst>
              <a:ext uri="{FF2B5EF4-FFF2-40B4-BE49-F238E27FC236}">
                <a16:creationId xmlns="" xmlns:a16="http://schemas.microsoft.com/office/drawing/2014/main" id="{8FF0AB88-79C3-F1ED-4E4D-A3B408BE83FD}"/>
              </a:ext>
            </a:extLst>
          </p:cNvPr>
          <p:cNvGrpSpPr/>
          <p:nvPr/>
        </p:nvGrpSpPr>
        <p:grpSpPr>
          <a:xfrm>
            <a:off x="5565219" y="4010879"/>
            <a:ext cx="1504756" cy="55509"/>
            <a:chOff x="7913166" y="4021808"/>
            <a:chExt cx="2006341" cy="74012"/>
          </a:xfrm>
          <a:solidFill>
            <a:schemeClr val="accent1"/>
          </a:solidFill>
        </p:grpSpPr>
        <p:sp>
          <p:nvSpPr>
            <p:cNvPr id="141" name="Freeform: Shape 140">
              <a:extLst>
                <a:ext uri="{FF2B5EF4-FFF2-40B4-BE49-F238E27FC236}">
                  <a16:creationId xmlns="" xmlns:a16="http://schemas.microsoft.com/office/drawing/2014/main" id="{B0244723-D532-D2AC-1124-DA3529D52A5D}"/>
                </a:ext>
              </a:extLst>
            </p:cNvPr>
            <p:cNvSpPr/>
            <p:nvPr/>
          </p:nvSpPr>
          <p:spPr>
            <a:xfrm>
              <a:off x="7913166" y="4058200"/>
              <a:ext cx="1215569" cy="12646"/>
            </a:xfrm>
            <a:custGeom>
              <a:avLst/>
              <a:gdLst>
                <a:gd name="connsiteX0" fmla="*/ 1215570 w 1215569"/>
                <a:gd name="connsiteY0" fmla="*/ 0 h 12646"/>
                <a:gd name="connsiteX1" fmla="*/ 0 w 1215569"/>
                <a:gd name="connsiteY1" fmla="*/ 0 h 12646"/>
              </a:gdLst>
              <a:ahLst/>
              <a:cxnLst>
                <a:cxn ang="0">
                  <a:pos x="connsiteX0" y="connsiteY0"/>
                </a:cxn>
                <a:cxn ang="0">
                  <a:pos x="connsiteX1" y="connsiteY1"/>
                </a:cxn>
              </a:cxnLst>
              <a:rect l="l" t="t" r="r" b="b"/>
              <a:pathLst>
                <a:path w="1215569" h="12646">
                  <a:moveTo>
                    <a:pt x="1215570" y="0"/>
                  </a:moveTo>
                  <a:lnTo>
                    <a:pt x="0" y="0"/>
                  </a:lnTo>
                </a:path>
              </a:pathLst>
            </a:custGeom>
            <a:grpFill/>
            <a:ln w="12760" cap="flat">
              <a:solidFill>
                <a:srgbClr val="000000"/>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sp>
          <p:nvSpPr>
            <p:cNvPr id="142" name="Freeform: Shape 141">
              <a:extLst>
                <a:ext uri="{FF2B5EF4-FFF2-40B4-BE49-F238E27FC236}">
                  <a16:creationId xmlns="" xmlns:a16="http://schemas.microsoft.com/office/drawing/2014/main" id="{BEA82715-3D12-9E8F-9AF9-0A68EAC1AF5D}"/>
                </a:ext>
              </a:extLst>
            </p:cNvPr>
            <p:cNvSpPr/>
            <p:nvPr/>
          </p:nvSpPr>
          <p:spPr>
            <a:xfrm>
              <a:off x="7913166" y="4033793"/>
              <a:ext cx="12900" cy="50205"/>
            </a:xfrm>
            <a:custGeom>
              <a:avLst/>
              <a:gdLst>
                <a:gd name="connsiteX0" fmla="*/ 0 w 12900"/>
                <a:gd name="connsiteY0" fmla="*/ 0 h 50205"/>
                <a:gd name="connsiteX1" fmla="*/ 0 w 12900"/>
                <a:gd name="connsiteY1" fmla="*/ 50205 h 50205"/>
              </a:gdLst>
              <a:ahLst/>
              <a:cxnLst>
                <a:cxn ang="0">
                  <a:pos x="connsiteX0" y="connsiteY0"/>
                </a:cxn>
                <a:cxn ang="0">
                  <a:pos x="connsiteX1" y="connsiteY1"/>
                </a:cxn>
              </a:cxnLst>
              <a:rect l="l" t="t" r="r" b="b"/>
              <a:pathLst>
                <a:path w="12900" h="50205">
                  <a:moveTo>
                    <a:pt x="0" y="0"/>
                  </a:moveTo>
                  <a:lnTo>
                    <a:pt x="0" y="50205"/>
                  </a:lnTo>
                </a:path>
              </a:pathLst>
            </a:custGeom>
            <a:grpFill/>
            <a:ln w="12760" cap="flat">
              <a:solidFill>
                <a:srgbClr val="000000"/>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sp>
          <p:nvSpPr>
            <p:cNvPr id="143" name="Freeform: Shape 142">
              <a:extLst>
                <a:ext uri="{FF2B5EF4-FFF2-40B4-BE49-F238E27FC236}">
                  <a16:creationId xmlns="" xmlns:a16="http://schemas.microsoft.com/office/drawing/2014/main" id="{9767A52B-D61C-F228-D907-351E2DBB1223}"/>
                </a:ext>
              </a:extLst>
            </p:cNvPr>
            <p:cNvSpPr/>
            <p:nvPr/>
          </p:nvSpPr>
          <p:spPr>
            <a:xfrm>
              <a:off x="9128735" y="4058200"/>
              <a:ext cx="777871" cy="12646"/>
            </a:xfrm>
            <a:custGeom>
              <a:avLst/>
              <a:gdLst>
                <a:gd name="connsiteX0" fmla="*/ 777872 w 777871"/>
                <a:gd name="connsiteY0" fmla="*/ 0 h 12646"/>
                <a:gd name="connsiteX1" fmla="*/ 0 w 777871"/>
                <a:gd name="connsiteY1" fmla="*/ 0 h 12646"/>
              </a:gdLst>
              <a:ahLst/>
              <a:cxnLst>
                <a:cxn ang="0">
                  <a:pos x="connsiteX0" y="connsiteY0"/>
                </a:cxn>
                <a:cxn ang="0">
                  <a:pos x="connsiteX1" y="connsiteY1"/>
                </a:cxn>
              </a:cxnLst>
              <a:rect l="l" t="t" r="r" b="b"/>
              <a:pathLst>
                <a:path w="777871" h="12646">
                  <a:moveTo>
                    <a:pt x="777872" y="0"/>
                  </a:moveTo>
                  <a:lnTo>
                    <a:pt x="0" y="0"/>
                  </a:lnTo>
                </a:path>
              </a:pathLst>
            </a:custGeom>
            <a:grpFill/>
            <a:ln w="12760" cap="flat">
              <a:solidFill>
                <a:srgbClr val="000000"/>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sp>
          <p:nvSpPr>
            <p:cNvPr id="144" name="Freeform: Shape 143">
              <a:extLst>
                <a:ext uri="{FF2B5EF4-FFF2-40B4-BE49-F238E27FC236}">
                  <a16:creationId xmlns="" xmlns:a16="http://schemas.microsoft.com/office/drawing/2014/main" id="{2F1C5236-6FC4-2D6F-78DF-A9EA745753C5}"/>
                </a:ext>
              </a:extLst>
            </p:cNvPr>
            <p:cNvSpPr/>
            <p:nvPr/>
          </p:nvSpPr>
          <p:spPr>
            <a:xfrm>
              <a:off x="7913166" y="4058200"/>
              <a:ext cx="1215569" cy="12646"/>
            </a:xfrm>
            <a:custGeom>
              <a:avLst/>
              <a:gdLst>
                <a:gd name="connsiteX0" fmla="*/ 1215570 w 1215569"/>
                <a:gd name="connsiteY0" fmla="*/ 0 h 12646"/>
                <a:gd name="connsiteX1" fmla="*/ 0 w 1215569"/>
                <a:gd name="connsiteY1" fmla="*/ 0 h 12646"/>
              </a:gdLst>
              <a:ahLst/>
              <a:cxnLst>
                <a:cxn ang="0">
                  <a:pos x="connsiteX0" y="connsiteY0"/>
                </a:cxn>
                <a:cxn ang="0">
                  <a:pos x="connsiteX1" y="connsiteY1"/>
                </a:cxn>
              </a:cxnLst>
              <a:rect l="l" t="t" r="r" b="b"/>
              <a:pathLst>
                <a:path w="1215569" h="12646">
                  <a:moveTo>
                    <a:pt x="1215570" y="0"/>
                  </a:moveTo>
                  <a:lnTo>
                    <a:pt x="0" y="0"/>
                  </a:lnTo>
                </a:path>
              </a:pathLst>
            </a:custGeom>
            <a:grpFill/>
            <a:ln w="12760" cap="flat">
              <a:solidFill>
                <a:srgbClr val="000000"/>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sp>
          <p:nvSpPr>
            <p:cNvPr id="145" name="Freeform: Shape 144">
              <a:extLst>
                <a:ext uri="{FF2B5EF4-FFF2-40B4-BE49-F238E27FC236}">
                  <a16:creationId xmlns="" xmlns:a16="http://schemas.microsoft.com/office/drawing/2014/main" id="{2946900D-1273-372D-1F76-5819C6CC6DD3}"/>
                </a:ext>
              </a:extLst>
            </p:cNvPr>
            <p:cNvSpPr/>
            <p:nvPr/>
          </p:nvSpPr>
          <p:spPr>
            <a:xfrm>
              <a:off x="9906607" y="4033793"/>
              <a:ext cx="12900" cy="50205"/>
            </a:xfrm>
            <a:custGeom>
              <a:avLst/>
              <a:gdLst>
                <a:gd name="connsiteX0" fmla="*/ 0 w 12900"/>
                <a:gd name="connsiteY0" fmla="*/ 0 h 50205"/>
                <a:gd name="connsiteX1" fmla="*/ 0 w 12900"/>
                <a:gd name="connsiteY1" fmla="*/ 50205 h 50205"/>
              </a:gdLst>
              <a:ahLst/>
              <a:cxnLst>
                <a:cxn ang="0">
                  <a:pos x="connsiteX0" y="connsiteY0"/>
                </a:cxn>
                <a:cxn ang="0">
                  <a:pos x="connsiteX1" y="connsiteY1"/>
                </a:cxn>
              </a:cxnLst>
              <a:rect l="l" t="t" r="r" b="b"/>
              <a:pathLst>
                <a:path w="12900" h="50205">
                  <a:moveTo>
                    <a:pt x="0" y="0"/>
                  </a:moveTo>
                  <a:lnTo>
                    <a:pt x="0" y="50205"/>
                  </a:lnTo>
                </a:path>
              </a:pathLst>
            </a:custGeom>
            <a:grpFill/>
            <a:ln w="12760" cap="flat">
              <a:solidFill>
                <a:srgbClr val="000000"/>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sp>
          <p:nvSpPr>
            <p:cNvPr id="146" name="Freeform: Shape 145">
              <a:extLst>
                <a:ext uri="{FF2B5EF4-FFF2-40B4-BE49-F238E27FC236}">
                  <a16:creationId xmlns="" xmlns:a16="http://schemas.microsoft.com/office/drawing/2014/main" id="{24B43F63-2084-8E7E-31A5-750910FA59C7}"/>
                </a:ext>
              </a:extLst>
            </p:cNvPr>
            <p:cNvSpPr/>
            <p:nvPr/>
          </p:nvSpPr>
          <p:spPr>
            <a:xfrm>
              <a:off x="9101259" y="4032022"/>
              <a:ext cx="54954" cy="53872"/>
            </a:xfrm>
            <a:custGeom>
              <a:avLst/>
              <a:gdLst>
                <a:gd name="connsiteX0" fmla="*/ 54343 w 54954"/>
                <a:gd name="connsiteY0" fmla="*/ 26762 h 53872"/>
                <a:gd name="connsiteX1" fmla="*/ 26866 w 54954"/>
                <a:gd name="connsiteY1" fmla="*/ 53698 h 53872"/>
                <a:gd name="connsiteX2" fmla="*/ -611 w 54954"/>
                <a:gd name="connsiteY2" fmla="*/ 26762 h 53872"/>
                <a:gd name="connsiteX3" fmla="*/ 26866 w 54954"/>
                <a:gd name="connsiteY3" fmla="*/ -174 h 53872"/>
                <a:gd name="connsiteX4" fmla="*/ 54343 w 54954"/>
                <a:gd name="connsiteY4" fmla="*/ 26762 h 538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954" h="53872">
                  <a:moveTo>
                    <a:pt x="54343" y="26762"/>
                  </a:moveTo>
                  <a:cubicBezTo>
                    <a:pt x="54343" y="41634"/>
                    <a:pt x="42036" y="53698"/>
                    <a:pt x="26866" y="53698"/>
                  </a:cubicBezTo>
                  <a:cubicBezTo>
                    <a:pt x="11695" y="53698"/>
                    <a:pt x="-611" y="41634"/>
                    <a:pt x="-611" y="26762"/>
                  </a:cubicBezTo>
                  <a:cubicBezTo>
                    <a:pt x="-611" y="11890"/>
                    <a:pt x="11695" y="-174"/>
                    <a:pt x="26866" y="-174"/>
                  </a:cubicBezTo>
                  <a:cubicBezTo>
                    <a:pt x="42036" y="-174"/>
                    <a:pt x="54343" y="11890"/>
                    <a:pt x="54343" y="26762"/>
                  </a:cubicBezTo>
                </a:path>
              </a:pathLst>
            </a:custGeom>
            <a:grpFill/>
            <a:ln w="12889" cap="flat">
              <a:solidFill>
                <a:srgbClr val="000000"/>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sp>
          <p:nvSpPr>
            <p:cNvPr id="147" name="Freeform: Shape 146">
              <a:extLst>
                <a:ext uri="{FF2B5EF4-FFF2-40B4-BE49-F238E27FC236}">
                  <a16:creationId xmlns="" xmlns:a16="http://schemas.microsoft.com/office/drawing/2014/main" id="{7382F6EC-0FF1-E104-3CA2-5E80FF2BDF0E}"/>
                </a:ext>
              </a:extLst>
            </p:cNvPr>
            <p:cNvSpPr/>
            <p:nvPr/>
          </p:nvSpPr>
          <p:spPr>
            <a:xfrm>
              <a:off x="8003724" y="4021808"/>
              <a:ext cx="99717" cy="74012"/>
            </a:xfrm>
            <a:custGeom>
              <a:avLst/>
              <a:gdLst>
                <a:gd name="connsiteX0" fmla="*/ 0 w 99717"/>
                <a:gd name="connsiteY0" fmla="*/ 0 h 2120001"/>
                <a:gd name="connsiteX1" fmla="*/ 99717 w 99717"/>
                <a:gd name="connsiteY1" fmla="*/ 0 h 2120001"/>
                <a:gd name="connsiteX2" fmla="*/ 99717 w 99717"/>
                <a:gd name="connsiteY2" fmla="*/ 2120001 h 2120001"/>
                <a:gd name="connsiteX3" fmla="*/ 0 w 99717"/>
                <a:gd name="connsiteY3" fmla="*/ 2120001 h 2120001"/>
              </a:gdLst>
              <a:ahLst/>
              <a:cxnLst>
                <a:cxn ang="0">
                  <a:pos x="connsiteX0" y="connsiteY0"/>
                </a:cxn>
                <a:cxn ang="0">
                  <a:pos x="connsiteX1" y="connsiteY1"/>
                </a:cxn>
                <a:cxn ang="0">
                  <a:pos x="connsiteX2" y="connsiteY2"/>
                </a:cxn>
                <a:cxn ang="0">
                  <a:pos x="connsiteX3" y="connsiteY3"/>
                </a:cxn>
              </a:cxnLst>
              <a:rect l="l" t="t" r="r" b="b"/>
              <a:pathLst>
                <a:path w="99717" h="2120001">
                  <a:moveTo>
                    <a:pt x="0" y="0"/>
                  </a:moveTo>
                  <a:lnTo>
                    <a:pt x="99717" y="0"/>
                  </a:lnTo>
                  <a:lnTo>
                    <a:pt x="99717" y="2120001"/>
                  </a:lnTo>
                  <a:lnTo>
                    <a:pt x="0" y="2120001"/>
                  </a:lnTo>
                  <a:close/>
                </a:path>
              </a:pathLst>
            </a:custGeom>
            <a:solidFill>
              <a:srgbClr val="ECEDEE"/>
            </a:solidFill>
            <a:ln w="12889" cap="flat">
              <a:no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grpSp>
      <p:sp>
        <p:nvSpPr>
          <p:cNvPr id="158" name="TextBox 157">
            <a:extLst>
              <a:ext uri="{FF2B5EF4-FFF2-40B4-BE49-F238E27FC236}">
                <a16:creationId xmlns="" xmlns:a16="http://schemas.microsoft.com/office/drawing/2014/main" id="{C7F447CD-79DE-DECB-1C52-52A2ECAF78F2}"/>
              </a:ext>
            </a:extLst>
          </p:cNvPr>
          <p:cNvSpPr txBox="1"/>
          <p:nvPr/>
        </p:nvSpPr>
        <p:spPr>
          <a:xfrm>
            <a:off x="6892700" y="776765"/>
            <a:ext cx="766020" cy="346249"/>
          </a:xfrm>
          <a:prstGeom prst="rect">
            <a:avLst/>
          </a:prstGeom>
          <a:noFill/>
        </p:spPr>
        <p:txBody>
          <a:bodyPr wrap="square" lIns="0" tIns="34289" rIns="0" bIns="34289">
            <a:spAutoFit/>
          </a:bodyPr>
          <a:lstStyle/>
          <a:p>
            <a:pPr algn="ctr" defTabSz="685494">
              <a:defRPr/>
            </a:pPr>
            <a:r>
              <a:rPr kumimoji="1" lang="en-US" sz="900" b="1">
                <a:solidFill>
                  <a:srgbClr val="FFFFFF"/>
                </a:solidFill>
                <a:cs typeface="Calibri" panose="020F0502020204030204" pitchFamily="34" charset="0"/>
              </a:rPr>
              <a:t/>
            </a:r>
            <a:br>
              <a:rPr kumimoji="1" lang="en-US" sz="900" b="1">
                <a:solidFill>
                  <a:srgbClr val="FFFFFF"/>
                </a:solidFill>
                <a:cs typeface="Calibri" panose="020F0502020204030204" pitchFamily="34" charset="0"/>
              </a:rPr>
            </a:br>
            <a:r>
              <a:rPr kumimoji="1" lang="es" sz="900" b="1">
                <a:solidFill>
                  <a:srgbClr val="FFFFFF"/>
                </a:solidFill>
                <a:cs typeface="Calibri" panose="020F0502020204030204" pitchFamily="34" charset="0"/>
              </a:rPr>
              <a:t>FavoresTAK-003</a:t>
            </a:r>
            <a:endParaRPr kumimoji="1" lang="en-US" sz="900">
              <a:solidFill>
                <a:srgbClr val="000000"/>
              </a:solidFill>
              <a:cs typeface="Calibri" panose="020F0502020204030204" pitchFamily="34" charset="0"/>
            </a:endParaRPr>
          </a:p>
        </p:txBody>
      </p:sp>
      <p:sp>
        <p:nvSpPr>
          <p:cNvPr id="172" name="TextBox 171">
            <a:extLst>
              <a:ext uri="{FF2B5EF4-FFF2-40B4-BE49-F238E27FC236}">
                <a16:creationId xmlns="" xmlns:a16="http://schemas.microsoft.com/office/drawing/2014/main" id="{6554A798-4992-BA4A-B976-660BD873BA71}"/>
              </a:ext>
            </a:extLst>
          </p:cNvPr>
          <p:cNvSpPr txBox="1"/>
          <p:nvPr/>
        </p:nvSpPr>
        <p:spPr>
          <a:xfrm>
            <a:off x="5216045" y="4341367"/>
            <a:ext cx="2258511" cy="207749"/>
          </a:xfrm>
          <a:prstGeom prst="rect">
            <a:avLst/>
          </a:prstGeom>
          <a:noFill/>
        </p:spPr>
        <p:txBody>
          <a:bodyPr wrap="square" lIns="0" tIns="34289" rIns="0" bIns="34289">
            <a:spAutoFit/>
          </a:bodyPr>
          <a:lstStyle/>
          <a:p>
            <a:pPr algn="ctr" defTabSz="685494">
              <a:defRPr/>
            </a:pPr>
            <a:r>
              <a:rPr kumimoji="1" lang="es" sz="900" b="1">
                <a:solidFill>
                  <a:srgbClr val="000000"/>
                </a:solidFill>
                <a:cs typeface="Calibri" panose="020F0502020204030204" pitchFamily="34" charset="0"/>
              </a:rPr>
              <a:t>EV (IC 95%)</a:t>
            </a:r>
          </a:p>
        </p:txBody>
      </p:sp>
      <p:grpSp>
        <p:nvGrpSpPr>
          <p:cNvPr id="6" name="Group 5">
            <a:extLst>
              <a:ext uri="{FF2B5EF4-FFF2-40B4-BE49-F238E27FC236}">
                <a16:creationId xmlns="" xmlns:a16="http://schemas.microsoft.com/office/drawing/2014/main" id="{CCCF4A88-5DFF-4A42-B8E1-C8B8D3A75B38}"/>
              </a:ext>
            </a:extLst>
          </p:cNvPr>
          <p:cNvGrpSpPr/>
          <p:nvPr/>
        </p:nvGrpSpPr>
        <p:grpSpPr>
          <a:xfrm>
            <a:off x="5139079" y="4178132"/>
            <a:ext cx="2495531" cy="221227"/>
            <a:chOff x="7134888" y="5617827"/>
            <a:chExt cx="3327375" cy="294969"/>
          </a:xfrm>
        </p:grpSpPr>
        <p:sp>
          <p:nvSpPr>
            <p:cNvPr id="23" name="Freeform: Shape 22">
              <a:extLst>
                <a:ext uri="{FF2B5EF4-FFF2-40B4-BE49-F238E27FC236}">
                  <a16:creationId xmlns="" xmlns:a16="http://schemas.microsoft.com/office/drawing/2014/main" id="{ED21D0B3-271D-CBEB-3291-9BADB044E5A3}"/>
                </a:ext>
              </a:extLst>
            </p:cNvPr>
            <p:cNvSpPr/>
            <p:nvPr/>
          </p:nvSpPr>
          <p:spPr>
            <a:xfrm>
              <a:off x="7330802" y="5649063"/>
              <a:ext cx="12900" cy="37306"/>
            </a:xfrm>
            <a:custGeom>
              <a:avLst/>
              <a:gdLst>
                <a:gd name="connsiteX0" fmla="*/ 0 w 12900"/>
                <a:gd name="connsiteY0" fmla="*/ 0 h 37306"/>
                <a:gd name="connsiteX1" fmla="*/ 0 w 12900"/>
                <a:gd name="connsiteY1" fmla="*/ 37306 h 37306"/>
              </a:gdLst>
              <a:ahLst/>
              <a:cxnLst>
                <a:cxn ang="0">
                  <a:pos x="connsiteX0" y="connsiteY0"/>
                </a:cxn>
                <a:cxn ang="0">
                  <a:pos x="connsiteX1" y="connsiteY1"/>
                </a:cxn>
              </a:cxnLst>
              <a:rect l="l" t="t" r="r" b="b"/>
              <a:pathLst>
                <a:path w="12900" h="37306">
                  <a:moveTo>
                    <a:pt x="0" y="0"/>
                  </a:moveTo>
                  <a:lnTo>
                    <a:pt x="0" y="37306"/>
                  </a:lnTo>
                </a:path>
              </a:pathLst>
            </a:custGeom>
            <a:ln w="12760" cap="flat">
              <a:solidFill>
                <a:schemeClr val="tx1"/>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sp>
          <p:nvSpPr>
            <p:cNvPr id="24" name="Freeform: Shape 23">
              <a:extLst>
                <a:ext uri="{FF2B5EF4-FFF2-40B4-BE49-F238E27FC236}">
                  <a16:creationId xmlns="" xmlns:a16="http://schemas.microsoft.com/office/drawing/2014/main" id="{35FB628C-DD12-5C0A-D838-718FB4EC3F27}"/>
                </a:ext>
              </a:extLst>
            </p:cNvPr>
            <p:cNvSpPr/>
            <p:nvPr/>
          </p:nvSpPr>
          <p:spPr>
            <a:xfrm>
              <a:off x="7615634" y="5649063"/>
              <a:ext cx="12900" cy="40341"/>
            </a:xfrm>
            <a:custGeom>
              <a:avLst/>
              <a:gdLst>
                <a:gd name="connsiteX0" fmla="*/ 0 w 12900"/>
                <a:gd name="connsiteY0" fmla="*/ 0 h 40341"/>
                <a:gd name="connsiteX1" fmla="*/ 0 w 12900"/>
                <a:gd name="connsiteY1" fmla="*/ 40341 h 40341"/>
              </a:gdLst>
              <a:ahLst/>
              <a:cxnLst>
                <a:cxn ang="0">
                  <a:pos x="connsiteX0" y="connsiteY0"/>
                </a:cxn>
                <a:cxn ang="0">
                  <a:pos x="connsiteX1" y="connsiteY1"/>
                </a:cxn>
              </a:cxnLst>
              <a:rect l="l" t="t" r="r" b="b"/>
              <a:pathLst>
                <a:path w="12900" h="40341">
                  <a:moveTo>
                    <a:pt x="0" y="0"/>
                  </a:moveTo>
                  <a:lnTo>
                    <a:pt x="0" y="40341"/>
                  </a:lnTo>
                </a:path>
              </a:pathLst>
            </a:custGeom>
            <a:ln w="12760" cap="flat">
              <a:solidFill>
                <a:schemeClr val="tx1"/>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sp>
          <p:nvSpPr>
            <p:cNvPr id="25" name="Freeform: Shape 24">
              <a:extLst>
                <a:ext uri="{FF2B5EF4-FFF2-40B4-BE49-F238E27FC236}">
                  <a16:creationId xmlns="" xmlns:a16="http://schemas.microsoft.com/office/drawing/2014/main" id="{7EF994FA-1A3C-1EB8-0F70-4620A81AB74C}"/>
                </a:ext>
              </a:extLst>
            </p:cNvPr>
            <p:cNvSpPr/>
            <p:nvPr/>
          </p:nvSpPr>
          <p:spPr>
            <a:xfrm>
              <a:off x="8157823" y="5649063"/>
              <a:ext cx="12900" cy="40341"/>
            </a:xfrm>
            <a:custGeom>
              <a:avLst/>
              <a:gdLst>
                <a:gd name="connsiteX0" fmla="*/ 0 w 12900"/>
                <a:gd name="connsiteY0" fmla="*/ 0 h 40341"/>
                <a:gd name="connsiteX1" fmla="*/ 0 w 12900"/>
                <a:gd name="connsiteY1" fmla="*/ 40341 h 40341"/>
              </a:gdLst>
              <a:ahLst/>
              <a:cxnLst>
                <a:cxn ang="0">
                  <a:pos x="connsiteX0" y="connsiteY0"/>
                </a:cxn>
                <a:cxn ang="0">
                  <a:pos x="connsiteX1" y="connsiteY1"/>
                </a:cxn>
              </a:cxnLst>
              <a:rect l="l" t="t" r="r" b="b"/>
              <a:pathLst>
                <a:path w="12900" h="40341">
                  <a:moveTo>
                    <a:pt x="0" y="0"/>
                  </a:moveTo>
                  <a:lnTo>
                    <a:pt x="0" y="40341"/>
                  </a:lnTo>
                </a:path>
              </a:pathLst>
            </a:custGeom>
            <a:ln w="12760" cap="flat">
              <a:solidFill>
                <a:schemeClr val="tx1"/>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sp>
          <p:nvSpPr>
            <p:cNvPr id="26" name="Freeform: Shape 25">
              <a:extLst>
                <a:ext uri="{FF2B5EF4-FFF2-40B4-BE49-F238E27FC236}">
                  <a16:creationId xmlns="" xmlns:a16="http://schemas.microsoft.com/office/drawing/2014/main" id="{C312E2D8-71E5-81F3-0312-747E527D56D4}"/>
                </a:ext>
              </a:extLst>
            </p:cNvPr>
            <p:cNvSpPr/>
            <p:nvPr/>
          </p:nvSpPr>
          <p:spPr>
            <a:xfrm>
              <a:off x="8420983" y="5649063"/>
              <a:ext cx="12900" cy="40341"/>
            </a:xfrm>
            <a:custGeom>
              <a:avLst/>
              <a:gdLst>
                <a:gd name="connsiteX0" fmla="*/ 0 w 12900"/>
                <a:gd name="connsiteY0" fmla="*/ 0 h 40341"/>
                <a:gd name="connsiteX1" fmla="*/ 0 w 12900"/>
                <a:gd name="connsiteY1" fmla="*/ 40341 h 40341"/>
              </a:gdLst>
              <a:ahLst/>
              <a:cxnLst>
                <a:cxn ang="0">
                  <a:pos x="connsiteX0" y="connsiteY0"/>
                </a:cxn>
                <a:cxn ang="0">
                  <a:pos x="connsiteX1" y="connsiteY1"/>
                </a:cxn>
              </a:cxnLst>
              <a:rect l="l" t="t" r="r" b="b"/>
              <a:pathLst>
                <a:path w="12900" h="40341">
                  <a:moveTo>
                    <a:pt x="0" y="0"/>
                  </a:moveTo>
                  <a:lnTo>
                    <a:pt x="0" y="40341"/>
                  </a:lnTo>
                </a:path>
              </a:pathLst>
            </a:custGeom>
            <a:ln w="12760" cap="flat">
              <a:solidFill>
                <a:schemeClr val="tx1"/>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sp>
          <p:nvSpPr>
            <p:cNvPr id="27" name="Freeform: Shape 26">
              <a:extLst>
                <a:ext uri="{FF2B5EF4-FFF2-40B4-BE49-F238E27FC236}">
                  <a16:creationId xmlns="" xmlns:a16="http://schemas.microsoft.com/office/drawing/2014/main" id="{0A19A1EC-AB20-D060-59A3-00C18412C340}"/>
                </a:ext>
              </a:extLst>
            </p:cNvPr>
            <p:cNvSpPr/>
            <p:nvPr/>
          </p:nvSpPr>
          <p:spPr>
            <a:xfrm>
              <a:off x="8684273" y="5649063"/>
              <a:ext cx="12900" cy="40341"/>
            </a:xfrm>
            <a:custGeom>
              <a:avLst/>
              <a:gdLst>
                <a:gd name="connsiteX0" fmla="*/ 0 w 12900"/>
                <a:gd name="connsiteY0" fmla="*/ 0 h 40341"/>
                <a:gd name="connsiteX1" fmla="*/ 0 w 12900"/>
                <a:gd name="connsiteY1" fmla="*/ 40341 h 40341"/>
              </a:gdLst>
              <a:ahLst/>
              <a:cxnLst>
                <a:cxn ang="0">
                  <a:pos x="connsiteX0" y="connsiteY0"/>
                </a:cxn>
                <a:cxn ang="0">
                  <a:pos x="connsiteX1" y="connsiteY1"/>
                </a:cxn>
              </a:cxnLst>
              <a:rect l="l" t="t" r="r" b="b"/>
              <a:pathLst>
                <a:path w="12900" h="40341">
                  <a:moveTo>
                    <a:pt x="0" y="0"/>
                  </a:moveTo>
                  <a:lnTo>
                    <a:pt x="0" y="40341"/>
                  </a:lnTo>
                </a:path>
              </a:pathLst>
            </a:custGeom>
            <a:ln w="12760" cap="flat">
              <a:solidFill>
                <a:schemeClr val="tx1"/>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sp>
          <p:nvSpPr>
            <p:cNvPr id="28" name="Freeform: Shape 27">
              <a:extLst>
                <a:ext uri="{FF2B5EF4-FFF2-40B4-BE49-F238E27FC236}">
                  <a16:creationId xmlns="" xmlns:a16="http://schemas.microsoft.com/office/drawing/2014/main" id="{1D55E57B-F7C3-A094-B960-1C24E8B1899E}"/>
                </a:ext>
              </a:extLst>
            </p:cNvPr>
            <p:cNvSpPr/>
            <p:nvPr/>
          </p:nvSpPr>
          <p:spPr>
            <a:xfrm>
              <a:off x="8947562" y="5649063"/>
              <a:ext cx="12900" cy="40341"/>
            </a:xfrm>
            <a:custGeom>
              <a:avLst/>
              <a:gdLst>
                <a:gd name="connsiteX0" fmla="*/ 0 w 12900"/>
                <a:gd name="connsiteY0" fmla="*/ 0 h 40341"/>
                <a:gd name="connsiteX1" fmla="*/ 0 w 12900"/>
                <a:gd name="connsiteY1" fmla="*/ 40341 h 40341"/>
              </a:gdLst>
              <a:ahLst/>
              <a:cxnLst>
                <a:cxn ang="0">
                  <a:pos x="connsiteX0" y="connsiteY0"/>
                </a:cxn>
                <a:cxn ang="0">
                  <a:pos x="connsiteX1" y="connsiteY1"/>
                </a:cxn>
              </a:cxnLst>
              <a:rect l="l" t="t" r="r" b="b"/>
              <a:pathLst>
                <a:path w="12900" h="40341">
                  <a:moveTo>
                    <a:pt x="0" y="0"/>
                  </a:moveTo>
                  <a:lnTo>
                    <a:pt x="0" y="40341"/>
                  </a:lnTo>
                </a:path>
              </a:pathLst>
            </a:custGeom>
            <a:ln w="12760" cap="flat">
              <a:solidFill>
                <a:schemeClr val="tx1"/>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sp>
          <p:nvSpPr>
            <p:cNvPr id="29" name="Freeform: Shape 28">
              <a:extLst>
                <a:ext uri="{FF2B5EF4-FFF2-40B4-BE49-F238E27FC236}">
                  <a16:creationId xmlns="" xmlns:a16="http://schemas.microsoft.com/office/drawing/2014/main" id="{1414278A-F2D7-7AE5-3D14-1577107D2590}"/>
                </a:ext>
              </a:extLst>
            </p:cNvPr>
            <p:cNvSpPr/>
            <p:nvPr/>
          </p:nvSpPr>
          <p:spPr>
            <a:xfrm>
              <a:off x="9210852" y="5649063"/>
              <a:ext cx="12900" cy="40341"/>
            </a:xfrm>
            <a:custGeom>
              <a:avLst/>
              <a:gdLst>
                <a:gd name="connsiteX0" fmla="*/ 0 w 12900"/>
                <a:gd name="connsiteY0" fmla="*/ 0 h 40341"/>
                <a:gd name="connsiteX1" fmla="*/ 0 w 12900"/>
                <a:gd name="connsiteY1" fmla="*/ 40341 h 40341"/>
              </a:gdLst>
              <a:ahLst/>
              <a:cxnLst>
                <a:cxn ang="0">
                  <a:pos x="connsiteX0" y="connsiteY0"/>
                </a:cxn>
                <a:cxn ang="0">
                  <a:pos x="connsiteX1" y="connsiteY1"/>
                </a:cxn>
              </a:cxnLst>
              <a:rect l="l" t="t" r="r" b="b"/>
              <a:pathLst>
                <a:path w="12900" h="40341">
                  <a:moveTo>
                    <a:pt x="0" y="0"/>
                  </a:moveTo>
                  <a:lnTo>
                    <a:pt x="0" y="40341"/>
                  </a:lnTo>
                </a:path>
              </a:pathLst>
            </a:custGeom>
            <a:ln w="12760" cap="flat">
              <a:solidFill>
                <a:schemeClr val="tx1"/>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sp>
          <p:nvSpPr>
            <p:cNvPr id="30" name="Freeform: Shape 29">
              <a:extLst>
                <a:ext uri="{FF2B5EF4-FFF2-40B4-BE49-F238E27FC236}">
                  <a16:creationId xmlns="" xmlns:a16="http://schemas.microsoft.com/office/drawing/2014/main" id="{78BA41B3-B2A2-BA50-B946-E1C312D6CC85}"/>
                </a:ext>
              </a:extLst>
            </p:cNvPr>
            <p:cNvSpPr/>
            <p:nvPr/>
          </p:nvSpPr>
          <p:spPr>
            <a:xfrm>
              <a:off x="9474142" y="5649063"/>
              <a:ext cx="12900" cy="40341"/>
            </a:xfrm>
            <a:custGeom>
              <a:avLst/>
              <a:gdLst>
                <a:gd name="connsiteX0" fmla="*/ 0 w 12900"/>
                <a:gd name="connsiteY0" fmla="*/ 0 h 40341"/>
                <a:gd name="connsiteX1" fmla="*/ 0 w 12900"/>
                <a:gd name="connsiteY1" fmla="*/ 40341 h 40341"/>
              </a:gdLst>
              <a:ahLst/>
              <a:cxnLst>
                <a:cxn ang="0">
                  <a:pos x="connsiteX0" y="connsiteY0"/>
                </a:cxn>
                <a:cxn ang="0">
                  <a:pos x="connsiteX1" y="connsiteY1"/>
                </a:cxn>
              </a:cxnLst>
              <a:rect l="l" t="t" r="r" b="b"/>
              <a:pathLst>
                <a:path w="12900" h="40341">
                  <a:moveTo>
                    <a:pt x="0" y="0"/>
                  </a:moveTo>
                  <a:lnTo>
                    <a:pt x="0" y="40341"/>
                  </a:lnTo>
                </a:path>
              </a:pathLst>
            </a:custGeom>
            <a:ln w="12760" cap="flat">
              <a:solidFill>
                <a:schemeClr val="tx1"/>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sp>
          <p:nvSpPr>
            <p:cNvPr id="32" name="Freeform: Shape 31">
              <a:extLst>
                <a:ext uri="{FF2B5EF4-FFF2-40B4-BE49-F238E27FC236}">
                  <a16:creationId xmlns="" xmlns:a16="http://schemas.microsoft.com/office/drawing/2014/main" id="{C47CF44C-2B73-B150-3A5C-74FA933EEB48}"/>
                </a:ext>
              </a:extLst>
            </p:cNvPr>
            <p:cNvSpPr/>
            <p:nvPr/>
          </p:nvSpPr>
          <p:spPr>
            <a:xfrm>
              <a:off x="9737431" y="5649063"/>
              <a:ext cx="12900" cy="40341"/>
            </a:xfrm>
            <a:custGeom>
              <a:avLst/>
              <a:gdLst>
                <a:gd name="connsiteX0" fmla="*/ 0 w 12900"/>
                <a:gd name="connsiteY0" fmla="*/ 0 h 40341"/>
                <a:gd name="connsiteX1" fmla="*/ 0 w 12900"/>
                <a:gd name="connsiteY1" fmla="*/ 40341 h 40341"/>
              </a:gdLst>
              <a:ahLst/>
              <a:cxnLst>
                <a:cxn ang="0">
                  <a:pos x="connsiteX0" y="connsiteY0"/>
                </a:cxn>
                <a:cxn ang="0">
                  <a:pos x="connsiteX1" y="connsiteY1"/>
                </a:cxn>
              </a:cxnLst>
              <a:rect l="l" t="t" r="r" b="b"/>
              <a:pathLst>
                <a:path w="12900" h="40341">
                  <a:moveTo>
                    <a:pt x="0" y="0"/>
                  </a:moveTo>
                  <a:lnTo>
                    <a:pt x="0" y="40341"/>
                  </a:lnTo>
                </a:path>
              </a:pathLst>
            </a:custGeom>
            <a:ln w="12760" cap="flat">
              <a:solidFill>
                <a:schemeClr val="tx1"/>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sp>
          <p:nvSpPr>
            <p:cNvPr id="33" name="Freeform: Shape 32">
              <a:extLst>
                <a:ext uri="{FF2B5EF4-FFF2-40B4-BE49-F238E27FC236}">
                  <a16:creationId xmlns="" xmlns:a16="http://schemas.microsoft.com/office/drawing/2014/main" id="{6FB21DB5-8D3D-8244-B205-E46D9F446DF2}"/>
                </a:ext>
              </a:extLst>
            </p:cNvPr>
            <p:cNvSpPr/>
            <p:nvPr/>
          </p:nvSpPr>
          <p:spPr>
            <a:xfrm>
              <a:off x="10000721" y="5649063"/>
              <a:ext cx="12900" cy="40341"/>
            </a:xfrm>
            <a:custGeom>
              <a:avLst/>
              <a:gdLst>
                <a:gd name="connsiteX0" fmla="*/ 0 w 12900"/>
                <a:gd name="connsiteY0" fmla="*/ 0 h 40341"/>
                <a:gd name="connsiteX1" fmla="*/ 0 w 12900"/>
                <a:gd name="connsiteY1" fmla="*/ 40341 h 40341"/>
              </a:gdLst>
              <a:ahLst/>
              <a:cxnLst>
                <a:cxn ang="0">
                  <a:pos x="connsiteX0" y="connsiteY0"/>
                </a:cxn>
                <a:cxn ang="0">
                  <a:pos x="connsiteX1" y="connsiteY1"/>
                </a:cxn>
              </a:cxnLst>
              <a:rect l="l" t="t" r="r" b="b"/>
              <a:pathLst>
                <a:path w="12900" h="40341">
                  <a:moveTo>
                    <a:pt x="0" y="0"/>
                  </a:moveTo>
                  <a:lnTo>
                    <a:pt x="0" y="40341"/>
                  </a:lnTo>
                </a:path>
              </a:pathLst>
            </a:custGeom>
            <a:ln w="12760" cap="flat">
              <a:solidFill>
                <a:schemeClr val="tx1"/>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sp>
          <p:nvSpPr>
            <p:cNvPr id="34" name="Freeform: Shape 33">
              <a:extLst>
                <a:ext uri="{FF2B5EF4-FFF2-40B4-BE49-F238E27FC236}">
                  <a16:creationId xmlns="" xmlns:a16="http://schemas.microsoft.com/office/drawing/2014/main" id="{C43C9F66-27BF-4653-249B-ECFC8F1FAF3F}"/>
                </a:ext>
              </a:extLst>
            </p:cNvPr>
            <p:cNvSpPr/>
            <p:nvPr/>
          </p:nvSpPr>
          <p:spPr>
            <a:xfrm>
              <a:off x="10264010" y="5649063"/>
              <a:ext cx="12900" cy="40341"/>
            </a:xfrm>
            <a:custGeom>
              <a:avLst/>
              <a:gdLst>
                <a:gd name="connsiteX0" fmla="*/ 0 w 12900"/>
                <a:gd name="connsiteY0" fmla="*/ 0 h 40341"/>
                <a:gd name="connsiteX1" fmla="*/ 0 w 12900"/>
                <a:gd name="connsiteY1" fmla="*/ 40341 h 40341"/>
              </a:gdLst>
              <a:ahLst/>
              <a:cxnLst>
                <a:cxn ang="0">
                  <a:pos x="connsiteX0" y="connsiteY0"/>
                </a:cxn>
                <a:cxn ang="0">
                  <a:pos x="connsiteX1" y="connsiteY1"/>
                </a:cxn>
              </a:cxnLst>
              <a:rect l="l" t="t" r="r" b="b"/>
              <a:pathLst>
                <a:path w="12900" h="40341">
                  <a:moveTo>
                    <a:pt x="0" y="0"/>
                  </a:moveTo>
                  <a:lnTo>
                    <a:pt x="0" y="40341"/>
                  </a:lnTo>
                </a:path>
              </a:pathLst>
            </a:custGeom>
            <a:ln w="12760" cap="flat">
              <a:solidFill>
                <a:schemeClr val="tx1"/>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sp>
          <p:nvSpPr>
            <p:cNvPr id="35" name="Freeform: Shape 34">
              <a:extLst>
                <a:ext uri="{FF2B5EF4-FFF2-40B4-BE49-F238E27FC236}">
                  <a16:creationId xmlns="" xmlns:a16="http://schemas.microsoft.com/office/drawing/2014/main" id="{E6CCAA5E-C1E5-8EAE-87D1-6C4DF34D4FBC}"/>
                </a:ext>
              </a:extLst>
            </p:cNvPr>
            <p:cNvSpPr/>
            <p:nvPr/>
          </p:nvSpPr>
          <p:spPr>
            <a:xfrm>
              <a:off x="7893372" y="5648304"/>
              <a:ext cx="12900" cy="41100"/>
            </a:xfrm>
            <a:custGeom>
              <a:avLst/>
              <a:gdLst>
                <a:gd name="connsiteX0" fmla="*/ 0 w 12900"/>
                <a:gd name="connsiteY0" fmla="*/ 0 h 41100"/>
                <a:gd name="connsiteX1" fmla="*/ 0 w 12900"/>
                <a:gd name="connsiteY1" fmla="*/ 41100 h 41100"/>
              </a:gdLst>
              <a:ahLst/>
              <a:cxnLst>
                <a:cxn ang="0">
                  <a:pos x="connsiteX0" y="connsiteY0"/>
                </a:cxn>
                <a:cxn ang="0">
                  <a:pos x="connsiteX1" y="connsiteY1"/>
                </a:cxn>
              </a:cxnLst>
              <a:rect l="l" t="t" r="r" b="b"/>
              <a:pathLst>
                <a:path w="12900" h="41100">
                  <a:moveTo>
                    <a:pt x="0" y="0"/>
                  </a:moveTo>
                  <a:lnTo>
                    <a:pt x="0" y="41100"/>
                  </a:lnTo>
                </a:path>
              </a:pathLst>
            </a:custGeom>
            <a:ln w="12760" cap="flat">
              <a:solidFill>
                <a:schemeClr val="tx1"/>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sp>
          <p:nvSpPr>
            <p:cNvPr id="159" name="TextBox 158">
              <a:extLst>
                <a:ext uri="{FF2B5EF4-FFF2-40B4-BE49-F238E27FC236}">
                  <a16:creationId xmlns="" xmlns:a16="http://schemas.microsoft.com/office/drawing/2014/main" id="{1FE0AF60-40EF-3C3A-487F-DC625DF0A17F}"/>
                </a:ext>
              </a:extLst>
            </p:cNvPr>
            <p:cNvSpPr txBox="1"/>
            <p:nvPr/>
          </p:nvSpPr>
          <p:spPr>
            <a:xfrm>
              <a:off x="7134888" y="5666575"/>
              <a:ext cx="389445" cy="246221"/>
            </a:xfrm>
            <a:prstGeom prst="rect">
              <a:avLst/>
            </a:prstGeom>
            <a:noFill/>
          </p:spPr>
          <p:txBody>
            <a:bodyPr wrap="square" lIns="0" rIns="0">
              <a:spAutoFit/>
            </a:bodyPr>
            <a:lstStyle/>
            <a:p>
              <a:pPr algn="ctr" defTabSz="685494">
                <a:defRPr/>
              </a:pPr>
              <a:r>
                <a:rPr kumimoji="1" lang="es" sz="600">
                  <a:solidFill>
                    <a:srgbClr val="000000"/>
                  </a:solidFill>
                  <a:cs typeface="Calibri" panose="020F0502020204030204" pitchFamily="34" charset="0"/>
                </a:rPr>
                <a:t>−2000</a:t>
              </a:r>
              <a:endParaRPr kumimoji="1" lang="en-US" sz="600">
                <a:solidFill>
                  <a:srgbClr val="000000"/>
                </a:solidFill>
                <a:cs typeface="Calibri" panose="020F0502020204030204" pitchFamily="34" charset="0"/>
              </a:endParaRPr>
            </a:p>
          </p:txBody>
        </p:sp>
        <p:sp>
          <p:nvSpPr>
            <p:cNvPr id="160" name="TextBox 159">
              <a:extLst>
                <a:ext uri="{FF2B5EF4-FFF2-40B4-BE49-F238E27FC236}">
                  <a16:creationId xmlns="" xmlns:a16="http://schemas.microsoft.com/office/drawing/2014/main" id="{912A95F8-6415-DD9E-BF3F-7F39F491CDB4}"/>
                </a:ext>
              </a:extLst>
            </p:cNvPr>
            <p:cNvSpPr txBox="1"/>
            <p:nvPr/>
          </p:nvSpPr>
          <p:spPr>
            <a:xfrm>
              <a:off x="7418660" y="5666575"/>
              <a:ext cx="389445" cy="246221"/>
            </a:xfrm>
            <a:prstGeom prst="rect">
              <a:avLst/>
            </a:prstGeom>
            <a:noFill/>
          </p:spPr>
          <p:txBody>
            <a:bodyPr wrap="square" lIns="0" rIns="0">
              <a:spAutoFit/>
            </a:bodyPr>
            <a:lstStyle/>
            <a:p>
              <a:pPr algn="ctr" defTabSz="685494">
                <a:defRPr/>
              </a:pPr>
              <a:r>
                <a:rPr kumimoji="1" lang="es" sz="600">
                  <a:solidFill>
                    <a:srgbClr val="000000"/>
                  </a:solidFill>
                  <a:cs typeface="Calibri" panose="020F0502020204030204" pitchFamily="34" charset="0"/>
                </a:rPr>
                <a:t>−1000</a:t>
              </a:r>
              <a:endParaRPr kumimoji="1" lang="en-US" sz="600">
                <a:solidFill>
                  <a:srgbClr val="000000"/>
                </a:solidFill>
                <a:cs typeface="Calibri" panose="020F0502020204030204" pitchFamily="34" charset="0"/>
              </a:endParaRPr>
            </a:p>
          </p:txBody>
        </p:sp>
        <p:sp>
          <p:nvSpPr>
            <p:cNvPr id="161" name="TextBox 160">
              <a:extLst>
                <a:ext uri="{FF2B5EF4-FFF2-40B4-BE49-F238E27FC236}">
                  <a16:creationId xmlns="" xmlns:a16="http://schemas.microsoft.com/office/drawing/2014/main" id="{238575B9-4C42-910D-A636-664E3AE15587}"/>
                </a:ext>
              </a:extLst>
            </p:cNvPr>
            <p:cNvSpPr txBox="1"/>
            <p:nvPr/>
          </p:nvSpPr>
          <p:spPr>
            <a:xfrm>
              <a:off x="7695931" y="5666575"/>
              <a:ext cx="389445" cy="246221"/>
            </a:xfrm>
            <a:prstGeom prst="rect">
              <a:avLst/>
            </a:prstGeom>
            <a:noFill/>
          </p:spPr>
          <p:txBody>
            <a:bodyPr wrap="square" lIns="0" rIns="0">
              <a:spAutoFit/>
            </a:bodyPr>
            <a:lstStyle/>
            <a:p>
              <a:pPr algn="ctr" defTabSz="685494">
                <a:defRPr/>
              </a:pPr>
              <a:r>
                <a:rPr kumimoji="1" lang="es" sz="600">
                  <a:solidFill>
                    <a:srgbClr val="000000"/>
                  </a:solidFill>
                  <a:cs typeface="Calibri" panose="020F0502020204030204" pitchFamily="34" charset="0"/>
                </a:rPr>
                <a:t>−300</a:t>
              </a:r>
              <a:endParaRPr kumimoji="1" lang="en-US" sz="600">
                <a:solidFill>
                  <a:srgbClr val="000000"/>
                </a:solidFill>
                <a:cs typeface="Calibri" panose="020F0502020204030204" pitchFamily="34" charset="0"/>
              </a:endParaRPr>
            </a:p>
          </p:txBody>
        </p:sp>
        <p:sp>
          <p:nvSpPr>
            <p:cNvPr id="162" name="TextBox 161">
              <a:extLst>
                <a:ext uri="{FF2B5EF4-FFF2-40B4-BE49-F238E27FC236}">
                  <a16:creationId xmlns="" xmlns:a16="http://schemas.microsoft.com/office/drawing/2014/main" id="{62290FBC-F75A-4C9E-8D68-930CD020189E}"/>
                </a:ext>
              </a:extLst>
            </p:cNvPr>
            <p:cNvSpPr txBox="1"/>
            <p:nvPr/>
          </p:nvSpPr>
          <p:spPr>
            <a:xfrm>
              <a:off x="7963288" y="5666575"/>
              <a:ext cx="389445" cy="246221"/>
            </a:xfrm>
            <a:prstGeom prst="rect">
              <a:avLst/>
            </a:prstGeom>
            <a:noFill/>
          </p:spPr>
          <p:txBody>
            <a:bodyPr wrap="square" lIns="0" rIns="0">
              <a:spAutoFit/>
            </a:bodyPr>
            <a:lstStyle/>
            <a:p>
              <a:pPr algn="ctr" defTabSz="685494">
                <a:defRPr/>
              </a:pPr>
              <a:r>
                <a:rPr kumimoji="1" lang="es" sz="600">
                  <a:solidFill>
                    <a:srgbClr val="000000"/>
                  </a:solidFill>
                  <a:cs typeface="Calibri" panose="020F0502020204030204" pitchFamily="34" charset="0"/>
                </a:rPr>
                <a:t>−250</a:t>
              </a:r>
              <a:endParaRPr kumimoji="1" lang="en-US" sz="600">
                <a:solidFill>
                  <a:srgbClr val="000000"/>
                </a:solidFill>
                <a:cs typeface="Calibri" panose="020F0502020204030204" pitchFamily="34" charset="0"/>
              </a:endParaRPr>
            </a:p>
          </p:txBody>
        </p:sp>
        <p:sp>
          <p:nvSpPr>
            <p:cNvPr id="163" name="TextBox 162">
              <a:extLst>
                <a:ext uri="{FF2B5EF4-FFF2-40B4-BE49-F238E27FC236}">
                  <a16:creationId xmlns="" xmlns:a16="http://schemas.microsoft.com/office/drawing/2014/main" id="{CDFC26A6-CB29-B53B-FA00-EB84F385F030}"/>
                </a:ext>
              </a:extLst>
            </p:cNvPr>
            <p:cNvSpPr txBox="1"/>
            <p:nvPr/>
          </p:nvSpPr>
          <p:spPr>
            <a:xfrm>
              <a:off x="8223356" y="5666575"/>
              <a:ext cx="389445" cy="246221"/>
            </a:xfrm>
            <a:prstGeom prst="rect">
              <a:avLst/>
            </a:prstGeom>
            <a:noFill/>
          </p:spPr>
          <p:txBody>
            <a:bodyPr wrap="square" lIns="0" rIns="0">
              <a:spAutoFit/>
            </a:bodyPr>
            <a:lstStyle/>
            <a:p>
              <a:pPr algn="ctr" defTabSz="685494">
                <a:defRPr/>
              </a:pPr>
              <a:r>
                <a:rPr kumimoji="1" lang="es" sz="600">
                  <a:solidFill>
                    <a:srgbClr val="000000"/>
                  </a:solidFill>
                  <a:cs typeface="Calibri" panose="020F0502020204030204" pitchFamily="34" charset="0"/>
                </a:rPr>
                <a:t>−200</a:t>
              </a:r>
              <a:endParaRPr kumimoji="1" lang="en-US" sz="600">
                <a:solidFill>
                  <a:srgbClr val="000000"/>
                </a:solidFill>
                <a:cs typeface="Calibri" panose="020F0502020204030204" pitchFamily="34" charset="0"/>
              </a:endParaRPr>
            </a:p>
          </p:txBody>
        </p:sp>
        <p:sp>
          <p:nvSpPr>
            <p:cNvPr id="164" name="TextBox 163">
              <a:extLst>
                <a:ext uri="{FF2B5EF4-FFF2-40B4-BE49-F238E27FC236}">
                  <a16:creationId xmlns="" xmlns:a16="http://schemas.microsoft.com/office/drawing/2014/main" id="{4CA3FBD2-F1D5-7433-A298-24E91A5613D3}"/>
                </a:ext>
              </a:extLst>
            </p:cNvPr>
            <p:cNvSpPr txBox="1"/>
            <p:nvPr/>
          </p:nvSpPr>
          <p:spPr>
            <a:xfrm>
              <a:off x="8489921" y="5666575"/>
              <a:ext cx="389445" cy="246221"/>
            </a:xfrm>
            <a:prstGeom prst="rect">
              <a:avLst/>
            </a:prstGeom>
            <a:noFill/>
          </p:spPr>
          <p:txBody>
            <a:bodyPr wrap="square" lIns="0" rIns="0">
              <a:spAutoFit/>
            </a:bodyPr>
            <a:lstStyle/>
            <a:p>
              <a:pPr algn="ctr" defTabSz="685494">
                <a:defRPr/>
              </a:pPr>
              <a:r>
                <a:rPr kumimoji="1" lang="es" sz="600">
                  <a:solidFill>
                    <a:srgbClr val="000000"/>
                  </a:solidFill>
                  <a:cs typeface="Calibri" panose="020F0502020204030204" pitchFamily="34" charset="0"/>
                </a:rPr>
                <a:t>−150</a:t>
              </a:r>
              <a:endParaRPr kumimoji="1" lang="en-US" sz="600">
                <a:solidFill>
                  <a:srgbClr val="000000"/>
                </a:solidFill>
                <a:cs typeface="Calibri" panose="020F0502020204030204" pitchFamily="34" charset="0"/>
              </a:endParaRPr>
            </a:p>
          </p:txBody>
        </p:sp>
        <p:sp>
          <p:nvSpPr>
            <p:cNvPr id="165" name="TextBox 164">
              <a:extLst>
                <a:ext uri="{FF2B5EF4-FFF2-40B4-BE49-F238E27FC236}">
                  <a16:creationId xmlns="" xmlns:a16="http://schemas.microsoft.com/office/drawing/2014/main" id="{3D0D2E69-0BDF-0933-AA94-B7279D8A0386}"/>
                </a:ext>
              </a:extLst>
            </p:cNvPr>
            <p:cNvSpPr txBox="1"/>
            <p:nvPr/>
          </p:nvSpPr>
          <p:spPr>
            <a:xfrm>
              <a:off x="8750889" y="5666575"/>
              <a:ext cx="389445" cy="246221"/>
            </a:xfrm>
            <a:prstGeom prst="rect">
              <a:avLst/>
            </a:prstGeom>
            <a:noFill/>
          </p:spPr>
          <p:txBody>
            <a:bodyPr wrap="square" lIns="0" rIns="0">
              <a:spAutoFit/>
            </a:bodyPr>
            <a:lstStyle/>
            <a:p>
              <a:pPr algn="ctr" defTabSz="685494">
                <a:defRPr/>
              </a:pPr>
              <a:r>
                <a:rPr kumimoji="1" lang="es" sz="600">
                  <a:solidFill>
                    <a:srgbClr val="000000"/>
                  </a:solidFill>
                  <a:cs typeface="Calibri" panose="020F0502020204030204" pitchFamily="34" charset="0"/>
                </a:rPr>
                <a:t>−100</a:t>
              </a:r>
              <a:endParaRPr kumimoji="1" lang="en-US" sz="600">
                <a:solidFill>
                  <a:srgbClr val="000000"/>
                </a:solidFill>
                <a:cs typeface="Calibri" panose="020F0502020204030204" pitchFamily="34" charset="0"/>
              </a:endParaRPr>
            </a:p>
          </p:txBody>
        </p:sp>
        <p:sp>
          <p:nvSpPr>
            <p:cNvPr id="166" name="TextBox 165">
              <a:extLst>
                <a:ext uri="{FF2B5EF4-FFF2-40B4-BE49-F238E27FC236}">
                  <a16:creationId xmlns="" xmlns:a16="http://schemas.microsoft.com/office/drawing/2014/main" id="{D8602BA1-8F9E-32BD-A5B7-34B0DA3527D3}"/>
                </a:ext>
              </a:extLst>
            </p:cNvPr>
            <p:cNvSpPr txBox="1"/>
            <p:nvPr/>
          </p:nvSpPr>
          <p:spPr>
            <a:xfrm>
              <a:off x="9010958" y="5666575"/>
              <a:ext cx="389445" cy="246221"/>
            </a:xfrm>
            <a:prstGeom prst="rect">
              <a:avLst/>
            </a:prstGeom>
            <a:noFill/>
          </p:spPr>
          <p:txBody>
            <a:bodyPr wrap="square" lIns="0" rIns="0">
              <a:spAutoFit/>
            </a:bodyPr>
            <a:lstStyle/>
            <a:p>
              <a:pPr algn="ctr" defTabSz="685494">
                <a:defRPr/>
              </a:pPr>
              <a:r>
                <a:rPr kumimoji="1" lang="es" sz="600">
                  <a:solidFill>
                    <a:srgbClr val="000000"/>
                  </a:solidFill>
                  <a:cs typeface="Calibri" panose="020F0502020204030204" pitchFamily="34" charset="0"/>
                </a:rPr>
                <a:t>−50</a:t>
              </a:r>
              <a:endParaRPr kumimoji="1" lang="en-US" sz="600">
                <a:solidFill>
                  <a:srgbClr val="000000"/>
                </a:solidFill>
                <a:cs typeface="Calibri" panose="020F0502020204030204" pitchFamily="34" charset="0"/>
              </a:endParaRPr>
            </a:p>
          </p:txBody>
        </p:sp>
        <p:sp>
          <p:nvSpPr>
            <p:cNvPr id="167" name="TextBox 166">
              <a:extLst>
                <a:ext uri="{FF2B5EF4-FFF2-40B4-BE49-F238E27FC236}">
                  <a16:creationId xmlns="" xmlns:a16="http://schemas.microsoft.com/office/drawing/2014/main" id="{DED7F5A1-A6B7-3309-4821-F3D6748FEE13}"/>
                </a:ext>
              </a:extLst>
            </p:cNvPr>
            <p:cNvSpPr txBox="1"/>
            <p:nvPr/>
          </p:nvSpPr>
          <p:spPr>
            <a:xfrm>
              <a:off x="9277522" y="5666575"/>
              <a:ext cx="389445" cy="246221"/>
            </a:xfrm>
            <a:prstGeom prst="rect">
              <a:avLst/>
            </a:prstGeom>
            <a:noFill/>
          </p:spPr>
          <p:txBody>
            <a:bodyPr wrap="square" lIns="0" rIns="0">
              <a:spAutoFit/>
            </a:bodyPr>
            <a:lstStyle/>
            <a:p>
              <a:pPr algn="ctr" defTabSz="685494">
                <a:defRPr/>
              </a:pPr>
              <a:r>
                <a:rPr kumimoji="1" lang="es" sz="600">
                  <a:solidFill>
                    <a:srgbClr val="000000"/>
                  </a:solidFill>
                  <a:cs typeface="Calibri" panose="020F0502020204030204" pitchFamily="34" charset="0"/>
                </a:rPr>
                <a:t>0</a:t>
              </a:r>
              <a:endParaRPr kumimoji="1" lang="en-US" sz="600">
                <a:solidFill>
                  <a:srgbClr val="000000"/>
                </a:solidFill>
                <a:cs typeface="Calibri" panose="020F0502020204030204" pitchFamily="34" charset="0"/>
              </a:endParaRPr>
            </a:p>
          </p:txBody>
        </p:sp>
        <p:sp>
          <p:nvSpPr>
            <p:cNvPr id="168" name="TextBox 167">
              <a:extLst>
                <a:ext uri="{FF2B5EF4-FFF2-40B4-BE49-F238E27FC236}">
                  <a16:creationId xmlns="" xmlns:a16="http://schemas.microsoft.com/office/drawing/2014/main" id="{48AE9719-B904-2615-21D0-C91C74B3CBA1}"/>
                </a:ext>
              </a:extLst>
            </p:cNvPr>
            <p:cNvSpPr txBox="1"/>
            <p:nvPr/>
          </p:nvSpPr>
          <p:spPr>
            <a:xfrm>
              <a:off x="9546184" y="5666575"/>
              <a:ext cx="389445" cy="246221"/>
            </a:xfrm>
            <a:prstGeom prst="rect">
              <a:avLst/>
            </a:prstGeom>
            <a:noFill/>
          </p:spPr>
          <p:txBody>
            <a:bodyPr wrap="square" lIns="0" rIns="0">
              <a:spAutoFit/>
            </a:bodyPr>
            <a:lstStyle/>
            <a:p>
              <a:pPr algn="ctr" defTabSz="685494">
                <a:defRPr/>
              </a:pPr>
              <a:r>
                <a:rPr kumimoji="1" lang="es" sz="600">
                  <a:solidFill>
                    <a:srgbClr val="000000"/>
                  </a:solidFill>
                  <a:cs typeface="Calibri" panose="020F0502020204030204" pitchFamily="34" charset="0"/>
                </a:rPr>
                <a:t>50</a:t>
              </a:r>
              <a:endParaRPr kumimoji="1" lang="en-US" sz="600">
                <a:solidFill>
                  <a:srgbClr val="000000"/>
                </a:solidFill>
                <a:cs typeface="Calibri" panose="020F0502020204030204" pitchFamily="34" charset="0"/>
              </a:endParaRPr>
            </a:p>
          </p:txBody>
        </p:sp>
        <p:sp>
          <p:nvSpPr>
            <p:cNvPr id="169" name="TextBox 168">
              <a:extLst>
                <a:ext uri="{FF2B5EF4-FFF2-40B4-BE49-F238E27FC236}">
                  <a16:creationId xmlns="" xmlns:a16="http://schemas.microsoft.com/office/drawing/2014/main" id="{8C870E88-D8B3-4530-403E-0FBED82D87FD}"/>
                </a:ext>
              </a:extLst>
            </p:cNvPr>
            <p:cNvSpPr txBox="1"/>
            <p:nvPr/>
          </p:nvSpPr>
          <p:spPr>
            <a:xfrm>
              <a:off x="9806252" y="5666575"/>
              <a:ext cx="389445" cy="246221"/>
            </a:xfrm>
            <a:prstGeom prst="rect">
              <a:avLst/>
            </a:prstGeom>
            <a:noFill/>
          </p:spPr>
          <p:txBody>
            <a:bodyPr wrap="square" lIns="0" rIns="0">
              <a:spAutoFit/>
            </a:bodyPr>
            <a:lstStyle/>
            <a:p>
              <a:pPr algn="ctr" defTabSz="685494">
                <a:defRPr/>
              </a:pPr>
              <a:r>
                <a:rPr kumimoji="1" lang="es" sz="600">
                  <a:solidFill>
                    <a:srgbClr val="000000"/>
                  </a:solidFill>
                  <a:cs typeface="Calibri" panose="020F0502020204030204" pitchFamily="34" charset="0"/>
                </a:rPr>
                <a:t>100</a:t>
              </a:r>
              <a:endParaRPr kumimoji="1" lang="en-US" sz="600">
                <a:solidFill>
                  <a:srgbClr val="000000"/>
                </a:solidFill>
                <a:cs typeface="Calibri" panose="020F0502020204030204" pitchFamily="34" charset="0"/>
              </a:endParaRPr>
            </a:p>
          </p:txBody>
        </p:sp>
        <p:sp>
          <p:nvSpPr>
            <p:cNvPr id="171" name="TextBox 170">
              <a:extLst>
                <a:ext uri="{FF2B5EF4-FFF2-40B4-BE49-F238E27FC236}">
                  <a16:creationId xmlns="" xmlns:a16="http://schemas.microsoft.com/office/drawing/2014/main" id="{9E8BDAEF-17E3-8457-BD02-A85843893815}"/>
                </a:ext>
              </a:extLst>
            </p:cNvPr>
            <p:cNvSpPr txBox="1"/>
            <p:nvPr/>
          </p:nvSpPr>
          <p:spPr>
            <a:xfrm>
              <a:off x="10072818" y="5666575"/>
              <a:ext cx="389445" cy="246221"/>
            </a:xfrm>
            <a:prstGeom prst="rect">
              <a:avLst/>
            </a:prstGeom>
            <a:noFill/>
          </p:spPr>
          <p:txBody>
            <a:bodyPr wrap="square" lIns="0" rIns="0">
              <a:spAutoFit/>
            </a:bodyPr>
            <a:lstStyle/>
            <a:p>
              <a:pPr algn="ctr" defTabSz="685494">
                <a:defRPr/>
              </a:pPr>
              <a:r>
                <a:rPr kumimoji="1" lang="es" sz="600">
                  <a:solidFill>
                    <a:srgbClr val="000000"/>
                  </a:solidFill>
                  <a:cs typeface="Calibri" panose="020F0502020204030204" pitchFamily="34" charset="0"/>
                </a:rPr>
                <a:t>150</a:t>
              </a:r>
              <a:endParaRPr kumimoji="1" lang="en-US" sz="600">
                <a:solidFill>
                  <a:srgbClr val="000000"/>
                </a:solidFill>
                <a:cs typeface="Calibri" panose="020F0502020204030204" pitchFamily="34" charset="0"/>
              </a:endParaRPr>
            </a:p>
          </p:txBody>
        </p:sp>
        <p:sp>
          <p:nvSpPr>
            <p:cNvPr id="173" name="Freeform: Shape 172">
              <a:extLst>
                <a:ext uri="{FF2B5EF4-FFF2-40B4-BE49-F238E27FC236}">
                  <a16:creationId xmlns="" xmlns:a16="http://schemas.microsoft.com/office/drawing/2014/main" id="{8983BAB3-77AC-C42C-436D-F6D92EB38979}"/>
                </a:ext>
              </a:extLst>
            </p:cNvPr>
            <p:cNvSpPr/>
            <p:nvPr/>
          </p:nvSpPr>
          <p:spPr>
            <a:xfrm>
              <a:off x="7356279" y="5650607"/>
              <a:ext cx="720000" cy="12646"/>
            </a:xfrm>
            <a:custGeom>
              <a:avLst/>
              <a:gdLst>
                <a:gd name="connsiteX0" fmla="*/ 0 w 156219"/>
                <a:gd name="connsiteY0" fmla="*/ 0 h 12646"/>
                <a:gd name="connsiteX1" fmla="*/ 156219 w 156219"/>
                <a:gd name="connsiteY1" fmla="*/ 0 h 12646"/>
              </a:gdLst>
              <a:ahLst/>
              <a:cxnLst>
                <a:cxn ang="0">
                  <a:pos x="connsiteX0" y="connsiteY0"/>
                </a:cxn>
                <a:cxn ang="0">
                  <a:pos x="connsiteX1" y="connsiteY1"/>
                </a:cxn>
              </a:cxnLst>
              <a:rect l="l" t="t" r="r" b="b"/>
              <a:pathLst>
                <a:path w="156219" h="12646">
                  <a:moveTo>
                    <a:pt x="0" y="0"/>
                  </a:moveTo>
                  <a:lnTo>
                    <a:pt x="156219" y="0"/>
                  </a:lnTo>
                </a:path>
              </a:pathLst>
            </a:custGeom>
            <a:ln w="12760" cap="flat">
              <a:solidFill>
                <a:schemeClr val="bg1"/>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sp>
          <p:nvSpPr>
            <p:cNvPr id="175" name="Freeform: Shape 174">
              <a:extLst>
                <a:ext uri="{FF2B5EF4-FFF2-40B4-BE49-F238E27FC236}">
                  <a16:creationId xmlns="" xmlns:a16="http://schemas.microsoft.com/office/drawing/2014/main" id="{736B8A7A-1A39-7A26-F917-402C12F97E85}"/>
                </a:ext>
              </a:extLst>
            </p:cNvPr>
            <p:cNvSpPr/>
            <p:nvPr/>
          </p:nvSpPr>
          <p:spPr>
            <a:xfrm>
              <a:off x="7237535" y="5651498"/>
              <a:ext cx="156219" cy="12646"/>
            </a:xfrm>
            <a:custGeom>
              <a:avLst/>
              <a:gdLst>
                <a:gd name="connsiteX0" fmla="*/ 0 w 156219"/>
                <a:gd name="connsiteY0" fmla="*/ 0 h 12646"/>
                <a:gd name="connsiteX1" fmla="*/ 156219 w 156219"/>
                <a:gd name="connsiteY1" fmla="*/ 0 h 12646"/>
              </a:gdLst>
              <a:ahLst/>
              <a:cxnLst>
                <a:cxn ang="0">
                  <a:pos x="connsiteX0" y="connsiteY0"/>
                </a:cxn>
                <a:cxn ang="0">
                  <a:pos x="connsiteX1" y="connsiteY1"/>
                </a:cxn>
              </a:cxnLst>
              <a:rect l="l" t="t" r="r" b="b"/>
              <a:pathLst>
                <a:path w="156219" h="12646">
                  <a:moveTo>
                    <a:pt x="0" y="0"/>
                  </a:moveTo>
                  <a:lnTo>
                    <a:pt x="156219" y="0"/>
                  </a:lnTo>
                </a:path>
              </a:pathLst>
            </a:custGeom>
            <a:ln w="12700" cap="flat">
              <a:solidFill>
                <a:schemeClr val="tx1"/>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sp>
          <p:nvSpPr>
            <p:cNvPr id="176" name="Freeform: Shape 175">
              <a:extLst>
                <a:ext uri="{FF2B5EF4-FFF2-40B4-BE49-F238E27FC236}">
                  <a16:creationId xmlns="" xmlns:a16="http://schemas.microsoft.com/office/drawing/2014/main" id="{E2DD8FE6-A2F3-C409-09E6-2657DCDFC157}"/>
                </a:ext>
              </a:extLst>
            </p:cNvPr>
            <p:cNvSpPr/>
            <p:nvPr/>
          </p:nvSpPr>
          <p:spPr>
            <a:xfrm>
              <a:off x="7368857" y="5617954"/>
              <a:ext cx="49794" cy="62219"/>
            </a:xfrm>
            <a:custGeom>
              <a:avLst/>
              <a:gdLst>
                <a:gd name="connsiteX0" fmla="*/ 49794 w 49794"/>
                <a:gd name="connsiteY0" fmla="*/ 0 h 62219"/>
                <a:gd name="connsiteX1" fmla="*/ 0 w 49794"/>
                <a:gd name="connsiteY1" fmla="*/ 62219 h 62219"/>
              </a:gdLst>
              <a:ahLst/>
              <a:cxnLst>
                <a:cxn ang="0">
                  <a:pos x="connsiteX0" y="connsiteY0"/>
                </a:cxn>
                <a:cxn ang="0">
                  <a:pos x="connsiteX1" y="connsiteY1"/>
                </a:cxn>
              </a:cxnLst>
              <a:rect l="l" t="t" r="r" b="b"/>
              <a:pathLst>
                <a:path w="49794" h="62219">
                  <a:moveTo>
                    <a:pt x="49794" y="0"/>
                  </a:moveTo>
                  <a:lnTo>
                    <a:pt x="0" y="62219"/>
                  </a:lnTo>
                </a:path>
              </a:pathLst>
            </a:custGeom>
            <a:ln w="12760" cap="flat">
              <a:solidFill>
                <a:schemeClr val="tx1"/>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sp>
          <p:nvSpPr>
            <p:cNvPr id="177" name="Freeform: Shape 176">
              <a:extLst>
                <a:ext uri="{FF2B5EF4-FFF2-40B4-BE49-F238E27FC236}">
                  <a16:creationId xmlns="" xmlns:a16="http://schemas.microsoft.com/office/drawing/2014/main" id="{477A5F98-ECEF-EB46-C9BE-A8B93C7A6FC8}"/>
                </a:ext>
              </a:extLst>
            </p:cNvPr>
            <p:cNvSpPr/>
            <p:nvPr/>
          </p:nvSpPr>
          <p:spPr>
            <a:xfrm>
              <a:off x="7487924" y="5650655"/>
              <a:ext cx="304698" cy="12646"/>
            </a:xfrm>
            <a:custGeom>
              <a:avLst/>
              <a:gdLst>
                <a:gd name="connsiteX0" fmla="*/ 0 w 304698"/>
                <a:gd name="connsiteY0" fmla="*/ 0 h 12646"/>
                <a:gd name="connsiteX1" fmla="*/ 304699 w 304698"/>
                <a:gd name="connsiteY1" fmla="*/ 0 h 12646"/>
              </a:gdLst>
              <a:ahLst/>
              <a:cxnLst>
                <a:cxn ang="0">
                  <a:pos x="connsiteX0" y="connsiteY0"/>
                </a:cxn>
                <a:cxn ang="0">
                  <a:pos x="connsiteX1" y="connsiteY1"/>
                </a:cxn>
              </a:cxnLst>
              <a:rect l="l" t="t" r="r" b="b"/>
              <a:pathLst>
                <a:path w="304698" h="12646">
                  <a:moveTo>
                    <a:pt x="0" y="0"/>
                  </a:moveTo>
                  <a:lnTo>
                    <a:pt x="304699" y="0"/>
                  </a:lnTo>
                </a:path>
              </a:pathLst>
            </a:custGeom>
            <a:ln w="12700" cap="flat">
              <a:solidFill>
                <a:schemeClr val="tx1"/>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sp>
          <p:nvSpPr>
            <p:cNvPr id="179" name="Freeform: Shape 178">
              <a:extLst>
                <a:ext uri="{FF2B5EF4-FFF2-40B4-BE49-F238E27FC236}">
                  <a16:creationId xmlns="" xmlns:a16="http://schemas.microsoft.com/office/drawing/2014/main" id="{2C55DBCF-C8A6-474F-C4DF-8B3FBAA2A1FB}"/>
                </a:ext>
              </a:extLst>
            </p:cNvPr>
            <p:cNvSpPr/>
            <p:nvPr/>
          </p:nvSpPr>
          <p:spPr>
            <a:xfrm>
              <a:off x="7462898" y="5617954"/>
              <a:ext cx="50052" cy="62092"/>
            </a:xfrm>
            <a:custGeom>
              <a:avLst/>
              <a:gdLst>
                <a:gd name="connsiteX0" fmla="*/ 50052 w 50052"/>
                <a:gd name="connsiteY0" fmla="*/ 0 h 62092"/>
                <a:gd name="connsiteX1" fmla="*/ 0 w 50052"/>
                <a:gd name="connsiteY1" fmla="*/ 62093 h 62092"/>
              </a:gdLst>
              <a:ahLst/>
              <a:cxnLst>
                <a:cxn ang="0">
                  <a:pos x="connsiteX0" y="connsiteY0"/>
                </a:cxn>
                <a:cxn ang="0">
                  <a:pos x="connsiteX1" y="connsiteY1"/>
                </a:cxn>
              </a:cxnLst>
              <a:rect l="l" t="t" r="r" b="b"/>
              <a:pathLst>
                <a:path w="50052" h="62092">
                  <a:moveTo>
                    <a:pt x="50052" y="0"/>
                  </a:moveTo>
                  <a:lnTo>
                    <a:pt x="0" y="62093"/>
                  </a:lnTo>
                </a:path>
              </a:pathLst>
            </a:custGeom>
            <a:ln w="12760" cap="flat">
              <a:solidFill>
                <a:schemeClr val="tx1"/>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sp>
          <p:nvSpPr>
            <p:cNvPr id="185" name="Freeform: Shape 184">
              <a:extLst>
                <a:ext uri="{FF2B5EF4-FFF2-40B4-BE49-F238E27FC236}">
                  <a16:creationId xmlns="" xmlns:a16="http://schemas.microsoft.com/office/drawing/2014/main" id="{4CBD4676-D6F6-B820-B3E8-4634C0239F1B}"/>
                </a:ext>
              </a:extLst>
            </p:cNvPr>
            <p:cNvSpPr/>
            <p:nvPr/>
          </p:nvSpPr>
          <p:spPr>
            <a:xfrm>
              <a:off x="7767597" y="5617954"/>
              <a:ext cx="50052" cy="62092"/>
            </a:xfrm>
            <a:custGeom>
              <a:avLst/>
              <a:gdLst>
                <a:gd name="connsiteX0" fmla="*/ 50052 w 50052"/>
                <a:gd name="connsiteY0" fmla="*/ 0 h 62092"/>
                <a:gd name="connsiteX1" fmla="*/ 0 w 50052"/>
                <a:gd name="connsiteY1" fmla="*/ 62093 h 62092"/>
              </a:gdLst>
              <a:ahLst/>
              <a:cxnLst>
                <a:cxn ang="0">
                  <a:pos x="connsiteX0" y="connsiteY0"/>
                </a:cxn>
                <a:cxn ang="0">
                  <a:pos x="connsiteX1" y="connsiteY1"/>
                </a:cxn>
              </a:cxnLst>
              <a:rect l="l" t="t" r="r" b="b"/>
              <a:pathLst>
                <a:path w="50052" h="62092">
                  <a:moveTo>
                    <a:pt x="50052" y="0"/>
                  </a:moveTo>
                  <a:lnTo>
                    <a:pt x="0" y="62093"/>
                  </a:lnTo>
                </a:path>
              </a:pathLst>
            </a:custGeom>
            <a:ln w="12760" cap="flat">
              <a:solidFill>
                <a:schemeClr val="tx1"/>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sp>
          <p:nvSpPr>
            <p:cNvPr id="186" name="Freeform: Shape 185">
              <a:extLst>
                <a:ext uri="{FF2B5EF4-FFF2-40B4-BE49-F238E27FC236}">
                  <a16:creationId xmlns="" xmlns:a16="http://schemas.microsoft.com/office/drawing/2014/main" id="{EF80D07A-4B71-E548-C172-A7DB8D818A40}"/>
                </a:ext>
              </a:extLst>
            </p:cNvPr>
            <p:cNvSpPr/>
            <p:nvPr/>
          </p:nvSpPr>
          <p:spPr>
            <a:xfrm>
              <a:off x="7861509" y="5617827"/>
              <a:ext cx="49794" cy="62092"/>
            </a:xfrm>
            <a:custGeom>
              <a:avLst/>
              <a:gdLst>
                <a:gd name="connsiteX0" fmla="*/ 49794 w 49794"/>
                <a:gd name="connsiteY0" fmla="*/ 0 h 62092"/>
                <a:gd name="connsiteX1" fmla="*/ 0 w 49794"/>
                <a:gd name="connsiteY1" fmla="*/ 62093 h 62092"/>
              </a:gdLst>
              <a:ahLst/>
              <a:cxnLst>
                <a:cxn ang="0">
                  <a:pos x="connsiteX0" y="connsiteY0"/>
                </a:cxn>
                <a:cxn ang="0">
                  <a:pos x="connsiteX1" y="connsiteY1"/>
                </a:cxn>
              </a:cxnLst>
              <a:rect l="l" t="t" r="r" b="b"/>
              <a:pathLst>
                <a:path w="49794" h="62092">
                  <a:moveTo>
                    <a:pt x="49794" y="0"/>
                  </a:moveTo>
                  <a:lnTo>
                    <a:pt x="0" y="62093"/>
                  </a:lnTo>
                </a:path>
              </a:pathLst>
            </a:custGeom>
            <a:ln w="12760" cap="flat">
              <a:solidFill>
                <a:schemeClr val="tx1"/>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sp>
          <p:nvSpPr>
            <p:cNvPr id="187" name="Freeform: Shape 186">
              <a:extLst>
                <a:ext uri="{FF2B5EF4-FFF2-40B4-BE49-F238E27FC236}">
                  <a16:creationId xmlns="" xmlns:a16="http://schemas.microsoft.com/office/drawing/2014/main" id="{9BD88639-1347-CA55-A08E-F5FC19A0BEAB}"/>
                </a:ext>
              </a:extLst>
            </p:cNvPr>
            <p:cNvSpPr/>
            <p:nvPr/>
          </p:nvSpPr>
          <p:spPr>
            <a:xfrm>
              <a:off x="7883180" y="5650655"/>
              <a:ext cx="2556000" cy="12646"/>
            </a:xfrm>
            <a:custGeom>
              <a:avLst/>
              <a:gdLst>
                <a:gd name="connsiteX0" fmla="*/ 0 w 2387279"/>
                <a:gd name="connsiteY0" fmla="*/ 0 h 12646"/>
                <a:gd name="connsiteX1" fmla="*/ 2387280 w 2387279"/>
                <a:gd name="connsiteY1" fmla="*/ 0 h 12646"/>
              </a:gdLst>
              <a:ahLst/>
              <a:cxnLst>
                <a:cxn ang="0">
                  <a:pos x="connsiteX0" y="connsiteY0"/>
                </a:cxn>
                <a:cxn ang="0">
                  <a:pos x="connsiteX1" y="connsiteY1"/>
                </a:cxn>
              </a:cxnLst>
              <a:rect l="l" t="t" r="r" b="b"/>
              <a:pathLst>
                <a:path w="2387279" h="12646">
                  <a:moveTo>
                    <a:pt x="0" y="0"/>
                  </a:moveTo>
                  <a:lnTo>
                    <a:pt x="2387280" y="0"/>
                  </a:lnTo>
                </a:path>
              </a:pathLst>
            </a:custGeom>
            <a:ln w="12700" cap="flat">
              <a:solidFill>
                <a:schemeClr val="tx1"/>
              </a:solidFill>
              <a:prstDash val="solid"/>
              <a:miter/>
            </a:ln>
          </p:spPr>
          <p:txBody>
            <a:bodyPr rtlCol="0" anchor="ctr"/>
            <a:lstStyle/>
            <a:p>
              <a:pPr defTabSz="685494">
                <a:defRPr/>
              </a:pPr>
              <a:endParaRPr kumimoji="1" lang="en-US" sz="1400">
                <a:solidFill>
                  <a:srgbClr val="000000"/>
                </a:solidFill>
                <a:cs typeface="Calibri" panose="020F0502020204030204" pitchFamily="34" charset="0"/>
              </a:endParaRPr>
            </a:p>
          </p:txBody>
        </p:sp>
      </p:grpSp>
      <p:sp>
        <p:nvSpPr>
          <p:cNvPr id="31" name="Freeform: Shape 30">
            <a:extLst>
              <a:ext uri="{FF2B5EF4-FFF2-40B4-BE49-F238E27FC236}">
                <a16:creationId xmlns="" xmlns:a16="http://schemas.microsoft.com/office/drawing/2014/main" id="{28A6D392-D9BC-DAEA-0BF3-B650F00BEB5B}"/>
              </a:ext>
            </a:extLst>
          </p:cNvPr>
          <p:cNvSpPr/>
          <p:nvPr/>
        </p:nvSpPr>
        <p:spPr>
          <a:xfrm>
            <a:off x="6892717" y="782440"/>
            <a:ext cx="34289" cy="3381510"/>
          </a:xfrm>
          <a:custGeom>
            <a:avLst/>
            <a:gdLst>
              <a:gd name="connsiteX0" fmla="*/ 0 w 12900"/>
              <a:gd name="connsiteY0" fmla="*/ 0 h 3419646"/>
              <a:gd name="connsiteX1" fmla="*/ 0 w 12900"/>
              <a:gd name="connsiteY1" fmla="*/ 3419647 h 3419646"/>
            </a:gdLst>
            <a:ahLst/>
            <a:cxnLst>
              <a:cxn ang="0">
                <a:pos x="connsiteX0" y="connsiteY0"/>
              </a:cxn>
              <a:cxn ang="0">
                <a:pos x="connsiteX1" y="connsiteY1"/>
              </a:cxn>
            </a:cxnLst>
            <a:rect l="l" t="t" r="r" b="b"/>
            <a:pathLst>
              <a:path w="12900" h="3419646">
                <a:moveTo>
                  <a:pt x="0" y="0"/>
                </a:moveTo>
                <a:lnTo>
                  <a:pt x="0" y="3419647"/>
                </a:lnTo>
              </a:path>
            </a:pathLst>
          </a:custGeom>
          <a:ln w="12700" cap="flat">
            <a:solidFill>
              <a:srgbClr val="000000"/>
            </a:solidFill>
            <a:prstDash val="sysDot"/>
            <a:miter/>
          </a:ln>
        </p:spPr>
        <p:txBody>
          <a:bodyPr lIns="68553" tIns="34289" rIns="68553" bIns="34289" rtlCol="0" anchor="ctr"/>
          <a:lstStyle/>
          <a:p>
            <a:pPr defTabSz="685494">
              <a:defRPr/>
            </a:pPr>
            <a:endParaRPr kumimoji="1" lang="en-US" sz="1400">
              <a:solidFill>
                <a:srgbClr val="000000"/>
              </a:solidFill>
              <a:cs typeface="Calibri" panose="020F0502020204030204" pitchFamily="34" charset="0"/>
            </a:endParaRPr>
          </a:p>
        </p:txBody>
      </p:sp>
    </p:spTree>
    <p:extLst>
      <p:ext uri="{BB962C8B-B14F-4D97-AF65-F5344CB8AC3E}">
        <p14:creationId xmlns:p14="http://schemas.microsoft.com/office/powerpoint/2010/main" val="666522974"/>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2" name="Text Placeholder 21">
            <a:extLst>
              <a:ext uri="{FF2B5EF4-FFF2-40B4-BE49-F238E27FC236}">
                <a16:creationId xmlns="" xmlns:a16="http://schemas.microsoft.com/office/drawing/2014/main" id="{5BF9D45F-D699-F1CA-2ED3-08F56F856BF7}"/>
              </a:ext>
            </a:extLst>
          </p:cNvPr>
          <p:cNvSpPr>
            <a:spLocks noGrp="1"/>
          </p:cNvSpPr>
          <p:nvPr>
            <p:ph type="body" sz="quarter" idx="14"/>
          </p:nvPr>
        </p:nvSpPr>
        <p:spPr>
          <a:xfrm>
            <a:off x="395289" y="4431358"/>
            <a:ext cx="7546746" cy="340727"/>
          </a:xfrm>
        </p:spPr>
        <p:txBody>
          <a:bodyPr/>
          <a:lstStyle/>
          <a:p>
            <a:r>
              <a:rPr lang="en-US"/>
              <a:t/>
            </a:r>
            <a:br>
              <a:rPr lang="en-US"/>
            </a:br>
            <a:r>
              <a:rPr lang="es"/>
              <a:t>*Título neutralizante recíproco ≥10 para uno o más serotipos de DENV al inicio del estudio; †Seronegativo a los cuatro serotipos de DENV al inicio del estudio.</a:t>
            </a:r>
          </a:p>
          <a:p>
            <a:r>
              <a:rPr lang="es"/>
              <a:t>IC: intervalo de confianza; DENV: virus del dengue; NE, no estimable; VCD: dengue virológicamente confirmado; EV: eficacia de la vacuna. </a:t>
            </a:r>
            <a:r>
              <a:rPr lang="en-US"/>
              <a:t/>
            </a:r>
            <a:br>
              <a:rPr lang="en-US"/>
            </a:br>
            <a:r>
              <a:rPr lang="es"/>
              <a:t>Tricou V, Biswal S, Lloyd E, Rauscher M, Folschweiller N. Eficacia y seguridad de la vacuna candidata tetravalente contra el dengue de Takeda (TAK-003) después de 4,5 años de seguimiento. Presentado en la 5ª Cumbre Asiática del Dengue 2022; 13–15 de junio de 2022 Singapur; Grabaciones: </a:t>
            </a:r>
            <a:r>
              <a:rPr lang="es">
                <a:hlinkClick r:id="rId3"/>
              </a:rPr>
              <a:t>adva.asia/5th-asia-dengue-summit-recordings/</a:t>
            </a:r>
            <a:r>
              <a:rPr lang="es"/>
              <a:t>.</a:t>
            </a:r>
          </a:p>
        </p:txBody>
      </p:sp>
      <p:sp>
        <p:nvSpPr>
          <p:cNvPr id="4" name="Slide Number Placeholder 3">
            <a:extLst>
              <a:ext uri="{FF2B5EF4-FFF2-40B4-BE49-F238E27FC236}">
                <a16:creationId xmlns="" xmlns:a16="http://schemas.microsoft.com/office/drawing/2014/main" id="{5076A952-C7D1-4CDF-93E8-67666CB0ADBC}"/>
              </a:ext>
            </a:extLst>
          </p:cNvPr>
          <p:cNvSpPr>
            <a:spLocks noGrp="1"/>
          </p:cNvSpPr>
          <p:nvPr>
            <p:ph type="sldNum" sz="quarter" idx="16"/>
          </p:nvPr>
        </p:nvSpPr>
        <p:spPr/>
        <p:txBody>
          <a:bodyPr/>
          <a:lstStyle/>
          <a:p>
            <a:pPr defTabSz="685511">
              <a:defRPr/>
            </a:pPr>
            <a:fld id="{E9B57936-92EF-4126-AE48-1D9D36D15E98}" type="slidenum">
              <a:rPr kumimoji="1" lang="en-US" altLang="ja-JP">
                <a:solidFill>
                  <a:srgbClr val="A1A4AC"/>
                </a:solidFill>
              </a:rPr>
              <a:pPr defTabSz="685511">
                <a:defRPr/>
              </a:pPr>
              <a:t>45</a:t>
            </a:fld>
            <a:endParaRPr kumimoji="1" lang="en-US" altLang="ja-JP">
              <a:solidFill>
                <a:srgbClr val="A1A4AC"/>
              </a:solidFill>
            </a:endParaRPr>
          </a:p>
        </p:txBody>
      </p:sp>
      <p:sp>
        <p:nvSpPr>
          <p:cNvPr id="2" name="Title 1">
            <a:extLst>
              <a:ext uri="{FF2B5EF4-FFF2-40B4-BE49-F238E27FC236}">
                <a16:creationId xmlns="" xmlns:a16="http://schemas.microsoft.com/office/drawing/2014/main" id="{0D70F46A-8390-46E4-B2C7-211DAF898DFB}"/>
              </a:ext>
            </a:extLst>
          </p:cNvPr>
          <p:cNvSpPr>
            <a:spLocks noGrp="1"/>
          </p:cNvSpPr>
          <p:nvPr>
            <p:ph type="title"/>
          </p:nvPr>
        </p:nvSpPr>
        <p:spPr/>
        <p:txBody>
          <a:bodyPr/>
          <a:lstStyle/>
          <a:p>
            <a:r>
              <a:rPr lang="es" b="1"/>
              <a:t>La EV contra VCD hospitalizada varió según el serotipo y el estado serológico hasta 54 meses después de la 2ª dosis </a:t>
            </a:r>
          </a:p>
        </p:txBody>
      </p:sp>
      <p:sp>
        <p:nvSpPr>
          <p:cNvPr id="5" name="Footer Placeholder 4">
            <a:extLst>
              <a:ext uri="{FF2B5EF4-FFF2-40B4-BE49-F238E27FC236}">
                <a16:creationId xmlns="" xmlns:a16="http://schemas.microsoft.com/office/drawing/2014/main" id="{9471E69D-5918-40C9-8E1F-9638B64C4DD8}"/>
              </a:ext>
            </a:extLst>
          </p:cNvPr>
          <p:cNvSpPr>
            <a:spLocks noGrp="1"/>
          </p:cNvSpPr>
          <p:nvPr>
            <p:ph type="ftr" sz="quarter" idx="17"/>
          </p:nvPr>
        </p:nvSpPr>
        <p:spPr>
          <a:xfrm>
            <a:off x="395291" y="4749564"/>
            <a:ext cx="7128805" cy="272700"/>
          </a:xfrm>
        </p:spPr>
        <p:txBody>
          <a:bodyPr/>
          <a:lstStyle/>
          <a:p>
            <a:pPr defTabSz="685511">
              <a:defRPr/>
            </a:pPr>
            <a:r>
              <a:rPr kumimoji="1" lang="es" altLang="ja-JP">
                <a:solidFill>
                  <a:srgbClr val="000000">
                    <a:tint val="75000"/>
                  </a:srgbClr>
                </a:solidFill>
                <a:cs typeface="Calibri" panose="020F0502020204030204" pitchFamily="34" charset="0"/>
              </a:rPr>
              <a:t>Eficacia y seguridad a largo plazo de la vacuna candidata contra el dengue de Takeda (TAK-003) tras 4,5 años de seguimiento | VV-MEDMAT-80424 | Fecha de aprobación: marzo de 2023</a:t>
            </a:r>
          </a:p>
        </p:txBody>
      </p:sp>
      <p:sp>
        <p:nvSpPr>
          <p:cNvPr id="172" name="Rectangle 171">
            <a:extLst>
              <a:ext uri="{FF2B5EF4-FFF2-40B4-BE49-F238E27FC236}">
                <a16:creationId xmlns="" xmlns:a16="http://schemas.microsoft.com/office/drawing/2014/main" id="{C2CA1F9B-D830-0EE1-BD24-2DC5DBE378C6}"/>
              </a:ext>
            </a:extLst>
          </p:cNvPr>
          <p:cNvSpPr/>
          <p:nvPr/>
        </p:nvSpPr>
        <p:spPr>
          <a:xfrm>
            <a:off x="328870" y="917000"/>
            <a:ext cx="1923008" cy="1375597"/>
          </a:xfrm>
          <a:prstGeom prst="rect">
            <a:avLst/>
          </a:prstGeom>
          <a:solidFill>
            <a:srgbClr val="007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511">
              <a:defRPr/>
            </a:pPr>
            <a:r>
              <a:rPr kumimoji="1" lang="es" sz="1200" dirty="0">
                <a:solidFill>
                  <a:srgbClr val="FFFFFF"/>
                </a:solidFill>
                <a:cs typeface="Calibri" panose="020F0502020204030204" pitchFamily="34" charset="0"/>
              </a:rPr>
              <a:t>TAK-003 fue eficaz contra VCD hospitalizado</a:t>
            </a:r>
          </a:p>
          <a:p>
            <a:pPr algn="ctr" defTabSz="685511">
              <a:defRPr/>
            </a:pPr>
            <a:r>
              <a:rPr kumimoji="1" lang="es" sz="1200" dirty="0">
                <a:solidFill>
                  <a:srgbClr val="FFFFFF"/>
                </a:solidFill>
                <a:cs typeface="Calibri" panose="020F0502020204030204" pitchFamily="34" charset="0"/>
              </a:rPr>
              <a:t>causada por los cuatro serotipos en los seropositivos basales y DENV-1 y DENV-2 en los seronegativos basales</a:t>
            </a:r>
            <a:endParaRPr kumimoji="1" lang="en-US" sz="1200" dirty="0">
              <a:solidFill>
                <a:srgbClr val="FFFFFF"/>
              </a:solidFill>
              <a:cs typeface="Calibri" panose="020F0502020204030204" pitchFamily="34" charset="0"/>
            </a:endParaRPr>
          </a:p>
        </p:txBody>
      </p:sp>
      <p:sp>
        <p:nvSpPr>
          <p:cNvPr id="175" name="TextBox 174">
            <a:extLst>
              <a:ext uri="{FF2B5EF4-FFF2-40B4-BE49-F238E27FC236}">
                <a16:creationId xmlns="" xmlns:a16="http://schemas.microsoft.com/office/drawing/2014/main" id="{0AB797AA-C00F-4759-1C18-3E994DB051FD}"/>
              </a:ext>
            </a:extLst>
          </p:cNvPr>
          <p:cNvSpPr txBox="1"/>
          <p:nvPr/>
        </p:nvSpPr>
        <p:spPr>
          <a:xfrm>
            <a:off x="715291" y="2440083"/>
            <a:ext cx="2038052" cy="1915909"/>
          </a:xfrm>
          <a:prstGeom prst="rect">
            <a:avLst/>
          </a:prstGeom>
          <a:noFill/>
        </p:spPr>
        <p:txBody>
          <a:bodyPr wrap="square" lIns="68555" tIns="34289" rIns="68555" bIns="34289">
            <a:spAutoFit/>
          </a:bodyPr>
          <a:lstStyle/>
          <a:p>
            <a:pPr marL="0" lvl="1" defTabSz="685511">
              <a:defRPr/>
            </a:pPr>
            <a:r>
              <a:rPr kumimoji="1" lang="es" sz="1200">
                <a:solidFill>
                  <a:srgbClr val="000000"/>
                </a:solidFill>
                <a:cs typeface="Calibri" panose="020F0502020204030204" pitchFamily="34" charset="0"/>
              </a:rPr>
              <a:t>No se demostró EV contra VCD hospitalizada causada por DENV-3 en seronegativos basales</a:t>
            </a:r>
          </a:p>
          <a:p>
            <a:pPr marL="0" lvl="1" defTabSz="685511">
              <a:defRPr/>
            </a:pPr>
            <a:endParaRPr kumimoji="1" lang="en-US" sz="1200">
              <a:solidFill>
                <a:srgbClr val="000000"/>
              </a:solidFill>
              <a:cs typeface="Calibri" panose="020F0502020204030204" pitchFamily="34" charset="0"/>
            </a:endParaRPr>
          </a:p>
          <a:p>
            <a:pPr marL="0" lvl="1" defTabSz="685511">
              <a:defRPr/>
            </a:pPr>
            <a:r>
              <a:rPr kumimoji="1" lang="es" sz="1200">
                <a:solidFill>
                  <a:srgbClr val="000000"/>
                </a:solidFill>
                <a:cs typeface="Calibri" panose="020F0502020204030204" pitchFamily="34" charset="0"/>
              </a:rPr>
              <a:t>La evaluación robusta de VCD hospitalizada causada por DENV-4 en seronegativos no fue posible debido a la baja incidencia</a:t>
            </a:r>
            <a:endParaRPr kumimoji="1" lang="en-US" sz="1200" strike="sngStrike">
              <a:solidFill>
                <a:srgbClr val="000000"/>
              </a:solidFill>
              <a:cs typeface="Calibri" panose="020F0502020204030204" pitchFamily="34" charset="0"/>
            </a:endParaRPr>
          </a:p>
        </p:txBody>
      </p:sp>
      <p:cxnSp>
        <p:nvCxnSpPr>
          <p:cNvPr id="176" name="Straight Connector 175">
            <a:extLst>
              <a:ext uri="{FF2B5EF4-FFF2-40B4-BE49-F238E27FC236}">
                <a16:creationId xmlns="" xmlns:a16="http://schemas.microsoft.com/office/drawing/2014/main" id="{415546E5-3030-E5D9-52E8-61D259EC8261}"/>
              </a:ext>
            </a:extLst>
          </p:cNvPr>
          <p:cNvCxnSpPr>
            <a:cxnSpLocks/>
          </p:cNvCxnSpPr>
          <p:nvPr/>
        </p:nvCxnSpPr>
        <p:spPr>
          <a:xfrm>
            <a:off x="482747" y="2153832"/>
            <a:ext cx="0" cy="1344383"/>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77" name="Oval 176">
            <a:extLst>
              <a:ext uri="{FF2B5EF4-FFF2-40B4-BE49-F238E27FC236}">
                <a16:creationId xmlns="" xmlns:a16="http://schemas.microsoft.com/office/drawing/2014/main" id="{67CD2D74-EAE7-13AA-6D07-27447FBB8C90}"/>
              </a:ext>
            </a:extLst>
          </p:cNvPr>
          <p:cNvSpPr/>
          <p:nvPr/>
        </p:nvSpPr>
        <p:spPr>
          <a:xfrm>
            <a:off x="586032" y="2516639"/>
            <a:ext cx="134927" cy="13500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511">
              <a:defRPr/>
            </a:pPr>
            <a:endParaRPr kumimoji="1" lang="en-US" sz="900">
              <a:solidFill>
                <a:srgbClr val="FFFFFF"/>
              </a:solidFill>
              <a:cs typeface="Calibri" panose="020F0502020204030204" pitchFamily="34" charset="0"/>
            </a:endParaRPr>
          </a:p>
        </p:txBody>
      </p:sp>
      <p:cxnSp>
        <p:nvCxnSpPr>
          <p:cNvPr id="179" name="Straight Connector 178">
            <a:extLst>
              <a:ext uri="{FF2B5EF4-FFF2-40B4-BE49-F238E27FC236}">
                <a16:creationId xmlns="" xmlns:a16="http://schemas.microsoft.com/office/drawing/2014/main" id="{D7AF9FC4-A342-1E17-0EA0-755356FFB0AC}"/>
              </a:ext>
            </a:extLst>
          </p:cNvPr>
          <p:cNvCxnSpPr>
            <a:cxnSpLocks/>
          </p:cNvCxnSpPr>
          <p:nvPr/>
        </p:nvCxnSpPr>
        <p:spPr>
          <a:xfrm>
            <a:off x="482746" y="2585798"/>
            <a:ext cx="216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71" name="Oval 170">
            <a:extLst>
              <a:ext uri="{FF2B5EF4-FFF2-40B4-BE49-F238E27FC236}">
                <a16:creationId xmlns="" xmlns:a16="http://schemas.microsoft.com/office/drawing/2014/main" id="{AFE1A879-D619-4863-8352-297FD4751E0F}"/>
              </a:ext>
            </a:extLst>
          </p:cNvPr>
          <p:cNvSpPr/>
          <p:nvPr/>
        </p:nvSpPr>
        <p:spPr>
          <a:xfrm>
            <a:off x="598494" y="3419519"/>
            <a:ext cx="134927" cy="13500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511">
              <a:defRPr/>
            </a:pPr>
            <a:endParaRPr kumimoji="1" lang="en-US" sz="900">
              <a:solidFill>
                <a:srgbClr val="FFFFFF"/>
              </a:solidFill>
              <a:cs typeface="Calibri" panose="020F0502020204030204" pitchFamily="34" charset="0"/>
            </a:endParaRPr>
          </a:p>
        </p:txBody>
      </p:sp>
      <p:cxnSp>
        <p:nvCxnSpPr>
          <p:cNvPr id="173" name="Straight Connector 172">
            <a:extLst>
              <a:ext uri="{FF2B5EF4-FFF2-40B4-BE49-F238E27FC236}">
                <a16:creationId xmlns="" xmlns:a16="http://schemas.microsoft.com/office/drawing/2014/main" id="{EE84208E-BB9A-4A60-9905-3419C72E90F5}"/>
              </a:ext>
            </a:extLst>
          </p:cNvPr>
          <p:cNvCxnSpPr>
            <a:cxnSpLocks/>
          </p:cNvCxnSpPr>
          <p:nvPr/>
        </p:nvCxnSpPr>
        <p:spPr>
          <a:xfrm>
            <a:off x="482746" y="3488678"/>
            <a:ext cx="216000" cy="0"/>
          </a:xfrm>
          <a:prstGeom prst="line">
            <a:avLst/>
          </a:prstGeom>
          <a:ln w="28575"/>
        </p:spPr>
        <p:style>
          <a:lnRef idx="1">
            <a:schemeClr val="accent1"/>
          </a:lnRef>
          <a:fillRef idx="0">
            <a:schemeClr val="accent1"/>
          </a:fillRef>
          <a:effectRef idx="0">
            <a:schemeClr val="accent1"/>
          </a:effectRef>
          <a:fontRef idx="minor">
            <a:schemeClr val="tx1"/>
          </a:fontRef>
        </p:style>
      </p:cxnSp>
      <p:graphicFrame>
        <p:nvGraphicFramePr>
          <p:cNvPr id="18" name="Table 149">
            <a:extLst>
              <a:ext uri="{FF2B5EF4-FFF2-40B4-BE49-F238E27FC236}">
                <a16:creationId xmlns="" xmlns:a16="http://schemas.microsoft.com/office/drawing/2014/main" id="{68BF0038-00DD-5B20-7A49-D5E1527114B5}"/>
              </a:ext>
            </a:extLst>
          </p:cNvPr>
          <p:cNvGraphicFramePr>
            <a:graphicFrameLocks noGrp="1"/>
          </p:cNvGraphicFramePr>
          <p:nvPr>
            <p:extLst>
              <p:ext uri="{D42A27DB-BD31-4B8C-83A1-F6EECF244321}">
                <p14:modId xmlns:p14="http://schemas.microsoft.com/office/powerpoint/2010/main" val="1817808286"/>
              </p:ext>
            </p:extLst>
          </p:nvPr>
        </p:nvGraphicFramePr>
        <p:xfrm>
          <a:off x="3039619" y="761016"/>
          <a:ext cx="5726835" cy="3545837"/>
        </p:xfrm>
        <a:graphic>
          <a:graphicData uri="http://schemas.openxmlformats.org/drawingml/2006/table">
            <a:tbl>
              <a:tblPr>
                <a:tableStyleId>{5C22544A-7EE6-4342-B048-85BDC9FD1C3A}</a:tableStyleId>
              </a:tblPr>
              <a:tblGrid>
                <a:gridCol w="706311">
                  <a:extLst>
                    <a:ext uri="{9D8B030D-6E8A-4147-A177-3AD203B41FA5}">
                      <a16:colId xmlns="" xmlns:a16="http://schemas.microsoft.com/office/drawing/2014/main" val="3522206721"/>
                    </a:ext>
                  </a:extLst>
                </a:gridCol>
                <a:gridCol w="952779">
                  <a:extLst>
                    <a:ext uri="{9D8B030D-6E8A-4147-A177-3AD203B41FA5}">
                      <a16:colId xmlns="" xmlns:a16="http://schemas.microsoft.com/office/drawing/2014/main" val="2187483245"/>
                    </a:ext>
                  </a:extLst>
                </a:gridCol>
                <a:gridCol w="798571">
                  <a:extLst>
                    <a:ext uri="{9D8B030D-6E8A-4147-A177-3AD203B41FA5}">
                      <a16:colId xmlns="" xmlns:a16="http://schemas.microsoft.com/office/drawing/2014/main" val="1861568352"/>
                    </a:ext>
                  </a:extLst>
                </a:gridCol>
                <a:gridCol w="2305120">
                  <a:extLst>
                    <a:ext uri="{9D8B030D-6E8A-4147-A177-3AD203B41FA5}">
                      <a16:colId xmlns="" xmlns:a16="http://schemas.microsoft.com/office/drawing/2014/main" val="1603595200"/>
                    </a:ext>
                  </a:extLst>
                </a:gridCol>
                <a:gridCol w="964054">
                  <a:extLst>
                    <a:ext uri="{9D8B030D-6E8A-4147-A177-3AD203B41FA5}">
                      <a16:colId xmlns="" xmlns:a16="http://schemas.microsoft.com/office/drawing/2014/main" val="1514494145"/>
                    </a:ext>
                  </a:extLst>
                </a:gridCol>
              </a:tblGrid>
              <a:tr h="461395">
                <a:tc rowSpan="2">
                  <a:txBody>
                    <a:bodyPr/>
                    <a:lstStyle/>
                    <a:p>
                      <a:endParaRPr lang="en-US" sz="500" b="1" dirty="0">
                        <a:solidFill>
                          <a:schemeClr val="bg1"/>
                        </a:solidFill>
                      </a:endParaRPr>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 sz="900" b="1" noProof="0" dirty="0">
                          <a:solidFill>
                            <a:schemeClr val="bg1"/>
                          </a:solidFill>
                        </a:rPr>
                        <a:t>VCD hospitalizada, n/N </a:t>
                      </a:r>
                      <a:r>
                        <a:rPr lang="en-US" sz="900" b="1" noProof="0" dirty="0">
                          <a:solidFill>
                            <a:schemeClr val="bg1"/>
                          </a:solidFill>
                        </a:rPr>
                        <a:t/>
                      </a:r>
                      <a:br>
                        <a:rPr lang="en-US" sz="900" b="1" noProof="0" dirty="0">
                          <a:solidFill>
                            <a:schemeClr val="bg1"/>
                          </a:solidFill>
                        </a:rPr>
                      </a:br>
                      <a:r>
                        <a:rPr lang="es" sz="900" b="1" noProof="0" dirty="0">
                          <a:solidFill>
                            <a:schemeClr val="bg1"/>
                          </a:solidFill>
                        </a:rPr>
                        <a:t>(casos por 100 años-persona)</a:t>
                      </a:r>
                      <a:endParaRPr lang="en-US" sz="900" b="0" noProof="0" dirty="0">
                        <a:solidFill>
                          <a:schemeClr val="bg1"/>
                        </a:solidFill>
                      </a:endParaRPr>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800" b="1">
                          <a:solidFill>
                            <a:schemeClr val="bg1"/>
                          </a:solidFill>
                        </a:rPr>
                        <a:t>TAK-003 </a:t>
                      </a:r>
                      <a:r>
                        <a:rPr lang="es" sz="800" b="0">
                          <a:solidFill>
                            <a:schemeClr val="bg1"/>
                          </a:solidFill>
                        </a:rPr>
                        <a:t> n/n (%)</a:t>
                      </a:r>
                    </a:p>
                  </a:txBody>
                  <a:tcPr marL="18000" marR="18000" marT="7200" marB="720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1" noProof="0" dirty="0"/>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 sz="900" b="1" kern="1200" noProof="0" dirty="0">
                          <a:solidFill>
                            <a:schemeClr val="bg1"/>
                          </a:solidFill>
                          <a:latin typeface="+mn-lt"/>
                          <a:ea typeface="+mn-ea"/>
                          <a:cs typeface="+mn-cs"/>
                        </a:rPr>
                        <a:t>VE</a:t>
                      </a:r>
                    </a:p>
                    <a:p>
                      <a:pPr marL="0" marR="0" lvl="0" indent="0" algn="ctr" defTabSz="914400" rtl="0" eaLnBrk="1" fontAlgn="auto" latinLnBrk="0" hangingPunct="1">
                        <a:lnSpc>
                          <a:spcPct val="100000"/>
                        </a:lnSpc>
                        <a:spcBef>
                          <a:spcPts val="0"/>
                        </a:spcBef>
                        <a:spcAft>
                          <a:spcPts val="0"/>
                        </a:spcAft>
                        <a:buClrTx/>
                        <a:buSzTx/>
                        <a:buFontTx/>
                        <a:buNone/>
                        <a:tabLst/>
                        <a:defRPr/>
                      </a:pPr>
                      <a:r>
                        <a:rPr lang="es" sz="900" b="1" kern="1200" noProof="0" dirty="0">
                          <a:solidFill>
                            <a:schemeClr val="bg1"/>
                          </a:solidFill>
                          <a:latin typeface="+mn-lt"/>
                          <a:ea typeface="+mn-ea"/>
                          <a:cs typeface="+mn-cs"/>
                        </a:rPr>
                        <a:t>(IC 95%)</a:t>
                      </a:r>
                    </a:p>
                  </a:txBody>
                  <a:tcPr marL="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extLst>
                  <a:ext uri="{0D108BD9-81ED-4DB2-BD59-A6C34878D82A}">
                    <a16:rowId xmlns="" xmlns:a16="http://schemas.microsoft.com/office/drawing/2014/main" val="240712553"/>
                  </a:ext>
                </a:extLst>
              </a:tr>
              <a:tr h="325373">
                <a:tc vMerge="1">
                  <a:txBody>
                    <a:bodyPr/>
                    <a:lstStyle/>
                    <a:p>
                      <a:endParaRPr lang="en-US" sz="700" b="1">
                        <a:solidFill>
                          <a:schemeClr val="bg1"/>
                        </a:solidFill>
                      </a:endParaRPr>
                    </a:p>
                  </a:txBody>
                  <a:tcPr marL="18000" marR="18000" marT="7200" marB="72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 sz="800" b="0" noProof="0" dirty="0">
                          <a:solidFill>
                            <a:schemeClr val="bg1"/>
                          </a:solidFill>
                        </a:rPr>
                        <a:t>Placebo </a:t>
                      </a:r>
                    </a:p>
                    <a:p>
                      <a:pPr marL="0" marR="0" lvl="0" indent="0" algn="ctr" defTabSz="914400" rtl="0" eaLnBrk="1" fontAlgn="auto" latinLnBrk="0" hangingPunct="1">
                        <a:lnSpc>
                          <a:spcPct val="100000"/>
                        </a:lnSpc>
                        <a:spcBef>
                          <a:spcPts val="0"/>
                        </a:spcBef>
                        <a:spcAft>
                          <a:spcPts val="0"/>
                        </a:spcAft>
                        <a:buClrTx/>
                        <a:buSzTx/>
                        <a:buFontTx/>
                        <a:buNone/>
                        <a:tabLst/>
                        <a:defRPr/>
                      </a:pPr>
                      <a:r>
                        <a:rPr lang="es" sz="800" b="0" noProof="0" dirty="0">
                          <a:solidFill>
                            <a:schemeClr val="bg1"/>
                          </a:solidFill>
                        </a:rPr>
                        <a:t>(n=6687)</a:t>
                      </a:r>
                    </a:p>
                  </a:txBody>
                  <a:tcPr marL="0" marR="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 sz="800" b="0" noProof="0" dirty="0">
                          <a:solidFill>
                            <a:schemeClr val="bg1"/>
                          </a:solidFill>
                        </a:rPr>
                        <a:t>TAK-003</a:t>
                      </a:r>
                      <a:r>
                        <a:rPr lang="en-US" sz="800" b="0" noProof="0" dirty="0">
                          <a:solidFill>
                            <a:schemeClr val="bg1"/>
                          </a:solidFill>
                        </a:rPr>
                        <a:t/>
                      </a:r>
                      <a:br>
                        <a:rPr lang="en-US" sz="800" b="0" noProof="0" dirty="0">
                          <a:solidFill>
                            <a:schemeClr val="bg1"/>
                          </a:solidFill>
                        </a:rPr>
                      </a:br>
                      <a:r>
                        <a:rPr lang="es" sz="800" b="0" noProof="0" dirty="0">
                          <a:solidFill>
                            <a:schemeClr val="bg1"/>
                          </a:solidFill>
                        </a:rPr>
                        <a:t>(n=13.380)</a:t>
                      </a:r>
                    </a:p>
                  </a:txBody>
                  <a:tcPr marL="0" marR="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700" b="1"/>
                    </a:p>
                  </a:txBody>
                  <a:tcPr marL="18000" marR="18000" marT="7200" marB="72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 sz="900" b="1" kern="1200">
                          <a:solidFill>
                            <a:schemeClr val="bg1"/>
                          </a:solidFill>
                          <a:latin typeface="+mn-lt"/>
                          <a:ea typeface="+mn-ea"/>
                          <a:cs typeface="+mn-cs"/>
                        </a:rPr>
                        <a:t>VE</a:t>
                      </a:r>
                    </a:p>
                    <a:p>
                      <a:pPr marL="0" marR="0" lvl="0" indent="0" algn="ctr" defTabSz="914400" rtl="0" eaLnBrk="1" fontAlgn="auto" latinLnBrk="0" hangingPunct="1">
                        <a:lnSpc>
                          <a:spcPct val="100000"/>
                        </a:lnSpc>
                        <a:spcBef>
                          <a:spcPts val="0"/>
                        </a:spcBef>
                        <a:spcAft>
                          <a:spcPts val="0"/>
                        </a:spcAft>
                        <a:buClrTx/>
                        <a:buSzTx/>
                        <a:buFontTx/>
                        <a:buNone/>
                        <a:tabLst/>
                        <a:defRPr/>
                      </a:pPr>
                      <a:r>
                        <a:rPr lang="es" sz="900" b="1" kern="1200">
                          <a:solidFill>
                            <a:schemeClr val="bg1"/>
                          </a:solidFill>
                          <a:latin typeface="+mn-lt"/>
                          <a:ea typeface="+mn-ea"/>
                          <a:cs typeface="+mn-cs"/>
                        </a:rPr>
                        <a:t>(IC 95%)</a:t>
                      </a:r>
                    </a:p>
                  </a:txBody>
                  <a:tcPr marL="0" marR="18000" marT="7200" marB="7200">
                    <a:lnL w="3175" cap="flat" cmpd="sng" algn="ctr">
                      <a:noFill/>
                      <a:prstDash val="solid"/>
                      <a:round/>
                      <a:headEnd type="none" w="med" len="med"/>
                      <a:tailEnd type="none" w="med" len="med"/>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 xmlns:a16="http://schemas.microsoft.com/office/drawing/2014/main" val="2338813421"/>
                  </a:ext>
                </a:extLst>
              </a:tr>
              <a:tr h="2424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900" b="1" noProof="0"/>
                        <a:t>En general</a:t>
                      </a:r>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s" sz="900" b="1" noProof="0"/>
                        <a:t>142/6687 (2.1)</a:t>
                      </a:r>
                      <a:endParaRPr lang="en-US" sz="900" b="1" baseline="30000" noProof="0"/>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s" sz="900" b="1" noProof="0"/>
                        <a:t>46/13,380 (0.3)</a:t>
                      </a:r>
                      <a:endParaRPr lang="en-US" sz="900" b="1" baseline="30000" noProof="0"/>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en-US" sz="900" b="1" noProof="0" dirty="0"/>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s" sz="900" b="1" noProof="0">
                          <a:solidFill>
                            <a:schemeClr val="tx1"/>
                          </a:solidFill>
                        </a:rPr>
                        <a:t>84.1 (77.8, 88.6)</a:t>
                      </a:r>
                      <a:endParaRPr lang="en-US" sz="900" b="1" baseline="30000" noProof="0">
                        <a:solidFill>
                          <a:schemeClr val="tx1"/>
                        </a:solidFill>
                      </a:endParaRPr>
                    </a:p>
                  </a:txBody>
                  <a:tcPr marL="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 xmlns:a16="http://schemas.microsoft.com/office/drawing/2014/main" val="740432139"/>
                  </a:ext>
                </a:extLst>
              </a:tr>
              <a:tr h="2851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900" b="1" noProof="0"/>
                        <a:t>Seropositivos*</a:t>
                      </a:r>
                    </a:p>
                  </a:txBody>
                  <a:tcPr marL="13500" marR="13500" marT="5400" marB="54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s" sz="900" b="0" noProof="0"/>
                        <a:t>101/4854 (2.1)</a:t>
                      </a:r>
                      <a:endParaRPr lang="en-US" sz="900" b="0" baseline="30000" noProof="0"/>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s" sz="900" b="0" noProof="0"/>
                        <a:t>29/9663 (0.3)</a:t>
                      </a:r>
                      <a:endParaRPr lang="en-US" sz="900" b="0" baseline="30000" noProof="0"/>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900" b="0" noProof="0" dirty="0"/>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 sz="900" b="0" noProof="0">
                          <a:solidFill>
                            <a:schemeClr val="tx1"/>
                          </a:solidFill>
                        </a:rPr>
                        <a:t>85.9 (78.7, 90.7)</a:t>
                      </a:r>
                      <a:endParaRPr lang="en-US" sz="900" b="0" baseline="30000" noProof="0">
                        <a:solidFill>
                          <a:schemeClr val="tx1"/>
                        </a:solidFill>
                      </a:endParaRPr>
                    </a:p>
                  </a:txBody>
                  <a:tcPr marL="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648877073"/>
                  </a:ext>
                </a:extLst>
              </a:tr>
              <a:tr h="242456">
                <a:tc>
                  <a:txBody>
                    <a:bodyPr/>
                    <a:lstStyle/>
                    <a:p>
                      <a:pPr marL="0" marR="0" lvl="0" indent="87313" algn="l" defTabSz="914400" rtl="0" eaLnBrk="1" fontAlgn="auto" latinLnBrk="0" hangingPunct="1">
                        <a:lnSpc>
                          <a:spcPct val="100000"/>
                        </a:lnSpc>
                        <a:spcBef>
                          <a:spcPts val="0"/>
                        </a:spcBef>
                        <a:spcAft>
                          <a:spcPts val="0"/>
                        </a:spcAft>
                        <a:buClrTx/>
                        <a:buSzTx/>
                        <a:buFontTx/>
                        <a:buNone/>
                        <a:tabLst/>
                        <a:defRPr/>
                      </a:pPr>
                      <a:r>
                        <a:rPr lang="es" sz="900" noProof="0"/>
                        <a:t>DENV-1</a:t>
                      </a:r>
                    </a:p>
                  </a:txBody>
                  <a:tcPr marL="13500" marR="13500" marT="5400" marB="54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s" sz="900" b="0" noProof="0"/>
                        <a:t>24/4854 (0.5)</a:t>
                      </a:r>
                      <a:endParaRPr lang="en-US" sz="900" b="0" baseline="30000" noProof="0"/>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s" sz="900" b="0" noProof="0"/>
                        <a:t>16/9663 (0.2)</a:t>
                      </a:r>
                      <a:endParaRPr lang="en-US" sz="900" b="0" baseline="30000" noProof="0"/>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sz="900" b="0" noProof="0" dirty="0"/>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 sz="900" b="0" noProof="0">
                          <a:solidFill>
                            <a:schemeClr val="tx1"/>
                          </a:solidFill>
                        </a:rPr>
                        <a:t>66.8 (37.4, 82.3)</a:t>
                      </a:r>
                      <a:endParaRPr lang="en-US" sz="900" b="0" baseline="30000" noProof="0">
                        <a:solidFill>
                          <a:schemeClr val="tx1"/>
                        </a:solidFill>
                      </a:endParaRPr>
                    </a:p>
                  </a:txBody>
                  <a:tcPr marL="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 xmlns:a16="http://schemas.microsoft.com/office/drawing/2014/main" val="1664607029"/>
                  </a:ext>
                </a:extLst>
              </a:tr>
              <a:tr h="242456">
                <a:tc>
                  <a:txBody>
                    <a:bodyPr/>
                    <a:lstStyle/>
                    <a:p>
                      <a:pPr marL="0" marR="0" lvl="0" indent="87313" algn="l" defTabSz="914400" rtl="0" eaLnBrk="1" fontAlgn="auto" latinLnBrk="0" hangingPunct="1">
                        <a:lnSpc>
                          <a:spcPct val="100000"/>
                        </a:lnSpc>
                        <a:spcBef>
                          <a:spcPts val="0"/>
                        </a:spcBef>
                        <a:spcAft>
                          <a:spcPts val="0"/>
                        </a:spcAft>
                        <a:buClrTx/>
                        <a:buSzTx/>
                        <a:buFontTx/>
                        <a:buNone/>
                        <a:tabLst/>
                        <a:defRPr/>
                      </a:pPr>
                      <a:r>
                        <a:rPr lang="es" sz="900" noProof="0"/>
                        <a:t>DENV-2</a:t>
                      </a:r>
                    </a:p>
                  </a:txBody>
                  <a:tcPr marL="13500" marR="13500" marT="5400" marB="54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s" sz="900" b="0" noProof="0"/>
                        <a:t>59/4854 (1.2)</a:t>
                      </a:r>
                      <a:endParaRPr lang="en-US" sz="900" b="0" baseline="30000" noProof="0"/>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s" sz="900" b="0" noProof="0"/>
                        <a:t>5/9663 (&lt;0,1)</a:t>
                      </a:r>
                      <a:endParaRPr lang="en-US" sz="900" b="0" baseline="30000" noProof="0"/>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900" b="0" noProof="0" dirty="0"/>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 sz="900" b="0" noProof="0">
                          <a:solidFill>
                            <a:schemeClr val="tx1"/>
                          </a:solidFill>
                        </a:rPr>
                        <a:t>95.8 (89.6, 98.3)</a:t>
                      </a:r>
                      <a:endParaRPr lang="en-US" sz="900" b="0" baseline="30000" noProof="0">
                        <a:solidFill>
                          <a:schemeClr val="tx1"/>
                        </a:solidFill>
                      </a:endParaRPr>
                    </a:p>
                  </a:txBody>
                  <a:tcPr marL="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1918551747"/>
                  </a:ext>
                </a:extLst>
              </a:tr>
              <a:tr h="242456">
                <a:tc>
                  <a:txBody>
                    <a:bodyPr/>
                    <a:lstStyle/>
                    <a:p>
                      <a:pPr marL="0" marR="0" lvl="0" indent="87313" algn="l" defTabSz="914400" rtl="0" eaLnBrk="1" fontAlgn="auto" latinLnBrk="0" hangingPunct="1">
                        <a:lnSpc>
                          <a:spcPct val="100000"/>
                        </a:lnSpc>
                        <a:spcBef>
                          <a:spcPts val="0"/>
                        </a:spcBef>
                        <a:spcAft>
                          <a:spcPts val="0"/>
                        </a:spcAft>
                        <a:buClrTx/>
                        <a:buSzTx/>
                        <a:buFontTx/>
                        <a:buNone/>
                        <a:tabLst/>
                        <a:defRPr/>
                      </a:pPr>
                      <a:r>
                        <a:rPr lang="es" sz="900" noProof="0"/>
                        <a:t>DENV-3</a:t>
                      </a:r>
                    </a:p>
                  </a:txBody>
                  <a:tcPr marL="13500" marR="13500" marT="5400" marB="54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s" sz="900" b="0" noProof="0"/>
                        <a:t>15/4854 (0.3)</a:t>
                      </a:r>
                      <a:endParaRPr lang="en-US" sz="900" b="0" baseline="30000" noProof="0"/>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s" sz="900" b="0" noProof="0"/>
                        <a:t>8/9663 (&lt;0,1)</a:t>
                      </a:r>
                      <a:endParaRPr lang="en-US" sz="900" b="0" baseline="30000" noProof="0"/>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sz="900" b="0" noProof="0" dirty="0"/>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 sz="900" b="0" noProof="0">
                          <a:solidFill>
                            <a:schemeClr val="tx1"/>
                          </a:solidFill>
                        </a:rPr>
                        <a:t>74.0 (38.6, 89.0)</a:t>
                      </a:r>
                      <a:endParaRPr lang="en-US" sz="900" b="0" baseline="30000" noProof="0">
                        <a:solidFill>
                          <a:schemeClr val="tx1"/>
                        </a:solidFill>
                      </a:endParaRPr>
                    </a:p>
                  </a:txBody>
                  <a:tcPr marL="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 xmlns:a16="http://schemas.microsoft.com/office/drawing/2014/main" val="4115916943"/>
                  </a:ext>
                </a:extLst>
              </a:tr>
              <a:tr h="242456">
                <a:tc>
                  <a:txBody>
                    <a:bodyPr/>
                    <a:lstStyle/>
                    <a:p>
                      <a:pPr marL="0" marR="0" lvl="0" indent="87313" algn="l" defTabSz="914400" rtl="0" eaLnBrk="1" fontAlgn="auto" latinLnBrk="0" hangingPunct="1">
                        <a:lnSpc>
                          <a:spcPct val="100000"/>
                        </a:lnSpc>
                        <a:spcBef>
                          <a:spcPts val="0"/>
                        </a:spcBef>
                        <a:spcAft>
                          <a:spcPts val="0"/>
                        </a:spcAft>
                        <a:buClrTx/>
                        <a:buSzTx/>
                        <a:buFontTx/>
                        <a:buNone/>
                        <a:tabLst/>
                        <a:defRPr/>
                      </a:pPr>
                      <a:r>
                        <a:rPr lang="es" sz="900" noProof="0"/>
                        <a:t>DENV-4</a:t>
                      </a:r>
                    </a:p>
                  </a:txBody>
                  <a:tcPr marL="13500" marR="13500" marT="5400" marB="54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s" sz="900" b="0" noProof="0"/>
                        <a:t>3/4854 (&lt;0,1)</a:t>
                      </a:r>
                      <a:endParaRPr lang="en-US" sz="900" b="0" baseline="30000" noProof="0"/>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s" sz="900" b="0" noProof="0"/>
                        <a:t>0/9663 (0.0)</a:t>
                      </a:r>
                      <a:endParaRPr lang="en-US" sz="900" b="0" baseline="30000" noProof="0"/>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900" b="0" noProof="0" dirty="0"/>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 sz="900" b="0" noProof="0">
                          <a:solidFill>
                            <a:schemeClr val="tx1"/>
                          </a:solidFill>
                        </a:rPr>
                        <a:t>100.0 (NE)</a:t>
                      </a:r>
                      <a:endParaRPr lang="en-US" sz="900" b="0" baseline="30000" noProof="0">
                        <a:solidFill>
                          <a:schemeClr val="tx1"/>
                        </a:solidFill>
                      </a:endParaRPr>
                    </a:p>
                  </a:txBody>
                  <a:tcPr marL="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561822170"/>
                  </a:ext>
                </a:extLst>
              </a:tr>
              <a:tr h="2851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 sz="900" b="1" noProof="0"/>
                        <a:t>Seronegativo†</a:t>
                      </a:r>
                    </a:p>
                  </a:txBody>
                  <a:tcPr marL="13500" marR="13500" marT="5400" marB="54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s" sz="900" b="0" noProof="0"/>
                        <a:t>41/1832 (2.2)</a:t>
                      </a:r>
                      <a:endParaRPr lang="en-US" sz="900" b="0" baseline="30000" noProof="0"/>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s" sz="900" b="0" noProof="0"/>
                        <a:t>17/3714 (0.5)</a:t>
                      </a:r>
                      <a:endParaRPr lang="en-US" sz="900" b="0" baseline="30000" noProof="0"/>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sz="900" b="0" noProof="0" dirty="0"/>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 sz="900" b="0" noProof="0">
                          <a:solidFill>
                            <a:schemeClr val="tx1"/>
                          </a:solidFill>
                        </a:rPr>
                        <a:t>79.3 (63.5, 88.2)</a:t>
                      </a:r>
                      <a:endParaRPr lang="en-US" sz="900" b="0" baseline="30000" noProof="0">
                        <a:solidFill>
                          <a:schemeClr val="tx1"/>
                        </a:solidFill>
                      </a:endParaRPr>
                    </a:p>
                  </a:txBody>
                  <a:tcPr marL="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 xmlns:a16="http://schemas.microsoft.com/office/drawing/2014/main" val="4148060160"/>
                  </a:ext>
                </a:extLst>
              </a:tr>
              <a:tr h="242456">
                <a:tc>
                  <a:txBody>
                    <a:bodyPr/>
                    <a:lstStyle/>
                    <a:p>
                      <a:pPr marL="0" marR="0" lvl="0" indent="87313" algn="l" defTabSz="914400" rtl="0" eaLnBrk="1" fontAlgn="auto" latinLnBrk="0" hangingPunct="1">
                        <a:lnSpc>
                          <a:spcPct val="100000"/>
                        </a:lnSpc>
                        <a:spcBef>
                          <a:spcPts val="0"/>
                        </a:spcBef>
                        <a:spcAft>
                          <a:spcPts val="0"/>
                        </a:spcAft>
                        <a:buClrTx/>
                        <a:buSzTx/>
                        <a:buFontTx/>
                        <a:buNone/>
                        <a:tabLst/>
                        <a:defRPr/>
                      </a:pPr>
                      <a:r>
                        <a:rPr lang="es" sz="900" noProof="0"/>
                        <a:t>DENV-1</a:t>
                      </a:r>
                    </a:p>
                  </a:txBody>
                  <a:tcPr marL="13500" marR="13500" marT="5400" marB="54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s" sz="900" b="0" noProof="0"/>
                        <a:t>14/1832 (0.8)</a:t>
                      </a:r>
                      <a:endParaRPr lang="en-US" sz="900" b="0" baseline="30000" noProof="0"/>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s" sz="900" b="0" noProof="0"/>
                        <a:t>6/3714 (0.2)</a:t>
                      </a:r>
                      <a:endParaRPr lang="en-US" sz="900" b="0" baseline="30000" noProof="0"/>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900" b="0" noProof="0"/>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 sz="900" b="0" noProof="0">
                          <a:solidFill>
                            <a:schemeClr val="tx1"/>
                          </a:solidFill>
                        </a:rPr>
                        <a:t>78.4 (43.9, 91.7)</a:t>
                      </a:r>
                      <a:endParaRPr lang="en-US" sz="900" b="0" baseline="30000" noProof="0">
                        <a:solidFill>
                          <a:schemeClr val="tx1"/>
                        </a:solidFill>
                      </a:endParaRPr>
                    </a:p>
                  </a:txBody>
                  <a:tcPr marL="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4276900056"/>
                  </a:ext>
                </a:extLst>
              </a:tr>
              <a:tr h="242456">
                <a:tc>
                  <a:txBody>
                    <a:bodyPr/>
                    <a:lstStyle/>
                    <a:p>
                      <a:pPr marL="0" marR="0" lvl="0" indent="87313" algn="l" defTabSz="914400" rtl="0" eaLnBrk="1" fontAlgn="auto" latinLnBrk="0" hangingPunct="1">
                        <a:lnSpc>
                          <a:spcPct val="100000"/>
                        </a:lnSpc>
                        <a:spcBef>
                          <a:spcPts val="0"/>
                        </a:spcBef>
                        <a:spcAft>
                          <a:spcPts val="0"/>
                        </a:spcAft>
                        <a:buClrTx/>
                        <a:buSzTx/>
                        <a:buFontTx/>
                        <a:buNone/>
                        <a:tabLst/>
                        <a:defRPr/>
                      </a:pPr>
                      <a:r>
                        <a:rPr lang="es" sz="900" noProof="0"/>
                        <a:t>DENV-2</a:t>
                      </a:r>
                    </a:p>
                  </a:txBody>
                  <a:tcPr marL="13500" marR="13500" marT="5400" marB="54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s" sz="900" b="0" noProof="0"/>
                        <a:t>23/1832 (1.3)</a:t>
                      </a:r>
                      <a:endParaRPr lang="en-US" sz="900" b="0" baseline="30000" noProof="0"/>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s" sz="900" b="0" noProof="0"/>
                        <a:t>0/3714 (0.0)</a:t>
                      </a:r>
                      <a:endParaRPr lang="en-US" sz="900" b="0" baseline="30000" noProof="0"/>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sz="900" b="0" noProof="0"/>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 sz="900" b="0" noProof="0">
                          <a:solidFill>
                            <a:schemeClr val="tx1"/>
                          </a:solidFill>
                        </a:rPr>
                        <a:t>100.0 (NE)</a:t>
                      </a:r>
                      <a:endParaRPr lang="en-US" sz="900" b="0" baseline="30000" noProof="0">
                        <a:solidFill>
                          <a:schemeClr val="tx1"/>
                        </a:solidFill>
                      </a:endParaRPr>
                    </a:p>
                  </a:txBody>
                  <a:tcPr marL="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 xmlns:a16="http://schemas.microsoft.com/office/drawing/2014/main" val="2746564334"/>
                  </a:ext>
                </a:extLst>
              </a:tr>
              <a:tr h="242456">
                <a:tc>
                  <a:txBody>
                    <a:bodyPr/>
                    <a:lstStyle/>
                    <a:p>
                      <a:pPr marL="0" marR="0" lvl="0" indent="87313" algn="l" defTabSz="914400" rtl="0" eaLnBrk="1" fontAlgn="auto" latinLnBrk="0" hangingPunct="1">
                        <a:lnSpc>
                          <a:spcPct val="100000"/>
                        </a:lnSpc>
                        <a:spcBef>
                          <a:spcPts val="0"/>
                        </a:spcBef>
                        <a:spcAft>
                          <a:spcPts val="0"/>
                        </a:spcAft>
                        <a:buClrTx/>
                        <a:buSzTx/>
                        <a:buFontTx/>
                        <a:buNone/>
                        <a:tabLst/>
                        <a:defRPr/>
                      </a:pPr>
                      <a:r>
                        <a:rPr lang="es" sz="900" noProof="0"/>
                        <a:t>DENV-3</a:t>
                      </a:r>
                    </a:p>
                  </a:txBody>
                  <a:tcPr marL="13500" marR="13500" marT="5400" marB="54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s" sz="900" b="0" noProof="0"/>
                        <a:t>3/1832 (0.2)</a:t>
                      </a:r>
                      <a:endParaRPr lang="en-US" sz="900" b="0" baseline="30000" noProof="0"/>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s" sz="900" b="0" noProof="0"/>
                        <a:t>11/3714 (0.3)</a:t>
                      </a:r>
                      <a:endParaRPr lang="en-US" sz="900" b="0" baseline="30000" noProof="0"/>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900" b="0" noProof="0"/>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 sz="900" b="0" noProof="0">
                          <a:solidFill>
                            <a:schemeClr val="tx1"/>
                          </a:solidFill>
                        </a:rPr>
                        <a:t>−87,9 (−573,4, 47,6)</a:t>
                      </a:r>
                      <a:endParaRPr lang="en-US" sz="900" b="0" baseline="30000" noProof="0">
                        <a:solidFill>
                          <a:schemeClr val="tx1"/>
                        </a:solidFill>
                      </a:endParaRPr>
                    </a:p>
                  </a:txBody>
                  <a:tcPr marL="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2305405726"/>
                  </a:ext>
                </a:extLst>
              </a:tr>
              <a:tr h="249181">
                <a:tc>
                  <a:txBody>
                    <a:bodyPr/>
                    <a:lstStyle/>
                    <a:p>
                      <a:pPr marL="0" marR="0" lvl="0" indent="87313" algn="l" defTabSz="914400" rtl="0" eaLnBrk="1" fontAlgn="auto" latinLnBrk="0" hangingPunct="1">
                        <a:lnSpc>
                          <a:spcPct val="100000"/>
                        </a:lnSpc>
                        <a:spcBef>
                          <a:spcPts val="0"/>
                        </a:spcBef>
                        <a:spcAft>
                          <a:spcPts val="0"/>
                        </a:spcAft>
                        <a:buClrTx/>
                        <a:buSzTx/>
                        <a:buFontTx/>
                        <a:buNone/>
                        <a:tabLst/>
                        <a:defRPr/>
                      </a:pPr>
                      <a:r>
                        <a:rPr lang="es" sz="900" noProof="0"/>
                        <a:t>DENV-4</a:t>
                      </a:r>
                    </a:p>
                  </a:txBody>
                  <a:tcPr marL="13500" marR="13500" marT="5400" marB="54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s" sz="900" b="0" noProof="0"/>
                        <a:t>1/1832 (&lt;0,1)</a:t>
                      </a:r>
                      <a:endParaRPr lang="en-US" sz="900" b="0" baseline="30000" noProof="0"/>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es" sz="900" b="0" noProof="0"/>
                        <a:t>0/3714 (0.0)</a:t>
                      </a:r>
                      <a:endParaRPr lang="en-US" sz="900" b="0" baseline="30000" noProof="0"/>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endParaRPr lang="en-US" sz="900" b="0" noProof="0"/>
                    </a:p>
                  </a:txBody>
                  <a:tcPr marL="1350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 sz="900" b="0" noProof="0">
                          <a:solidFill>
                            <a:schemeClr val="tx1"/>
                          </a:solidFill>
                        </a:rPr>
                        <a:t>100.00 (NE)</a:t>
                      </a:r>
                      <a:endParaRPr lang="en-US" sz="900" b="0" baseline="30000" noProof="0">
                        <a:solidFill>
                          <a:schemeClr val="tx1"/>
                        </a:solidFill>
                      </a:endParaRPr>
                    </a:p>
                  </a:txBody>
                  <a:tcPr marL="0" marR="13500" marT="5400" marB="54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extLst>
                  <a:ext uri="{0D108BD9-81ED-4DB2-BD59-A6C34878D82A}">
                    <a16:rowId xmlns="" xmlns:a16="http://schemas.microsoft.com/office/drawing/2014/main" val="2115916829"/>
                  </a:ext>
                </a:extLst>
              </a:tr>
            </a:tbl>
          </a:graphicData>
        </a:graphic>
      </p:graphicFrame>
      <p:sp>
        <p:nvSpPr>
          <p:cNvPr id="19" name="Freeform: Shape 18">
            <a:extLst>
              <a:ext uri="{FF2B5EF4-FFF2-40B4-BE49-F238E27FC236}">
                <a16:creationId xmlns="" xmlns:a16="http://schemas.microsoft.com/office/drawing/2014/main" id="{847FA565-3BEA-E22D-F873-1C9A806BD4F3}"/>
              </a:ext>
            </a:extLst>
          </p:cNvPr>
          <p:cNvSpPr/>
          <p:nvPr/>
        </p:nvSpPr>
        <p:spPr>
          <a:xfrm>
            <a:off x="5556671" y="4231174"/>
            <a:ext cx="9675" cy="27980"/>
          </a:xfrm>
          <a:custGeom>
            <a:avLst/>
            <a:gdLst>
              <a:gd name="connsiteX0" fmla="*/ 0 w 12900"/>
              <a:gd name="connsiteY0" fmla="*/ 0 h 37306"/>
              <a:gd name="connsiteX1" fmla="*/ 0 w 12900"/>
              <a:gd name="connsiteY1" fmla="*/ 37306 h 37306"/>
            </a:gdLst>
            <a:ahLst/>
            <a:cxnLst>
              <a:cxn ang="0">
                <a:pos x="connsiteX0" y="connsiteY0"/>
              </a:cxn>
              <a:cxn ang="0">
                <a:pos x="connsiteX1" y="connsiteY1"/>
              </a:cxn>
            </a:cxnLst>
            <a:rect l="l" t="t" r="r" b="b"/>
            <a:pathLst>
              <a:path w="12900" h="37306">
                <a:moveTo>
                  <a:pt x="0" y="0"/>
                </a:moveTo>
                <a:lnTo>
                  <a:pt x="0" y="37306"/>
                </a:lnTo>
              </a:path>
            </a:pathLst>
          </a:custGeom>
          <a:ln w="12760" cap="flat">
            <a:solidFill>
              <a:srgbClr val="000000"/>
            </a:solidFill>
            <a:prstDash val="solid"/>
            <a:miter/>
          </a:ln>
        </p:spPr>
        <p:txBody>
          <a:bodyPr lIns="68555" tIns="34289" rIns="68555" bIns="34289" rtlCol="0" anchor="ctr"/>
          <a:lstStyle/>
          <a:p>
            <a:pPr defTabSz="685511">
              <a:defRPr/>
            </a:pPr>
            <a:endParaRPr kumimoji="1" lang="en-US" sz="1400">
              <a:solidFill>
                <a:srgbClr val="000000"/>
              </a:solidFill>
              <a:cs typeface="Calibri" panose="020F0502020204030204" pitchFamily="34" charset="0"/>
            </a:endParaRPr>
          </a:p>
        </p:txBody>
      </p:sp>
      <p:sp>
        <p:nvSpPr>
          <p:cNvPr id="20" name="Freeform: Shape 19">
            <a:extLst>
              <a:ext uri="{FF2B5EF4-FFF2-40B4-BE49-F238E27FC236}">
                <a16:creationId xmlns="" xmlns:a16="http://schemas.microsoft.com/office/drawing/2014/main" id="{E7CE8346-366B-EE4E-B53F-929543A2ACAB}"/>
              </a:ext>
            </a:extLst>
          </p:cNvPr>
          <p:cNvSpPr/>
          <p:nvPr/>
        </p:nvSpPr>
        <p:spPr>
          <a:xfrm>
            <a:off x="5770295" y="4231176"/>
            <a:ext cx="9675" cy="30256"/>
          </a:xfrm>
          <a:custGeom>
            <a:avLst/>
            <a:gdLst>
              <a:gd name="connsiteX0" fmla="*/ 0 w 12900"/>
              <a:gd name="connsiteY0" fmla="*/ 0 h 40341"/>
              <a:gd name="connsiteX1" fmla="*/ 0 w 12900"/>
              <a:gd name="connsiteY1" fmla="*/ 40341 h 40341"/>
            </a:gdLst>
            <a:ahLst/>
            <a:cxnLst>
              <a:cxn ang="0">
                <a:pos x="connsiteX0" y="connsiteY0"/>
              </a:cxn>
              <a:cxn ang="0">
                <a:pos x="connsiteX1" y="connsiteY1"/>
              </a:cxn>
            </a:cxnLst>
            <a:rect l="l" t="t" r="r" b="b"/>
            <a:pathLst>
              <a:path w="12900" h="40341">
                <a:moveTo>
                  <a:pt x="0" y="0"/>
                </a:moveTo>
                <a:lnTo>
                  <a:pt x="0" y="40341"/>
                </a:lnTo>
              </a:path>
            </a:pathLst>
          </a:custGeom>
          <a:ln w="12760" cap="flat">
            <a:solidFill>
              <a:srgbClr val="000000"/>
            </a:solidFill>
            <a:prstDash val="solid"/>
            <a:miter/>
          </a:ln>
        </p:spPr>
        <p:txBody>
          <a:bodyPr lIns="68555" tIns="34289" rIns="68555" bIns="34289" rtlCol="0" anchor="ctr"/>
          <a:lstStyle/>
          <a:p>
            <a:pPr defTabSz="685511">
              <a:defRPr/>
            </a:pPr>
            <a:endParaRPr kumimoji="1" lang="en-US" sz="1400">
              <a:solidFill>
                <a:srgbClr val="000000"/>
              </a:solidFill>
              <a:cs typeface="Calibri" panose="020F0502020204030204" pitchFamily="34" charset="0"/>
            </a:endParaRPr>
          </a:p>
        </p:txBody>
      </p:sp>
      <p:sp>
        <p:nvSpPr>
          <p:cNvPr id="21" name="Freeform: Shape 20">
            <a:extLst>
              <a:ext uri="{FF2B5EF4-FFF2-40B4-BE49-F238E27FC236}">
                <a16:creationId xmlns="" xmlns:a16="http://schemas.microsoft.com/office/drawing/2014/main" id="{D8F582F1-2821-618D-7D6F-7B7A8DF253A3}"/>
              </a:ext>
            </a:extLst>
          </p:cNvPr>
          <p:cNvSpPr/>
          <p:nvPr/>
        </p:nvSpPr>
        <p:spPr>
          <a:xfrm>
            <a:off x="6176936" y="4231176"/>
            <a:ext cx="9675" cy="30256"/>
          </a:xfrm>
          <a:custGeom>
            <a:avLst/>
            <a:gdLst>
              <a:gd name="connsiteX0" fmla="*/ 0 w 12900"/>
              <a:gd name="connsiteY0" fmla="*/ 0 h 40341"/>
              <a:gd name="connsiteX1" fmla="*/ 0 w 12900"/>
              <a:gd name="connsiteY1" fmla="*/ 40341 h 40341"/>
            </a:gdLst>
            <a:ahLst/>
            <a:cxnLst>
              <a:cxn ang="0">
                <a:pos x="connsiteX0" y="connsiteY0"/>
              </a:cxn>
              <a:cxn ang="0">
                <a:pos x="connsiteX1" y="connsiteY1"/>
              </a:cxn>
            </a:cxnLst>
            <a:rect l="l" t="t" r="r" b="b"/>
            <a:pathLst>
              <a:path w="12900" h="40341">
                <a:moveTo>
                  <a:pt x="0" y="0"/>
                </a:moveTo>
                <a:lnTo>
                  <a:pt x="0" y="40341"/>
                </a:lnTo>
              </a:path>
            </a:pathLst>
          </a:custGeom>
          <a:ln w="12760" cap="flat">
            <a:solidFill>
              <a:srgbClr val="000000"/>
            </a:solidFill>
            <a:prstDash val="solid"/>
            <a:miter/>
          </a:ln>
        </p:spPr>
        <p:txBody>
          <a:bodyPr lIns="68555" tIns="34289" rIns="68555" bIns="34289" rtlCol="0" anchor="ctr"/>
          <a:lstStyle/>
          <a:p>
            <a:pPr defTabSz="685511">
              <a:defRPr/>
            </a:pPr>
            <a:endParaRPr kumimoji="1" lang="en-US" sz="1400">
              <a:solidFill>
                <a:srgbClr val="000000"/>
              </a:solidFill>
              <a:cs typeface="Calibri" panose="020F0502020204030204" pitchFamily="34" charset="0"/>
            </a:endParaRPr>
          </a:p>
        </p:txBody>
      </p:sp>
      <p:sp>
        <p:nvSpPr>
          <p:cNvPr id="23" name="Freeform: Shape 22">
            <a:extLst>
              <a:ext uri="{FF2B5EF4-FFF2-40B4-BE49-F238E27FC236}">
                <a16:creationId xmlns="" xmlns:a16="http://schemas.microsoft.com/office/drawing/2014/main" id="{449507C4-093E-AEAE-B3BA-EB0EBB97D830}"/>
              </a:ext>
            </a:extLst>
          </p:cNvPr>
          <p:cNvSpPr/>
          <p:nvPr/>
        </p:nvSpPr>
        <p:spPr>
          <a:xfrm>
            <a:off x="6374306" y="4231176"/>
            <a:ext cx="9675" cy="30256"/>
          </a:xfrm>
          <a:custGeom>
            <a:avLst/>
            <a:gdLst>
              <a:gd name="connsiteX0" fmla="*/ 0 w 12900"/>
              <a:gd name="connsiteY0" fmla="*/ 0 h 40341"/>
              <a:gd name="connsiteX1" fmla="*/ 0 w 12900"/>
              <a:gd name="connsiteY1" fmla="*/ 40341 h 40341"/>
            </a:gdLst>
            <a:ahLst/>
            <a:cxnLst>
              <a:cxn ang="0">
                <a:pos x="connsiteX0" y="connsiteY0"/>
              </a:cxn>
              <a:cxn ang="0">
                <a:pos x="connsiteX1" y="connsiteY1"/>
              </a:cxn>
            </a:cxnLst>
            <a:rect l="l" t="t" r="r" b="b"/>
            <a:pathLst>
              <a:path w="12900" h="40341">
                <a:moveTo>
                  <a:pt x="0" y="0"/>
                </a:moveTo>
                <a:lnTo>
                  <a:pt x="0" y="40341"/>
                </a:lnTo>
              </a:path>
            </a:pathLst>
          </a:custGeom>
          <a:ln w="12760" cap="flat">
            <a:solidFill>
              <a:srgbClr val="000000"/>
            </a:solidFill>
            <a:prstDash val="solid"/>
            <a:miter/>
          </a:ln>
        </p:spPr>
        <p:txBody>
          <a:bodyPr lIns="68555" tIns="34289" rIns="68555" bIns="34289" rtlCol="0" anchor="ctr"/>
          <a:lstStyle/>
          <a:p>
            <a:pPr defTabSz="685511">
              <a:defRPr/>
            </a:pPr>
            <a:endParaRPr kumimoji="1" lang="en-US" sz="1400">
              <a:solidFill>
                <a:srgbClr val="000000"/>
              </a:solidFill>
              <a:cs typeface="Calibri" panose="020F0502020204030204" pitchFamily="34" charset="0"/>
            </a:endParaRPr>
          </a:p>
        </p:txBody>
      </p:sp>
      <p:sp>
        <p:nvSpPr>
          <p:cNvPr id="24" name="Freeform: Shape 23">
            <a:extLst>
              <a:ext uri="{FF2B5EF4-FFF2-40B4-BE49-F238E27FC236}">
                <a16:creationId xmlns="" xmlns:a16="http://schemas.microsoft.com/office/drawing/2014/main" id="{CFE22554-7D45-F4C4-7166-A8D081907F06}"/>
              </a:ext>
            </a:extLst>
          </p:cNvPr>
          <p:cNvSpPr/>
          <p:nvPr/>
        </p:nvSpPr>
        <p:spPr>
          <a:xfrm>
            <a:off x="6571774" y="4231176"/>
            <a:ext cx="9675" cy="30256"/>
          </a:xfrm>
          <a:custGeom>
            <a:avLst/>
            <a:gdLst>
              <a:gd name="connsiteX0" fmla="*/ 0 w 12900"/>
              <a:gd name="connsiteY0" fmla="*/ 0 h 40341"/>
              <a:gd name="connsiteX1" fmla="*/ 0 w 12900"/>
              <a:gd name="connsiteY1" fmla="*/ 40341 h 40341"/>
            </a:gdLst>
            <a:ahLst/>
            <a:cxnLst>
              <a:cxn ang="0">
                <a:pos x="connsiteX0" y="connsiteY0"/>
              </a:cxn>
              <a:cxn ang="0">
                <a:pos x="connsiteX1" y="connsiteY1"/>
              </a:cxn>
            </a:cxnLst>
            <a:rect l="l" t="t" r="r" b="b"/>
            <a:pathLst>
              <a:path w="12900" h="40341">
                <a:moveTo>
                  <a:pt x="0" y="0"/>
                </a:moveTo>
                <a:lnTo>
                  <a:pt x="0" y="40341"/>
                </a:lnTo>
              </a:path>
            </a:pathLst>
          </a:custGeom>
          <a:ln w="12760" cap="flat">
            <a:solidFill>
              <a:srgbClr val="000000"/>
            </a:solidFill>
            <a:prstDash val="solid"/>
            <a:miter/>
          </a:ln>
        </p:spPr>
        <p:txBody>
          <a:bodyPr lIns="68555" tIns="34289" rIns="68555" bIns="34289" rtlCol="0" anchor="ctr"/>
          <a:lstStyle/>
          <a:p>
            <a:pPr defTabSz="685511">
              <a:defRPr/>
            </a:pPr>
            <a:endParaRPr kumimoji="1" lang="en-US" sz="1400">
              <a:solidFill>
                <a:srgbClr val="000000"/>
              </a:solidFill>
              <a:cs typeface="Calibri" panose="020F0502020204030204" pitchFamily="34" charset="0"/>
            </a:endParaRPr>
          </a:p>
        </p:txBody>
      </p:sp>
      <p:sp>
        <p:nvSpPr>
          <p:cNvPr id="25" name="Freeform: Shape 24">
            <a:extLst>
              <a:ext uri="{FF2B5EF4-FFF2-40B4-BE49-F238E27FC236}">
                <a16:creationId xmlns="" xmlns:a16="http://schemas.microsoft.com/office/drawing/2014/main" id="{0A76EAAA-E8B1-E0DF-4442-F0618AD437ED}"/>
              </a:ext>
            </a:extLst>
          </p:cNvPr>
          <p:cNvSpPr/>
          <p:nvPr/>
        </p:nvSpPr>
        <p:spPr>
          <a:xfrm>
            <a:off x="6769241" y="4231176"/>
            <a:ext cx="9675" cy="30256"/>
          </a:xfrm>
          <a:custGeom>
            <a:avLst/>
            <a:gdLst>
              <a:gd name="connsiteX0" fmla="*/ 0 w 12900"/>
              <a:gd name="connsiteY0" fmla="*/ 0 h 40341"/>
              <a:gd name="connsiteX1" fmla="*/ 0 w 12900"/>
              <a:gd name="connsiteY1" fmla="*/ 40341 h 40341"/>
            </a:gdLst>
            <a:ahLst/>
            <a:cxnLst>
              <a:cxn ang="0">
                <a:pos x="connsiteX0" y="connsiteY0"/>
              </a:cxn>
              <a:cxn ang="0">
                <a:pos x="connsiteX1" y="connsiteY1"/>
              </a:cxn>
            </a:cxnLst>
            <a:rect l="l" t="t" r="r" b="b"/>
            <a:pathLst>
              <a:path w="12900" h="40341">
                <a:moveTo>
                  <a:pt x="0" y="0"/>
                </a:moveTo>
                <a:lnTo>
                  <a:pt x="0" y="40341"/>
                </a:lnTo>
              </a:path>
            </a:pathLst>
          </a:custGeom>
          <a:ln w="12760" cap="flat">
            <a:solidFill>
              <a:srgbClr val="000000"/>
            </a:solidFill>
            <a:prstDash val="solid"/>
            <a:miter/>
          </a:ln>
        </p:spPr>
        <p:txBody>
          <a:bodyPr lIns="68555" tIns="34289" rIns="68555" bIns="34289" rtlCol="0" anchor="ctr"/>
          <a:lstStyle/>
          <a:p>
            <a:pPr defTabSz="685511">
              <a:defRPr/>
            </a:pPr>
            <a:endParaRPr kumimoji="1" lang="en-US" sz="1400">
              <a:solidFill>
                <a:srgbClr val="000000"/>
              </a:solidFill>
              <a:cs typeface="Calibri" panose="020F0502020204030204" pitchFamily="34" charset="0"/>
            </a:endParaRPr>
          </a:p>
        </p:txBody>
      </p:sp>
      <p:sp>
        <p:nvSpPr>
          <p:cNvPr id="26" name="Freeform: Shape 25">
            <a:extLst>
              <a:ext uri="{FF2B5EF4-FFF2-40B4-BE49-F238E27FC236}">
                <a16:creationId xmlns="" xmlns:a16="http://schemas.microsoft.com/office/drawing/2014/main" id="{4167F3E0-0744-8296-FA3B-85CB0E33F17F}"/>
              </a:ext>
            </a:extLst>
          </p:cNvPr>
          <p:cNvSpPr/>
          <p:nvPr/>
        </p:nvSpPr>
        <p:spPr>
          <a:xfrm>
            <a:off x="6966707" y="4231176"/>
            <a:ext cx="9675" cy="30256"/>
          </a:xfrm>
          <a:custGeom>
            <a:avLst/>
            <a:gdLst>
              <a:gd name="connsiteX0" fmla="*/ 0 w 12900"/>
              <a:gd name="connsiteY0" fmla="*/ 0 h 40341"/>
              <a:gd name="connsiteX1" fmla="*/ 0 w 12900"/>
              <a:gd name="connsiteY1" fmla="*/ 40341 h 40341"/>
            </a:gdLst>
            <a:ahLst/>
            <a:cxnLst>
              <a:cxn ang="0">
                <a:pos x="connsiteX0" y="connsiteY0"/>
              </a:cxn>
              <a:cxn ang="0">
                <a:pos x="connsiteX1" y="connsiteY1"/>
              </a:cxn>
            </a:cxnLst>
            <a:rect l="l" t="t" r="r" b="b"/>
            <a:pathLst>
              <a:path w="12900" h="40341">
                <a:moveTo>
                  <a:pt x="0" y="0"/>
                </a:moveTo>
                <a:lnTo>
                  <a:pt x="0" y="40341"/>
                </a:lnTo>
              </a:path>
            </a:pathLst>
          </a:custGeom>
          <a:ln w="12760" cap="flat">
            <a:solidFill>
              <a:srgbClr val="000000"/>
            </a:solidFill>
            <a:prstDash val="solid"/>
            <a:miter/>
          </a:ln>
        </p:spPr>
        <p:txBody>
          <a:bodyPr lIns="68555" tIns="34289" rIns="68555" bIns="34289" rtlCol="0" anchor="ctr"/>
          <a:lstStyle/>
          <a:p>
            <a:pPr defTabSz="685511">
              <a:defRPr/>
            </a:pPr>
            <a:endParaRPr kumimoji="1" lang="en-US" sz="1400">
              <a:solidFill>
                <a:srgbClr val="000000"/>
              </a:solidFill>
              <a:cs typeface="Calibri" panose="020F0502020204030204" pitchFamily="34" charset="0"/>
            </a:endParaRPr>
          </a:p>
        </p:txBody>
      </p:sp>
      <p:sp>
        <p:nvSpPr>
          <p:cNvPr id="27" name="Freeform: Shape 26">
            <a:extLst>
              <a:ext uri="{FF2B5EF4-FFF2-40B4-BE49-F238E27FC236}">
                <a16:creationId xmlns="" xmlns:a16="http://schemas.microsoft.com/office/drawing/2014/main" id="{78268523-BBA6-470F-0D02-8B19C680C4B5}"/>
              </a:ext>
            </a:extLst>
          </p:cNvPr>
          <p:cNvSpPr/>
          <p:nvPr/>
        </p:nvSpPr>
        <p:spPr>
          <a:xfrm>
            <a:off x="7164176" y="4231176"/>
            <a:ext cx="9675" cy="30256"/>
          </a:xfrm>
          <a:custGeom>
            <a:avLst/>
            <a:gdLst>
              <a:gd name="connsiteX0" fmla="*/ 0 w 12900"/>
              <a:gd name="connsiteY0" fmla="*/ 0 h 40341"/>
              <a:gd name="connsiteX1" fmla="*/ 0 w 12900"/>
              <a:gd name="connsiteY1" fmla="*/ 40341 h 40341"/>
            </a:gdLst>
            <a:ahLst/>
            <a:cxnLst>
              <a:cxn ang="0">
                <a:pos x="connsiteX0" y="connsiteY0"/>
              </a:cxn>
              <a:cxn ang="0">
                <a:pos x="connsiteX1" y="connsiteY1"/>
              </a:cxn>
            </a:cxnLst>
            <a:rect l="l" t="t" r="r" b="b"/>
            <a:pathLst>
              <a:path w="12900" h="40341">
                <a:moveTo>
                  <a:pt x="0" y="0"/>
                </a:moveTo>
                <a:lnTo>
                  <a:pt x="0" y="40341"/>
                </a:lnTo>
              </a:path>
            </a:pathLst>
          </a:custGeom>
          <a:ln w="12760" cap="flat">
            <a:solidFill>
              <a:srgbClr val="000000"/>
            </a:solidFill>
            <a:prstDash val="solid"/>
            <a:miter/>
          </a:ln>
        </p:spPr>
        <p:txBody>
          <a:bodyPr lIns="68555" tIns="34289" rIns="68555" bIns="34289" rtlCol="0" anchor="ctr"/>
          <a:lstStyle/>
          <a:p>
            <a:pPr defTabSz="685511">
              <a:defRPr/>
            </a:pPr>
            <a:endParaRPr kumimoji="1" lang="en-US" sz="1400">
              <a:solidFill>
                <a:srgbClr val="000000"/>
              </a:solidFill>
              <a:cs typeface="Calibri" panose="020F0502020204030204" pitchFamily="34" charset="0"/>
            </a:endParaRPr>
          </a:p>
        </p:txBody>
      </p:sp>
      <p:sp>
        <p:nvSpPr>
          <p:cNvPr id="28" name="Freeform: Shape 27">
            <a:extLst>
              <a:ext uri="{FF2B5EF4-FFF2-40B4-BE49-F238E27FC236}">
                <a16:creationId xmlns="" xmlns:a16="http://schemas.microsoft.com/office/drawing/2014/main" id="{C6701A5B-7BF2-7689-1E0F-D237F1342F4D}"/>
              </a:ext>
            </a:extLst>
          </p:cNvPr>
          <p:cNvSpPr/>
          <p:nvPr/>
        </p:nvSpPr>
        <p:spPr>
          <a:xfrm>
            <a:off x="7361642" y="4231176"/>
            <a:ext cx="9675" cy="30256"/>
          </a:xfrm>
          <a:custGeom>
            <a:avLst/>
            <a:gdLst>
              <a:gd name="connsiteX0" fmla="*/ 0 w 12900"/>
              <a:gd name="connsiteY0" fmla="*/ 0 h 40341"/>
              <a:gd name="connsiteX1" fmla="*/ 0 w 12900"/>
              <a:gd name="connsiteY1" fmla="*/ 40341 h 40341"/>
            </a:gdLst>
            <a:ahLst/>
            <a:cxnLst>
              <a:cxn ang="0">
                <a:pos x="connsiteX0" y="connsiteY0"/>
              </a:cxn>
              <a:cxn ang="0">
                <a:pos x="connsiteX1" y="connsiteY1"/>
              </a:cxn>
            </a:cxnLst>
            <a:rect l="l" t="t" r="r" b="b"/>
            <a:pathLst>
              <a:path w="12900" h="40341">
                <a:moveTo>
                  <a:pt x="0" y="0"/>
                </a:moveTo>
                <a:lnTo>
                  <a:pt x="0" y="40341"/>
                </a:lnTo>
              </a:path>
            </a:pathLst>
          </a:custGeom>
          <a:ln w="12760" cap="flat">
            <a:solidFill>
              <a:srgbClr val="000000"/>
            </a:solidFill>
            <a:prstDash val="solid"/>
            <a:miter/>
          </a:ln>
        </p:spPr>
        <p:txBody>
          <a:bodyPr lIns="68555" tIns="34289" rIns="68555" bIns="34289" rtlCol="0" anchor="ctr"/>
          <a:lstStyle/>
          <a:p>
            <a:pPr defTabSz="685511">
              <a:defRPr/>
            </a:pPr>
            <a:endParaRPr kumimoji="1" lang="en-US" sz="1400">
              <a:solidFill>
                <a:srgbClr val="000000"/>
              </a:solidFill>
              <a:cs typeface="Calibri" panose="020F0502020204030204" pitchFamily="34" charset="0"/>
            </a:endParaRPr>
          </a:p>
        </p:txBody>
      </p:sp>
      <p:sp>
        <p:nvSpPr>
          <p:cNvPr id="29" name="Freeform: Shape 28">
            <a:extLst>
              <a:ext uri="{FF2B5EF4-FFF2-40B4-BE49-F238E27FC236}">
                <a16:creationId xmlns="" xmlns:a16="http://schemas.microsoft.com/office/drawing/2014/main" id="{E61C788F-ECEE-A1E3-6058-BDEACF1195D2}"/>
              </a:ext>
            </a:extLst>
          </p:cNvPr>
          <p:cNvSpPr/>
          <p:nvPr/>
        </p:nvSpPr>
        <p:spPr>
          <a:xfrm>
            <a:off x="7559111" y="4231176"/>
            <a:ext cx="9675" cy="30256"/>
          </a:xfrm>
          <a:custGeom>
            <a:avLst/>
            <a:gdLst>
              <a:gd name="connsiteX0" fmla="*/ 0 w 12900"/>
              <a:gd name="connsiteY0" fmla="*/ 0 h 40341"/>
              <a:gd name="connsiteX1" fmla="*/ 0 w 12900"/>
              <a:gd name="connsiteY1" fmla="*/ 40341 h 40341"/>
            </a:gdLst>
            <a:ahLst/>
            <a:cxnLst>
              <a:cxn ang="0">
                <a:pos x="connsiteX0" y="connsiteY0"/>
              </a:cxn>
              <a:cxn ang="0">
                <a:pos x="connsiteX1" y="connsiteY1"/>
              </a:cxn>
            </a:cxnLst>
            <a:rect l="l" t="t" r="r" b="b"/>
            <a:pathLst>
              <a:path w="12900" h="40341">
                <a:moveTo>
                  <a:pt x="0" y="0"/>
                </a:moveTo>
                <a:lnTo>
                  <a:pt x="0" y="40341"/>
                </a:lnTo>
              </a:path>
            </a:pathLst>
          </a:custGeom>
          <a:ln w="12760" cap="flat">
            <a:solidFill>
              <a:srgbClr val="000000"/>
            </a:solidFill>
            <a:prstDash val="solid"/>
            <a:miter/>
          </a:ln>
        </p:spPr>
        <p:txBody>
          <a:bodyPr lIns="68555" tIns="34289" rIns="68555" bIns="34289" rtlCol="0" anchor="ctr"/>
          <a:lstStyle/>
          <a:p>
            <a:pPr defTabSz="685511">
              <a:defRPr/>
            </a:pPr>
            <a:endParaRPr kumimoji="1" lang="en-US" sz="1400">
              <a:solidFill>
                <a:srgbClr val="000000"/>
              </a:solidFill>
              <a:cs typeface="Calibri" panose="020F0502020204030204" pitchFamily="34" charset="0"/>
            </a:endParaRPr>
          </a:p>
        </p:txBody>
      </p:sp>
      <p:sp>
        <p:nvSpPr>
          <p:cNvPr id="30" name="Freeform: Shape 29">
            <a:extLst>
              <a:ext uri="{FF2B5EF4-FFF2-40B4-BE49-F238E27FC236}">
                <a16:creationId xmlns="" xmlns:a16="http://schemas.microsoft.com/office/drawing/2014/main" id="{B0110E98-FF6E-2A1B-8217-3F44B795C1F2}"/>
              </a:ext>
            </a:extLst>
          </p:cNvPr>
          <p:cNvSpPr/>
          <p:nvPr/>
        </p:nvSpPr>
        <p:spPr>
          <a:xfrm>
            <a:off x="7756577" y="4231176"/>
            <a:ext cx="9675" cy="30256"/>
          </a:xfrm>
          <a:custGeom>
            <a:avLst/>
            <a:gdLst>
              <a:gd name="connsiteX0" fmla="*/ 0 w 12900"/>
              <a:gd name="connsiteY0" fmla="*/ 0 h 40341"/>
              <a:gd name="connsiteX1" fmla="*/ 0 w 12900"/>
              <a:gd name="connsiteY1" fmla="*/ 40341 h 40341"/>
            </a:gdLst>
            <a:ahLst/>
            <a:cxnLst>
              <a:cxn ang="0">
                <a:pos x="connsiteX0" y="connsiteY0"/>
              </a:cxn>
              <a:cxn ang="0">
                <a:pos x="connsiteX1" y="connsiteY1"/>
              </a:cxn>
            </a:cxnLst>
            <a:rect l="l" t="t" r="r" b="b"/>
            <a:pathLst>
              <a:path w="12900" h="40341">
                <a:moveTo>
                  <a:pt x="0" y="0"/>
                </a:moveTo>
                <a:lnTo>
                  <a:pt x="0" y="40341"/>
                </a:lnTo>
              </a:path>
            </a:pathLst>
          </a:custGeom>
          <a:ln w="12760" cap="flat">
            <a:solidFill>
              <a:srgbClr val="000000"/>
            </a:solidFill>
            <a:prstDash val="solid"/>
            <a:miter/>
          </a:ln>
        </p:spPr>
        <p:txBody>
          <a:bodyPr lIns="68555" tIns="34289" rIns="68555" bIns="34289" rtlCol="0" anchor="ctr"/>
          <a:lstStyle/>
          <a:p>
            <a:pPr defTabSz="685511">
              <a:defRPr/>
            </a:pPr>
            <a:endParaRPr kumimoji="1" lang="en-US" sz="1400">
              <a:solidFill>
                <a:srgbClr val="000000"/>
              </a:solidFill>
              <a:cs typeface="Calibri" panose="020F0502020204030204" pitchFamily="34" charset="0"/>
            </a:endParaRPr>
          </a:p>
        </p:txBody>
      </p:sp>
      <p:sp>
        <p:nvSpPr>
          <p:cNvPr id="31" name="Freeform: Shape 30">
            <a:extLst>
              <a:ext uri="{FF2B5EF4-FFF2-40B4-BE49-F238E27FC236}">
                <a16:creationId xmlns="" xmlns:a16="http://schemas.microsoft.com/office/drawing/2014/main" id="{25BE0FFD-B250-75D2-2386-9AF5FFFD6995}"/>
              </a:ext>
            </a:extLst>
          </p:cNvPr>
          <p:cNvSpPr/>
          <p:nvPr/>
        </p:nvSpPr>
        <p:spPr>
          <a:xfrm>
            <a:off x="5978597" y="4230605"/>
            <a:ext cx="9675" cy="30825"/>
          </a:xfrm>
          <a:custGeom>
            <a:avLst/>
            <a:gdLst>
              <a:gd name="connsiteX0" fmla="*/ 0 w 12900"/>
              <a:gd name="connsiteY0" fmla="*/ 0 h 41100"/>
              <a:gd name="connsiteX1" fmla="*/ 0 w 12900"/>
              <a:gd name="connsiteY1" fmla="*/ 41100 h 41100"/>
            </a:gdLst>
            <a:ahLst/>
            <a:cxnLst>
              <a:cxn ang="0">
                <a:pos x="connsiteX0" y="connsiteY0"/>
              </a:cxn>
              <a:cxn ang="0">
                <a:pos x="connsiteX1" y="connsiteY1"/>
              </a:cxn>
            </a:cxnLst>
            <a:rect l="l" t="t" r="r" b="b"/>
            <a:pathLst>
              <a:path w="12900" h="41100">
                <a:moveTo>
                  <a:pt x="0" y="0"/>
                </a:moveTo>
                <a:lnTo>
                  <a:pt x="0" y="41100"/>
                </a:lnTo>
              </a:path>
            </a:pathLst>
          </a:custGeom>
          <a:ln w="12760" cap="flat">
            <a:solidFill>
              <a:srgbClr val="000000"/>
            </a:solidFill>
            <a:prstDash val="solid"/>
            <a:miter/>
          </a:ln>
        </p:spPr>
        <p:txBody>
          <a:bodyPr lIns="68555" tIns="34289" rIns="68555" bIns="34289" rtlCol="0" anchor="ctr"/>
          <a:lstStyle/>
          <a:p>
            <a:pPr defTabSz="685511">
              <a:defRPr/>
            </a:pPr>
            <a:endParaRPr kumimoji="1" lang="en-US" sz="1400">
              <a:solidFill>
                <a:srgbClr val="000000"/>
              </a:solidFill>
              <a:cs typeface="Calibri" panose="020F0502020204030204" pitchFamily="34" charset="0"/>
            </a:endParaRPr>
          </a:p>
        </p:txBody>
      </p:sp>
      <p:sp>
        <p:nvSpPr>
          <p:cNvPr id="32" name="Freeform: Shape 31">
            <a:extLst>
              <a:ext uri="{FF2B5EF4-FFF2-40B4-BE49-F238E27FC236}">
                <a16:creationId xmlns="" xmlns:a16="http://schemas.microsoft.com/office/drawing/2014/main" id="{70846185-6500-D6F5-BF87-AED8E267A11C}"/>
              </a:ext>
            </a:extLst>
          </p:cNvPr>
          <p:cNvSpPr/>
          <p:nvPr/>
        </p:nvSpPr>
        <p:spPr>
          <a:xfrm>
            <a:off x="7538890" y="4101136"/>
            <a:ext cx="41216" cy="40404"/>
          </a:xfrm>
          <a:custGeom>
            <a:avLst/>
            <a:gdLst>
              <a:gd name="connsiteX0" fmla="*/ 54343 w 54954"/>
              <a:gd name="connsiteY0" fmla="*/ 26762 h 53872"/>
              <a:gd name="connsiteX1" fmla="*/ 26866 w 54954"/>
              <a:gd name="connsiteY1" fmla="*/ 53698 h 53872"/>
              <a:gd name="connsiteX2" fmla="*/ -611 w 54954"/>
              <a:gd name="connsiteY2" fmla="*/ 26762 h 53872"/>
              <a:gd name="connsiteX3" fmla="*/ 26866 w 54954"/>
              <a:gd name="connsiteY3" fmla="*/ -174 h 53872"/>
              <a:gd name="connsiteX4" fmla="*/ 54343 w 54954"/>
              <a:gd name="connsiteY4" fmla="*/ 26509 h 53872"/>
              <a:gd name="connsiteX5" fmla="*/ 54343 w 54954"/>
              <a:gd name="connsiteY5" fmla="*/ 26762 h 53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954" h="53872">
                <a:moveTo>
                  <a:pt x="54343" y="26762"/>
                </a:moveTo>
                <a:cubicBezTo>
                  <a:pt x="54343" y="41634"/>
                  <a:pt x="42037" y="53698"/>
                  <a:pt x="26866" y="53698"/>
                </a:cubicBezTo>
                <a:cubicBezTo>
                  <a:pt x="11695" y="53698"/>
                  <a:pt x="-611" y="41634"/>
                  <a:pt x="-611" y="26762"/>
                </a:cubicBezTo>
                <a:cubicBezTo>
                  <a:pt x="-611" y="11890"/>
                  <a:pt x="11695" y="-174"/>
                  <a:pt x="26866" y="-174"/>
                </a:cubicBezTo>
                <a:cubicBezTo>
                  <a:pt x="41972" y="-250"/>
                  <a:pt x="54266" y="11701"/>
                  <a:pt x="54343" y="26509"/>
                </a:cubicBezTo>
                <a:cubicBezTo>
                  <a:pt x="54343" y="26598"/>
                  <a:pt x="54343" y="26674"/>
                  <a:pt x="54343" y="26762"/>
                </a:cubicBezTo>
              </a:path>
            </a:pathLst>
          </a:custGeom>
          <a:solidFill>
            <a:schemeClr val="accent1"/>
          </a:solidFill>
          <a:ln w="12889" cap="flat">
            <a:solidFill>
              <a:srgbClr val="000000"/>
            </a:solidFill>
            <a:prstDash val="solid"/>
            <a:miter/>
          </a:ln>
        </p:spPr>
        <p:txBody>
          <a:bodyPr lIns="68555" tIns="34289" rIns="68555" bIns="34289" rtlCol="0" anchor="ctr"/>
          <a:lstStyle/>
          <a:p>
            <a:pPr defTabSz="685511">
              <a:defRPr/>
            </a:pPr>
            <a:endParaRPr kumimoji="1" lang="en-US" sz="1400">
              <a:solidFill>
                <a:srgbClr val="000000"/>
              </a:solidFill>
              <a:cs typeface="Calibri" panose="020F0502020204030204" pitchFamily="34" charset="0"/>
            </a:endParaRPr>
          </a:p>
        </p:txBody>
      </p:sp>
      <p:sp>
        <p:nvSpPr>
          <p:cNvPr id="33" name="Freeform: Shape 32">
            <a:extLst>
              <a:ext uri="{FF2B5EF4-FFF2-40B4-BE49-F238E27FC236}">
                <a16:creationId xmlns="" xmlns:a16="http://schemas.microsoft.com/office/drawing/2014/main" id="{48D2EA89-2631-2118-AA08-8388A05059A2}"/>
              </a:ext>
            </a:extLst>
          </p:cNvPr>
          <p:cNvSpPr/>
          <p:nvPr/>
        </p:nvSpPr>
        <p:spPr>
          <a:xfrm>
            <a:off x="7538890" y="3595448"/>
            <a:ext cx="41216" cy="40404"/>
          </a:xfrm>
          <a:custGeom>
            <a:avLst/>
            <a:gdLst>
              <a:gd name="connsiteX0" fmla="*/ 54343 w 54954"/>
              <a:gd name="connsiteY0" fmla="*/ 26762 h 53872"/>
              <a:gd name="connsiteX1" fmla="*/ 26866 w 54954"/>
              <a:gd name="connsiteY1" fmla="*/ 53698 h 53872"/>
              <a:gd name="connsiteX2" fmla="*/ -611 w 54954"/>
              <a:gd name="connsiteY2" fmla="*/ 26762 h 53872"/>
              <a:gd name="connsiteX3" fmla="*/ 26866 w 54954"/>
              <a:gd name="connsiteY3" fmla="*/ -174 h 53872"/>
              <a:gd name="connsiteX4" fmla="*/ 54343 w 54954"/>
              <a:gd name="connsiteY4" fmla="*/ 26762 h 538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954" h="53872">
                <a:moveTo>
                  <a:pt x="54343" y="26762"/>
                </a:moveTo>
                <a:cubicBezTo>
                  <a:pt x="54343" y="41634"/>
                  <a:pt x="42037" y="53698"/>
                  <a:pt x="26866" y="53698"/>
                </a:cubicBezTo>
                <a:cubicBezTo>
                  <a:pt x="11695" y="53698"/>
                  <a:pt x="-611" y="41634"/>
                  <a:pt x="-611" y="26762"/>
                </a:cubicBezTo>
                <a:cubicBezTo>
                  <a:pt x="-611" y="11890"/>
                  <a:pt x="11695" y="-174"/>
                  <a:pt x="26866" y="-174"/>
                </a:cubicBezTo>
                <a:cubicBezTo>
                  <a:pt x="42037" y="-174"/>
                  <a:pt x="54343" y="11890"/>
                  <a:pt x="54343" y="26762"/>
                </a:cubicBezTo>
              </a:path>
            </a:pathLst>
          </a:custGeom>
          <a:solidFill>
            <a:schemeClr val="accent1"/>
          </a:solidFill>
          <a:ln w="12889" cap="flat">
            <a:solidFill>
              <a:srgbClr val="000000"/>
            </a:solidFill>
            <a:prstDash val="solid"/>
            <a:miter/>
          </a:ln>
        </p:spPr>
        <p:txBody>
          <a:bodyPr lIns="68555" tIns="34289" rIns="68555" bIns="34289" rtlCol="0" anchor="ctr"/>
          <a:lstStyle/>
          <a:p>
            <a:pPr defTabSz="685511">
              <a:defRPr/>
            </a:pPr>
            <a:endParaRPr kumimoji="1" lang="en-US" sz="1400">
              <a:solidFill>
                <a:srgbClr val="000000"/>
              </a:solidFill>
              <a:cs typeface="Calibri" panose="020F0502020204030204" pitchFamily="34" charset="0"/>
            </a:endParaRPr>
          </a:p>
        </p:txBody>
      </p:sp>
      <p:grpSp>
        <p:nvGrpSpPr>
          <p:cNvPr id="34" name="Group 33">
            <a:extLst>
              <a:ext uri="{FF2B5EF4-FFF2-40B4-BE49-F238E27FC236}">
                <a16:creationId xmlns="" xmlns:a16="http://schemas.microsoft.com/office/drawing/2014/main" id="{F842FE96-3BCE-31FD-7AE4-390B7E079F50}"/>
              </a:ext>
            </a:extLst>
          </p:cNvPr>
          <p:cNvGrpSpPr/>
          <p:nvPr/>
        </p:nvGrpSpPr>
        <p:grpSpPr>
          <a:xfrm>
            <a:off x="7337859" y="3350156"/>
            <a:ext cx="199499" cy="40404"/>
            <a:chOff x="9915766" y="5232395"/>
            <a:chExt cx="265999" cy="53872"/>
          </a:xfrm>
          <a:solidFill>
            <a:schemeClr val="accent1"/>
          </a:solidFill>
        </p:grpSpPr>
        <p:sp>
          <p:nvSpPr>
            <p:cNvPr id="35" name="Freeform: Shape 34">
              <a:extLst>
                <a:ext uri="{FF2B5EF4-FFF2-40B4-BE49-F238E27FC236}">
                  <a16:creationId xmlns="" xmlns:a16="http://schemas.microsoft.com/office/drawing/2014/main" id="{57C4ACAE-C080-E528-2C19-E9B48CBC50F7}"/>
                </a:ext>
              </a:extLst>
            </p:cNvPr>
            <p:cNvSpPr/>
            <p:nvPr/>
          </p:nvSpPr>
          <p:spPr>
            <a:xfrm>
              <a:off x="9915766" y="5259964"/>
              <a:ext cx="182922" cy="12646"/>
            </a:xfrm>
            <a:custGeom>
              <a:avLst/>
              <a:gdLst>
                <a:gd name="connsiteX0" fmla="*/ 0 w 182922"/>
                <a:gd name="connsiteY0" fmla="*/ 0 h 12646"/>
                <a:gd name="connsiteX1" fmla="*/ 182922 w 182922"/>
                <a:gd name="connsiteY1" fmla="*/ 0 h 12646"/>
              </a:gdLst>
              <a:ahLst/>
              <a:cxnLst>
                <a:cxn ang="0">
                  <a:pos x="connsiteX0" y="connsiteY0"/>
                </a:cxn>
                <a:cxn ang="0">
                  <a:pos x="connsiteX1" y="connsiteY1"/>
                </a:cxn>
              </a:cxnLst>
              <a:rect l="l" t="t" r="r" b="b"/>
              <a:pathLst>
                <a:path w="182922" h="12646">
                  <a:moveTo>
                    <a:pt x="0" y="0"/>
                  </a:moveTo>
                  <a:lnTo>
                    <a:pt x="182922" y="0"/>
                  </a:lnTo>
                </a:path>
              </a:pathLst>
            </a:custGeom>
            <a:grpFill/>
            <a:ln w="12760" cap="flat">
              <a:solidFill>
                <a:srgbClr val="000000"/>
              </a:solidFill>
              <a:prstDash val="solid"/>
              <a:miter/>
            </a:ln>
          </p:spPr>
          <p:txBody>
            <a:bodyPr rtlCol="0" anchor="ctr"/>
            <a:lstStyle/>
            <a:p>
              <a:pPr defTabSz="685511">
                <a:defRPr/>
              </a:pPr>
              <a:endParaRPr kumimoji="1" lang="en-US" sz="1400">
                <a:solidFill>
                  <a:srgbClr val="000000"/>
                </a:solidFill>
                <a:cs typeface="Calibri" panose="020F0502020204030204" pitchFamily="34" charset="0"/>
              </a:endParaRPr>
            </a:p>
          </p:txBody>
        </p:sp>
        <p:sp>
          <p:nvSpPr>
            <p:cNvPr id="36" name="Freeform: Shape 35">
              <a:extLst>
                <a:ext uri="{FF2B5EF4-FFF2-40B4-BE49-F238E27FC236}">
                  <a16:creationId xmlns="" xmlns:a16="http://schemas.microsoft.com/office/drawing/2014/main" id="{8FC00AC2-AC16-A48A-4BF9-E61C4BAF0F88}"/>
                </a:ext>
              </a:extLst>
            </p:cNvPr>
            <p:cNvSpPr/>
            <p:nvPr/>
          </p:nvSpPr>
          <p:spPr>
            <a:xfrm>
              <a:off x="10098689" y="5259964"/>
              <a:ext cx="70176" cy="12646"/>
            </a:xfrm>
            <a:custGeom>
              <a:avLst/>
              <a:gdLst>
                <a:gd name="connsiteX0" fmla="*/ 0 w 70176"/>
                <a:gd name="connsiteY0" fmla="*/ 0 h 12646"/>
                <a:gd name="connsiteX1" fmla="*/ 70176 w 70176"/>
                <a:gd name="connsiteY1" fmla="*/ 0 h 12646"/>
              </a:gdLst>
              <a:ahLst/>
              <a:cxnLst>
                <a:cxn ang="0">
                  <a:pos x="connsiteX0" y="connsiteY0"/>
                </a:cxn>
                <a:cxn ang="0">
                  <a:pos x="connsiteX1" y="connsiteY1"/>
                </a:cxn>
              </a:cxnLst>
              <a:rect l="l" t="t" r="r" b="b"/>
              <a:pathLst>
                <a:path w="70176" h="12646">
                  <a:moveTo>
                    <a:pt x="0" y="0"/>
                  </a:moveTo>
                  <a:lnTo>
                    <a:pt x="70176" y="0"/>
                  </a:lnTo>
                </a:path>
              </a:pathLst>
            </a:custGeom>
            <a:grpFill/>
            <a:ln w="12760" cap="flat">
              <a:solidFill>
                <a:srgbClr val="000000"/>
              </a:solidFill>
              <a:prstDash val="solid"/>
              <a:miter/>
            </a:ln>
          </p:spPr>
          <p:txBody>
            <a:bodyPr rtlCol="0" anchor="ctr"/>
            <a:lstStyle/>
            <a:p>
              <a:pPr defTabSz="685511">
                <a:defRPr/>
              </a:pPr>
              <a:endParaRPr kumimoji="1" lang="en-US" sz="1400">
                <a:solidFill>
                  <a:srgbClr val="000000"/>
                </a:solidFill>
                <a:cs typeface="Calibri" panose="020F0502020204030204" pitchFamily="34" charset="0"/>
              </a:endParaRPr>
            </a:p>
          </p:txBody>
        </p:sp>
        <p:sp>
          <p:nvSpPr>
            <p:cNvPr id="37" name="Freeform: Shape 36">
              <a:extLst>
                <a:ext uri="{FF2B5EF4-FFF2-40B4-BE49-F238E27FC236}">
                  <a16:creationId xmlns="" xmlns:a16="http://schemas.microsoft.com/office/drawing/2014/main" id="{3DDE3051-1909-29DF-907A-55E4EB1B7FCD}"/>
                </a:ext>
              </a:extLst>
            </p:cNvPr>
            <p:cNvSpPr/>
            <p:nvPr/>
          </p:nvSpPr>
          <p:spPr>
            <a:xfrm>
              <a:off x="9915766" y="5234166"/>
              <a:ext cx="12900" cy="50205"/>
            </a:xfrm>
            <a:custGeom>
              <a:avLst/>
              <a:gdLst>
                <a:gd name="connsiteX0" fmla="*/ 0 w 12900"/>
                <a:gd name="connsiteY0" fmla="*/ 0 h 50205"/>
                <a:gd name="connsiteX1" fmla="*/ 0 w 12900"/>
                <a:gd name="connsiteY1" fmla="*/ 50205 h 50205"/>
              </a:gdLst>
              <a:ahLst/>
              <a:cxnLst>
                <a:cxn ang="0">
                  <a:pos x="connsiteX0" y="connsiteY0"/>
                </a:cxn>
                <a:cxn ang="0">
                  <a:pos x="connsiteX1" y="connsiteY1"/>
                </a:cxn>
              </a:cxnLst>
              <a:rect l="l" t="t" r="r" b="b"/>
              <a:pathLst>
                <a:path w="12900" h="50205">
                  <a:moveTo>
                    <a:pt x="0" y="0"/>
                  </a:moveTo>
                  <a:lnTo>
                    <a:pt x="0" y="50205"/>
                  </a:lnTo>
                </a:path>
              </a:pathLst>
            </a:custGeom>
            <a:grpFill/>
            <a:ln w="12760" cap="flat">
              <a:solidFill>
                <a:srgbClr val="000000"/>
              </a:solidFill>
              <a:prstDash val="solid"/>
              <a:miter/>
            </a:ln>
          </p:spPr>
          <p:txBody>
            <a:bodyPr rtlCol="0" anchor="ctr"/>
            <a:lstStyle/>
            <a:p>
              <a:pPr defTabSz="685511">
                <a:defRPr/>
              </a:pPr>
              <a:endParaRPr kumimoji="1" lang="en-US" sz="1400">
                <a:solidFill>
                  <a:srgbClr val="000000"/>
                </a:solidFill>
                <a:cs typeface="Calibri" panose="020F0502020204030204" pitchFamily="34" charset="0"/>
              </a:endParaRPr>
            </a:p>
          </p:txBody>
        </p:sp>
        <p:sp>
          <p:nvSpPr>
            <p:cNvPr id="38" name="Freeform: Shape 37">
              <a:extLst>
                <a:ext uri="{FF2B5EF4-FFF2-40B4-BE49-F238E27FC236}">
                  <a16:creationId xmlns="" xmlns:a16="http://schemas.microsoft.com/office/drawing/2014/main" id="{D3C8452D-EE52-5D26-F248-84B754EB632C}"/>
                </a:ext>
              </a:extLst>
            </p:cNvPr>
            <p:cNvSpPr/>
            <p:nvPr/>
          </p:nvSpPr>
          <p:spPr>
            <a:xfrm>
              <a:off x="10168865" y="5234166"/>
              <a:ext cx="12900" cy="50205"/>
            </a:xfrm>
            <a:custGeom>
              <a:avLst/>
              <a:gdLst>
                <a:gd name="connsiteX0" fmla="*/ 0 w 12900"/>
                <a:gd name="connsiteY0" fmla="*/ 0 h 50205"/>
                <a:gd name="connsiteX1" fmla="*/ 0 w 12900"/>
                <a:gd name="connsiteY1" fmla="*/ 50205 h 50205"/>
              </a:gdLst>
              <a:ahLst/>
              <a:cxnLst>
                <a:cxn ang="0">
                  <a:pos x="connsiteX0" y="connsiteY0"/>
                </a:cxn>
                <a:cxn ang="0">
                  <a:pos x="connsiteX1" y="connsiteY1"/>
                </a:cxn>
              </a:cxnLst>
              <a:rect l="l" t="t" r="r" b="b"/>
              <a:pathLst>
                <a:path w="12900" h="50205">
                  <a:moveTo>
                    <a:pt x="0" y="0"/>
                  </a:moveTo>
                  <a:lnTo>
                    <a:pt x="0" y="50205"/>
                  </a:lnTo>
                </a:path>
              </a:pathLst>
            </a:custGeom>
            <a:grpFill/>
            <a:ln w="12760" cap="flat">
              <a:solidFill>
                <a:srgbClr val="000000"/>
              </a:solidFill>
              <a:prstDash val="solid"/>
              <a:miter/>
            </a:ln>
          </p:spPr>
          <p:txBody>
            <a:bodyPr rtlCol="0" anchor="ctr"/>
            <a:lstStyle/>
            <a:p>
              <a:pPr defTabSz="685511">
                <a:defRPr/>
              </a:pPr>
              <a:endParaRPr kumimoji="1" lang="en-US" sz="1400">
                <a:solidFill>
                  <a:srgbClr val="000000"/>
                </a:solidFill>
                <a:cs typeface="Calibri" panose="020F0502020204030204" pitchFamily="34" charset="0"/>
              </a:endParaRPr>
            </a:p>
          </p:txBody>
        </p:sp>
        <p:sp>
          <p:nvSpPr>
            <p:cNvPr id="39" name="Freeform: Shape 38">
              <a:extLst>
                <a:ext uri="{FF2B5EF4-FFF2-40B4-BE49-F238E27FC236}">
                  <a16:creationId xmlns="" xmlns:a16="http://schemas.microsoft.com/office/drawing/2014/main" id="{0410FBEE-6FDD-22CF-7F05-BBE5B47B7604}"/>
                </a:ext>
              </a:extLst>
            </p:cNvPr>
            <p:cNvSpPr/>
            <p:nvPr/>
          </p:nvSpPr>
          <p:spPr>
            <a:xfrm>
              <a:off x="10070180" y="5232395"/>
              <a:ext cx="54954" cy="53872"/>
            </a:xfrm>
            <a:custGeom>
              <a:avLst/>
              <a:gdLst>
                <a:gd name="connsiteX0" fmla="*/ 54343 w 54954"/>
                <a:gd name="connsiteY0" fmla="*/ 26762 h 53872"/>
                <a:gd name="connsiteX1" fmla="*/ 26866 w 54954"/>
                <a:gd name="connsiteY1" fmla="*/ 53698 h 53872"/>
                <a:gd name="connsiteX2" fmla="*/ -611 w 54954"/>
                <a:gd name="connsiteY2" fmla="*/ 26762 h 53872"/>
                <a:gd name="connsiteX3" fmla="*/ 26866 w 54954"/>
                <a:gd name="connsiteY3" fmla="*/ -174 h 53872"/>
                <a:gd name="connsiteX4" fmla="*/ 26995 w 54954"/>
                <a:gd name="connsiteY4" fmla="*/ -174 h 53872"/>
                <a:gd name="connsiteX5" fmla="*/ 54343 w 54954"/>
                <a:gd name="connsiteY5" fmla="*/ 26635 h 53872"/>
                <a:gd name="connsiteX6" fmla="*/ 54343 w 54954"/>
                <a:gd name="connsiteY6" fmla="*/ 26762 h 53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954" h="53872">
                  <a:moveTo>
                    <a:pt x="54343" y="26762"/>
                  </a:moveTo>
                  <a:cubicBezTo>
                    <a:pt x="54343" y="41634"/>
                    <a:pt x="42036" y="53698"/>
                    <a:pt x="26866" y="53698"/>
                  </a:cubicBezTo>
                  <a:cubicBezTo>
                    <a:pt x="11695" y="53698"/>
                    <a:pt x="-611" y="41634"/>
                    <a:pt x="-611" y="26762"/>
                  </a:cubicBezTo>
                  <a:cubicBezTo>
                    <a:pt x="-611" y="11890"/>
                    <a:pt x="11695" y="-174"/>
                    <a:pt x="26866" y="-174"/>
                  </a:cubicBezTo>
                  <a:cubicBezTo>
                    <a:pt x="26905" y="-174"/>
                    <a:pt x="26957" y="-174"/>
                    <a:pt x="26995" y="-174"/>
                  </a:cubicBezTo>
                  <a:cubicBezTo>
                    <a:pt x="42101" y="-174"/>
                    <a:pt x="54343" y="11827"/>
                    <a:pt x="54343" y="26635"/>
                  </a:cubicBezTo>
                  <a:cubicBezTo>
                    <a:pt x="54343" y="26673"/>
                    <a:pt x="54343" y="26724"/>
                    <a:pt x="54343" y="26762"/>
                  </a:cubicBezTo>
                </a:path>
              </a:pathLst>
            </a:custGeom>
            <a:grpFill/>
            <a:ln w="12889" cap="flat">
              <a:solidFill>
                <a:srgbClr val="000000"/>
              </a:solidFill>
              <a:prstDash val="solid"/>
              <a:miter/>
            </a:ln>
          </p:spPr>
          <p:txBody>
            <a:bodyPr rtlCol="0" anchor="ctr"/>
            <a:lstStyle/>
            <a:p>
              <a:pPr defTabSz="685511">
                <a:defRPr/>
              </a:pPr>
              <a:endParaRPr kumimoji="1" lang="en-US" sz="1400">
                <a:solidFill>
                  <a:srgbClr val="000000"/>
                </a:solidFill>
                <a:cs typeface="Calibri" panose="020F0502020204030204" pitchFamily="34" charset="0"/>
              </a:endParaRPr>
            </a:p>
          </p:txBody>
        </p:sp>
      </p:grpSp>
      <p:grpSp>
        <p:nvGrpSpPr>
          <p:cNvPr id="40" name="Group 39">
            <a:extLst>
              <a:ext uri="{FF2B5EF4-FFF2-40B4-BE49-F238E27FC236}">
                <a16:creationId xmlns="" xmlns:a16="http://schemas.microsoft.com/office/drawing/2014/main" id="{9C15B452-F013-4515-048D-E003A0E7DB76}"/>
              </a:ext>
            </a:extLst>
          </p:cNvPr>
          <p:cNvGrpSpPr/>
          <p:nvPr/>
        </p:nvGrpSpPr>
        <p:grpSpPr>
          <a:xfrm>
            <a:off x="7415451" y="3104863"/>
            <a:ext cx="108071" cy="40404"/>
            <a:chOff x="10019224" y="5096702"/>
            <a:chExt cx="144094" cy="53872"/>
          </a:xfrm>
          <a:solidFill>
            <a:schemeClr val="accent1"/>
          </a:solidFill>
        </p:grpSpPr>
        <p:sp>
          <p:nvSpPr>
            <p:cNvPr id="41" name="Freeform: Shape 40">
              <a:extLst>
                <a:ext uri="{FF2B5EF4-FFF2-40B4-BE49-F238E27FC236}">
                  <a16:creationId xmlns="" xmlns:a16="http://schemas.microsoft.com/office/drawing/2014/main" id="{82F72B98-253E-9F45-0067-9A7490508558}"/>
                </a:ext>
              </a:extLst>
            </p:cNvPr>
            <p:cNvSpPr/>
            <p:nvPr/>
          </p:nvSpPr>
          <p:spPr>
            <a:xfrm>
              <a:off x="10019224" y="5122753"/>
              <a:ext cx="83205" cy="12646"/>
            </a:xfrm>
            <a:custGeom>
              <a:avLst/>
              <a:gdLst>
                <a:gd name="connsiteX0" fmla="*/ 0 w 83205"/>
                <a:gd name="connsiteY0" fmla="*/ 0 h 12646"/>
                <a:gd name="connsiteX1" fmla="*/ 83205 w 83205"/>
                <a:gd name="connsiteY1" fmla="*/ 0 h 12646"/>
              </a:gdLst>
              <a:ahLst/>
              <a:cxnLst>
                <a:cxn ang="0">
                  <a:pos x="connsiteX0" y="connsiteY0"/>
                </a:cxn>
                <a:cxn ang="0">
                  <a:pos x="connsiteX1" y="connsiteY1"/>
                </a:cxn>
              </a:cxnLst>
              <a:rect l="l" t="t" r="r" b="b"/>
              <a:pathLst>
                <a:path w="83205" h="12646">
                  <a:moveTo>
                    <a:pt x="0" y="0"/>
                  </a:moveTo>
                  <a:lnTo>
                    <a:pt x="83205" y="0"/>
                  </a:lnTo>
                </a:path>
              </a:pathLst>
            </a:custGeom>
            <a:grpFill/>
            <a:ln w="12760" cap="flat">
              <a:solidFill>
                <a:srgbClr val="000000"/>
              </a:solidFill>
              <a:prstDash val="solid"/>
              <a:miter/>
            </a:ln>
          </p:spPr>
          <p:txBody>
            <a:bodyPr rtlCol="0" anchor="ctr"/>
            <a:lstStyle/>
            <a:p>
              <a:pPr defTabSz="685511">
                <a:defRPr/>
              </a:pPr>
              <a:endParaRPr kumimoji="1" lang="en-US" sz="1400">
                <a:solidFill>
                  <a:srgbClr val="000000"/>
                </a:solidFill>
                <a:cs typeface="Calibri" panose="020F0502020204030204" pitchFamily="34" charset="0"/>
              </a:endParaRPr>
            </a:p>
          </p:txBody>
        </p:sp>
        <p:sp>
          <p:nvSpPr>
            <p:cNvPr id="42" name="Freeform: Shape 41">
              <a:extLst>
                <a:ext uri="{FF2B5EF4-FFF2-40B4-BE49-F238E27FC236}">
                  <a16:creationId xmlns="" xmlns:a16="http://schemas.microsoft.com/office/drawing/2014/main" id="{95D60657-5EC5-2BAE-CC49-8E10F27AF518}"/>
                </a:ext>
              </a:extLst>
            </p:cNvPr>
            <p:cNvSpPr/>
            <p:nvPr/>
          </p:nvSpPr>
          <p:spPr>
            <a:xfrm>
              <a:off x="10102430" y="5122753"/>
              <a:ext cx="47988" cy="12646"/>
            </a:xfrm>
            <a:custGeom>
              <a:avLst/>
              <a:gdLst>
                <a:gd name="connsiteX0" fmla="*/ 0 w 47988"/>
                <a:gd name="connsiteY0" fmla="*/ 0 h 12646"/>
                <a:gd name="connsiteX1" fmla="*/ 47988 w 47988"/>
                <a:gd name="connsiteY1" fmla="*/ 0 h 12646"/>
              </a:gdLst>
              <a:ahLst/>
              <a:cxnLst>
                <a:cxn ang="0">
                  <a:pos x="connsiteX0" y="connsiteY0"/>
                </a:cxn>
                <a:cxn ang="0">
                  <a:pos x="connsiteX1" y="connsiteY1"/>
                </a:cxn>
              </a:cxnLst>
              <a:rect l="l" t="t" r="r" b="b"/>
              <a:pathLst>
                <a:path w="47988" h="12646">
                  <a:moveTo>
                    <a:pt x="0" y="0"/>
                  </a:moveTo>
                  <a:lnTo>
                    <a:pt x="47988" y="0"/>
                  </a:lnTo>
                </a:path>
              </a:pathLst>
            </a:custGeom>
            <a:grpFill/>
            <a:ln w="12760" cap="flat">
              <a:solidFill>
                <a:srgbClr val="000000"/>
              </a:solidFill>
              <a:prstDash val="solid"/>
              <a:miter/>
            </a:ln>
          </p:spPr>
          <p:txBody>
            <a:bodyPr rtlCol="0" anchor="ctr"/>
            <a:lstStyle/>
            <a:p>
              <a:pPr defTabSz="685511">
                <a:defRPr/>
              </a:pPr>
              <a:endParaRPr kumimoji="1" lang="en-US" sz="1400">
                <a:solidFill>
                  <a:srgbClr val="000000"/>
                </a:solidFill>
                <a:cs typeface="Calibri" panose="020F0502020204030204" pitchFamily="34" charset="0"/>
              </a:endParaRPr>
            </a:p>
          </p:txBody>
        </p:sp>
        <p:sp>
          <p:nvSpPr>
            <p:cNvPr id="43" name="Freeform: Shape 42">
              <a:extLst>
                <a:ext uri="{FF2B5EF4-FFF2-40B4-BE49-F238E27FC236}">
                  <a16:creationId xmlns="" xmlns:a16="http://schemas.microsoft.com/office/drawing/2014/main" id="{EB936E02-F0AF-5049-99E3-81F82A53EB57}"/>
                </a:ext>
              </a:extLst>
            </p:cNvPr>
            <p:cNvSpPr/>
            <p:nvPr/>
          </p:nvSpPr>
          <p:spPr>
            <a:xfrm>
              <a:off x="10019224" y="5098472"/>
              <a:ext cx="12900" cy="50078"/>
            </a:xfrm>
            <a:custGeom>
              <a:avLst/>
              <a:gdLst>
                <a:gd name="connsiteX0" fmla="*/ 0 w 12900"/>
                <a:gd name="connsiteY0" fmla="*/ 0 h 50078"/>
                <a:gd name="connsiteX1" fmla="*/ 0 w 12900"/>
                <a:gd name="connsiteY1" fmla="*/ 50079 h 50078"/>
              </a:gdLst>
              <a:ahLst/>
              <a:cxnLst>
                <a:cxn ang="0">
                  <a:pos x="connsiteX0" y="connsiteY0"/>
                </a:cxn>
                <a:cxn ang="0">
                  <a:pos x="connsiteX1" y="connsiteY1"/>
                </a:cxn>
              </a:cxnLst>
              <a:rect l="l" t="t" r="r" b="b"/>
              <a:pathLst>
                <a:path w="12900" h="50078">
                  <a:moveTo>
                    <a:pt x="0" y="0"/>
                  </a:moveTo>
                  <a:lnTo>
                    <a:pt x="0" y="50079"/>
                  </a:lnTo>
                </a:path>
              </a:pathLst>
            </a:custGeom>
            <a:grpFill/>
            <a:ln w="12760" cap="flat">
              <a:solidFill>
                <a:srgbClr val="000000"/>
              </a:solidFill>
              <a:prstDash val="solid"/>
              <a:miter/>
            </a:ln>
          </p:spPr>
          <p:txBody>
            <a:bodyPr rtlCol="0" anchor="ctr"/>
            <a:lstStyle/>
            <a:p>
              <a:pPr defTabSz="685511">
                <a:defRPr/>
              </a:pPr>
              <a:endParaRPr kumimoji="1" lang="en-US" sz="1400">
                <a:solidFill>
                  <a:srgbClr val="000000"/>
                </a:solidFill>
                <a:cs typeface="Calibri" panose="020F0502020204030204" pitchFamily="34" charset="0"/>
              </a:endParaRPr>
            </a:p>
          </p:txBody>
        </p:sp>
        <p:sp>
          <p:nvSpPr>
            <p:cNvPr id="44" name="Freeform: Shape 43">
              <a:extLst>
                <a:ext uri="{FF2B5EF4-FFF2-40B4-BE49-F238E27FC236}">
                  <a16:creationId xmlns="" xmlns:a16="http://schemas.microsoft.com/office/drawing/2014/main" id="{2B8DD919-73E7-2D12-F4F4-2C441ECD6A31}"/>
                </a:ext>
              </a:extLst>
            </p:cNvPr>
            <p:cNvSpPr/>
            <p:nvPr/>
          </p:nvSpPr>
          <p:spPr>
            <a:xfrm>
              <a:off x="10150418" y="5098472"/>
              <a:ext cx="12900" cy="50078"/>
            </a:xfrm>
            <a:custGeom>
              <a:avLst/>
              <a:gdLst>
                <a:gd name="connsiteX0" fmla="*/ 0 w 12900"/>
                <a:gd name="connsiteY0" fmla="*/ 0 h 50078"/>
                <a:gd name="connsiteX1" fmla="*/ 0 w 12900"/>
                <a:gd name="connsiteY1" fmla="*/ 50079 h 50078"/>
              </a:gdLst>
              <a:ahLst/>
              <a:cxnLst>
                <a:cxn ang="0">
                  <a:pos x="connsiteX0" y="connsiteY0"/>
                </a:cxn>
                <a:cxn ang="0">
                  <a:pos x="connsiteX1" y="connsiteY1"/>
                </a:cxn>
              </a:cxnLst>
              <a:rect l="l" t="t" r="r" b="b"/>
              <a:pathLst>
                <a:path w="12900" h="50078">
                  <a:moveTo>
                    <a:pt x="0" y="0"/>
                  </a:moveTo>
                  <a:lnTo>
                    <a:pt x="0" y="50079"/>
                  </a:lnTo>
                </a:path>
              </a:pathLst>
            </a:custGeom>
            <a:grpFill/>
            <a:ln w="12760" cap="flat">
              <a:solidFill>
                <a:srgbClr val="000000"/>
              </a:solidFill>
              <a:prstDash val="solid"/>
              <a:miter/>
            </a:ln>
          </p:spPr>
          <p:txBody>
            <a:bodyPr rtlCol="0" anchor="ctr"/>
            <a:lstStyle/>
            <a:p>
              <a:pPr defTabSz="685511">
                <a:defRPr/>
              </a:pPr>
              <a:endParaRPr kumimoji="1" lang="en-US" sz="1400">
                <a:solidFill>
                  <a:srgbClr val="000000"/>
                </a:solidFill>
                <a:cs typeface="Calibri" panose="020F0502020204030204" pitchFamily="34" charset="0"/>
              </a:endParaRPr>
            </a:p>
          </p:txBody>
        </p:sp>
        <p:sp>
          <p:nvSpPr>
            <p:cNvPr id="45" name="Freeform: Shape 44">
              <a:extLst>
                <a:ext uri="{FF2B5EF4-FFF2-40B4-BE49-F238E27FC236}">
                  <a16:creationId xmlns="" xmlns:a16="http://schemas.microsoft.com/office/drawing/2014/main" id="{E0DF73FE-9867-77DE-48EB-840138C9ABCC}"/>
                </a:ext>
              </a:extLst>
            </p:cNvPr>
            <p:cNvSpPr/>
            <p:nvPr/>
          </p:nvSpPr>
          <p:spPr>
            <a:xfrm>
              <a:off x="10075726" y="5096702"/>
              <a:ext cx="54954" cy="53872"/>
            </a:xfrm>
            <a:custGeom>
              <a:avLst/>
              <a:gdLst>
                <a:gd name="connsiteX0" fmla="*/ 54343 w 54954"/>
                <a:gd name="connsiteY0" fmla="*/ 26635 h 53872"/>
                <a:gd name="connsiteX1" fmla="*/ 26995 w 54954"/>
                <a:gd name="connsiteY1" fmla="*/ 53698 h 53872"/>
                <a:gd name="connsiteX2" fmla="*/ -611 w 54954"/>
                <a:gd name="connsiteY2" fmla="*/ 26889 h 53872"/>
                <a:gd name="connsiteX3" fmla="*/ 26737 w 54954"/>
                <a:gd name="connsiteY3" fmla="*/ -174 h 53872"/>
                <a:gd name="connsiteX4" fmla="*/ 26995 w 54954"/>
                <a:gd name="connsiteY4" fmla="*/ -174 h 53872"/>
                <a:gd name="connsiteX5" fmla="*/ 54343 w 54954"/>
                <a:gd name="connsiteY5" fmla="*/ 26635 h 53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954" h="53872">
                  <a:moveTo>
                    <a:pt x="54343" y="26635"/>
                  </a:moveTo>
                  <a:cubicBezTo>
                    <a:pt x="54408" y="41508"/>
                    <a:pt x="42165" y="53622"/>
                    <a:pt x="26995" y="53698"/>
                  </a:cubicBezTo>
                  <a:cubicBezTo>
                    <a:pt x="11825" y="53762"/>
                    <a:pt x="-534" y="41760"/>
                    <a:pt x="-611" y="26889"/>
                  </a:cubicBezTo>
                  <a:cubicBezTo>
                    <a:pt x="-675" y="12017"/>
                    <a:pt x="11567" y="-98"/>
                    <a:pt x="26737" y="-174"/>
                  </a:cubicBezTo>
                  <a:cubicBezTo>
                    <a:pt x="26828" y="-174"/>
                    <a:pt x="26905" y="-174"/>
                    <a:pt x="26995" y="-174"/>
                  </a:cubicBezTo>
                  <a:cubicBezTo>
                    <a:pt x="42102" y="-174"/>
                    <a:pt x="54343" y="11827"/>
                    <a:pt x="54343" y="26635"/>
                  </a:cubicBezTo>
                </a:path>
              </a:pathLst>
            </a:custGeom>
            <a:grpFill/>
            <a:ln w="12889" cap="flat">
              <a:solidFill>
                <a:srgbClr val="000000"/>
              </a:solidFill>
              <a:prstDash val="solid"/>
              <a:miter/>
            </a:ln>
          </p:spPr>
          <p:txBody>
            <a:bodyPr rtlCol="0" anchor="ctr"/>
            <a:lstStyle/>
            <a:p>
              <a:pPr defTabSz="685511">
                <a:defRPr/>
              </a:pPr>
              <a:endParaRPr kumimoji="1" lang="en-US" sz="1400">
                <a:solidFill>
                  <a:srgbClr val="000000"/>
                </a:solidFill>
                <a:cs typeface="Calibri" panose="020F0502020204030204" pitchFamily="34" charset="0"/>
              </a:endParaRPr>
            </a:p>
          </p:txBody>
        </p:sp>
      </p:grpSp>
      <p:sp>
        <p:nvSpPr>
          <p:cNvPr id="46" name="Freeform: Shape 45">
            <a:extLst>
              <a:ext uri="{FF2B5EF4-FFF2-40B4-BE49-F238E27FC236}">
                <a16:creationId xmlns="" xmlns:a16="http://schemas.microsoft.com/office/drawing/2014/main" id="{6FA4EF34-AA0D-86E8-84EA-6C753F72721E}"/>
              </a:ext>
            </a:extLst>
          </p:cNvPr>
          <p:cNvSpPr/>
          <p:nvPr/>
        </p:nvSpPr>
        <p:spPr>
          <a:xfrm>
            <a:off x="7538890" y="2859581"/>
            <a:ext cx="41216" cy="40405"/>
          </a:xfrm>
          <a:custGeom>
            <a:avLst/>
            <a:gdLst>
              <a:gd name="connsiteX0" fmla="*/ 54343 w 54954"/>
              <a:gd name="connsiteY0" fmla="*/ 26762 h 53873"/>
              <a:gd name="connsiteX1" fmla="*/ 26866 w 54954"/>
              <a:gd name="connsiteY1" fmla="*/ 53699 h 53873"/>
              <a:gd name="connsiteX2" fmla="*/ -611 w 54954"/>
              <a:gd name="connsiteY2" fmla="*/ 26762 h 53873"/>
              <a:gd name="connsiteX3" fmla="*/ 26866 w 54954"/>
              <a:gd name="connsiteY3" fmla="*/ -174 h 53873"/>
              <a:gd name="connsiteX4" fmla="*/ 54343 w 54954"/>
              <a:gd name="connsiteY4" fmla="*/ 26510 h 53873"/>
              <a:gd name="connsiteX5" fmla="*/ 54343 w 54954"/>
              <a:gd name="connsiteY5" fmla="*/ 26762 h 53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954" h="53873">
                <a:moveTo>
                  <a:pt x="54343" y="26762"/>
                </a:moveTo>
                <a:cubicBezTo>
                  <a:pt x="54343" y="41634"/>
                  <a:pt x="42037" y="53699"/>
                  <a:pt x="26866" y="53699"/>
                </a:cubicBezTo>
                <a:cubicBezTo>
                  <a:pt x="11695" y="53699"/>
                  <a:pt x="-611" y="41634"/>
                  <a:pt x="-611" y="26762"/>
                </a:cubicBezTo>
                <a:cubicBezTo>
                  <a:pt x="-611" y="11891"/>
                  <a:pt x="11695" y="-174"/>
                  <a:pt x="26866" y="-174"/>
                </a:cubicBezTo>
                <a:cubicBezTo>
                  <a:pt x="41972" y="-250"/>
                  <a:pt x="54266" y="11701"/>
                  <a:pt x="54343" y="26510"/>
                </a:cubicBezTo>
                <a:cubicBezTo>
                  <a:pt x="54343" y="26598"/>
                  <a:pt x="54343" y="26674"/>
                  <a:pt x="54343" y="26762"/>
                </a:cubicBezTo>
              </a:path>
            </a:pathLst>
          </a:custGeom>
          <a:solidFill>
            <a:schemeClr val="accent1"/>
          </a:solidFill>
          <a:ln w="12889" cap="flat">
            <a:solidFill>
              <a:srgbClr val="000000"/>
            </a:solidFill>
            <a:prstDash val="solid"/>
            <a:miter/>
          </a:ln>
        </p:spPr>
        <p:txBody>
          <a:bodyPr lIns="68555" tIns="34289" rIns="68555" bIns="34289" rtlCol="0" anchor="ctr"/>
          <a:lstStyle/>
          <a:p>
            <a:pPr defTabSz="685511">
              <a:defRPr/>
            </a:pPr>
            <a:endParaRPr kumimoji="1" lang="en-US" sz="1400">
              <a:solidFill>
                <a:srgbClr val="000000"/>
              </a:solidFill>
              <a:cs typeface="Calibri" panose="020F0502020204030204" pitchFamily="34" charset="0"/>
            </a:endParaRPr>
          </a:p>
        </p:txBody>
      </p:sp>
      <p:grpSp>
        <p:nvGrpSpPr>
          <p:cNvPr id="47" name="Group 46">
            <a:extLst>
              <a:ext uri="{FF2B5EF4-FFF2-40B4-BE49-F238E27FC236}">
                <a16:creationId xmlns="" xmlns:a16="http://schemas.microsoft.com/office/drawing/2014/main" id="{B299C7B8-1A50-86DC-4594-486FF79508AB}"/>
              </a:ext>
            </a:extLst>
          </p:cNvPr>
          <p:cNvGrpSpPr/>
          <p:nvPr/>
        </p:nvGrpSpPr>
        <p:grpSpPr>
          <a:xfrm>
            <a:off x="7317041" y="2614277"/>
            <a:ext cx="209271" cy="40404"/>
            <a:chOff x="9888031" y="4790791"/>
            <a:chExt cx="279028" cy="53872"/>
          </a:xfrm>
          <a:solidFill>
            <a:schemeClr val="accent1"/>
          </a:solidFill>
        </p:grpSpPr>
        <p:sp>
          <p:nvSpPr>
            <p:cNvPr id="48" name="Freeform: Shape 47">
              <a:extLst>
                <a:ext uri="{FF2B5EF4-FFF2-40B4-BE49-F238E27FC236}">
                  <a16:creationId xmlns="" xmlns:a16="http://schemas.microsoft.com/office/drawing/2014/main" id="{998F9FB8-31DC-75F0-AD0A-83DC1B07A016}"/>
                </a:ext>
              </a:extLst>
            </p:cNvPr>
            <p:cNvSpPr/>
            <p:nvPr/>
          </p:nvSpPr>
          <p:spPr>
            <a:xfrm>
              <a:off x="9888031" y="4818360"/>
              <a:ext cx="186663" cy="12646"/>
            </a:xfrm>
            <a:custGeom>
              <a:avLst/>
              <a:gdLst>
                <a:gd name="connsiteX0" fmla="*/ 0 w 186663"/>
                <a:gd name="connsiteY0" fmla="*/ 0 h 12646"/>
                <a:gd name="connsiteX1" fmla="*/ 186663 w 186663"/>
                <a:gd name="connsiteY1" fmla="*/ 0 h 12646"/>
              </a:gdLst>
              <a:ahLst/>
              <a:cxnLst>
                <a:cxn ang="0">
                  <a:pos x="connsiteX0" y="connsiteY0"/>
                </a:cxn>
                <a:cxn ang="0">
                  <a:pos x="connsiteX1" y="connsiteY1"/>
                </a:cxn>
              </a:cxnLst>
              <a:rect l="l" t="t" r="r" b="b"/>
              <a:pathLst>
                <a:path w="186663" h="12646">
                  <a:moveTo>
                    <a:pt x="0" y="0"/>
                  </a:moveTo>
                  <a:lnTo>
                    <a:pt x="186663" y="0"/>
                  </a:lnTo>
                </a:path>
              </a:pathLst>
            </a:custGeom>
            <a:grpFill/>
            <a:ln w="12760" cap="flat">
              <a:solidFill>
                <a:srgbClr val="000000"/>
              </a:solidFill>
              <a:prstDash val="solid"/>
              <a:miter/>
            </a:ln>
          </p:spPr>
          <p:txBody>
            <a:bodyPr rtlCol="0" anchor="ctr"/>
            <a:lstStyle/>
            <a:p>
              <a:pPr defTabSz="685511">
                <a:defRPr/>
              </a:pPr>
              <a:endParaRPr kumimoji="1" lang="en-US" sz="1400">
                <a:solidFill>
                  <a:srgbClr val="000000"/>
                </a:solidFill>
                <a:cs typeface="Calibri" panose="020F0502020204030204" pitchFamily="34" charset="0"/>
              </a:endParaRPr>
            </a:p>
          </p:txBody>
        </p:sp>
        <p:sp>
          <p:nvSpPr>
            <p:cNvPr id="49" name="Freeform: Shape 48">
              <a:extLst>
                <a:ext uri="{FF2B5EF4-FFF2-40B4-BE49-F238E27FC236}">
                  <a16:creationId xmlns="" xmlns:a16="http://schemas.microsoft.com/office/drawing/2014/main" id="{3E5857DE-21AA-2AA0-6E99-DA2E8507FA96}"/>
                </a:ext>
              </a:extLst>
            </p:cNvPr>
            <p:cNvSpPr/>
            <p:nvPr/>
          </p:nvSpPr>
          <p:spPr>
            <a:xfrm>
              <a:off x="10074695" y="4818360"/>
              <a:ext cx="79464" cy="12646"/>
            </a:xfrm>
            <a:custGeom>
              <a:avLst/>
              <a:gdLst>
                <a:gd name="connsiteX0" fmla="*/ 0 w 79464"/>
                <a:gd name="connsiteY0" fmla="*/ 0 h 12646"/>
                <a:gd name="connsiteX1" fmla="*/ 79464 w 79464"/>
                <a:gd name="connsiteY1" fmla="*/ 0 h 12646"/>
              </a:gdLst>
              <a:ahLst/>
              <a:cxnLst>
                <a:cxn ang="0">
                  <a:pos x="connsiteX0" y="connsiteY0"/>
                </a:cxn>
                <a:cxn ang="0">
                  <a:pos x="connsiteX1" y="connsiteY1"/>
                </a:cxn>
              </a:cxnLst>
              <a:rect l="l" t="t" r="r" b="b"/>
              <a:pathLst>
                <a:path w="79464" h="12646">
                  <a:moveTo>
                    <a:pt x="0" y="0"/>
                  </a:moveTo>
                  <a:lnTo>
                    <a:pt x="79464" y="0"/>
                  </a:lnTo>
                </a:path>
              </a:pathLst>
            </a:custGeom>
            <a:grpFill/>
            <a:ln w="12760" cap="flat">
              <a:solidFill>
                <a:srgbClr val="000000"/>
              </a:solidFill>
              <a:prstDash val="solid"/>
              <a:miter/>
            </a:ln>
          </p:spPr>
          <p:txBody>
            <a:bodyPr rtlCol="0" anchor="ctr"/>
            <a:lstStyle/>
            <a:p>
              <a:pPr defTabSz="685511">
                <a:defRPr/>
              </a:pPr>
              <a:endParaRPr kumimoji="1" lang="en-US" sz="1400">
                <a:solidFill>
                  <a:srgbClr val="000000"/>
                </a:solidFill>
                <a:cs typeface="Calibri" panose="020F0502020204030204" pitchFamily="34" charset="0"/>
              </a:endParaRPr>
            </a:p>
          </p:txBody>
        </p:sp>
        <p:sp>
          <p:nvSpPr>
            <p:cNvPr id="50" name="Freeform: Shape 49">
              <a:extLst>
                <a:ext uri="{FF2B5EF4-FFF2-40B4-BE49-F238E27FC236}">
                  <a16:creationId xmlns="" xmlns:a16="http://schemas.microsoft.com/office/drawing/2014/main" id="{AB6C895D-D939-E0B5-1CA3-F5592F902D04}"/>
                </a:ext>
              </a:extLst>
            </p:cNvPr>
            <p:cNvSpPr/>
            <p:nvPr/>
          </p:nvSpPr>
          <p:spPr>
            <a:xfrm>
              <a:off x="9888031" y="4792562"/>
              <a:ext cx="12900" cy="50078"/>
            </a:xfrm>
            <a:custGeom>
              <a:avLst/>
              <a:gdLst>
                <a:gd name="connsiteX0" fmla="*/ 0 w 12900"/>
                <a:gd name="connsiteY0" fmla="*/ 0 h 50078"/>
                <a:gd name="connsiteX1" fmla="*/ 0 w 12900"/>
                <a:gd name="connsiteY1" fmla="*/ 50079 h 50078"/>
              </a:gdLst>
              <a:ahLst/>
              <a:cxnLst>
                <a:cxn ang="0">
                  <a:pos x="connsiteX0" y="connsiteY0"/>
                </a:cxn>
                <a:cxn ang="0">
                  <a:pos x="connsiteX1" y="connsiteY1"/>
                </a:cxn>
              </a:cxnLst>
              <a:rect l="l" t="t" r="r" b="b"/>
              <a:pathLst>
                <a:path w="12900" h="50078">
                  <a:moveTo>
                    <a:pt x="0" y="0"/>
                  </a:moveTo>
                  <a:lnTo>
                    <a:pt x="0" y="50079"/>
                  </a:lnTo>
                </a:path>
              </a:pathLst>
            </a:custGeom>
            <a:grpFill/>
            <a:ln w="12760" cap="flat">
              <a:solidFill>
                <a:srgbClr val="000000"/>
              </a:solidFill>
              <a:prstDash val="solid"/>
              <a:miter/>
            </a:ln>
          </p:spPr>
          <p:txBody>
            <a:bodyPr rtlCol="0" anchor="ctr"/>
            <a:lstStyle/>
            <a:p>
              <a:pPr defTabSz="685511">
                <a:defRPr/>
              </a:pPr>
              <a:endParaRPr kumimoji="1" lang="en-US" sz="1400">
                <a:solidFill>
                  <a:srgbClr val="000000"/>
                </a:solidFill>
                <a:cs typeface="Calibri" panose="020F0502020204030204" pitchFamily="34" charset="0"/>
              </a:endParaRPr>
            </a:p>
          </p:txBody>
        </p:sp>
        <p:sp>
          <p:nvSpPr>
            <p:cNvPr id="51" name="Freeform: Shape 50">
              <a:extLst>
                <a:ext uri="{FF2B5EF4-FFF2-40B4-BE49-F238E27FC236}">
                  <a16:creationId xmlns="" xmlns:a16="http://schemas.microsoft.com/office/drawing/2014/main" id="{E0719297-B40D-C21E-80CF-2F4F0EB5B84E}"/>
                </a:ext>
              </a:extLst>
            </p:cNvPr>
            <p:cNvSpPr/>
            <p:nvPr/>
          </p:nvSpPr>
          <p:spPr>
            <a:xfrm>
              <a:off x="10154159" y="4792562"/>
              <a:ext cx="12900" cy="50078"/>
            </a:xfrm>
            <a:custGeom>
              <a:avLst/>
              <a:gdLst>
                <a:gd name="connsiteX0" fmla="*/ 0 w 12900"/>
                <a:gd name="connsiteY0" fmla="*/ 0 h 50078"/>
                <a:gd name="connsiteX1" fmla="*/ 0 w 12900"/>
                <a:gd name="connsiteY1" fmla="*/ 50079 h 50078"/>
              </a:gdLst>
              <a:ahLst/>
              <a:cxnLst>
                <a:cxn ang="0">
                  <a:pos x="connsiteX0" y="connsiteY0"/>
                </a:cxn>
                <a:cxn ang="0">
                  <a:pos x="connsiteX1" y="connsiteY1"/>
                </a:cxn>
              </a:cxnLst>
              <a:rect l="l" t="t" r="r" b="b"/>
              <a:pathLst>
                <a:path w="12900" h="50078">
                  <a:moveTo>
                    <a:pt x="0" y="0"/>
                  </a:moveTo>
                  <a:lnTo>
                    <a:pt x="0" y="50079"/>
                  </a:lnTo>
                </a:path>
              </a:pathLst>
            </a:custGeom>
            <a:grpFill/>
            <a:ln w="12760" cap="flat">
              <a:solidFill>
                <a:srgbClr val="000000"/>
              </a:solidFill>
              <a:prstDash val="solid"/>
              <a:miter/>
            </a:ln>
          </p:spPr>
          <p:txBody>
            <a:bodyPr rtlCol="0" anchor="ctr"/>
            <a:lstStyle/>
            <a:p>
              <a:pPr defTabSz="685511">
                <a:defRPr/>
              </a:pPr>
              <a:endParaRPr kumimoji="1" lang="en-US" sz="1400">
                <a:solidFill>
                  <a:srgbClr val="000000"/>
                </a:solidFill>
                <a:cs typeface="Calibri" panose="020F0502020204030204" pitchFamily="34" charset="0"/>
              </a:endParaRPr>
            </a:p>
          </p:txBody>
        </p:sp>
        <p:sp>
          <p:nvSpPr>
            <p:cNvPr id="52" name="Freeform: Shape 51">
              <a:extLst>
                <a:ext uri="{FF2B5EF4-FFF2-40B4-BE49-F238E27FC236}">
                  <a16:creationId xmlns="" xmlns:a16="http://schemas.microsoft.com/office/drawing/2014/main" id="{A2BA2563-B0D7-2014-EBE8-E8CA7477906C}"/>
                </a:ext>
              </a:extLst>
            </p:cNvPr>
            <p:cNvSpPr/>
            <p:nvPr/>
          </p:nvSpPr>
          <p:spPr>
            <a:xfrm>
              <a:off x="10048249" y="4790791"/>
              <a:ext cx="54954" cy="53872"/>
            </a:xfrm>
            <a:custGeom>
              <a:avLst/>
              <a:gdLst>
                <a:gd name="connsiteX0" fmla="*/ 54343 w 54954"/>
                <a:gd name="connsiteY0" fmla="*/ 26636 h 53872"/>
                <a:gd name="connsiteX1" fmla="*/ 26995 w 54954"/>
                <a:gd name="connsiteY1" fmla="*/ 53698 h 53872"/>
                <a:gd name="connsiteX2" fmla="*/ -611 w 54954"/>
                <a:gd name="connsiteY2" fmla="*/ 26889 h 53872"/>
                <a:gd name="connsiteX3" fmla="*/ 26737 w 54954"/>
                <a:gd name="connsiteY3" fmla="*/ -174 h 53872"/>
                <a:gd name="connsiteX4" fmla="*/ 26995 w 54954"/>
                <a:gd name="connsiteY4" fmla="*/ -174 h 53872"/>
                <a:gd name="connsiteX5" fmla="*/ 54343 w 54954"/>
                <a:gd name="connsiteY5" fmla="*/ 26636 h 53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954" h="53872">
                  <a:moveTo>
                    <a:pt x="54343" y="26636"/>
                  </a:moveTo>
                  <a:cubicBezTo>
                    <a:pt x="54408" y="41508"/>
                    <a:pt x="42166" y="53622"/>
                    <a:pt x="26995" y="53698"/>
                  </a:cubicBezTo>
                  <a:cubicBezTo>
                    <a:pt x="11825" y="53762"/>
                    <a:pt x="-534" y="41760"/>
                    <a:pt x="-611" y="26889"/>
                  </a:cubicBezTo>
                  <a:cubicBezTo>
                    <a:pt x="-675" y="12017"/>
                    <a:pt x="11567" y="-98"/>
                    <a:pt x="26737" y="-174"/>
                  </a:cubicBezTo>
                  <a:cubicBezTo>
                    <a:pt x="26828" y="-174"/>
                    <a:pt x="26905" y="-174"/>
                    <a:pt x="26995" y="-174"/>
                  </a:cubicBezTo>
                  <a:cubicBezTo>
                    <a:pt x="42102" y="-174"/>
                    <a:pt x="54343" y="11827"/>
                    <a:pt x="54343" y="26636"/>
                  </a:cubicBezTo>
                </a:path>
              </a:pathLst>
            </a:custGeom>
            <a:grpFill/>
            <a:ln w="12889" cap="flat">
              <a:solidFill>
                <a:srgbClr val="000000"/>
              </a:solidFill>
              <a:prstDash val="solid"/>
              <a:miter/>
            </a:ln>
          </p:spPr>
          <p:txBody>
            <a:bodyPr rtlCol="0" anchor="ctr"/>
            <a:lstStyle/>
            <a:p>
              <a:pPr defTabSz="685511">
                <a:defRPr/>
              </a:pPr>
              <a:endParaRPr kumimoji="1" lang="en-US" sz="1400">
                <a:solidFill>
                  <a:srgbClr val="000000"/>
                </a:solidFill>
                <a:cs typeface="Calibri" panose="020F0502020204030204" pitchFamily="34" charset="0"/>
              </a:endParaRPr>
            </a:p>
          </p:txBody>
        </p:sp>
      </p:grpSp>
      <p:grpSp>
        <p:nvGrpSpPr>
          <p:cNvPr id="53" name="Group 52">
            <a:extLst>
              <a:ext uri="{FF2B5EF4-FFF2-40B4-BE49-F238E27FC236}">
                <a16:creationId xmlns="" xmlns:a16="http://schemas.microsoft.com/office/drawing/2014/main" id="{D179F7C0-6C3D-6C8F-84EF-34A1F2F1DE0C}"/>
              </a:ext>
            </a:extLst>
          </p:cNvPr>
          <p:cNvGrpSpPr/>
          <p:nvPr/>
        </p:nvGrpSpPr>
        <p:grpSpPr>
          <a:xfrm>
            <a:off x="7519362" y="2368984"/>
            <a:ext cx="44795" cy="40404"/>
            <a:chOff x="10157771" y="4630438"/>
            <a:chExt cx="59726" cy="53872"/>
          </a:xfrm>
          <a:solidFill>
            <a:schemeClr val="accent1"/>
          </a:solidFill>
        </p:grpSpPr>
        <p:sp>
          <p:nvSpPr>
            <p:cNvPr id="54" name="Freeform: Shape 53">
              <a:extLst>
                <a:ext uri="{FF2B5EF4-FFF2-40B4-BE49-F238E27FC236}">
                  <a16:creationId xmlns="" xmlns:a16="http://schemas.microsoft.com/office/drawing/2014/main" id="{7A8CF407-0765-06F4-F03C-C7F2C41426E3}"/>
                </a:ext>
              </a:extLst>
            </p:cNvPr>
            <p:cNvSpPr/>
            <p:nvPr/>
          </p:nvSpPr>
          <p:spPr>
            <a:xfrm>
              <a:off x="10157771" y="4657375"/>
              <a:ext cx="31476" cy="12646"/>
            </a:xfrm>
            <a:custGeom>
              <a:avLst/>
              <a:gdLst>
                <a:gd name="connsiteX0" fmla="*/ 0 w 31476"/>
                <a:gd name="connsiteY0" fmla="*/ 0 h 12646"/>
                <a:gd name="connsiteX1" fmla="*/ 31476 w 31476"/>
                <a:gd name="connsiteY1" fmla="*/ 0 h 12646"/>
              </a:gdLst>
              <a:ahLst/>
              <a:cxnLst>
                <a:cxn ang="0">
                  <a:pos x="connsiteX0" y="connsiteY0"/>
                </a:cxn>
                <a:cxn ang="0">
                  <a:pos x="connsiteX1" y="connsiteY1"/>
                </a:cxn>
              </a:cxnLst>
              <a:rect l="l" t="t" r="r" b="b"/>
              <a:pathLst>
                <a:path w="31476" h="12646">
                  <a:moveTo>
                    <a:pt x="0" y="0"/>
                  </a:moveTo>
                  <a:lnTo>
                    <a:pt x="31476" y="0"/>
                  </a:lnTo>
                </a:path>
              </a:pathLst>
            </a:custGeom>
            <a:grpFill/>
            <a:ln w="12760" cap="flat">
              <a:solidFill>
                <a:srgbClr val="000000"/>
              </a:solidFill>
              <a:prstDash val="solid"/>
              <a:miter/>
            </a:ln>
          </p:spPr>
          <p:txBody>
            <a:bodyPr rtlCol="0" anchor="ctr"/>
            <a:lstStyle/>
            <a:p>
              <a:pPr defTabSz="685511">
                <a:defRPr/>
              </a:pPr>
              <a:endParaRPr kumimoji="1" lang="en-US" sz="1400">
                <a:solidFill>
                  <a:srgbClr val="000000"/>
                </a:solidFill>
                <a:cs typeface="Calibri" panose="020F0502020204030204" pitchFamily="34" charset="0"/>
              </a:endParaRPr>
            </a:p>
          </p:txBody>
        </p:sp>
        <p:sp>
          <p:nvSpPr>
            <p:cNvPr id="55" name="Freeform: Shape 54">
              <a:extLst>
                <a:ext uri="{FF2B5EF4-FFF2-40B4-BE49-F238E27FC236}">
                  <a16:creationId xmlns="" xmlns:a16="http://schemas.microsoft.com/office/drawing/2014/main" id="{7AD5B79F-7EEB-A570-DF65-19CC78119AEA}"/>
                </a:ext>
              </a:extLst>
            </p:cNvPr>
            <p:cNvSpPr/>
            <p:nvPr/>
          </p:nvSpPr>
          <p:spPr>
            <a:xfrm>
              <a:off x="10157771" y="4632967"/>
              <a:ext cx="12900" cy="48687"/>
            </a:xfrm>
            <a:custGeom>
              <a:avLst/>
              <a:gdLst>
                <a:gd name="connsiteX0" fmla="*/ 0 w 12900"/>
                <a:gd name="connsiteY0" fmla="*/ 0 h 48687"/>
                <a:gd name="connsiteX1" fmla="*/ 0 w 12900"/>
                <a:gd name="connsiteY1" fmla="*/ 48688 h 48687"/>
              </a:gdLst>
              <a:ahLst/>
              <a:cxnLst>
                <a:cxn ang="0">
                  <a:pos x="connsiteX0" y="connsiteY0"/>
                </a:cxn>
                <a:cxn ang="0">
                  <a:pos x="connsiteX1" y="connsiteY1"/>
                </a:cxn>
              </a:cxnLst>
              <a:rect l="l" t="t" r="r" b="b"/>
              <a:pathLst>
                <a:path w="12900" h="48687">
                  <a:moveTo>
                    <a:pt x="0" y="0"/>
                  </a:moveTo>
                  <a:lnTo>
                    <a:pt x="0" y="48688"/>
                  </a:lnTo>
                </a:path>
              </a:pathLst>
            </a:custGeom>
            <a:grpFill/>
            <a:ln w="12760" cap="flat">
              <a:solidFill>
                <a:srgbClr val="000000"/>
              </a:solidFill>
              <a:prstDash val="solid"/>
              <a:miter/>
            </a:ln>
          </p:spPr>
          <p:txBody>
            <a:bodyPr rtlCol="0" anchor="ctr"/>
            <a:lstStyle/>
            <a:p>
              <a:pPr defTabSz="685511">
                <a:defRPr/>
              </a:pPr>
              <a:endParaRPr kumimoji="1" lang="en-US" sz="1400">
                <a:solidFill>
                  <a:srgbClr val="000000"/>
                </a:solidFill>
                <a:cs typeface="Calibri" panose="020F0502020204030204" pitchFamily="34" charset="0"/>
              </a:endParaRPr>
            </a:p>
          </p:txBody>
        </p:sp>
        <p:sp>
          <p:nvSpPr>
            <p:cNvPr id="56" name="Freeform: Shape 55">
              <a:extLst>
                <a:ext uri="{FF2B5EF4-FFF2-40B4-BE49-F238E27FC236}">
                  <a16:creationId xmlns="" xmlns:a16="http://schemas.microsoft.com/office/drawing/2014/main" id="{32105B97-C5CC-AF7E-2D1F-7662487590B3}"/>
                </a:ext>
              </a:extLst>
            </p:cNvPr>
            <p:cNvSpPr/>
            <p:nvPr/>
          </p:nvSpPr>
          <p:spPr>
            <a:xfrm>
              <a:off x="10162543" y="4630438"/>
              <a:ext cx="54954" cy="53872"/>
            </a:xfrm>
            <a:custGeom>
              <a:avLst/>
              <a:gdLst>
                <a:gd name="connsiteX0" fmla="*/ 54343 w 54954"/>
                <a:gd name="connsiteY0" fmla="*/ 26762 h 53872"/>
                <a:gd name="connsiteX1" fmla="*/ 26866 w 54954"/>
                <a:gd name="connsiteY1" fmla="*/ 53698 h 53872"/>
                <a:gd name="connsiteX2" fmla="*/ -611 w 54954"/>
                <a:gd name="connsiteY2" fmla="*/ 26762 h 53872"/>
                <a:gd name="connsiteX3" fmla="*/ 26866 w 54954"/>
                <a:gd name="connsiteY3" fmla="*/ -174 h 53872"/>
                <a:gd name="connsiteX4" fmla="*/ 26995 w 54954"/>
                <a:gd name="connsiteY4" fmla="*/ -174 h 53872"/>
                <a:gd name="connsiteX5" fmla="*/ 54343 w 54954"/>
                <a:gd name="connsiteY5" fmla="*/ 26635 h 53872"/>
                <a:gd name="connsiteX6" fmla="*/ 54343 w 54954"/>
                <a:gd name="connsiteY6" fmla="*/ 26762 h 53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954" h="53872">
                  <a:moveTo>
                    <a:pt x="54343" y="26762"/>
                  </a:moveTo>
                  <a:cubicBezTo>
                    <a:pt x="54343" y="41634"/>
                    <a:pt x="42037" y="53698"/>
                    <a:pt x="26866" y="53698"/>
                  </a:cubicBezTo>
                  <a:cubicBezTo>
                    <a:pt x="11696" y="53698"/>
                    <a:pt x="-611" y="41634"/>
                    <a:pt x="-611" y="26762"/>
                  </a:cubicBezTo>
                  <a:cubicBezTo>
                    <a:pt x="-611" y="11890"/>
                    <a:pt x="11696" y="-174"/>
                    <a:pt x="26866" y="-174"/>
                  </a:cubicBezTo>
                  <a:cubicBezTo>
                    <a:pt x="26905" y="-174"/>
                    <a:pt x="26957" y="-174"/>
                    <a:pt x="26995" y="-174"/>
                  </a:cubicBezTo>
                  <a:cubicBezTo>
                    <a:pt x="42101" y="-174"/>
                    <a:pt x="54343" y="11827"/>
                    <a:pt x="54343" y="26635"/>
                  </a:cubicBezTo>
                  <a:cubicBezTo>
                    <a:pt x="54343" y="26674"/>
                    <a:pt x="54343" y="26724"/>
                    <a:pt x="54343" y="26762"/>
                  </a:cubicBezTo>
                </a:path>
              </a:pathLst>
            </a:custGeom>
            <a:grpFill/>
            <a:ln w="12889" cap="flat">
              <a:solidFill>
                <a:srgbClr val="000000"/>
              </a:solidFill>
              <a:prstDash val="solid"/>
              <a:miter/>
            </a:ln>
          </p:spPr>
          <p:txBody>
            <a:bodyPr rtlCol="0" anchor="ctr"/>
            <a:lstStyle/>
            <a:p>
              <a:pPr defTabSz="685511">
                <a:defRPr/>
              </a:pPr>
              <a:endParaRPr kumimoji="1" lang="en-US" sz="1400">
                <a:solidFill>
                  <a:srgbClr val="000000"/>
                </a:solidFill>
                <a:cs typeface="Calibri" panose="020F0502020204030204" pitchFamily="34" charset="0"/>
              </a:endParaRPr>
            </a:p>
          </p:txBody>
        </p:sp>
      </p:grpSp>
      <p:grpSp>
        <p:nvGrpSpPr>
          <p:cNvPr id="57" name="Group 56">
            <a:extLst>
              <a:ext uri="{FF2B5EF4-FFF2-40B4-BE49-F238E27FC236}">
                <a16:creationId xmlns="" xmlns:a16="http://schemas.microsoft.com/office/drawing/2014/main" id="{5B3B65AA-7B77-2C9C-5E21-755C7111DB94}"/>
              </a:ext>
            </a:extLst>
          </p:cNvPr>
          <p:cNvGrpSpPr/>
          <p:nvPr/>
        </p:nvGrpSpPr>
        <p:grpSpPr>
          <a:xfrm>
            <a:off x="7312879" y="2123691"/>
            <a:ext cx="185664" cy="40404"/>
            <a:chOff x="9882484" y="4493986"/>
            <a:chExt cx="247552" cy="53872"/>
          </a:xfrm>
          <a:solidFill>
            <a:schemeClr val="accent1"/>
          </a:solidFill>
        </p:grpSpPr>
        <p:sp>
          <p:nvSpPr>
            <p:cNvPr id="58" name="Freeform: Shape 57">
              <a:extLst>
                <a:ext uri="{FF2B5EF4-FFF2-40B4-BE49-F238E27FC236}">
                  <a16:creationId xmlns="" xmlns:a16="http://schemas.microsoft.com/office/drawing/2014/main" id="{75049F57-DC5E-2780-7357-B6FC1BF2BB65}"/>
                </a:ext>
              </a:extLst>
            </p:cNvPr>
            <p:cNvSpPr/>
            <p:nvPr/>
          </p:nvSpPr>
          <p:spPr>
            <a:xfrm>
              <a:off x="9882484" y="4521555"/>
              <a:ext cx="155187" cy="12646"/>
            </a:xfrm>
            <a:custGeom>
              <a:avLst/>
              <a:gdLst>
                <a:gd name="connsiteX0" fmla="*/ 0 w 155187"/>
                <a:gd name="connsiteY0" fmla="*/ 0 h 12646"/>
                <a:gd name="connsiteX1" fmla="*/ 155187 w 155187"/>
                <a:gd name="connsiteY1" fmla="*/ 0 h 12646"/>
              </a:gdLst>
              <a:ahLst/>
              <a:cxnLst>
                <a:cxn ang="0">
                  <a:pos x="connsiteX0" y="connsiteY0"/>
                </a:cxn>
                <a:cxn ang="0">
                  <a:pos x="connsiteX1" y="connsiteY1"/>
                </a:cxn>
              </a:cxnLst>
              <a:rect l="l" t="t" r="r" b="b"/>
              <a:pathLst>
                <a:path w="155187" h="12646">
                  <a:moveTo>
                    <a:pt x="0" y="0"/>
                  </a:moveTo>
                  <a:lnTo>
                    <a:pt x="155187" y="0"/>
                  </a:lnTo>
                </a:path>
              </a:pathLst>
            </a:custGeom>
            <a:grpFill/>
            <a:ln w="12760" cap="flat">
              <a:solidFill>
                <a:srgbClr val="000000"/>
              </a:solidFill>
              <a:prstDash val="solid"/>
              <a:miter/>
            </a:ln>
          </p:spPr>
          <p:txBody>
            <a:bodyPr rtlCol="0" anchor="ctr"/>
            <a:lstStyle/>
            <a:p>
              <a:pPr defTabSz="685511">
                <a:defRPr/>
              </a:pPr>
              <a:endParaRPr kumimoji="1" lang="en-US" sz="1400">
                <a:solidFill>
                  <a:srgbClr val="000000"/>
                </a:solidFill>
                <a:cs typeface="Calibri" panose="020F0502020204030204" pitchFamily="34" charset="0"/>
              </a:endParaRPr>
            </a:p>
          </p:txBody>
        </p:sp>
        <p:sp>
          <p:nvSpPr>
            <p:cNvPr id="59" name="Freeform: Shape 58">
              <a:extLst>
                <a:ext uri="{FF2B5EF4-FFF2-40B4-BE49-F238E27FC236}">
                  <a16:creationId xmlns="" xmlns:a16="http://schemas.microsoft.com/office/drawing/2014/main" id="{103908E5-2C34-E33A-F97E-69E020788461}"/>
                </a:ext>
              </a:extLst>
            </p:cNvPr>
            <p:cNvSpPr/>
            <p:nvPr/>
          </p:nvSpPr>
          <p:spPr>
            <a:xfrm>
              <a:off x="10037671" y="4521555"/>
              <a:ext cx="79464" cy="12646"/>
            </a:xfrm>
            <a:custGeom>
              <a:avLst/>
              <a:gdLst>
                <a:gd name="connsiteX0" fmla="*/ 0 w 79464"/>
                <a:gd name="connsiteY0" fmla="*/ 0 h 12646"/>
                <a:gd name="connsiteX1" fmla="*/ 79464 w 79464"/>
                <a:gd name="connsiteY1" fmla="*/ 0 h 12646"/>
              </a:gdLst>
              <a:ahLst/>
              <a:cxnLst>
                <a:cxn ang="0">
                  <a:pos x="connsiteX0" y="connsiteY0"/>
                </a:cxn>
                <a:cxn ang="0">
                  <a:pos x="connsiteX1" y="connsiteY1"/>
                </a:cxn>
              </a:cxnLst>
              <a:rect l="l" t="t" r="r" b="b"/>
              <a:pathLst>
                <a:path w="79464" h="12646">
                  <a:moveTo>
                    <a:pt x="0" y="0"/>
                  </a:moveTo>
                  <a:lnTo>
                    <a:pt x="79464" y="0"/>
                  </a:lnTo>
                </a:path>
              </a:pathLst>
            </a:custGeom>
            <a:grpFill/>
            <a:ln w="12760" cap="flat">
              <a:solidFill>
                <a:srgbClr val="000000"/>
              </a:solidFill>
              <a:prstDash val="solid"/>
              <a:miter/>
            </a:ln>
          </p:spPr>
          <p:txBody>
            <a:bodyPr rtlCol="0" anchor="ctr"/>
            <a:lstStyle/>
            <a:p>
              <a:pPr defTabSz="685511">
                <a:defRPr/>
              </a:pPr>
              <a:endParaRPr kumimoji="1" lang="en-US" sz="1400">
                <a:solidFill>
                  <a:srgbClr val="000000"/>
                </a:solidFill>
                <a:cs typeface="Calibri" panose="020F0502020204030204" pitchFamily="34" charset="0"/>
              </a:endParaRPr>
            </a:p>
          </p:txBody>
        </p:sp>
        <p:sp>
          <p:nvSpPr>
            <p:cNvPr id="60" name="Freeform: Shape 59">
              <a:extLst>
                <a:ext uri="{FF2B5EF4-FFF2-40B4-BE49-F238E27FC236}">
                  <a16:creationId xmlns="" xmlns:a16="http://schemas.microsoft.com/office/drawing/2014/main" id="{21B71CE4-0E28-6FD8-377A-AABE5970E54A}"/>
                </a:ext>
              </a:extLst>
            </p:cNvPr>
            <p:cNvSpPr/>
            <p:nvPr/>
          </p:nvSpPr>
          <p:spPr>
            <a:xfrm>
              <a:off x="9882484" y="4495757"/>
              <a:ext cx="12900" cy="50205"/>
            </a:xfrm>
            <a:custGeom>
              <a:avLst/>
              <a:gdLst>
                <a:gd name="connsiteX0" fmla="*/ 0 w 12900"/>
                <a:gd name="connsiteY0" fmla="*/ 0 h 50205"/>
                <a:gd name="connsiteX1" fmla="*/ 0 w 12900"/>
                <a:gd name="connsiteY1" fmla="*/ 50205 h 50205"/>
              </a:gdLst>
              <a:ahLst/>
              <a:cxnLst>
                <a:cxn ang="0">
                  <a:pos x="connsiteX0" y="connsiteY0"/>
                </a:cxn>
                <a:cxn ang="0">
                  <a:pos x="connsiteX1" y="connsiteY1"/>
                </a:cxn>
              </a:cxnLst>
              <a:rect l="l" t="t" r="r" b="b"/>
              <a:pathLst>
                <a:path w="12900" h="50205">
                  <a:moveTo>
                    <a:pt x="0" y="0"/>
                  </a:moveTo>
                  <a:lnTo>
                    <a:pt x="0" y="50205"/>
                  </a:lnTo>
                </a:path>
              </a:pathLst>
            </a:custGeom>
            <a:grpFill/>
            <a:ln w="12760" cap="flat">
              <a:solidFill>
                <a:srgbClr val="000000"/>
              </a:solidFill>
              <a:prstDash val="solid"/>
              <a:miter/>
            </a:ln>
          </p:spPr>
          <p:txBody>
            <a:bodyPr rtlCol="0" anchor="ctr"/>
            <a:lstStyle/>
            <a:p>
              <a:pPr defTabSz="685511">
                <a:defRPr/>
              </a:pPr>
              <a:endParaRPr kumimoji="1" lang="en-US" sz="1400">
                <a:solidFill>
                  <a:srgbClr val="000000"/>
                </a:solidFill>
                <a:cs typeface="Calibri" panose="020F0502020204030204" pitchFamily="34" charset="0"/>
              </a:endParaRPr>
            </a:p>
          </p:txBody>
        </p:sp>
        <p:sp>
          <p:nvSpPr>
            <p:cNvPr id="61" name="Freeform: Shape 60">
              <a:extLst>
                <a:ext uri="{FF2B5EF4-FFF2-40B4-BE49-F238E27FC236}">
                  <a16:creationId xmlns="" xmlns:a16="http://schemas.microsoft.com/office/drawing/2014/main" id="{8EDB9E44-1866-48EC-651F-CC61A7441BD3}"/>
                </a:ext>
              </a:extLst>
            </p:cNvPr>
            <p:cNvSpPr/>
            <p:nvPr/>
          </p:nvSpPr>
          <p:spPr>
            <a:xfrm>
              <a:off x="10117136" y="4495757"/>
              <a:ext cx="12900" cy="50205"/>
            </a:xfrm>
            <a:custGeom>
              <a:avLst/>
              <a:gdLst>
                <a:gd name="connsiteX0" fmla="*/ 0 w 12900"/>
                <a:gd name="connsiteY0" fmla="*/ 0 h 50205"/>
                <a:gd name="connsiteX1" fmla="*/ 0 w 12900"/>
                <a:gd name="connsiteY1" fmla="*/ 50205 h 50205"/>
              </a:gdLst>
              <a:ahLst/>
              <a:cxnLst>
                <a:cxn ang="0">
                  <a:pos x="connsiteX0" y="connsiteY0"/>
                </a:cxn>
                <a:cxn ang="0">
                  <a:pos x="connsiteX1" y="connsiteY1"/>
                </a:cxn>
              </a:cxnLst>
              <a:rect l="l" t="t" r="r" b="b"/>
              <a:pathLst>
                <a:path w="12900" h="50205">
                  <a:moveTo>
                    <a:pt x="0" y="0"/>
                  </a:moveTo>
                  <a:lnTo>
                    <a:pt x="0" y="50205"/>
                  </a:lnTo>
                </a:path>
              </a:pathLst>
            </a:custGeom>
            <a:grpFill/>
            <a:ln w="12760" cap="flat">
              <a:solidFill>
                <a:srgbClr val="000000"/>
              </a:solidFill>
              <a:prstDash val="solid"/>
              <a:miter/>
            </a:ln>
          </p:spPr>
          <p:txBody>
            <a:bodyPr rtlCol="0" anchor="ctr"/>
            <a:lstStyle/>
            <a:p>
              <a:pPr defTabSz="685511">
                <a:defRPr/>
              </a:pPr>
              <a:endParaRPr kumimoji="1" lang="en-US" sz="1400">
                <a:solidFill>
                  <a:srgbClr val="000000"/>
                </a:solidFill>
                <a:cs typeface="Calibri" panose="020F0502020204030204" pitchFamily="34" charset="0"/>
              </a:endParaRPr>
            </a:p>
          </p:txBody>
        </p:sp>
        <p:sp>
          <p:nvSpPr>
            <p:cNvPr id="62" name="Freeform: Shape 61">
              <a:extLst>
                <a:ext uri="{FF2B5EF4-FFF2-40B4-BE49-F238E27FC236}">
                  <a16:creationId xmlns="" xmlns:a16="http://schemas.microsoft.com/office/drawing/2014/main" id="{DBF4F751-FB28-3327-F4BF-9EC88784BA7B}"/>
                </a:ext>
              </a:extLst>
            </p:cNvPr>
            <p:cNvSpPr/>
            <p:nvPr/>
          </p:nvSpPr>
          <p:spPr>
            <a:xfrm>
              <a:off x="10009549" y="4493986"/>
              <a:ext cx="54954" cy="53872"/>
            </a:xfrm>
            <a:custGeom>
              <a:avLst/>
              <a:gdLst>
                <a:gd name="connsiteX0" fmla="*/ 54343 w 54954"/>
                <a:gd name="connsiteY0" fmla="*/ 26762 h 53872"/>
                <a:gd name="connsiteX1" fmla="*/ 26866 w 54954"/>
                <a:gd name="connsiteY1" fmla="*/ 53698 h 53872"/>
                <a:gd name="connsiteX2" fmla="*/ -611 w 54954"/>
                <a:gd name="connsiteY2" fmla="*/ 26762 h 53872"/>
                <a:gd name="connsiteX3" fmla="*/ 26866 w 54954"/>
                <a:gd name="connsiteY3" fmla="*/ -174 h 53872"/>
                <a:gd name="connsiteX4" fmla="*/ 54343 w 54954"/>
                <a:gd name="connsiteY4" fmla="*/ 26762 h 538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954" h="53872">
                  <a:moveTo>
                    <a:pt x="54343" y="26762"/>
                  </a:moveTo>
                  <a:cubicBezTo>
                    <a:pt x="54343" y="41634"/>
                    <a:pt x="42037" y="53698"/>
                    <a:pt x="26866" y="53698"/>
                  </a:cubicBezTo>
                  <a:cubicBezTo>
                    <a:pt x="11695" y="53698"/>
                    <a:pt x="-611" y="41634"/>
                    <a:pt x="-611" y="26762"/>
                  </a:cubicBezTo>
                  <a:cubicBezTo>
                    <a:pt x="-611" y="11890"/>
                    <a:pt x="11695" y="-174"/>
                    <a:pt x="26866" y="-174"/>
                  </a:cubicBezTo>
                  <a:cubicBezTo>
                    <a:pt x="42037" y="-174"/>
                    <a:pt x="54343" y="11890"/>
                    <a:pt x="54343" y="26762"/>
                  </a:cubicBezTo>
                </a:path>
              </a:pathLst>
            </a:custGeom>
            <a:grpFill/>
            <a:ln w="12889" cap="flat">
              <a:solidFill>
                <a:srgbClr val="000000"/>
              </a:solidFill>
              <a:prstDash val="solid"/>
              <a:miter/>
            </a:ln>
          </p:spPr>
          <p:txBody>
            <a:bodyPr rtlCol="0" anchor="ctr"/>
            <a:lstStyle/>
            <a:p>
              <a:pPr defTabSz="685511">
                <a:defRPr/>
              </a:pPr>
              <a:endParaRPr kumimoji="1" lang="en-US" sz="1400">
                <a:solidFill>
                  <a:srgbClr val="000000"/>
                </a:solidFill>
                <a:cs typeface="Calibri" panose="020F0502020204030204" pitchFamily="34" charset="0"/>
              </a:endParaRPr>
            </a:p>
          </p:txBody>
        </p:sp>
      </p:grpSp>
      <p:grpSp>
        <p:nvGrpSpPr>
          <p:cNvPr id="63" name="Group 62">
            <a:extLst>
              <a:ext uri="{FF2B5EF4-FFF2-40B4-BE49-F238E27FC236}">
                <a16:creationId xmlns="" xmlns:a16="http://schemas.microsoft.com/office/drawing/2014/main" id="{02B5E232-C8DF-D1F1-0355-7992B06CBE72}"/>
              </a:ext>
            </a:extLst>
          </p:cNvPr>
          <p:cNvGrpSpPr/>
          <p:nvPr/>
        </p:nvGrpSpPr>
        <p:grpSpPr>
          <a:xfrm>
            <a:off x="7475035" y="1878398"/>
            <a:ext cx="56792" cy="40404"/>
            <a:chOff x="10098689" y="4345647"/>
            <a:chExt cx="75723" cy="53872"/>
          </a:xfrm>
          <a:solidFill>
            <a:schemeClr val="accent1"/>
          </a:solidFill>
        </p:grpSpPr>
        <p:sp>
          <p:nvSpPr>
            <p:cNvPr id="64" name="Freeform: Shape 63">
              <a:extLst>
                <a:ext uri="{FF2B5EF4-FFF2-40B4-BE49-F238E27FC236}">
                  <a16:creationId xmlns="" xmlns:a16="http://schemas.microsoft.com/office/drawing/2014/main" id="{1668573D-1FE1-7DA2-B07A-407BC11C9194}"/>
                </a:ext>
              </a:extLst>
            </p:cNvPr>
            <p:cNvSpPr/>
            <p:nvPr/>
          </p:nvSpPr>
          <p:spPr>
            <a:xfrm>
              <a:off x="10098689" y="4373215"/>
              <a:ext cx="38829" cy="12646"/>
            </a:xfrm>
            <a:custGeom>
              <a:avLst/>
              <a:gdLst>
                <a:gd name="connsiteX0" fmla="*/ 0 w 38829"/>
                <a:gd name="connsiteY0" fmla="*/ 0 h 12646"/>
                <a:gd name="connsiteX1" fmla="*/ 38829 w 38829"/>
                <a:gd name="connsiteY1" fmla="*/ 0 h 12646"/>
              </a:gdLst>
              <a:ahLst/>
              <a:cxnLst>
                <a:cxn ang="0">
                  <a:pos x="connsiteX0" y="connsiteY0"/>
                </a:cxn>
                <a:cxn ang="0">
                  <a:pos x="connsiteX1" y="connsiteY1"/>
                </a:cxn>
              </a:cxnLst>
              <a:rect l="l" t="t" r="r" b="b"/>
              <a:pathLst>
                <a:path w="38829" h="12646">
                  <a:moveTo>
                    <a:pt x="0" y="0"/>
                  </a:moveTo>
                  <a:lnTo>
                    <a:pt x="38829" y="0"/>
                  </a:lnTo>
                </a:path>
              </a:pathLst>
            </a:custGeom>
            <a:grpFill/>
            <a:ln w="12760" cap="flat">
              <a:solidFill>
                <a:srgbClr val="000000"/>
              </a:solidFill>
              <a:prstDash val="solid"/>
              <a:miter/>
            </a:ln>
          </p:spPr>
          <p:txBody>
            <a:bodyPr rtlCol="0" anchor="ctr"/>
            <a:lstStyle/>
            <a:p>
              <a:pPr defTabSz="685511">
                <a:defRPr/>
              </a:pPr>
              <a:endParaRPr kumimoji="1" lang="en-US" sz="1400">
                <a:solidFill>
                  <a:srgbClr val="000000"/>
                </a:solidFill>
                <a:cs typeface="Calibri" panose="020F0502020204030204" pitchFamily="34" charset="0"/>
              </a:endParaRPr>
            </a:p>
          </p:txBody>
        </p:sp>
        <p:sp>
          <p:nvSpPr>
            <p:cNvPr id="65" name="Freeform: Shape 64">
              <a:extLst>
                <a:ext uri="{FF2B5EF4-FFF2-40B4-BE49-F238E27FC236}">
                  <a16:creationId xmlns="" xmlns:a16="http://schemas.microsoft.com/office/drawing/2014/main" id="{6246CAF5-472F-A923-6736-50F1C68488D3}"/>
                </a:ext>
              </a:extLst>
            </p:cNvPr>
            <p:cNvSpPr/>
            <p:nvPr/>
          </p:nvSpPr>
          <p:spPr>
            <a:xfrm>
              <a:off x="10137518" y="4373215"/>
              <a:ext cx="23994" cy="12646"/>
            </a:xfrm>
            <a:custGeom>
              <a:avLst/>
              <a:gdLst>
                <a:gd name="connsiteX0" fmla="*/ 0 w 23994"/>
                <a:gd name="connsiteY0" fmla="*/ 0 h 12646"/>
                <a:gd name="connsiteX1" fmla="*/ 23994 w 23994"/>
                <a:gd name="connsiteY1" fmla="*/ 0 h 12646"/>
              </a:gdLst>
              <a:ahLst/>
              <a:cxnLst>
                <a:cxn ang="0">
                  <a:pos x="connsiteX0" y="connsiteY0"/>
                </a:cxn>
                <a:cxn ang="0">
                  <a:pos x="connsiteX1" y="connsiteY1"/>
                </a:cxn>
              </a:cxnLst>
              <a:rect l="l" t="t" r="r" b="b"/>
              <a:pathLst>
                <a:path w="23994" h="12646">
                  <a:moveTo>
                    <a:pt x="0" y="0"/>
                  </a:moveTo>
                  <a:lnTo>
                    <a:pt x="23994" y="0"/>
                  </a:lnTo>
                </a:path>
              </a:pathLst>
            </a:custGeom>
            <a:grpFill/>
            <a:ln w="12760" cap="flat">
              <a:solidFill>
                <a:srgbClr val="000000"/>
              </a:solidFill>
              <a:prstDash val="solid"/>
              <a:miter/>
            </a:ln>
          </p:spPr>
          <p:txBody>
            <a:bodyPr rtlCol="0" anchor="ctr"/>
            <a:lstStyle/>
            <a:p>
              <a:pPr defTabSz="685511">
                <a:defRPr/>
              </a:pPr>
              <a:endParaRPr kumimoji="1" lang="en-US" sz="1400">
                <a:solidFill>
                  <a:srgbClr val="000000"/>
                </a:solidFill>
                <a:cs typeface="Calibri" panose="020F0502020204030204" pitchFamily="34" charset="0"/>
              </a:endParaRPr>
            </a:p>
          </p:txBody>
        </p:sp>
        <p:sp>
          <p:nvSpPr>
            <p:cNvPr id="66" name="Freeform: Shape 65">
              <a:extLst>
                <a:ext uri="{FF2B5EF4-FFF2-40B4-BE49-F238E27FC236}">
                  <a16:creationId xmlns="" xmlns:a16="http://schemas.microsoft.com/office/drawing/2014/main" id="{722B6737-37B8-DDD0-96ED-29EB3F232073}"/>
                </a:ext>
              </a:extLst>
            </p:cNvPr>
            <p:cNvSpPr/>
            <p:nvPr/>
          </p:nvSpPr>
          <p:spPr>
            <a:xfrm>
              <a:off x="10098689" y="4347417"/>
              <a:ext cx="12900" cy="50078"/>
            </a:xfrm>
            <a:custGeom>
              <a:avLst/>
              <a:gdLst>
                <a:gd name="connsiteX0" fmla="*/ 0 w 12900"/>
                <a:gd name="connsiteY0" fmla="*/ 0 h 50078"/>
                <a:gd name="connsiteX1" fmla="*/ 0 w 12900"/>
                <a:gd name="connsiteY1" fmla="*/ 50079 h 50078"/>
              </a:gdLst>
              <a:ahLst/>
              <a:cxnLst>
                <a:cxn ang="0">
                  <a:pos x="connsiteX0" y="connsiteY0"/>
                </a:cxn>
                <a:cxn ang="0">
                  <a:pos x="connsiteX1" y="connsiteY1"/>
                </a:cxn>
              </a:cxnLst>
              <a:rect l="l" t="t" r="r" b="b"/>
              <a:pathLst>
                <a:path w="12900" h="50078">
                  <a:moveTo>
                    <a:pt x="0" y="0"/>
                  </a:moveTo>
                  <a:lnTo>
                    <a:pt x="0" y="50079"/>
                  </a:lnTo>
                </a:path>
              </a:pathLst>
            </a:custGeom>
            <a:grpFill/>
            <a:ln w="12760" cap="flat">
              <a:solidFill>
                <a:srgbClr val="000000"/>
              </a:solidFill>
              <a:prstDash val="solid"/>
              <a:miter/>
            </a:ln>
          </p:spPr>
          <p:txBody>
            <a:bodyPr rtlCol="0" anchor="ctr"/>
            <a:lstStyle/>
            <a:p>
              <a:pPr defTabSz="685511">
                <a:defRPr/>
              </a:pPr>
              <a:endParaRPr kumimoji="1" lang="en-US" sz="1400">
                <a:solidFill>
                  <a:srgbClr val="000000"/>
                </a:solidFill>
                <a:cs typeface="Calibri" panose="020F0502020204030204" pitchFamily="34" charset="0"/>
              </a:endParaRPr>
            </a:p>
          </p:txBody>
        </p:sp>
        <p:sp>
          <p:nvSpPr>
            <p:cNvPr id="67" name="Freeform: Shape 66">
              <a:extLst>
                <a:ext uri="{FF2B5EF4-FFF2-40B4-BE49-F238E27FC236}">
                  <a16:creationId xmlns="" xmlns:a16="http://schemas.microsoft.com/office/drawing/2014/main" id="{5E143931-484B-BFC9-3EBC-B4E7AE98FE75}"/>
                </a:ext>
              </a:extLst>
            </p:cNvPr>
            <p:cNvSpPr/>
            <p:nvPr/>
          </p:nvSpPr>
          <p:spPr>
            <a:xfrm>
              <a:off x="10161512" y="4347417"/>
              <a:ext cx="12900" cy="50078"/>
            </a:xfrm>
            <a:custGeom>
              <a:avLst/>
              <a:gdLst>
                <a:gd name="connsiteX0" fmla="*/ 0 w 12900"/>
                <a:gd name="connsiteY0" fmla="*/ 0 h 50078"/>
                <a:gd name="connsiteX1" fmla="*/ 0 w 12900"/>
                <a:gd name="connsiteY1" fmla="*/ 50079 h 50078"/>
              </a:gdLst>
              <a:ahLst/>
              <a:cxnLst>
                <a:cxn ang="0">
                  <a:pos x="connsiteX0" y="connsiteY0"/>
                </a:cxn>
                <a:cxn ang="0">
                  <a:pos x="connsiteX1" y="connsiteY1"/>
                </a:cxn>
              </a:cxnLst>
              <a:rect l="l" t="t" r="r" b="b"/>
              <a:pathLst>
                <a:path w="12900" h="50078">
                  <a:moveTo>
                    <a:pt x="0" y="0"/>
                  </a:moveTo>
                  <a:lnTo>
                    <a:pt x="0" y="50079"/>
                  </a:lnTo>
                </a:path>
              </a:pathLst>
            </a:custGeom>
            <a:grpFill/>
            <a:ln w="12760" cap="flat">
              <a:solidFill>
                <a:srgbClr val="000000"/>
              </a:solidFill>
              <a:prstDash val="solid"/>
              <a:miter/>
            </a:ln>
          </p:spPr>
          <p:txBody>
            <a:bodyPr rtlCol="0" anchor="ctr"/>
            <a:lstStyle/>
            <a:p>
              <a:pPr defTabSz="685511">
                <a:defRPr/>
              </a:pPr>
              <a:endParaRPr kumimoji="1" lang="en-US" sz="1400">
                <a:solidFill>
                  <a:srgbClr val="000000"/>
                </a:solidFill>
                <a:cs typeface="Calibri" panose="020F0502020204030204" pitchFamily="34" charset="0"/>
              </a:endParaRPr>
            </a:p>
          </p:txBody>
        </p:sp>
        <p:sp>
          <p:nvSpPr>
            <p:cNvPr id="68" name="Freeform: Shape 67">
              <a:extLst>
                <a:ext uri="{FF2B5EF4-FFF2-40B4-BE49-F238E27FC236}">
                  <a16:creationId xmlns="" xmlns:a16="http://schemas.microsoft.com/office/drawing/2014/main" id="{56D0146B-894C-870C-141B-3D6096BA0B6B}"/>
                </a:ext>
              </a:extLst>
            </p:cNvPr>
            <p:cNvSpPr/>
            <p:nvPr/>
          </p:nvSpPr>
          <p:spPr>
            <a:xfrm>
              <a:off x="10109009" y="4345647"/>
              <a:ext cx="54954" cy="53872"/>
            </a:xfrm>
            <a:custGeom>
              <a:avLst/>
              <a:gdLst>
                <a:gd name="connsiteX0" fmla="*/ 54343 w 54954"/>
                <a:gd name="connsiteY0" fmla="*/ 26635 h 53872"/>
                <a:gd name="connsiteX1" fmla="*/ 26995 w 54954"/>
                <a:gd name="connsiteY1" fmla="*/ 53698 h 53872"/>
                <a:gd name="connsiteX2" fmla="*/ -611 w 54954"/>
                <a:gd name="connsiteY2" fmla="*/ 26888 h 53872"/>
                <a:gd name="connsiteX3" fmla="*/ 26737 w 54954"/>
                <a:gd name="connsiteY3" fmla="*/ -174 h 53872"/>
                <a:gd name="connsiteX4" fmla="*/ 26866 w 54954"/>
                <a:gd name="connsiteY4" fmla="*/ -174 h 53872"/>
                <a:gd name="connsiteX5" fmla="*/ 54343 w 54954"/>
                <a:gd name="connsiteY5" fmla="*/ 26635 h 53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954" h="53872">
                  <a:moveTo>
                    <a:pt x="54343" y="26635"/>
                  </a:moveTo>
                  <a:cubicBezTo>
                    <a:pt x="54421" y="41507"/>
                    <a:pt x="42165" y="53622"/>
                    <a:pt x="26995" y="53698"/>
                  </a:cubicBezTo>
                  <a:cubicBezTo>
                    <a:pt x="11825" y="53774"/>
                    <a:pt x="-534" y="41760"/>
                    <a:pt x="-611" y="26888"/>
                  </a:cubicBezTo>
                  <a:cubicBezTo>
                    <a:pt x="-675" y="12016"/>
                    <a:pt x="11566" y="-99"/>
                    <a:pt x="26737" y="-174"/>
                  </a:cubicBezTo>
                  <a:cubicBezTo>
                    <a:pt x="26776" y="-174"/>
                    <a:pt x="26828" y="-174"/>
                    <a:pt x="26866" y="-174"/>
                  </a:cubicBezTo>
                  <a:cubicBezTo>
                    <a:pt x="41998" y="-174"/>
                    <a:pt x="54279" y="11814"/>
                    <a:pt x="54343" y="26635"/>
                  </a:cubicBezTo>
                </a:path>
              </a:pathLst>
            </a:custGeom>
            <a:grpFill/>
            <a:ln w="12889" cap="flat">
              <a:solidFill>
                <a:srgbClr val="000000"/>
              </a:solidFill>
              <a:prstDash val="solid"/>
              <a:miter/>
            </a:ln>
          </p:spPr>
          <p:txBody>
            <a:bodyPr rtlCol="0" anchor="ctr"/>
            <a:lstStyle/>
            <a:p>
              <a:pPr defTabSz="685511">
                <a:defRPr/>
              </a:pPr>
              <a:endParaRPr kumimoji="1" lang="en-US" sz="1400">
                <a:solidFill>
                  <a:srgbClr val="000000"/>
                </a:solidFill>
                <a:cs typeface="Calibri" panose="020F0502020204030204" pitchFamily="34" charset="0"/>
              </a:endParaRPr>
            </a:p>
          </p:txBody>
        </p:sp>
      </p:grpSp>
      <p:grpSp>
        <p:nvGrpSpPr>
          <p:cNvPr id="69" name="Group 68">
            <a:extLst>
              <a:ext uri="{FF2B5EF4-FFF2-40B4-BE49-F238E27FC236}">
                <a16:creationId xmlns="" xmlns:a16="http://schemas.microsoft.com/office/drawing/2014/main" id="{657CF4BF-6917-F6B5-6CC4-A79BB4C315DB}"/>
              </a:ext>
            </a:extLst>
          </p:cNvPr>
          <p:cNvGrpSpPr/>
          <p:nvPr/>
        </p:nvGrpSpPr>
        <p:grpSpPr>
          <a:xfrm>
            <a:off x="7472228" y="1633106"/>
            <a:ext cx="52632" cy="40404"/>
            <a:chOff x="10094948" y="4176189"/>
            <a:chExt cx="70176" cy="53872"/>
          </a:xfrm>
          <a:solidFill>
            <a:schemeClr val="accent1"/>
          </a:solidFill>
        </p:grpSpPr>
        <p:sp>
          <p:nvSpPr>
            <p:cNvPr id="70" name="Freeform: Shape 69">
              <a:extLst>
                <a:ext uri="{FF2B5EF4-FFF2-40B4-BE49-F238E27FC236}">
                  <a16:creationId xmlns="" xmlns:a16="http://schemas.microsoft.com/office/drawing/2014/main" id="{B7B7A748-C77A-EC19-7830-E1A8EB284A3F}"/>
                </a:ext>
              </a:extLst>
            </p:cNvPr>
            <p:cNvSpPr/>
            <p:nvPr/>
          </p:nvSpPr>
          <p:spPr>
            <a:xfrm>
              <a:off x="10094948" y="4202998"/>
              <a:ext cx="33282" cy="12646"/>
            </a:xfrm>
            <a:custGeom>
              <a:avLst/>
              <a:gdLst>
                <a:gd name="connsiteX0" fmla="*/ 0 w 33282"/>
                <a:gd name="connsiteY0" fmla="*/ 0 h 12646"/>
                <a:gd name="connsiteX1" fmla="*/ 33282 w 33282"/>
                <a:gd name="connsiteY1" fmla="*/ 0 h 12646"/>
              </a:gdLst>
              <a:ahLst/>
              <a:cxnLst>
                <a:cxn ang="0">
                  <a:pos x="connsiteX0" y="connsiteY0"/>
                </a:cxn>
                <a:cxn ang="0">
                  <a:pos x="connsiteX1" y="connsiteY1"/>
                </a:cxn>
              </a:cxnLst>
              <a:rect l="l" t="t" r="r" b="b"/>
              <a:pathLst>
                <a:path w="33282" h="12646">
                  <a:moveTo>
                    <a:pt x="0" y="0"/>
                  </a:moveTo>
                  <a:lnTo>
                    <a:pt x="33282" y="0"/>
                  </a:lnTo>
                </a:path>
              </a:pathLst>
            </a:custGeom>
            <a:grpFill/>
            <a:ln w="12760" cap="flat">
              <a:solidFill>
                <a:srgbClr val="000000"/>
              </a:solidFill>
              <a:prstDash val="solid"/>
              <a:miter/>
            </a:ln>
          </p:spPr>
          <p:txBody>
            <a:bodyPr rtlCol="0" anchor="ctr"/>
            <a:lstStyle/>
            <a:p>
              <a:pPr defTabSz="685511">
                <a:defRPr/>
              </a:pPr>
              <a:endParaRPr kumimoji="1" lang="en-US" sz="1400">
                <a:solidFill>
                  <a:srgbClr val="000000"/>
                </a:solidFill>
                <a:cs typeface="Calibri" panose="020F0502020204030204" pitchFamily="34" charset="0"/>
              </a:endParaRPr>
            </a:p>
          </p:txBody>
        </p:sp>
        <p:sp>
          <p:nvSpPr>
            <p:cNvPr id="71" name="Freeform: Shape 70">
              <a:extLst>
                <a:ext uri="{FF2B5EF4-FFF2-40B4-BE49-F238E27FC236}">
                  <a16:creationId xmlns="" xmlns:a16="http://schemas.microsoft.com/office/drawing/2014/main" id="{74BB0FCB-C478-8899-98A0-7E8983369B79}"/>
                </a:ext>
              </a:extLst>
            </p:cNvPr>
            <p:cNvSpPr/>
            <p:nvPr/>
          </p:nvSpPr>
          <p:spPr>
            <a:xfrm>
              <a:off x="10128230" y="4202998"/>
              <a:ext cx="23994" cy="12646"/>
            </a:xfrm>
            <a:custGeom>
              <a:avLst/>
              <a:gdLst>
                <a:gd name="connsiteX0" fmla="*/ 0 w 23994"/>
                <a:gd name="connsiteY0" fmla="*/ 0 h 12646"/>
                <a:gd name="connsiteX1" fmla="*/ 23994 w 23994"/>
                <a:gd name="connsiteY1" fmla="*/ 0 h 12646"/>
              </a:gdLst>
              <a:ahLst/>
              <a:cxnLst>
                <a:cxn ang="0">
                  <a:pos x="connsiteX0" y="connsiteY0"/>
                </a:cxn>
                <a:cxn ang="0">
                  <a:pos x="connsiteX1" y="connsiteY1"/>
                </a:cxn>
              </a:cxnLst>
              <a:rect l="l" t="t" r="r" b="b"/>
              <a:pathLst>
                <a:path w="23994" h="12646">
                  <a:moveTo>
                    <a:pt x="0" y="0"/>
                  </a:moveTo>
                  <a:lnTo>
                    <a:pt x="23994" y="0"/>
                  </a:lnTo>
                </a:path>
              </a:pathLst>
            </a:custGeom>
            <a:grpFill/>
            <a:ln w="12760" cap="flat">
              <a:solidFill>
                <a:srgbClr val="000000"/>
              </a:solidFill>
              <a:prstDash val="solid"/>
              <a:miter/>
            </a:ln>
          </p:spPr>
          <p:txBody>
            <a:bodyPr rtlCol="0" anchor="ctr"/>
            <a:lstStyle/>
            <a:p>
              <a:pPr defTabSz="685511">
                <a:defRPr/>
              </a:pPr>
              <a:endParaRPr kumimoji="1" lang="en-US" sz="1400">
                <a:solidFill>
                  <a:srgbClr val="000000"/>
                </a:solidFill>
                <a:cs typeface="Calibri" panose="020F0502020204030204" pitchFamily="34" charset="0"/>
              </a:endParaRPr>
            </a:p>
          </p:txBody>
        </p:sp>
        <p:sp>
          <p:nvSpPr>
            <p:cNvPr id="72" name="Freeform: Shape 71">
              <a:extLst>
                <a:ext uri="{FF2B5EF4-FFF2-40B4-BE49-F238E27FC236}">
                  <a16:creationId xmlns="" xmlns:a16="http://schemas.microsoft.com/office/drawing/2014/main" id="{460663D4-0A23-AE77-F1A4-CDBF87EE238F}"/>
                </a:ext>
              </a:extLst>
            </p:cNvPr>
            <p:cNvSpPr/>
            <p:nvPr/>
          </p:nvSpPr>
          <p:spPr>
            <a:xfrm>
              <a:off x="10094948" y="4178718"/>
              <a:ext cx="12900" cy="48687"/>
            </a:xfrm>
            <a:custGeom>
              <a:avLst/>
              <a:gdLst>
                <a:gd name="connsiteX0" fmla="*/ 0 w 12900"/>
                <a:gd name="connsiteY0" fmla="*/ 0 h 48687"/>
                <a:gd name="connsiteX1" fmla="*/ 0 w 12900"/>
                <a:gd name="connsiteY1" fmla="*/ 48688 h 48687"/>
              </a:gdLst>
              <a:ahLst/>
              <a:cxnLst>
                <a:cxn ang="0">
                  <a:pos x="connsiteX0" y="connsiteY0"/>
                </a:cxn>
                <a:cxn ang="0">
                  <a:pos x="connsiteX1" y="connsiteY1"/>
                </a:cxn>
              </a:cxnLst>
              <a:rect l="l" t="t" r="r" b="b"/>
              <a:pathLst>
                <a:path w="12900" h="48687">
                  <a:moveTo>
                    <a:pt x="0" y="0"/>
                  </a:moveTo>
                  <a:lnTo>
                    <a:pt x="0" y="48688"/>
                  </a:lnTo>
                </a:path>
              </a:pathLst>
            </a:custGeom>
            <a:grpFill/>
            <a:ln w="12760" cap="flat">
              <a:solidFill>
                <a:srgbClr val="000000"/>
              </a:solidFill>
              <a:prstDash val="solid"/>
              <a:miter/>
            </a:ln>
          </p:spPr>
          <p:txBody>
            <a:bodyPr rtlCol="0" anchor="ctr"/>
            <a:lstStyle/>
            <a:p>
              <a:pPr defTabSz="685511">
                <a:defRPr/>
              </a:pPr>
              <a:endParaRPr kumimoji="1" lang="en-US" sz="1400">
                <a:solidFill>
                  <a:srgbClr val="000000"/>
                </a:solidFill>
                <a:cs typeface="Calibri" panose="020F0502020204030204" pitchFamily="34" charset="0"/>
              </a:endParaRPr>
            </a:p>
          </p:txBody>
        </p:sp>
        <p:sp>
          <p:nvSpPr>
            <p:cNvPr id="73" name="Freeform: Shape 72">
              <a:extLst>
                <a:ext uri="{FF2B5EF4-FFF2-40B4-BE49-F238E27FC236}">
                  <a16:creationId xmlns="" xmlns:a16="http://schemas.microsoft.com/office/drawing/2014/main" id="{CC12CCB5-C220-595A-DDB9-DCA93B81999A}"/>
                </a:ext>
              </a:extLst>
            </p:cNvPr>
            <p:cNvSpPr/>
            <p:nvPr/>
          </p:nvSpPr>
          <p:spPr>
            <a:xfrm>
              <a:off x="10152224" y="4178718"/>
              <a:ext cx="12900" cy="48687"/>
            </a:xfrm>
            <a:custGeom>
              <a:avLst/>
              <a:gdLst>
                <a:gd name="connsiteX0" fmla="*/ 0 w 12900"/>
                <a:gd name="connsiteY0" fmla="*/ 0 h 48687"/>
                <a:gd name="connsiteX1" fmla="*/ 0 w 12900"/>
                <a:gd name="connsiteY1" fmla="*/ 48688 h 48687"/>
              </a:gdLst>
              <a:ahLst/>
              <a:cxnLst>
                <a:cxn ang="0">
                  <a:pos x="connsiteX0" y="connsiteY0"/>
                </a:cxn>
                <a:cxn ang="0">
                  <a:pos x="connsiteX1" y="connsiteY1"/>
                </a:cxn>
              </a:cxnLst>
              <a:rect l="l" t="t" r="r" b="b"/>
              <a:pathLst>
                <a:path w="12900" h="48687">
                  <a:moveTo>
                    <a:pt x="0" y="0"/>
                  </a:moveTo>
                  <a:lnTo>
                    <a:pt x="0" y="48688"/>
                  </a:lnTo>
                </a:path>
              </a:pathLst>
            </a:custGeom>
            <a:grpFill/>
            <a:ln w="12760" cap="flat">
              <a:solidFill>
                <a:srgbClr val="000000"/>
              </a:solidFill>
              <a:prstDash val="solid"/>
              <a:miter/>
            </a:ln>
          </p:spPr>
          <p:txBody>
            <a:bodyPr rtlCol="0" anchor="ctr"/>
            <a:lstStyle/>
            <a:p>
              <a:pPr defTabSz="685511">
                <a:defRPr/>
              </a:pPr>
              <a:endParaRPr kumimoji="1" lang="en-US" sz="1400">
                <a:solidFill>
                  <a:srgbClr val="000000"/>
                </a:solidFill>
                <a:cs typeface="Calibri" panose="020F0502020204030204" pitchFamily="34" charset="0"/>
              </a:endParaRPr>
            </a:p>
          </p:txBody>
        </p:sp>
        <p:sp>
          <p:nvSpPr>
            <p:cNvPr id="74" name="Freeform: Shape 73">
              <a:extLst>
                <a:ext uri="{FF2B5EF4-FFF2-40B4-BE49-F238E27FC236}">
                  <a16:creationId xmlns="" xmlns:a16="http://schemas.microsoft.com/office/drawing/2014/main" id="{C7223348-6124-9F8B-B758-5EC158F1944B}"/>
                </a:ext>
              </a:extLst>
            </p:cNvPr>
            <p:cNvSpPr/>
            <p:nvPr/>
          </p:nvSpPr>
          <p:spPr>
            <a:xfrm>
              <a:off x="10100623" y="4176189"/>
              <a:ext cx="54954" cy="53872"/>
            </a:xfrm>
            <a:custGeom>
              <a:avLst/>
              <a:gdLst>
                <a:gd name="connsiteX0" fmla="*/ 54343 w 54954"/>
                <a:gd name="connsiteY0" fmla="*/ 26635 h 53872"/>
                <a:gd name="connsiteX1" fmla="*/ 26995 w 54954"/>
                <a:gd name="connsiteY1" fmla="*/ 53698 h 53872"/>
                <a:gd name="connsiteX2" fmla="*/ -611 w 54954"/>
                <a:gd name="connsiteY2" fmla="*/ 26888 h 53872"/>
                <a:gd name="connsiteX3" fmla="*/ 26737 w 54954"/>
                <a:gd name="connsiteY3" fmla="*/ -174 h 53872"/>
                <a:gd name="connsiteX4" fmla="*/ 26995 w 54954"/>
                <a:gd name="connsiteY4" fmla="*/ -174 h 53872"/>
                <a:gd name="connsiteX5" fmla="*/ 54343 w 54954"/>
                <a:gd name="connsiteY5" fmla="*/ 26635 h 53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954" h="53872">
                  <a:moveTo>
                    <a:pt x="54343" y="26635"/>
                  </a:moveTo>
                  <a:cubicBezTo>
                    <a:pt x="54408" y="41507"/>
                    <a:pt x="42166" y="53622"/>
                    <a:pt x="26995" y="53698"/>
                  </a:cubicBezTo>
                  <a:cubicBezTo>
                    <a:pt x="11825" y="53761"/>
                    <a:pt x="-533" y="41760"/>
                    <a:pt x="-611" y="26888"/>
                  </a:cubicBezTo>
                  <a:cubicBezTo>
                    <a:pt x="-675" y="12016"/>
                    <a:pt x="11567" y="-99"/>
                    <a:pt x="26737" y="-174"/>
                  </a:cubicBezTo>
                  <a:cubicBezTo>
                    <a:pt x="26828" y="-174"/>
                    <a:pt x="26905" y="-174"/>
                    <a:pt x="26995" y="-174"/>
                  </a:cubicBezTo>
                  <a:cubicBezTo>
                    <a:pt x="42102" y="-174"/>
                    <a:pt x="54343" y="11827"/>
                    <a:pt x="54343" y="26635"/>
                  </a:cubicBezTo>
                </a:path>
              </a:pathLst>
            </a:custGeom>
            <a:grpFill/>
            <a:ln w="12889" cap="flat">
              <a:solidFill>
                <a:srgbClr val="000000"/>
              </a:solidFill>
              <a:prstDash val="solid"/>
              <a:miter/>
            </a:ln>
          </p:spPr>
          <p:txBody>
            <a:bodyPr rtlCol="0" anchor="ctr"/>
            <a:lstStyle/>
            <a:p>
              <a:pPr defTabSz="685511">
                <a:defRPr/>
              </a:pPr>
              <a:endParaRPr kumimoji="1" lang="en-US" sz="1400">
                <a:solidFill>
                  <a:srgbClr val="000000"/>
                </a:solidFill>
                <a:cs typeface="Calibri" panose="020F0502020204030204" pitchFamily="34" charset="0"/>
              </a:endParaRPr>
            </a:p>
          </p:txBody>
        </p:sp>
      </p:grpSp>
      <p:grpSp>
        <p:nvGrpSpPr>
          <p:cNvPr id="75" name="Group 74">
            <a:extLst>
              <a:ext uri="{FF2B5EF4-FFF2-40B4-BE49-F238E27FC236}">
                <a16:creationId xmlns="" xmlns:a16="http://schemas.microsoft.com/office/drawing/2014/main" id="{D07F0821-5B68-AEA9-4796-DB24D9D6BCEE}"/>
              </a:ext>
            </a:extLst>
          </p:cNvPr>
          <p:cNvGrpSpPr/>
          <p:nvPr/>
        </p:nvGrpSpPr>
        <p:grpSpPr>
          <a:xfrm>
            <a:off x="5845583" y="3840743"/>
            <a:ext cx="1517237" cy="55509"/>
            <a:chOff x="7926066" y="5539121"/>
            <a:chExt cx="2022982" cy="74012"/>
          </a:xfrm>
          <a:solidFill>
            <a:schemeClr val="accent1"/>
          </a:solidFill>
        </p:grpSpPr>
        <p:sp>
          <p:nvSpPr>
            <p:cNvPr id="76" name="Freeform: Shape 75">
              <a:extLst>
                <a:ext uri="{FF2B5EF4-FFF2-40B4-BE49-F238E27FC236}">
                  <a16:creationId xmlns="" xmlns:a16="http://schemas.microsoft.com/office/drawing/2014/main" id="{ADE973A5-86C9-346D-686A-120F89BCF274}"/>
                </a:ext>
              </a:extLst>
            </p:cNvPr>
            <p:cNvSpPr/>
            <p:nvPr/>
          </p:nvSpPr>
          <p:spPr>
            <a:xfrm>
              <a:off x="7926066" y="5567898"/>
              <a:ext cx="1295033" cy="12646"/>
            </a:xfrm>
            <a:custGeom>
              <a:avLst/>
              <a:gdLst>
                <a:gd name="connsiteX0" fmla="*/ 1295034 w 1295033"/>
                <a:gd name="connsiteY0" fmla="*/ 0 h 12646"/>
                <a:gd name="connsiteX1" fmla="*/ 0 w 1295033"/>
                <a:gd name="connsiteY1" fmla="*/ 0 h 12646"/>
              </a:gdLst>
              <a:ahLst/>
              <a:cxnLst>
                <a:cxn ang="0">
                  <a:pos x="connsiteX0" y="connsiteY0"/>
                </a:cxn>
                <a:cxn ang="0">
                  <a:pos x="connsiteX1" y="connsiteY1"/>
                </a:cxn>
              </a:cxnLst>
              <a:rect l="l" t="t" r="r" b="b"/>
              <a:pathLst>
                <a:path w="1295033" h="12646">
                  <a:moveTo>
                    <a:pt x="1295034" y="0"/>
                  </a:moveTo>
                  <a:lnTo>
                    <a:pt x="0" y="0"/>
                  </a:lnTo>
                </a:path>
              </a:pathLst>
            </a:custGeom>
            <a:grpFill/>
            <a:ln w="12760" cap="flat">
              <a:solidFill>
                <a:srgbClr val="000000"/>
              </a:solidFill>
              <a:prstDash val="solid"/>
              <a:miter/>
            </a:ln>
          </p:spPr>
          <p:txBody>
            <a:bodyPr rtlCol="0" anchor="ctr"/>
            <a:lstStyle/>
            <a:p>
              <a:pPr defTabSz="685511">
                <a:defRPr/>
              </a:pPr>
              <a:endParaRPr kumimoji="1" lang="en-US" sz="1400">
                <a:solidFill>
                  <a:srgbClr val="000000"/>
                </a:solidFill>
                <a:cs typeface="Calibri" panose="020F0502020204030204" pitchFamily="34" charset="0"/>
              </a:endParaRPr>
            </a:p>
          </p:txBody>
        </p:sp>
        <p:sp>
          <p:nvSpPr>
            <p:cNvPr id="77" name="Freeform: Shape 76">
              <a:extLst>
                <a:ext uri="{FF2B5EF4-FFF2-40B4-BE49-F238E27FC236}">
                  <a16:creationId xmlns="" xmlns:a16="http://schemas.microsoft.com/office/drawing/2014/main" id="{C3C2A508-8799-B626-1126-DE27ACC71F0E}"/>
                </a:ext>
              </a:extLst>
            </p:cNvPr>
            <p:cNvSpPr/>
            <p:nvPr/>
          </p:nvSpPr>
          <p:spPr>
            <a:xfrm>
              <a:off x="7926066" y="5543617"/>
              <a:ext cx="12900" cy="50078"/>
            </a:xfrm>
            <a:custGeom>
              <a:avLst/>
              <a:gdLst>
                <a:gd name="connsiteX0" fmla="*/ 0 w 12900"/>
                <a:gd name="connsiteY0" fmla="*/ 0 h 50078"/>
                <a:gd name="connsiteX1" fmla="*/ 0 w 12900"/>
                <a:gd name="connsiteY1" fmla="*/ 50079 h 50078"/>
              </a:gdLst>
              <a:ahLst/>
              <a:cxnLst>
                <a:cxn ang="0">
                  <a:pos x="connsiteX0" y="connsiteY0"/>
                </a:cxn>
                <a:cxn ang="0">
                  <a:pos x="connsiteX1" y="connsiteY1"/>
                </a:cxn>
              </a:cxnLst>
              <a:rect l="l" t="t" r="r" b="b"/>
              <a:pathLst>
                <a:path w="12900" h="50078">
                  <a:moveTo>
                    <a:pt x="0" y="0"/>
                  </a:moveTo>
                  <a:lnTo>
                    <a:pt x="0" y="50079"/>
                  </a:lnTo>
                </a:path>
              </a:pathLst>
            </a:custGeom>
            <a:grpFill/>
            <a:ln w="12760" cap="flat">
              <a:solidFill>
                <a:srgbClr val="000000"/>
              </a:solidFill>
              <a:prstDash val="solid"/>
              <a:miter/>
            </a:ln>
          </p:spPr>
          <p:txBody>
            <a:bodyPr rtlCol="0" anchor="ctr"/>
            <a:lstStyle/>
            <a:p>
              <a:pPr defTabSz="685511">
                <a:defRPr/>
              </a:pPr>
              <a:endParaRPr kumimoji="1" lang="en-US" sz="1400">
                <a:solidFill>
                  <a:srgbClr val="000000"/>
                </a:solidFill>
                <a:cs typeface="Calibri" panose="020F0502020204030204" pitchFamily="34" charset="0"/>
              </a:endParaRPr>
            </a:p>
          </p:txBody>
        </p:sp>
        <p:sp>
          <p:nvSpPr>
            <p:cNvPr id="78" name="Freeform: Shape 77">
              <a:extLst>
                <a:ext uri="{FF2B5EF4-FFF2-40B4-BE49-F238E27FC236}">
                  <a16:creationId xmlns="" xmlns:a16="http://schemas.microsoft.com/office/drawing/2014/main" id="{348815FB-8732-837F-1CB5-24B8E51C08A7}"/>
                </a:ext>
              </a:extLst>
            </p:cNvPr>
            <p:cNvSpPr/>
            <p:nvPr/>
          </p:nvSpPr>
          <p:spPr>
            <a:xfrm>
              <a:off x="9221100" y="5567898"/>
              <a:ext cx="715048" cy="12646"/>
            </a:xfrm>
            <a:custGeom>
              <a:avLst/>
              <a:gdLst>
                <a:gd name="connsiteX0" fmla="*/ 715049 w 715048"/>
                <a:gd name="connsiteY0" fmla="*/ 0 h 12646"/>
                <a:gd name="connsiteX1" fmla="*/ 0 w 715048"/>
                <a:gd name="connsiteY1" fmla="*/ 0 h 12646"/>
              </a:gdLst>
              <a:ahLst/>
              <a:cxnLst>
                <a:cxn ang="0">
                  <a:pos x="connsiteX0" y="connsiteY0"/>
                </a:cxn>
                <a:cxn ang="0">
                  <a:pos x="connsiteX1" y="connsiteY1"/>
                </a:cxn>
              </a:cxnLst>
              <a:rect l="l" t="t" r="r" b="b"/>
              <a:pathLst>
                <a:path w="715048" h="12646">
                  <a:moveTo>
                    <a:pt x="715049" y="0"/>
                  </a:moveTo>
                  <a:lnTo>
                    <a:pt x="0" y="0"/>
                  </a:lnTo>
                </a:path>
              </a:pathLst>
            </a:custGeom>
            <a:grpFill/>
            <a:ln w="12760" cap="flat">
              <a:solidFill>
                <a:srgbClr val="000000"/>
              </a:solidFill>
              <a:prstDash val="solid"/>
              <a:miter/>
            </a:ln>
          </p:spPr>
          <p:txBody>
            <a:bodyPr rtlCol="0" anchor="ctr"/>
            <a:lstStyle/>
            <a:p>
              <a:pPr defTabSz="685511">
                <a:defRPr/>
              </a:pPr>
              <a:endParaRPr kumimoji="1" lang="en-US" sz="1400">
                <a:solidFill>
                  <a:srgbClr val="000000"/>
                </a:solidFill>
                <a:cs typeface="Calibri" panose="020F0502020204030204" pitchFamily="34" charset="0"/>
              </a:endParaRPr>
            </a:p>
          </p:txBody>
        </p:sp>
        <p:sp>
          <p:nvSpPr>
            <p:cNvPr id="79" name="Freeform: Shape 78">
              <a:extLst>
                <a:ext uri="{FF2B5EF4-FFF2-40B4-BE49-F238E27FC236}">
                  <a16:creationId xmlns="" xmlns:a16="http://schemas.microsoft.com/office/drawing/2014/main" id="{3EC49B3B-A6A3-8637-9CD7-9DE62EF20388}"/>
                </a:ext>
              </a:extLst>
            </p:cNvPr>
            <p:cNvSpPr/>
            <p:nvPr/>
          </p:nvSpPr>
          <p:spPr>
            <a:xfrm>
              <a:off x="7926066" y="5567898"/>
              <a:ext cx="1295033" cy="12646"/>
            </a:xfrm>
            <a:custGeom>
              <a:avLst/>
              <a:gdLst>
                <a:gd name="connsiteX0" fmla="*/ 1295034 w 1295033"/>
                <a:gd name="connsiteY0" fmla="*/ 0 h 12646"/>
                <a:gd name="connsiteX1" fmla="*/ 0 w 1295033"/>
                <a:gd name="connsiteY1" fmla="*/ 0 h 12646"/>
              </a:gdLst>
              <a:ahLst/>
              <a:cxnLst>
                <a:cxn ang="0">
                  <a:pos x="connsiteX0" y="connsiteY0"/>
                </a:cxn>
                <a:cxn ang="0">
                  <a:pos x="connsiteX1" y="connsiteY1"/>
                </a:cxn>
              </a:cxnLst>
              <a:rect l="l" t="t" r="r" b="b"/>
              <a:pathLst>
                <a:path w="1295033" h="12646">
                  <a:moveTo>
                    <a:pt x="1295034" y="0"/>
                  </a:moveTo>
                  <a:lnTo>
                    <a:pt x="0" y="0"/>
                  </a:lnTo>
                </a:path>
              </a:pathLst>
            </a:custGeom>
            <a:grpFill/>
            <a:ln w="12760" cap="flat">
              <a:solidFill>
                <a:srgbClr val="000000"/>
              </a:solidFill>
              <a:prstDash val="solid"/>
              <a:miter/>
            </a:ln>
          </p:spPr>
          <p:txBody>
            <a:bodyPr rtlCol="0" anchor="ctr"/>
            <a:lstStyle/>
            <a:p>
              <a:pPr defTabSz="685511">
                <a:defRPr/>
              </a:pPr>
              <a:endParaRPr kumimoji="1" lang="en-US" sz="1400">
                <a:solidFill>
                  <a:srgbClr val="000000"/>
                </a:solidFill>
                <a:cs typeface="Calibri" panose="020F0502020204030204" pitchFamily="34" charset="0"/>
              </a:endParaRPr>
            </a:p>
          </p:txBody>
        </p:sp>
        <p:sp>
          <p:nvSpPr>
            <p:cNvPr id="80" name="Freeform: Shape 79">
              <a:extLst>
                <a:ext uri="{FF2B5EF4-FFF2-40B4-BE49-F238E27FC236}">
                  <a16:creationId xmlns="" xmlns:a16="http://schemas.microsoft.com/office/drawing/2014/main" id="{D5423D9E-B59C-AEFE-5313-2C8E330D5F37}"/>
                </a:ext>
              </a:extLst>
            </p:cNvPr>
            <p:cNvSpPr/>
            <p:nvPr/>
          </p:nvSpPr>
          <p:spPr>
            <a:xfrm>
              <a:off x="9936148" y="5543617"/>
              <a:ext cx="12900" cy="50078"/>
            </a:xfrm>
            <a:custGeom>
              <a:avLst/>
              <a:gdLst>
                <a:gd name="connsiteX0" fmla="*/ 0 w 12900"/>
                <a:gd name="connsiteY0" fmla="*/ 0 h 50078"/>
                <a:gd name="connsiteX1" fmla="*/ 0 w 12900"/>
                <a:gd name="connsiteY1" fmla="*/ 50079 h 50078"/>
              </a:gdLst>
              <a:ahLst/>
              <a:cxnLst>
                <a:cxn ang="0">
                  <a:pos x="connsiteX0" y="connsiteY0"/>
                </a:cxn>
                <a:cxn ang="0">
                  <a:pos x="connsiteX1" y="connsiteY1"/>
                </a:cxn>
              </a:cxnLst>
              <a:rect l="l" t="t" r="r" b="b"/>
              <a:pathLst>
                <a:path w="12900" h="50078">
                  <a:moveTo>
                    <a:pt x="0" y="0"/>
                  </a:moveTo>
                  <a:lnTo>
                    <a:pt x="0" y="50079"/>
                  </a:lnTo>
                </a:path>
              </a:pathLst>
            </a:custGeom>
            <a:grpFill/>
            <a:ln w="12760" cap="flat">
              <a:solidFill>
                <a:srgbClr val="000000"/>
              </a:solidFill>
              <a:prstDash val="solid"/>
              <a:miter/>
            </a:ln>
          </p:spPr>
          <p:txBody>
            <a:bodyPr rtlCol="0" anchor="ctr"/>
            <a:lstStyle/>
            <a:p>
              <a:pPr defTabSz="685511">
                <a:defRPr/>
              </a:pPr>
              <a:endParaRPr kumimoji="1" lang="en-US" sz="1400">
                <a:solidFill>
                  <a:srgbClr val="000000"/>
                </a:solidFill>
                <a:cs typeface="Calibri" panose="020F0502020204030204" pitchFamily="34" charset="0"/>
              </a:endParaRPr>
            </a:p>
          </p:txBody>
        </p:sp>
        <p:sp>
          <p:nvSpPr>
            <p:cNvPr id="81" name="Freeform: Shape 80">
              <a:extLst>
                <a:ext uri="{FF2B5EF4-FFF2-40B4-BE49-F238E27FC236}">
                  <a16:creationId xmlns="" xmlns:a16="http://schemas.microsoft.com/office/drawing/2014/main" id="{95CFB925-E782-B50F-8C39-CC4617C1D2EC}"/>
                </a:ext>
              </a:extLst>
            </p:cNvPr>
            <p:cNvSpPr/>
            <p:nvPr/>
          </p:nvSpPr>
          <p:spPr>
            <a:xfrm>
              <a:off x="9194525" y="5541847"/>
              <a:ext cx="54954" cy="53873"/>
            </a:xfrm>
            <a:custGeom>
              <a:avLst/>
              <a:gdLst>
                <a:gd name="connsiteX0" fmla="*/ 54343 w 54954"/>
                <a:gd name="connsiteY0" fmla="*/ 26635 h 53873"/>
                <a:gd name="connsiteX1" fmla="*/ 26995 w 54954"/>
                <a:gd name="connsiteY1" fmla="*/ 53698 h 53873"/>
                <a:gd name="connsiteX2" fmla="*/ -611 w 54954"/>
                <a:gd name="connsiteY2" fmla="*/ 26888 h 53873"/>
                <a:gd name="connsiteX3" fmla="*/ 26737 w 54954"/>
                <a:gd name="connsiteY3" fmla="*/ -174 h 53873"/>
                <a:gd name="connsiteX4" fmla="*/ 26866 w 54954"/>
                <a:gd name="connsiteY4" fmla="*/ -174 h 53873"/>
                <a:gd name="connsiteX5" fmla="*/ 54343 w 54954"/>
                <a:gd name="connsiteY5" fmla="*/ 26635 h 53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954" h="53873">
                  <a:moveTo>
                    <a:pt x="54343" y="26635"/>
                  </a:moveTo>
                  <a:cubicBezTo>
                    <a:pt x="54421" y="41507"/>
                    <a:pt x="42165" y="53622"/>
                    <a:pt x="26995" y="53698"/>
                  </a:cubicBezTo>
                  <a:cubicBezTo>
                    <a:pt x="11825" y="53774"/>
                    <a:pt x="-534" y="41760"/>
                    <a:pt x="-611" y="26888"/>
                  </a:cubicBezTo>
                  <a:cubicBezTo>
                    <a:pt x="-675" y="12016"/>
                    <a:pt x="11567" y="-98"/>
                    <a:pt x="26737" y="-174"/>
                  </a:cubicBezTo>
                  <a:cubicBezTo>
                    <a:pt x="26776" y="-174"/>
                    <a:pt x="26828" y="-174"/>
                    <a:pt x="26866" y="-174"/>
                  </a:cubicBezTo>
                  <a:cubicBezTo>
                    <a:pt x="41985" y="-174"/>
                    <a:pt x="54279" y="11814"/>
                    <a:pt x="54343" y="26635"/>
                  </a:cubicBezTo>
                </a:path>
              </a:pathLst>
            </a:custGeom>
            <a:grpFill/>
            <a:ln w="12889" cap="flat">
              <a:solidFill>
                <a:srgbClr val="000000"/>
              </a:solidFill>
              <a:prstDash val="solid"/>
              <a:miter/>
            </a:ln>
          </p:spPr>
          <p:txBody>
            <a:bodyPr rtlCol="0" anchor="ctr"/>
            <a:lstStyle/>
            <a:p>
              <a:pPr defTabSz="685511">
                <a:defRPr/>
              </a:pPr>
              <a:endParaRPr kumimoji="1" lang="en-US" sz="1400">
                <a:solidFill>
                  <a:srgbClr val="000000"/>
                </a:solidFill>
                <a:cs typeface="Calibri" panose="020F0502020204030204" pitchFamily="34" charset="0"/>
              </a:endParaRPr>
            </a:p>
          </p:txBody>
        </p:sp>
        <p:sp>
          <p:nvSpPr>
            <p:cNvPr id="82" name="Freeform: Shape 81">
              <a:extLst>
                <a:ext uri="{FF2B5EF4-FFF2-40B4-BE49-F238E27FC236}">
                  <a16:creationId xmlns="" xmlns:a16="http://schemas.microsoft.com/office/drawing/2014/main" id="{56786617-2419-A947-B1E5-8A62C5AE6F80}"/>
                </a:ext>
              </a:extLst>
            </p:cNvPr>
            <p:cNvSpPr/>
            <p:nvPr/>
          </p:nvSpPr>
          <p:spPr>
            <a:xfrm>
              <a:off x="8008626" y="5539121"/>
              <a:ext cx="99717" cy="74012"/>
            </a:xfrm>
            <a:custGeom>
              <a:avLst/>
              <a:gdLst>
                <a:gd name="connsiteX0" fmla="*/ 0 w 99717"/>
                <a:gd name="connsiteY0" fmla="*/ 0 h 2120001"/>
                <a:gd name="connsiteX1" fmla="*/ 99717 w 99717"/>
                <a:gd name="connsiteY1" fmla="*/ 0 h 2120001"/>
                <a:gd name="connsiteX2" fmla="*/ 99717 w 99717"/>
                <a:gd name="connsiteY2" fmla="*/ 2120001 h 2120001"/>
                <a:gd name="connsiteX3" fmla="*/ 0 w 99717"/>
                <a:gd name="connsiteY3" fmla="*/ 2120001 h 2120001"/>
              </a:gdLst>
              <a:ahLst/>
              <a:cxnLst>
                <a:cxn ang="0">
                  <a:pos x="connsiteX0" y="connsiteY0"/>
                </a:cxn>
                <a:cxn ang="0">
                  <a:pos x="connsiteX1" y="connsiteY1"/>
                </a:cxn>
                <a:cxn ang="0">
                  <a:pos x="connsiteX2" y="connsiteY2"/>
                </a:cxn>
                <a:cxn ang="0">
                  <a:pos x="connsiteX3" y="connsiteY3"/>
                </a:cxn>
              </a:cxnLst>
              <a:rect l="l" t="t" r="r" b="b"/>
              <a:pathLst>
                <a:path w="99717" h="2120001">
                  <a:moveTo>
                    <a:pt x="0" y="0"/>
                  </a:moveTo>
                  <a:lnTo>
                    <a:pt x="99717" y="0"/>
                  </a:lnTo>
                  <a:lnTo>
                    <a:pt x="99717" y="2120001"/>
                  </a:lnTo>
                  <a:lnTo>
                    <a:pt x="0" y="2120001"/>
                  </a:lnTo>
                  <a:close/>
                </a:path>
              </a:pathLst>
            </a:custGeom>
            <a:solidFill>
              <a:schemeClr val="bg1"/>
            </a:solidFill>
            <a:ln w="12889" cap="flat">
              <a:noFill/>
              <a:prstDash val="solid"/>
              <a:miter/>
            </a:ln>
          </p:spPr>
          <p:txBody>
            <a:bodyPr rtlCol="0" anchor="ctr"/>
            <a:lstStyle/>
            <a:p>
              <a:pPr defTabSz="685511">
                <a:defRPr/>
              </a:pPr>
              <a:endParaRPr kumimoji="1" lang="en-US" sz="1400">
                <a:solidFill>
                  <a:srgbClr val="000000"/>
                </a:solidFill>
                <a:cs typeface="Calibri" panose="020F0502020204030204" pitchFamily="34" charset="0"/>
              </a:endParaRPr>
            </a:p>
          </p:txBody>
        </p:sp>
      </p:grpSp>
      <p:sp>
        <p:nvSpPr>
          <p:cNvPr id="83" name="TextBox 82">
            <a:extLst>
              <a:ext uri="{FF2B5EF4-FFF2-40B4-BE49-F238E27FC236}">
                <a16:creationId xmlns="" xmlns:a16="http://schemas.microsoft.com/office/drawing/2014/main" id="{4D75F830-C79A-5B4F-7248-A0D6199DE292}"/>
              </a:ext>
            </a:extLst>
          </p:cNvPr>
          <p:cNvSpPr txBox="1"/>
          <p:nvPr/>
        </p:nvSpPr>
        <p:spPr>
          <a:xfrm>
            <a:off x="5409735" y="4244309"/>
            <a:ext cx="292085" cy="161583"/>
          </a:xfrm>
          <a:prstGeom prst="rect">
            <a:avLst/>
          </a:prstGeom>
          <a:noFill/>
          <a:ln>
            <a:noFill/>
          </a:ln>
        </p:spPr>
        <p:txBody>
          <a:bodyPr wrap="square" lIns="0" tIns="34289" rIns="0" bIns="34289">
            <a:spAutoFit/>
          </a:bodyPr>
          <a:lstStyle/>
          <a:p>
            <a:pPr algn="ctr" defTabSz="685511">
              <a:defRPr/>
            </a:pPr>
            <a:r>
              <a:rPr kumimoji="1" lang="es" sz="600">
                <a:solidFill>
                  <a:srgbClr val="000000"/>
                </a:solidFill>
                <a:cs typeface="Calibri" panose="020F0502020204030204" pitchFamily="34" charset="0"/>
              </a:rPr>
              <a:t>−2000</a:t>
            </a:r>
            <a:endParaRPr kumimoji="1" lang="en-US" sz="600">
              <a:solidFill>
                <a:srgbClr val="000000"/>
              </a:solidFill>
              <a:cs typeface="Calibri" panose="020F0502020204030204" pitchFamily="34" charset="0"/>
            </a:endParaRPr>
          </a:p>
        </p:txBody>
      </p:sp>
      <p:sp>
        <p:nvSpPr>
          <p:cNvPr id="84" name="TextBox 83">
            <a:extLst>
              <a:ext uri="{FF2B5EF4-FFF2-40B4-BE49-F238E27FC236}">
                <a16:creationId xmlns="" xmlns:a16="http://schemas.microsoft.com/office/drawing/2014/main" id="{6023B344-4810-E0C4-7FBF-8E390DBA2010}"/>
              </a:ext>
            </a:extLst>
          </p:cNvPr>
          <p:cNvSpPr txBox="1"/>
          <p:nvPr/>
        </p:nvSpPr>
        <p:spPr>
          <a:xfrm>
            <a:off x="5622580" y="4244309"/>
            <a:ext cx="292085" cy="161583"/>
          </a:xfrm>
          <a:prstGeom prst="rect">
            <a:avLst/>
          </a:prstGeom>
          <a:noFill/>
          <a:ln>
            <a:noFill/>
          </a:ln>
        </p:spPr>
        <p:txBody>
          <a:bodyPr wrap="square" lIns="0" tIns="34289" rIns="0" bIns="34289">
            <a:spAutoFit/>
          </a:bodyPr>
          <a:lstStyle/>
          <a:p>
            <a:pPr algn="ctr" defTabSz="685511">
              <a:defRPr/>
            </a:pPr>
            <a:r>
              <a:rPr kumimoji="1" lang="es" sz="600">
                <a:solidFill>
                  <a:srgbClr val="000000"/>
                </a:solidFill>
                <a:cs typeface="Calibri" panose="020F0502020204030204" pitchFamily="34" charset="0"/>
              </a:rPr>
              <a:t>−1000</a:t>
            </a:r>
            <a:endParaRPr kumimoji="1" lang="en-US" sz="600">
              <a:solidFill>
                <a:srgbClr val="000000"/>
              </a:solidFill>
              <a:cs typeface="Calibri" panose="020F0502020204030204" pitchFamily="34" charset="0"/>
            </a:endParaRPr>
          </a:p>
        </p:txBody>
      </p:sp>
      <p:sp>
        <p:nvSpPr>
          <p:cNvPr id="85" name="TextBox 84">
            <a:extLst>
              <a:ext uri="{FF2B5EF4-FFF2-40B4-BE49-F238E27FC236}">
                <a16:creationId xmlns="" xmlns:a16="http://schemas.microsoft.com/office/drawing/2014/main" id="{473EDC8A-27C9-5EEB-95DE-7C291302B562}"/>
              </a:ext>
            </a:extLst>
          </p:cNvPr>
          <p:cNvSpPr txBox="1"/>
          <p:nvPr/>
        </p:nvSpPr>
        <p:spPr>
          <a:xfrm>
            <a:off x="5830533" y="4244309"/>
            <a:ext cx="292085" cy="161583"/>
          </a:xfrm>
          <a:prstGeom prst="rect">
            <a:avLst/>
          </a:prstGeom>
          <a:noFill/>
        </p:spPr>
        <p:txBody>
          <a:bodyPr wrap="square" lIns="0" tIns="34289" rIns="0" bIns="34289">
            <a:spAutoFit/>
          </a:bodyPr>
          <a:lstStyle/>
          <a:p>
            <a:pPr algn="ctr" defTabSz="685511">
              <a:defRPr/>
            </a:pPr>
            <a:r>
              <a:rPr kumimoji="1" lang="es" sz="600">
                <a:solidFill>
                  <a:srgbClr val="000000"/>
                </a:solidFill>
                <a:cs typeface="Calibri" panose="020F0502020204030204" pitchFamily="34" charset="0"/>
              </a:rPr>
              <a:t>−300</a:t>
            </a:r>
            <a:endParaRPr kumimoji="1" lang="en-US" sz="600">
              <a:solidFill>
                <a:srgbClr val="000000"/>
              </a:solidFill>
              <a:cs typeface="Calibri" panose="020F0502020204030204" pitchFamily="34" charset="0"/>
            </a:endParaRPr>
          </a:p>
        </p:txBody>
      </p:sp>
      <p:sp>
        <p:nvSpPr>
          <p:cNvPr id="86" name="TextBox 85">
            <a:extLst>
              <a:ext uri="{FF2B5EF4-FFF2-40B4-BE49-F238E27FC236}">
                <a16:creationId xmlns="" xmlns:a16="http://schemas.microsoft.com/office/drawing/2014/main" id="{2EB8743E-DE96-0FD3-D082-03842F66570E}"/>
              </a:ext>
            </a:extLst>
          </p:cNvPr>
          <p:cNvSpPr txBox="1"/>
          <p:nvPr/>
        </p:nvSpPr>
        <p:spPr>
          <a:xfrm>
            <a:off x="6031051" y="4244309"/>
            <a:ext cx="292085" cy="161583"/>
          </a:xfrm>
          <a:prstGeom prst="rect">
            <a:avLst/>
          </a:prstGeom>
          <a:noFill/>
        </p:spPr>
        <p:txBody>
          <a:bodyPr wrap="square" lIns="0" tIns="34289" rIns="0" bIns="34289">
            <a:spAutoFit/>
          </a:bodyPr>
          <a:lstStyle/>
          <a:p>
            <a:pPr algn="ctr" defTabSz="685511">
              <a:defRPr/>
            </a:pPr>
            <a:r>
              <a:rPr kumimoji="1" lang="es" sz="600">
                <a:solidFill>
                  <a:srgbClr val="000000"/>
                </a:solidFill>
                <a:cs typeface="Calibri" panose="020F0502020204030204" pitchFamily="34" charset="0"/>
              </a:rPr>
              <a:t>−250</a:t>
            </a:r>
            <a:endParaRPr kumimoji="1" lang="en-US" sz="600">
              <a:solidFill>
                <a:srgbClr val="000000"/>
              </a:solidFill>
              <a:cs typeface="Calibri" panose="020F0502020204030204" pitchFamily="34" charset="0"/>
            </a:endParaRPr>
          </a:p>
        </p:txBody>
      </p:sp>
      <p:sp>
        <p:nvSpPr>
          <p:cNvPr id="87" name="TextBox 86">
            <a:extLst>
              <a:ext uri="{FF2B5EF4-FFF2-40B4-BE49-F238E27FC236}">
                <a16:creationId xmlns="" xmlns:a16="http://schemas.microsoft.com/office/drawing/2014/main" id="{D29289B7-4CE6-3CD8-03A5-8561D74E085C}"/>
              </a:ext>
            </a:extLst>
          </p:cNvPr>
          <p:cNvSpPr txBox="1"/>
          <p:nvPr/>
        </p:nvSpPr>
        <p:spPr>
          <a:xfrm>
            <a:off x="6226086" y="4244309"/>
            <a:ext cx="292085" cy="161583"/>
          </a:xfrm>
          <a:prstGeom prst="rect">
            <a:avLst/>
          </a:prstGeom>
          <a:noFill/>
        </p:spPr>
        <p:txBody>
          <a:bodyPr wrap="square" lIns="0" tIns="34289" rIns="0" bIns="34289">
            <a:spAutoFit/>
          </a:bodyPr>
          <a:lstStyle/>
          <a:p>
            <a:pPr algn="ctr" defTabSz="685511">
              <a:defRPr/>
            </a:pPr>
            <a:r>
              <a:rPr kumimoji="1" lang="es" sz="600">
                <a:solidFill>
                  <a:srgbClr val="000000"/>
                </a:solidFill>
                <a:cs typeface="Calibri" panose="020F0502020204030204" pitchFamily="34" charset="0"/>
              </a:rPr>
              <a:t>−200</a:t>
            </a:r>
            <a:endParaRPr kumimoji="1" lang="en-US" sz="600">
              <a:solidFill>
                <a:srgbClr val="000000"/>
              </a:solidFill>
              <a:cs typeface="Calibri" panose="020F0502020204030204" pitchFamily="34" charset="0"/>
            </a:endParaRPr>
          </a:p>
        </p:txBody>
      </p:sp>
      <p:sp>
        <p:nvSpPr>
          <p:cNvPr id="88" name="TextBox 87">
            <a:extLst>
              <a:ext uri="{FF2B5EF4-FFF2-40B4-BE49-F238E27FC236}">
                <a16:creationId xmlns="" xmlns:a16="http://schemas.microsoft.com/office/drawing/2014/main" id="{D671EC6C-63B8-A901-7281-4CC3B9A52E1E}"/>
              </a:ext>
            </a:extLst>
          </p:cNvPr>
          <p:cNvSpPr txBox="1"/>
          <p:nvPr/>
        </p:nvSpPr>
        <p:spPr>
          <a:xfrm>
            <a:off x="6426026" y="4244309"/>
            <a:ext cx="292085" cy="161583"/>
          </a:xfrm>
          <a:prstGeom prst="rect">
            <a:avLst/>
          </a:prstGeom>
          <a:noFill/>
        </p:spPr>
        <p:txBody>
          <a:bodyPr wrap="square" lIns="0" tIns="34289" rIns="0" bIns="34289">
            <a:spAutoFit/>
          </a:bodyPr>
          <a:lstStyle/>
          <a:p>
            <a:pPr algn="ctr" defTabSz="685511">
              <a:defRPr/>
            </a:pPr>
            <a:r>
              <a:rPr kumimoji="1" lang="es" sz="600">
                <a:solidFill>
                  <a:srgbClr val="000000"/>
                </a:solidFill>
                <a:cs typeface="Calibri" panose="020F0502020204030204" pitchFamily="34" charset="0"/>
              </a:rPr>
              <a:t>−150</a:t>
            </a:r>
            <a:endParaRPr kumimoji="1" lang="en-US" sz="600">
              <a:solidFill>
                <a:srgbClr val="000000"/>
              </a:solidFill>
              <a:cs typeface="Calibri" panose="020F0502020204030204" pitchFamily="34" charset="0"/>
            </a:endParaRPr>
          </a:p>
        </p:txBody>
      </p:sp>
      <p:sp>
        <p:nvSpPr>
          <p:cNvPr id="89" name="TextBox 88">
            <a:extLst>
              <a:ext uri="{FF2B5EF4-FFF2-40B4-BE49-F238E27FC236}">
                <a16:creationId xmlns="" xmlns:a16="http://schemas.microsoft.com/office/drawing/2014/main" id="{2293BC06-585D-6384-886D-ED3049A4D2D3}"/>
              </a:ext>
            </a:extLst>
          </p:cNvPr>
          <p:cNvSpPr txBox="1"/>
          <p:nvPr/>
        </p:nvSpPr>
        <p:spPr>
          <a:xfrm>
            <a:off x="6621752" y="4244309"/>
            <a:ext cx="292085" cy="161583"/>
          </a:xfrm>
          <a:prstGeom prst="rect">
            <a:avLst/>
          </a:prstGeom>
          <a:noFill/>
        </p:spPr>
        <p:txBody>
          <a:bodyPr wrap="square" lIns="0" tIns="34289" rIns="0" bIns="34289">
            <a:spAutoFit/>
          </a:bodyPr>
          <a:lstStyle/>
          <a:p>
            <a:pPr algn="ctr" defTabSz="685511">
              <a:defRPr/>
            </a:pPr>
            <a:r>
              <a:rPr kumimoji="1" lang="es" sz="600">
                <a:solidFill>
                  <a:srgbClr val="000000"/>
                </a:solidFill>
                <a:cs typeface="Calibri" panose="020F0502020204030204" pitchFamily="34" charset="0"/>
              </a:rPr>
              <a:t>−100</a:t>
            </a:r>
            <a:endParaRPr kumimoji="1" lang="en-US" sz="600">
              <a:solidFill>
                <a:srgbClr val="000000"/>
              </a:solidFill>
              <a:cs typeface="Calibri" panose="020F0502020204030204" pitchFamily="34" charset="0"/>
            </a:endParaRPr>
          </a:p>
        </p:txBody>
      </p:sp>
      <p:sp>
        <p:nvSpPr>
          <p:cNvPr id="90" name="TextBox 89">
            <a:extLst>
              <a:ext uri="{FF2B5EF4-FFF2-40B4-BE49-F238E27FC236}">
                <a16:creationId xmlns="" xmlns:a16="http://schemas.microsoft.com/office/drawing/2014/main" id="{B6A2F8DB-59E4-8A60-0EE8-545E94D73B77}"/>
              </a:ext>
            </a:extLst>
          </p:cNvPr>
          <p:cNvSpPr txBox="1"/>
          <p:nvPr/>
        </p:nvSpPr>
        <p:spPr>
          <a:xfrm>
            <a:off x="6816803" y="4244309"/>
            <a:ext cx="292085" cy="161583"/>
          </a:xfrm>
          <a:prstGeom prst="rect">
            <a:avLst/>
          </a:prstGeom>
          <a:noFill/>
        </p:spPr>
        <p:txBody>
          <a:bodyPr wrap="square" lIns="0" tIns="34289" rIns="0" bIns="34289">
            <a:spAutoFit/>
          </a:bodyPr>
          <a:lstStyle/>
          <a:p>
            <a:pPr algn="ctr" defTabSz="685511">
              <a:defRPr/>
            </a:pPr>
            <a:r>
              <a:rPr kumimoji="1" lang="es" sz="600">
                <a:solidFill>
                  <a:srgbClr val="000000"/>
                </a:solidFill>
                <a:cs typeface="Calibri" panose="020F0502020204030204" pitchFamily="34" charset="0"/>
              </a:rPr>
              <a:t>−50</a:t>
            </a:r>
            <a:endParaRPr kumimoji="1" lang="en-US" sz="600">
              <a:solidFill>
                <a:srgbClr val="000000"/>
              </a:solidFill>
              <a:cs typeface="Calibri" panose="020F0502020204030204" pitchFamily="34" charset="0"/>
            </a:endParaRPr>
          </a:p>
        </p:txBody>
      </p:sp>
      <p:sp>
        <p:nvSpPr>
          <p:cNvPr id="91" name="TextBox 90">
            <a:extLst>
              <a:ext uri="{FF2B5EF4-FFF2-40B4-BE49-F238E27FC236}">
                <a16:creationId xmlns="" xmlns:a16="http://schemas.microsoft.com/office/drawing/2014/main" id="{CBAF278D-9FA8-BBBC-34C3-CEC149A0D509}"/>
              </a:ext>
            </a:extLst>
          </p:cNvPr>
          <p:cNvSpPr txBox="1"/>
          <p:nvPr/>
        </p:nvSpPr>
        <p:spPr>
          <a:xfrm>
            <a:off x="7016727" y="4244309"/>
            <a:ext cx="292085" cy="161583"/>
          </a:xfrm>
          <a:prstGeom prst="rect">
            <a:avLst/>
          </a:prstGeom>
          <a:noFill/>
        </p:spPr>
        <p:txBody>
          <a:bodyPr wrap="square" lIns="0" tIns="34289" rIns="0" bIns="34289">
            <a:spAutoFit/>
          </a:bodyPr>
          <a:lstStyle/>
          <a:p>
            <a:pPr algn="ctr" defTabSz="685511">
              <a:defRPr/>
            </a:pPr>
            <a:r>
              <a:rPr kumimoji="1" lang="es" sz="600">
                <a:solidFill>
                  <a:srgbClr val="000000"/>
                </a:solidFill>
                <a:cs typeface="Calibri" panose="020F0502020204030204" pitchFamily="34" charset="0"/>
              </a:rPr>
              <a:t>0</a:t>
            </a:r>
            <a:endParaRPr kumimoji="1" lang="en-US" sz="600">
              <a:solidFill>
                <a:srgbClr val="000000"/>
              </a:solidFill>
              <a:cs typeface="Calibri" panose="020F0502020204030204" pitchFamily="34" charset="0"/>
            </a:endParaRPr>
          </a:p>
        </p:txBody>
      </p:sp>
      <p:sp>
        <p:nvSpPr>
          <p:cNvPr id="92" name="TextBox 91">
            <a:extLst>
              <a:ext uri="{FF2B5EF4-FFF2-40B4-BE49-F238E27FC236}">
                <a16:creationId xmlns="" xmlns:a16="http://schemas.microsoft.com/office/drawing/2014/main" id="{38200C89-5699-5769-59BA-4F328935A981}"/>
              </a:ext>
            </a:extLst>
          </p:cNvPr>
          <p:cNvSpPr txBox="1"/>
          <p:nvPr/>
        </p:nvSpPr>
        <p:spPr>
          <a:xfrm>
            <a:off x="7218223" y="4244309"/>
            <a:ext cx="292085" cy="161583"/>
          </a:xfrm>
          <a:prstGeom prst="rect">
            <a:avLst/>
          </a:prstGeom>
          <a:noFill/>
        </p:spPr>
        <p:txBody>
          <a:bodyPr wrap="square" lIns="0" tIns="34289" rIns="0" bIns="34289">
            <a:spAutoFit/>
          </a:bodyPr>
          <a:lstStyle/>
          <a:p>
            <a:pPr algn="ctr" defTabSz="685511">
              <a:defRPr/>
            </a:pPr>
            <a:r>
              <a:rPr kumimoji="1" lang="es" sz="600">
                <a:solidFill>
                  <a:srgbClr val="000000"/>
                </a:solidFill>
                <a:cs typeface="Calibri" panose="020F0502020204030204" pitchFamily="34" charset="0"/>
              </a:rPr>
              <a:t>50</a:t>
            </a:r>
            <a:endParaRPr kumimoji="1" lang="en-US" sz="600">
              <a:solidFill>
                <a:srgbClr val="000000"/>
              </a:solidFill>
              <a:cs typeface="Calibri" panose="020F0502020204030204" pitchFamily="34" charset="0"/>
            </a:endParaRPr>
          </a:p>
        </p:txBody>
      </p:sp>
      <p:sp>
        <p:nvSpPr>
          <p:cNvPr id="93" name="TextBox 92">
            <a:extLst>
              <a:ext uri="{FF2B5EF4-FFF2-40B4-BE49-F238E27FC236}">
                <a16:creationId xmlns="" xmlns:a16="http://schemas.microsoft.com/office/drawing/2014/main" id="{F90892E3-1156-6CC6-5E3E-9CF05A544A3B}"/>
              </a:ext>
            </a:extLst>
          </p:cNvPr>
          <p:cNvSpPr txBox="1"/>
          <p:nvPr/>
        </p:nvSpPr>
        <p:spPr>
          <a:xfrm>
            <a:off x="7413274" y="4244309"/>
            <a:ext cx="292085" cy="161583"/>
          </a:xfrm>
          <a:prstGeom prst="rect">
            <a:avLst/>
          </a:prstGeom>
          <a:noFill/>
        </p:spPr>
        <p:txBody>
          <a:bodyPr wrap="square" lIns="0" tIns="34289" rIns="0" bIns="34289">
            <a:spAutoFit/>
          </a:bodyPr>
          <a:lstStyle/>
          <a:p>
            <a:pPr algn="ctr" defTabSz="685511">
              <a:defRPr/>
            </a:pPr>
            <a:r>
              <a:rPr kumimoji="1" lang="es" sz="600">
                <a:solidFill>
                  <a:srgbClr val="000000"/>
                </a:solidFill>
                <a:cs typeface="Calibri" panose="020F0502020204030204" pitchFamily="34" charset="0"/>
              </a:rPr>
              <a:t>100</a:t>
            </a:r>
            <a:endParaRPr kumimoji="1" lang="en-US" sz="600">
              <a:solidFill>
                <a:srgbClr val="000000"/>
              </a:solidFill>
              <a:cs typeface="Calibri" panose="020F0502020204030204" pitchFamily="34" charset="0"/>
            </a:endParaRPr>
          </a:p>
        </p:txBody>
      </p:sp>
      <p:sp>
        <p:nvSpPr>
          <p:cNvPr id="94" name="TextBox 93">
            <a:extLst>
              <a:ext uri="{FF2B5EF4-FFF2-40B4-BE49-F238E27FC236}">
                <a16:creationId xmlns="" xmlns:a16="http://schemas.microsoft.com/office/drawing/2014/main" id="{96EB5A90-79B2-2DD6-A4A5-FD1A4A994ABF}"/>
              </a:ext>
            </a:extLst>
          </p:cNvPr>
          <p:cNvSpPr txBox="1"/>
          <p:nvPr/>
        </p:nvSpPr>
        <p:spPr>
          <a:xfrm>
            <a:off x="7613198" y="4244309"/>
            <a:ext cx="292085" cy="161583"/>
          </a:xfrm>
          <a:prstGeom prst="rect">
            <a:avLst/>
          </a:prstGeom>
          <a:noFill/>
        </p:spPr>
        <p:txBody>
          <a:bodyPr wrap="square" lIns="0" tIns="34289" rIns="0" bIns="34289">
            <a:spAutoFit/>
          </a:bodyPr>
          <a:lstStyle/>
          <a:p>
            <a:pPr algn="ctr" defTabSz="685511">
              <a:defRPr/>
            </a:pPr>
            <a:r>
              <a:rPr kumimoji="1" lang="es" sz="600">
                <a:solidFill>
                  <a:srgbClr val="000000"/>
                </a:solidFill>
                <a:cs typeface="Calibri" panose="020F0502020204030204" pitchFamily="34" charset="0"/>
              </a:rPr>
              <a:t>150</a:t>
            </a:r>
            <a:endParaRPr kumimoji="1" lang="en-US" sz="600">
              <a:solidFill>
                <a:srgbClr val="000000"/>
              </a:solidFill>
              <a:cs typeface="Calibri" panose="020F0502020204030204" pitchFamily="34" charset="0"/>
            </a:endParaRPr>
          </a:p>
        </p:txBody>
      </p:sp>
      <p:sp>
        <p:nvSpPr>
          <p:cNvPr id="95" name="TextBox 94">
            <a:extLst>
              <a:ext uri="{FF2B5EF4-FFF2-40B4-BE49-F238E27FC236}">
                <a16:creationId xmlns="" xmlns:a16="http://schemas.microsoft.com/office/drawing/2014/main" id="{AC378D67-BBBE-6696-1C5F-0060EADC3B65}"/>
              </a:ext>
            </a:extLst>
          </p:cNvPr>
          <p:cNvSpPr txBox="1"/>
          <p:nvPr/>
        </p:nvSpPr>
        <p:spPr>
          <a:xfrm>
            <a:off x="5486720" y="4358625"/>
            <a:ext cx="2258511" cy="207749"/>
          </a:xfrm>
          <a:prstGeom prst="rect">
            <a:avLst/>
          </a:prstGeom>
          <a:noFill/>
        </p:spPr>
        <p:txBody>
          <a:bodyPr wrap="square" lIns="0" tIns="34289" rIns="0" bIns="34289">
            <a:spAutoFit/>
          </a:bodyPr>
          <a:lstStyle/>
          <a:p>
            <a:pPr algn="ctr" defTabSz="685511">
              <a:defRPr/>
            </a:pPr>
            <a:r>
              <a:rPr kumimoji="1" lang="es" sz="900" b="1">
                <a:solidFill>
                  <a:srgbClr val="000000"/>
                </a:solidFill>
                <a:cs typeface="Calibri" panose="020F0502020204030204" pitchFamily="34" charset="0"/>
              </a:rPr>
              <a:t>EV (IC 95%)</a:t>
            </a:r>
          </a:p>
        </p:txBody>
      </p:sp>
      <p:sp>
        <p:nvSpPr>
          <p:cNvPr id="96" name="Freeform: Shape 95">
            <a:extLst>
              <a:ext uri="{FF2B5EF4-FFF2-40B4-BE49-F238E27FC236}">
                <a16:creationId xmlns="" xmlns:a16="http://schemas.microsoft.com/office/drawing/2014/main" id="{FC43DA6E-036D-2F56-43DD-8B6C16DBB004}"/>
              </a:ext>
            </a:extLst>
          </p:cNvPr>
          <p:cNvSpPr/>
          <p:nvPr/>
        </p:nvSpPr>
        <p:spPr>
          <a:xfrm>
            <a:off x="5575778" y="4232349"/>
            <a:ext cx="540000" cy="9485"/>
          </a:xfrm>
          <a:custGeom>
            <a:avLst/>
            <a:gdLst>
              <a:gd name="connsiteX0" fmla="*/ 0 w 156219"/>
              <a:gd name="connsiteY0" fmla="*/ 0 h 12646"/>
              <a:gd name="connsiteX1" fmla="*/ 156219 w 156219"/>
              <a:gd name="connsiteY1" fmla="*/ 0 h 12646"/>
            </a:gdLst>
            <a:ahLst/>
            <a:cxnLst>
              <a:cxn ang="0">
                <a:pos x="connsiteX0" y="connsiteY0"/>
              </a:cxn>
              <a:cxn ang="0">
                <a:pos x="connsiteX1" y="connsiteY1"/>
              </a:cxn>
            </a:cxnLst>
            <a:rect l="l" t="t" r="r" b="b"/>
            <a:pathLst>
              <a:path w="156219" h="12646">
                <a:moveTo>
                  <a:pt x="0" y="0"/>
                </a:moveTo>
                <a:lnTo>
                  <a:pt x="156219" y="0"/>
                </a:lnTo>
              </a:path>
            </a:pathLst>
          </a:custGeom>
          <a:ln w="12760" cap="flat">
            <a:solidFill>
              <a:srgbClr val="EEECF1"/>
            </a:solidFill>
            <a:prstDash val="solid"/>
            <a:miter/>
          </a:ln>
        </p:spPr>
        <p:txBody>
          <a:bodyPr lIns="68555" tIns="34289" rIns="68555" bIns="34289" rtlCol="0" anchor="ctr"/>
          <a:lstStyle/>
          <a:p>
            <a:pPr defTabSz="685511">
              <a:defRPr/>
            </a:pPr>
            <a:endParaRPr kumimoji="1" lang="en-US" sz="1400">
              <a:solidFill>
                <a:srgbClr val="000000"/>
              </a:solidFill>
              <a:cs typeface="Calibri" panose="020F0502020204030204" pitchFamily="34" charset="0"/>
            </a:endParaRPr>
          </a:p>
        </p:txBody>
      </p:sp>
      <p:sp>
        <p:nvSpPr>
          <p:cNvPr id="97" name="Freeform: Shape 96">
            <a:extLst>
              <a:ext uri="{FF2B5EF4-FFF2-40B4-BE49-F238E27FC236}">
                <a16:creationId xmlns="" xmlns:a16="http://schemas.microsoft.com/office/drawing/2014/main" id="{14BD3B2C-78D8-BAB2-24FD-144194BD33A5}"/>
              </a:ext>
            </a:extLst>
          </p:cNvPr>
          <p:cNvSpPr/>
          <p:nvPr/>
        </p:nvSpPr>
        <p:spPr>
          <a:xfrm>
            <a:off x="5486722" y="4233017"/>
            <a:ext cx="117164" cy="9485"/>
          </a:xfrm>
          <a:custGeom>
            <a:avLst/>
            <a:gdLst>
              <a:gd name="connsiteX0" fmla="*/ 0 w 156219"/>
              <a:gd name="connsiteY0" fmla="*/ 0 h 12646"/>
              <a:gd name="connsiteX1" fmla="*/ 156219 w 156219"/>
              <a:gd name="connsiteY1" fmla="*/ 0 h 12646"/>
            </a:gdLst>
            <a:ahLst/>
            <a:cxnLst>
              <a:cxn ang="0">
                <a:pos x="connsiteX0" y="connsiteY0"/>
              </a:cxn>
              <a:cxn ang="0">
                <a:pos x="connsiteX1" y="connsiteY1"/>
              </a:cxn>
            </a:cxnLst>
            <a:rect l="l" t="t" r="r" b="b"/>
            <a:pathLst>
              <a:path w="156219" h="12646">
                <a:moveTo>
                  <a:pt x="0" y="0"/>
                </a:moveTo>
                <a:lnTo>
                  <a:pt x="156219" y="0"/>
                </a:lnTo>
              </a:path>
            </a:pathLst>
          </a:custGeom>
          <a:ln w="12760" cap="flat">
            <a:solidFill>
              <a:srgbClr val="000000"/>
            </a:solidFill>
            <a:prstDash val="solid"/>
            <a:miter/>
          </a:ln>
        </p:spPr>
        <p:txBody>
          <a:bodyPr lIns="68555" tIns="34289" rIns="68555" bIns="34289" rtlCol="0" anchor="ctr"/>
          <a:lstStyle/>
          <a:p>
            <a:pPr defTabSz="685511">
              <a:defRPr/>
            </a:pPr>
            <a:endParaRPr kumimoji="1" lang="en-US" sz="1400">
              <a:solidFill>
                <a:srgbClr val="000000"/>
              </a:solidFill>
              <a:cs typeface="Calibri" panose="020F0502020204030204" pitchFamily="34" charset="0"/>
            </a:endParaRPr>
          </a:p>
        </p:txBody>
      </p:sp>
      <p:sp>
        <p:nvSpPr>
          <p:cNvPr id="98" name="Freeform: Shape 97">
            <a:extLst>
              <a:ext uri="{FF2B5EF4-FFF2-40B4-BE49-F238E27FC236}">
                <a16:creationId xmlns="" xmlns:a16="http://schemas.microsoft.com/office/drawing/2014/main" id="{CB7ACD59-58E2-ED59-0980-2F084F2694F7}"/>
              </a:ext>
            </a:extLst>
          </p:cNvPr>
          <p:cNvSpPr/>
          <p:nvPr/>
        </p:nvSpPr>
        <p:spPr>
          <a:xfrm>
            <a:off x="5585212" y="4207843"/>
            <a:ext cx="37346" cy="46664"/>
          </a:xfrm>
          <a:custGeom>
            <a:avLst/>
            <a:gdLst>
              <a:gd name="connsiteX0" fmla="*/ 49794 w 49794"/>
              <a:gd name="connsiteY0" fmla="*/ 0 h 62219"/>
              <a:gd name="connsiteX1" fmla="*/ 0 w 49794"/>
              <a:gd name="connsiteY1" fmla="*/ 62219 h 62219"/>
            </a:gdLst>
            <a:ahLst/>
            <a:cxnLst>
              <a:cxn ang="0">
                <a:pos x="connsiteX0" y="connsiteY0"/>
              </a:cxn>
              <a:cxn ang="0">
                <a:pos x="connsiteX1" y="connsiteY1"/>
              </a:cxn>
            </a:cxnLst>
            <a:rect l="l" t="t" r="r" b="b"/>
            <a:pathLst>
              <a:path w="49794" h="62219">
                <a:moveTo>
                  <a:pt x="49794" y="0"/>
                </a:moveTo>
                <a:lnTo>
                  <a:pt x="0" y="62219"/>
                </a:lnTo>
              </a:path>
            </a:pathLst>
          </a:custGeom>
          <a:ln w="12700" cap="flat">
            <a:solidFill>
              <a:srgbClr val="000000"/>
            </a:solidFill>
            <a:prstDash val="solid"/>
            <a:miter/>
          </a:ln>
        </p:spPr>
        <p:txBody>
          <a:bodyPr lIns="68555" tIns="34289" rIns="68555" bIns="34289" rtlCol="0" anchor="ctr"/>
          <a:lstStyle/>
          <a:p>
            <a:pPr defTabSz="685511">
              <a:defRPr/>
            </a:pPr>
            <a:endParaRPr kumimoji="1" lang="en-US" sz="1400">
              <a:solidFill>
                <a:srgbClr val="000000"/>
              </a:solidFill>
              <a:cs typeface="Calibri" panose="020F0502020204030204" pitchFamily="34" charset="0"/>
            </a:endParaRPr>
          </a:p>
        </p:txBody>
      </p:sp>
      <p:sp>
        <p:nvSpPr>
          <p:cNvPr id="99" name="Freeform: Shape 98">
            <a:extLst>
              <a:ext uri="{FF2B5EF4-FFF2-40B4-BE49-F238E27FC236}">
                <a16:creationId xmlns="" xmlns:a16="http://schemas.microsoft.com/office/drawing/2014/main" id="{55611225-FC73-B301-57F9-8F72724999A9}"/>
              </a:ext>
            </a:extLst>
          </p:cNvPr>
          <p:cNvSpPr/>
          <p:nvPr/>
        </p:nvSpPr>
        <p:spPr>
          <a:xfrm>
            <a:off x="5674513" y="4232385"/>
            <a:ext cx="228524" cy="9485"/>
          </a:xfrm>
          <a:custGeom>
            <a:avLst/>
            <a:gdLst>
              <a:gd name="connsiteX0" fmla="*/ 0 w 304698"/>
              <a:gd name="connsiteY0" fmla="*/ 0 h 12646"/>
              <a:gd name="connsiteX1" fmla="*/ 304699 w 304698"/>
              <a:gd name="connsiteY1" fmla="*/ 0 h 12646"/>
            </a:gdLst>
            <a:ahLst/>
            <a:cxnLst>
              <a:cxn ang="0">
                <a:pos x="connsiteX0" y="connsiteY0"/>
              </a:cxn>
              <a:cxn ang="0">
                <a:pos x="connsiteX1" y="connsiteY1"/>
              </a:cxn>
            </a:cxnLst>
            <a:rect l="l" t="t" r="r" b="b"/>
            <a:pathLst>
              <a:path w="304698" h="12646">
                <a:moveTo>
                  <a:pt x="0" y="0"/>
                </a:moveTo>
                <a:lnTo>
                  <a:pt x="304699" y="0"/>
                </a:lnTo>
              </a:path>
            </a:pathLst>
          </a:custGeom>
          <a:ln w="12760" cap="flat">
            <a:solidFill>
              <a:srgbClr val="000000"/>
            </a:solidFill>
            <a:prstDash val="solid"/>
            <a:miter/>
          </a:ln>
        </p:spPr>
        <p:txBody>
          <a:bodyPr lIns="68555" tIns="34289" rIns="68555" bIns="34289" rtlCol="0" anchor="ctr"/>
          <a:lstStyle/>
          <a:p>
            <a:pPr defTabSz="685511">
              <a:defRPr/>
            </a:pPr>
            <a:endParaRPr kumimoji="1" lang="en-US" sz="1400">
              <a:solidFill>
                <a:srgbClr val="000000"/>
              </a:solidFill>
              <a:cs typeface="Calibri" panose="020F0502020204030204" pitchFamily="34" charset="0"/>
            </a:endParaRPr>
          </a:p>
        </p:txBody>
      </p:sp>
      <p:sp>
        <p:nvSpPr>
          <p:cNvPr id="100" name="Freeform: Shape 99">
            <a:extLst>
              <a:ext uri="{FF2B5EF4-FFF2-40B4-BE49-F238E27FC236}">
                <a16:creationId xmlns="" xmlns:a16="http://schemas.microsoft.com/office/drawing/2014/main" id="{8A08FB90-3202-B6DA-1901-86DD6B083F9A}"/>
              </a:ext>
            </a:extLst>
          </p:cNvPr>
          <p:cNvSpPr/>
          <p:nvPr/>
        </p:nvSpPr>
        <p:spPr>
          <a:xfrm>
            <a:off x="5655743" y="4207844"/>
            <a:ext cx="37539" cy="46569"/>
          </a:xfrm>
          <a:custGeom>
            <a:avLst/>
            <a:gdLst>
              <a:gd name="connsiteX0" fmla="*/ 50052 w 50052"/>
              <a:gd name="connsiteY0" fmla="*/ 0 h 62092"/>
              <a:gd name="connsiteX1" fmla="*/ 0 w 50052"/>
              <a:gd name="connsiteY1" fmla="*/ 62093 h 62092"/>
            </a:gdLst>
            <a:ahLst/>
            <a:cxnLst>
              <a:cxn ang="0">
                <a:pos x="connsiteX0" y="connsiteY0"/>
              </a:cxn>
              <a:cxn ang="0">
                <a:pos x="connsiteX1" y="connsiteY1"/>
              </a:cxn>
            </a:cxnLst>
            <a:rect l="l" t="t" r="r" b="b"/>
            <a:pathLst>
              <a:path w="50052" h="62092">
                <a:moveTo>
                  <a:pt x="50052" y="0"/>
                </a:moveTo>
                <a:lnTo>
                  <a:pt x="0" y="62093"/>
                </a:lnTo>
              </a:path>
            </a:pathLst>
          </a:custGeom>
          <a:ln w="12760" cap="flat">
            <a:solidFill>
              <a:srgbClr val="000000"/>
            </a:solidFill>
            <a:prstDash val="solid"/>
            <a:miter/>
          </a:ln>
        </p:spPr>
        <p:txBody>
          <a:bodyPr lIns="68555" tIns="34289" rIns="68555" bIns="34289" rtlCol="0" anchor="ctr"/>
          <a:lstStyle/>
          <a:p>
            <a:pPr defTabSz="685511">
              <a:defRPr/>
            </a:pPr>
            <a:endParaRPr kumimoji="1" lang="en-US" sz="1400">
              <a:solidFill>
                <a:srgbClr val="000000"/>
              </a:solidFill>
              <a:cs typeface="Calibri" panose="020F0502020204030204" pitchFamily="34" charset="0"/>
            </a:endParaRPr>
          </a:p>
        </p:txBody>
      </p:sp>
      <p:sp>
        <p:nvSpPr>
          <p:cNvPr id="101" name="Freeform: Shape 100">
            <a:extLst>
              <a:ext uri="{FF2B5EF4-FFF2-40B4-BE49-F238E27FC236}">
                <a16:creationId xmlns="" xmlns:a16="http://schemas.microsoft.com/office/drawing/2014/main" id="{D4CBC9FF-0978-59A9-DE71-54E7485DD9D0}"/>
              </a:ext>
            </a:extLst>
          </p:cNvPr>
          <p:cNvSpPr/>
          <p:nvPr/>
        </p:nvSpPr>
        <p:spPr>
          <a:xfrm>
            <a:off x="5884268" y="4207844"/>
            <a:ext cx="37539" cy="46569"/>
          </a:xfrm>
          <a:custGeom>
            <a:avLst/>
            <a:gdLst>
              <a:gd name="connsiteX0" fmla="*/ 50052 w 50052"/>
              <a:gd name="connsiteY0" fmla="*/ 0 h 62092"/>
              <a:gd name="connsiteX1" fmla="*/ 0 w 50052"/>
              <a:gd name="connsiteY1" fmla="*/ 62093 h 62092"/>
            </a:gdLst>
            <a:ahLst/>
            <a:cxnLst>
              <a:cxn ang="0">
                <a:pos x="connsiteX0" y="connsiteY0"/>
              </a:cxn>
              <a:cxn ang="0">
                <a:pos x="connsiteX1" y="connsiteY1"/>
              </a:cxn>
            </a:cxnLst>
            <a:rect l="l" t="t" r="r" b="b"/>
            <a:pathLst>
              <a:path w="50052" h="62092">
                <a:moveTo>
                  <a:pt x="50052" y="0"/>
                </a:moveTo>
                <a:lnTo>
                  <a:pt x="0" y="62093"/>
                </a:lnTo>
              </a:path>
            </a:pathLst>
          </a:custGeom>
          <a:ln w="12760" cap="flat">
            <a:solidFill>
              <a:srgbClr val="000000"/>
            </a:solidFill>
            <a:prstDash val="solid"/>
            <a:miter/>
          </a:ln>
        </p:spPr>
        <p:txBody>
          <a:bodyPr lIns="68555" tIns="34289" rIns="68555" bIns="34289" rtlCol="0" anchor="ctr"/>
          <a:lstStyle/>
          <a:p>
            <a:pPr defTabSz="685511">
              <a:defRPr/>
            </a:pPr>
            <a:endParaRPr kumimoji="1" lang="en-US" sz="1400">
              <a:solidFill>
                <a:srgbClr val="000000"/>
              </a:solidFill>
              <a:cs typeface="Calibri" panose="020F0502020204030204" pitchFamily="34" charset="0"/>
            </a:endParaRPr>
          </a:p>
        </p:txBody>
      </p:sp>
      <p:sp>
        <p:nvSpPr>
          <p:cNvPr id="102" name="Freeform: Shape 101">
            <a:extLst>
              <a:ext uri="{FF2B5EF4-FFF2-40B4-BE49-F238E27FC236}">
                <a16:creationId xmlns="" xmlns:a16="http://schemas.microsoft.com/office/drawing/2014/main" id="{3FC18ED1-537F-1264-B3E1-A4FE0D74ED64}"/>
              </a:ext>
            </a:extLst>
          </p:cNvPr>
          <p:cNvSpPr/>
          <p:nvPr/>
        </p:nvSpPr>
        <p:spPr>
          <a:xfrm>
            <a:off x="5954701" y="4207748"/>
            <a:ext cx="37346" cy="46569"/>
          </a:xfrm>
          <a:custGeom>
            <a:avLst/>
            <a:gdLst>
              <a:gd name="connsiteX0" fmla="*/ 49794 w 49794"/>
              <a:gd name="connsiteY0" fmla="*/ 0 h 62092"/>
              <a:gd name="connsiteX1" fmla="*/ 0 w 49794"/>
              <a:gd name="connsiteY1" fmla="*/ 62093 h 62092"/>
            </a:gdLst>
            <a:ahLst/>
            <a:cxnLst>
              <a:cxn ang="0">
                <a:pos x="connsiteX0" y="connsiteY0"/>
              </a:cxn>
              <a:cxn ang="0">
                <a:pos x="connsiteX1" y="connsiteY1"/>
              </a:cxn>
            </a:cxnLst>
            <a:rect l="l" t="t" r="r" b="b"/>
            <a:pathLst>
              <a:path w="49794" h="62092">
                <a:moveTo>
                  <a:pt x="49794" y="0"/>
                </a:moveTo>
                <a:lnTo>
                  <a:pt x="0" y="62093"/>
                </a:lnTo>
              </a:path>
            </a:pathLst>
          </a:custGeom>
          <a:ln w="12760" cap="flat">
            <a:solidFill>
              <a:srgbClr val="000000"/>
            </a:solidFill>
            <a:prstDash val="solid"/>
            <a:miter/>
          </a:ln>
        </p:spPr>
        <p:txBody>
          <a:bodyPr lIns="68555" tIns="34289" rIns="68555" bIns="34289" rtlCol="0" anchor="ctr"/>
          <a:lstStyle/>
          <a:p>
            <a:pPr defTabSz="685511">
              <a:defRPr/>
            </a:pPr>
            <a:endParaRPr kumimoji="1" lang="en-US" sz="1400">
              <a:solidFill>
                <a:srgbClr val="000000"/>
              </a:solidFill>
              <a:cs typeface="Calibri" panose="020F0502020204030204" pitchFamily="34" charset="0"/>
            </a:endParaRPr>
          </a:p>
        </p:txBody>
      </p:sp>
      <p:sp>
        <p:nvSpPr>
          <p:cNvPr id="103" name="Freeform: Shape 102">
            <a:extLst>
              <a:ext uri="{FF2B5EF4-FFF2-40B4-BE49-F238E27FC236}">
                <a16:creationId xmlns="" xmlns:a16="http://schemas.microsoft.com/office/drawing/2014/main" id="{ED2F944B-F363-04A2-1B05-3F76CFA9E158}"/>
              </a:ext>
            </a:extLst>
          </p:cNvPr>
          <p:cNvSpPr/>
          <p:nvPr/>
        </p:nvSpPr>
        <p:spPr>
          <a:xfrm>
            <a:off x="5970953" y="4232385"/>
            <a:ext cx="1917000" cy="9485"/>
          </a:xfrm>
          <a:custGeom>
            <a:avLst/>
            <a:gdLst>
              <a:gd name="connsiteX0" fmla="*/ 0 w 2387279"/>
              <a:gd name="connsiteY0" fmla="*/ 0 h 12646"/>
              <a:gd name="connsiteX1" fmla="*/ 2387280 w 2387279"/>
              <a:gd name="connsiteY1" fmla="*/ 0 h 12646"/>
            </a:gdLst>
            <a:ahLst/>
            <a:cxnLst>
              <a:cxn ang="0">
                <a:pos x="connsiteX0" y="connsiteY0"/>
              </a:cxn>
              <a:cxn ang="0">
                <a:pos x="connsiteX1" y="connsiteY1"/>
              </a:cxn>
            </a:cxnLst>
            <a:rect l="l" t="t" r="r" b="b"/>
            <a:pathLst>
              <a:path w="2387279" h="12646">
                <a:moveTo>
                  <a:pt x="0" y="0"/>
                </a:moveTo>
                <a:lnTo>
                  <a:pt x="2387280" y="0"/>
                </a:lnTo>
              </a:path>
            </a:pathLst>
          </a:custGeom>
          <a:ln w="12760" cap="flat">
            <a:solidFill>
              <a:srgbClr val="000000"/>
            </a:solidFill>
            <a:prstDash val="solid"/>
            <a:miter/>
          </a:ln>
        </p:spPr>
        <p:txBody>
          <a:bodyPr lIns="68555" tIns="34289" rIns="68555" bIns="34289" rtlCol="0" anchor="ctr"/>
          <a:lstStyle/>
          <a:p>
            <a:pPr defTabSz="685511">
              <a:defRPr/>
            </a:pPr>
            <a:endParaRPr kumimoji="1" lang="en-US" sz="1400">
              <a:solidFill>
                <a:srgbClr val="000000"/>
              </a:solidFill>
              <a:cs typeface="Calibri" panose="020F0502020204030204" pitchFamily="34" charset="0"/>
            </a:endParaRPr>
          </a:p>
        </p:txBody>
      </p:sp>
      <p:sp>
        <p:nvSpPr>
          <p:cNvPr id="104" name="Freeform: Shape 103">
            <a:extLst>
              <a:ext uri="{FF2B5EF4-FFF2-40B4-BE49-F238E27FC236}">
                <a16:creationId xmlns="" xmlns:a16="http://schemas.microsoft.com/office/drawing/2014/main" id="{391E4343-79C7-6BB0-CFEE-8C41B533EDFF}"/>
              </a:ext>
            </a:extLst>
          </p:cNvPr>
          <p:cNvSpPr/>
          <p:nvPr/>
        </p:nvSpPr>
        <p:spPr>
          <a:xfrm>
            <a:off x="5508212" y="1186308"/>
            <a:ext cx="2295000" cy="9664"/>
          </a:xfrm>
          <a:custGeom>
            <a:avLst/>
            <a:gdLst>
              <a:gd name="connsiteX0" fmla="*/ 0 w 3997841"/>
              <a:gd name="connsiteY0" fmla="*/ 0 h 12885"/>
              <a:gd name="connsiteX1" fmla="*/ 3997842 w 3997841"/>
              <a:gd name="connsiteY1" fmla="*/ 0 h 12885"/>
            </a:gdLst>
            <a:ahLst/>
            <a:cxnLst>
              <a:cxn ang="0">
                <a:pos x="connsiteX0" y="connsiteY0"/>
              </a:cxn>
              <a:cxn ang="0">
                <a:pos x="connsiteX1" y="connsiteY1"/>
              </a:cxn>
            </a:cxnLst>
            <a:rect l="l" t="t" r="r" b="b"/>
            <a:pathLst>
              <a:path w="3997841" h="12885">
                <a:moveTo>
                  <a:pt x="0" y="0"/>
                </a:moveTo>
                <a:lnTo>
                  <a:pt x="3997842" y="0"/>
                </a:lnTo>
              </a:path>
            </a:pathLst>
          </a:custGeom>
          <a:ln w="12700" cap="flat">
            <a:solidFill>
              <a:schemeClr val="bg1"/>
            </a:solidFill>
            <a:prstDash val="solid"/>
            <a:miter/>
            <a:headEnd type="triangle"/>
            <a:tailEnd type="triangle"/>
          </a:ln>
        </p:spPr>
        <p:txBody>
          <a:bodyPr lIns="68555" tIns="34289" rIns="68555" bIns="34289" rtlCol="0" anchor="ctr"/>
          <a:lstStyle/>
          <a:p>
            <a:pPr defTabSz="685511">
              <a:defRPr/>
            </a:pPr>
            <a:endParaRPr kumimoji="1" lang="en-US" sz="1400">
              <a:solidFill>
                <a:srgbClr val="000000"/>
              </a:solidFill>
              <a:cs typeface="Calibri" panose="020F0502020204030204" pitchFamily="34" charset="0"/>
            </a:endParaRPr>
          </a:p>
        </p:txBody>
      </p:sp>
      <p:sp>
        <p:nvSpPr>
          <p:cNvPr id="105" name="TextBox 104">
            <a:extLst>
              <a:ext uri="{FF2B5EF4-FFF2-40B4-BE49-F238E27FC236}">
                <a16:creationId xmlns="" xmlns:a16="http://schemas.microsoft.com/office/drawing/2014/main" id="{8421AF63-75D1-81A3-0572-78CB4DAF04BD}"/>
              </a:ext>
            </a:extLst>
          </p:cNvPr>
          <p:cNvSpPr txBox="1"/>
          <p:nvPr/>
        </p:nvSpPr>
        <p:spPr>
          <a:xfrm>
            <a:off x="5527134" y="823952"/>
            <a:ext cx="1620805" cy="346249"/>
          </a:xfrm>
          <a:prstGeom prst="rect">
            <a:avLst/>
          </a:prstGeom>
          <a:solidFill>
            <a:srgbClr val="0070C0"/>
          </a:solidFill>
        </p:spPr>
        <p:txBody>
          <a:bodyPr wrap="square" lIns="68555" tIns="34289" rIns="68555" bIns="34289">
            <a:spAutoFit/>
          </a:bodyPr>
          <a:lstStyle/>
          <a:p>
            <a:pPr algn="ctr" defTabSz="685511">
              <a:defRPr/>
            </a:pPr>
            <a:r>
              <a:rPr kumimoji="1" lang="es" sz="900" b="1" dirty="0">
                <a:solidFill>
                  <a:srgbClr val="FFFFFF"/>
                </a:solidFill>
                <a:cs typeface="Calibri" panose="020F0502020204030204" pitchFamily="34" charset="0"/>
              </a:rPr>
              <a:t>Favorece el </a:t>
            </a:r>
            <a:r>
              <a:rPr kumimoji="1" lang="en-US" sz="900" b="1" dirty="0">
                <a:solidFill>
                  <a:srgbClr val="FFFFFF"/>
                </a:solidFill>
                <a:cs typeface="Calibri" panose="020F0502020204030204" pitchFamily="34" charset="0"/>
              </a:rPr>
              <a:t/>
            </a:r>
            <a:br>
              <a:rPr kumimoji="1" lang="en-US" sz="900" b="1" dirty="0">
                <a:solidFill>
                  <a:srgbClr val="FFFFFF"/>
                </a:solidFill>
                <a:cs typeface="Calibri" panose="020F0502020204030204" pitchFamily="34" charset="0"/>
              </a:rPr>
            </a:br>
            <a:r>
              <a:rPr kumimoji="1" lang="es" sz="900" b="1" dirty="0">
                <a:solidFill>
                  <a:srgbClr val="FFFFFF"/>
                </a:solidFill>
                <a:cs typeface="Calibri" panose="020F0502020204030204" pitchFamily="34" charset="0"/>
              </a:rPr>
              <a:t>placebo</a:t>
            </a:r>
            <a:endParaRPr kumimoji="1" lang="en-US" sz="900" dirty="0">
              <a:solidFill>
                <a:srgbClr val="000000"/>
              </a:solidFill>
              <a:cs typeface="Calibri" panose="020F0502020204030204" pitchFamily="34" charset="0"/>
            </a:endParaRPr>
          </a:p>
        </p:txBody>
      </p:sp>
      <p:sp>
        <p:nvSpPr>
          <p:cNvPr id="106" name="TextBox 105">
            <a:extLst>
              <a:ext uri="{FF2B5EF4-FFF2-40B4-BE49-F238E27FC236}">
                <a16:creationId xmlns="" xmlns:a16="http://schemas.microsoft.com/office/drawing/2014/main" id="{EDFD5900-E5B9-50F9-EF01-681DACED2AAD}"/>
              </a:ext>
            </a:extLst>
          </p:cNvPr>
          <p:cNvSpPr txBox="1"/>
          <p:nvPr/>
        </p:nvSpPr>
        <p:spPr>
          <a:xfrm>
            <a:off x="7170417" y="835633"/>
            <a:ext cx="649067" cy="484748"/>
          </a:xfrm>
          <a:prstGeom prst="rect">
            <a:avLst/>
          </a:prstGeom>
          <a:solidFill>
            <a:srgbClr val="0070C0"/>
          </a:solidFill>
        </p:spPr>
        <p:txBody>
          <a:bodyPr wrap="square" lIns="0" tIns="34289" rIns="0" bIns="34289">
            <a:spAutoFit/>
          </a:bodyPr>
          <a:lstStyle/>
          <a:p>
            <a:pPr algn="ctr" defTabSz="685511">
              <a:defRPr/>
            </a:pPr>
            <a:r>
              <a:rPr kumimoji="1" lang="en-US" sz="900" b="1" dirty="0">
                <a:solidFill>
                  <a:srgbClr val="FFFFFF"/>
                </a:solidFill>
                <a:cs typeface="Calibri" panose="020F0502020204030204" pitchFamily="34" charset="0"/>
              </a:rPr>
              <a:t/>
            </a:r>
            <a:br>
              <a:rPr kumimoji="1" lang="en-US" sz="900" b="1" dirty="0">
                <a:solidFill>
                  <a:srgbClr val="FFFFFF"/>
                </a:solidFill>
                <a:cs typeface="Calibri" panose="020F0502020204030204" pitchFamily="34" charset="0"/>
              </a:rPr>
            </a:br>
            <a:r>
              <a:rPr kumimoji="1" lang="es" sz="900" b="1" dirty="0">
                <a:solidFill>
                  <a:srgbClr val="FFFFFF"/>
                </a:solidFill>
                <a:cs typeface="Calibri" panose="020F0502020204030204" pitchFamily="34" charset="0"/>
              </a:rPr>
              <a:t>FavoresTAK-003</a:t>
            </a:r>
            <a:endParaRPr kumimoji="1" lang="en-US" sz="900" dirty="0">
              <a:solidFill>
                <a:srgbClr val="000000"/>
              </a:solidFill>
              <a:cs typeface="Calibri" panose="020F0502020204030204" pitchFamily="34" charset="0"/>
            </a:endParaRPr>
          </a:p>
        </p:txBody>
      </p:sp>
      <p:sp>
        <p:nvSpPr>
          <p:cNvPr id="107" name="Freeform: Shape 106">
            <a:extLst>
              <a:ext uri="{FF2B5EF4-FFF2-40B4-BE49-F238E27FC236}">
                <a16:creationId xmlns="" xmlns:a16="http://schemas.microsoft.com/office/drawing/2014/main" id="{C627FB3B-C466-F346-275E-EB96023ACEC6}"/>
              </a:ext>
            </a:extLst>
          </p:cNvPr>
          <p:cNvSpPr/>
          <p:nvPr/>
        </p:nvSpPr>
        <p:spPr>
          <a:xfrm>
            <a:off x="7163391" y="849574"/>
            <a:ext cx="34289" cy="3381510"/>
          </a:xfrm>
          <a:custGeom>
            <a:avLst/>
            <a:gdLst>
              <a:gd name="connsiteX0" fmla="*/ 0 w 12900"/>
              <a:gd name="connsiteY0" fmla="*/ 0 h 3419646"/>
              <a:gd name="connsiteX1" fmla="*/ 0 w 12900"/>
              <a:gd name="connsiteY1" fmla="*/ 3419647 h 3419646"/>
            </a:gdLst>
            <a:ahLst/>
            <a:cxnLst>
              <a:cxn ang="0">
                <a:pos x="connsiteX0" y="connsiteY0"/>
              </a:cxn>
              <a:cxn ang="0">
                <a:pos x="connsiteX1" y="connsiteY1"/>
              </a:cxn>
            </a:cxnLst>
            <a:rect l="l" t="t" r="r" b="b"/>
            <a:pathLst>
              <a:path w="12900" h="3419646">
                <a:moveTo>
                  <a:pt x="0" y="0"/>
                </a:moveTo>
                <a:lnTo>
                  <a:pt x="0" y="3419647"/>
                </a:lnTo>
              </a:path>
            </a:pathLst>
          </a:custGeom>
          <a:ln w="12760" cap="flat">
            <a:solidFill>
              <a:srgbClr val="000000"/>
            </a:solidFill>
            <a:prstDash val="sysDot"/>
            <a:miter/>
          </a:ln>
        </p:spPr>
        <p:txBody>
          <a:bodyPr lIns="68555" tIns="34289" rIns="68555" bIns="34289" rtlCol="0" anchor="ctr"/>
          <a:lstStyle/>
          <a:p>
            <a:pPr defTabSz="685511">
              <a:defRPr/>
            </a:pPr>
            <a:endParaRPr kumimoji="1" lang="en-US" sz="1400">
              <a:solidFill>
                <a:srgbClr val="000000"/>
              </a:solidFill>
              <a:cs typeface="Calibri" panose="020F0502020204030204" pitchFamily="34" charset="0"/>
            </a:endParaRPr>
          </a:p>
        </p:txBody>
      </p:sp>
    </p:spTree>
    <p:extLst>
      <p:ext uri="{BB962C8B-B14F-4D97-AF65-F5344CB8AC3E}">
        <p14:creationId xmlns:p14="http://schemas.microsoft.com/office/powerpoint/2010/main" val="3090962497"/>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9203F948-0A0D-4179-96BB-AB288371120D}"/>
              </a:ext>
            </a:extLst>
          </p:cNvPr>
          <p:cNvGraphicFramePr>
            <a:graphicFrameLocks noChangeAspect="1"/>
          </p:cNvGraphicFramePr>
          <p:nvPr>
            <p:custDataLst>
              <p:tags r:id="rId2"/>
            </p:custDataLst>
          </p:nvPr>
        </p:nvGraphicFramePr>
        <p:xfrm>
          <a:off x="1193" y="1193"/>
          <a:ext cx="1191" cy="1191"/>
        </p:xfrm>
        <a:graphic>
          <a:graphicData uri="http://schemas.openxmlformats.org/presentationml/2006/ole">
            <mc:AlternateContent xmlns:mc="http://schemas.openxmlformats.org/markup-compatibility/2006">
              <mc:Choice xmlns:v="urn:schemas-microsoft-com:vml" Requires="v">
                <p:oleObj spid="_x0000_s25668" name="Diapositiva de think-cell" r:id="rId5" imgW="347" imgH="348" progId="TCLayout.ActiveDocument.1">
                  <p:embed/>
                </p:oleObj>
              </mc:Choice>
              <mc:Fallback>
                <p:oleObj name="Diapositiva de think-cell" r:id="rId5" imgW="347" imgH="348" progId="TCLayout.ActiveDocument.1">
                  <p:embed/>
                  <p:pic>
                    <p:nvPicPr>
                      <p:cNvPr id="0" name=""/>
                      <p:cNvPicPr/>
                      <p:nvPr/>
                    </p:nvPicPr>
                    <p:blipFill>
                      <a:blip r:embed="rId6"/>
                      <a:stretch>
                        <a:fillRect/>
                      </a:stretch>
                    </p:blipFill>
                    <p:spPr>
                      <a:xfrm>
                        <a:off x="1193" y="1193"/>
                        <a:ext cx="1191" cy="1191"/>
                      </a:xfrm>
                      <a:prstGeom prst="rect">
                        <a:avLst/>
                      </a:prstGeom>
                    </p:spPr>
                  </p:pic>
                </p:oleObj>
              </mc:Fallback>
            </mc:AlternateContent>
          </a:graphicData>
        </a:graphic>
      </p:graphicFrame>
      <p:sp>
        <p:nvSpPr>
          <p:cNvPr id="9" name="Text Placeholder 8">
            <a:extLst>
              <a:ext uri="{FF2B5EF4-FFF2-40B4-BE49-F238E27FC236}">
                <a16:creationId xmlns="" xmlns:a16="http://schemas.microsoft.com/office/drawing/2014/main" id="{6A0D20B5-590B-4B0C-889D-337434A6DF07}"/>
              </a:ext>
            </a:extLst>
          </p:cNvPr>
          <p:cNvSpPr>
            <a:spLocks noGrp="1"/>
          </p:cNvSpPr>
          <p:nvPr>
            <p:ph type="body" sz="quarter" idx="15"/>
          </p:nvPr>
        </p:nvSpPr>
        <p:spPr>
          <a:xfrm>
            <a:off x="343961" y="3469422"/>
            <a:ext cx="8313658" cy="1674078"/>
          </a:xfrm>
        </p:spPr>
        <p:txBody>
          <a:bodyPr/>
          <a:lstStyle/>
          <a:p>
            <a:r>
              <a:rPr lang="es-MX" sz="1100" dirty="0"/>
              <a:t>N se refiere al número de participantes en el conjunto de seguridad </a:t>
            </a:r>
          </a:p>
          <a:p>
            <a:r>
              <a:rPr lang="es-MX" sz="1100" dirty="0"/>
              <a:t>Los números de casos de dengue virológicamente confirmados (VCD) son basados en el número de participantes evaluados.</a:t>
            </a:r>
          </a:p>
          <a:p>
            <a:r>
              <a:rPr lang="es-MX" sz="1100" dirty="0"/>
              <a:t>Seronegativos al inicio del estudio: seronegativos para los cuatro serotipos del dengue; Seropositivos al inicio del estudio: títulos neutralizantes recíprocos ≥10 para uno o más serotipos del dengue.</a:t>
            </a:r>
          </a:p>
          <a:p>
            <a:r>
              <a:rPr lang="es-MX" sz="1100" dirty="0"/>
              <a:t>IC: intervalo de confianza; DENV: virus dengue; NE: no evaluable; EV: eficacia </a:t>
            </a:r>
            <a:r>
              <a:rPr lang="es-MX" sz="1100" dirty="0" err="1"/>
              <a:t>vacunal</a:t>
            </a:r>
            <a:r>
              <a:rPr lang="es-MX" sz="1100" dirty="0"/>
              <a:t>; VCD: dengue virológicamente confirmado; DCAC: Comité de Adjudicación de Casos de Dengue; DH (DHF): dengue hemorrágico; OMS: Organización Mundial de la Salud </a:t>
            </a:r>
          </a:p>
          <a:p>
            <a:pPr marL="171382" indent="-171382">
              <a:buFont typeface="+mj-lt"/>
              <a:buAutoNum type="arabicPeriod"/>
            </a:pPr>
            <a:r>
              <a:rPr lang="en-US" sz="700" dirty="0"/>
              <a:t>Rivera L, et al. Three years efficacy and safety of Takeda's dengue vaccine candidate (TAK-003). </a:t>
            </a:r>
            <a:r>
              <a:rPr lang="en-US" sz="700" dirty="0" err="1"/>
              <a:t>Clin</a:t>
            </a:r>
            <a:r>
              <a:rPr lang="en-US" sz="700" dirty="0"/>
              <a:t> Infect Dis 2021 Oct 4;ciab864. </a:t>
            </a:r>
            <a:endParaRPr lang="en-GB" sz="700" dirty="0"/>
          </a:p>
        </p:txBody>
      </p:sp>
      <p:sp>
        <p:nvSpPr>
          <p:cNvPr id="2" name="Title 1">
            <a:extLst>
              <a:ext uri="{FF2B5EF4-FFF2-40B4-BE49-F238E27FC236}">
                <a16:creationId xmlns="" xmlns:a16="http://schemas.microsoft.com/office/drawing/2014/main" id="{0D70F46A-8390-46E4-B2C7-211DAF898DFB}"/>
              </a:ext>
            </a:extLst>
          </p:cNvPr>
          <p:cNvSpPr>
            <a:spLocks noGrp="1"/>
          </p:cNvSpPr>
          <p:nvPr>
            <p:ph type="title"/>
          </p:nvPr>
        </p:nvSpPr>
        <p:spPr>
          <a:xfrm>
            <a:off x="454558" y="202179"/>
            <a:ext cx="7049000" cy="378293"/>
          </a:xfrm>
        </p:spPr>
        <p:txBody>
          <a:bodyPr vert="horz">
            <a:normAutofit fontScale="90000"/>
          </a:bodyPr>
          <a:lstStyle/>
          <a:p>
            <a:r>
              <a:rPr lang="es-MX" sz="2300" b="1" dirty="0">
                <a:solidFill>
                  <a:schemeClr val="tx1"/>
                </a:solidFill>
              </a:rPr>
              <a:t>Eficacia contra formas de dengue grave</a:t>
            </a:r>
            <a:r>
              <a:rPr lang="es-MX" sz="2300" b="1" baseline="30000" dirty="0">
                <a:solidFill>
                  <a:schemeClr val="tx1"/>
                </a:solidFill>
              </a:rPr>
              <a:t>1</a:t>
            </a:r>
            <a:r>
              <a:rPr lang="es-MX" b="1" dirty="0">
                <a:solidFill>
                  <a:schemeClr val="tx1"/>
                </a:solidFill>
              </a:rPr>
              <a:t/>
            </a:r>
            <a:br>
              <a:rPr lang="es-MX" b="1" dirty="0">
                <a:solidFill>
                  <a:schemeClr val="tx1"/>
                </a:solidFill>
              </a:rPr>
            </a:br>
            <a:r>
              <a:rPr lang="es-MX" sz="1500" dirty="0">
                <a:solidFill>
                  <a:schemeClr val="tx1"/>
                </a:solidFill>
              </a:rPr>
              <a:t>Hasta 57 meses después de la primera dosis (Conjunto de Seguridad)</a:t>
            </a:r>
          </a:p>
        </p:txBody>
      </p:sp>
      <p:graphicFrame>
        <p:nvGraphicFramePr>
          <p:cNvPr id="10" name="Table 604">
            <a:extLst>
              <a:ext uri="{FF2B5EF4-FFF2-40B4-BE49-F238E27FC236}">
                <a16:creationId xmlns="" xmlns:a16="http://schemas.microsoft.com/office/drawing/2014/main" id="{0EDF9B72-C820-4991-AB5C-4A0FEECE5E8C}"/>
              </a:ext>
            </a:extLst>
          </p:cNvPr>
          <p:cNvGraphicFramePr>
            <a:graphicFrameLocks noGrp="1"/>
          </p:cNvGraphicFramePr>
          <p:nvPr>
            <p:ph idx="4294967295"/>
            <p:extLst>
              <p:ext uri="{D42A27DB-BD31-4B8C-83A1-F6EECF244321}">
                <p14:modId xmlns:p14="http://schemas.microsoft.com/office/powerpoint/2010/main" val="3541852403"/>
              </p:ext>
            </p:extLst>
          </p:nvPr>
        </p:nvGraphicFramePr>
        <p:xfrm>
          <a:off x="501321" y="883588"/>
          <a:ext cx="8313659" cy="2293620"/>
        </p:xfrm>
        <a:graphic>
          <a:graphicData uri="http://schemas.openxmlformats.org/drawingml/2006/table">
            <a:tbl>
              <a:tblPr firstRow="1" bandRow="1">
                <a:tableStyleId>{B301B821-A1FF-4177-AEE7-76D212191A09}</a:tableStyleId>
              </a:tblPr>
              <a:tblGrid>
                <a:gridCol w="2390651">
                  <a:extLst>
                    <a:ext uri="{9D8B030D-6E8A-4147-A177-3AD203B41FA5}">
                      <a16:colId xmlns="" xmlns:a16="http://schemas.microsoft.com/office/drawing/2014/main" val="3035099096"/>
                    </a:ext>
                  </a:extLst>
                </a:gridCol>
                <a:gridCol w="1943650">
                  <a:extLst>
                    <a:ext uri="{9D8B030D-6E8A-4147-A177-3AD203B41FA5}">
                      <a16:colId xmlns="" xmlns:a16="http://schemas.microsoft.com/office/drawing/2014/main" val="1632877924"/>
                    </a:ext>
                  </a:extLst>
                </a:gridCol>
                <a:gridCol w="1900943">
                  <a:extLst>
                    <a:ext uri="{9D8B030D-6E8A-4147-A177-3AD203B41FA5}">
                      <a16:colId xmlns="" xmlns:a16="http://schemas.microsoft.com/office/drawing/2014/main" val="3258664619"/>
                    </a:ext>
                  </a:extLst>
                </a:gridCol>
                <a:gridCol w="2078415">
                  <a:extLst>
                    <a:ext uri="{9D8B030D-6E8A-4147-A177-3AD203B41FA5}">
                      <a16:colId xmlns="" xmlns:a16="http://schemas.microsoft.com/office/drawing/2014/main" val="1770626393"/>
                    </a:ext>
                  </a:extLst>
                </a:gridCol>
              </a:tblGrid>
              <a:tr h="556260">
                <a:tc>
                  <a:txBody>
                    <a:bodyPr/>
                    <a:lstStyle/>
                    <a:p>
                      <a:r>
                        <a:rPr lang="es-MX" sz="1600" noProof="0" dirty="0">
                          <a:latin typeface="+mj-lt"/>
                        </a:rPr>
                        <a:t>Subgrupo</a:t>
                      </a:r>
                    </a:p>
                  </a:txBody>
                  <a:tcPr marL="68580" marR="68580" marT="34290" marB="34290" anchor="ctr">
                    <a:lnL w="6350" cap="flat" cmpd="sng" algn="ctr">
                      <a:solidFill>
                        <a:srgbClr val="EE1100"/>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70C0"/>
                    </a:solidFill>
                  </a:tcPr>
                </a:tc>
                <a:tc>
                  <a:txBody>
                    <a:bodyPr/>
                    <a:lstStyle/>
                    <a:p>
                      <a:pPr algn="ctr" fontAlgn="b"/>
                      <a:r>
                        <a:rPr lang="es-MX" sz="1600" b="1" u="none" strike="noStrike" noProof="0" dirty="0">
                          <a:solidFill>
                            <a:schemeClr val="bg1"/>
                          </a:solidFill>
                          <a:effectLst/>
                          <a:latin typeface="+mj-lt"/>
                        </a:rPr>
                        <a:t>Placebo</a:t>
                      </a:r>
                    </a:p>
                    <a:p>
                      <a:pPr algn="ctr" fontAlgn="b"/>
                      <a:r>
                        <a:rPr lang="es-MX" sz="1600" b="1" u="none" strike="noStrike" kern="1200" noProof="0" dirty="0">
                          <a:solidFill>
                            <a:schemeClr val="bg1"/>
                          </a:solidFill>
                          <a:effectLst/>
                          <a:latin typeface="+mj-lt"/>
                          <a:ea typeface="+mn-ea"/>
                          <a:cs typeface="+mn-cs"/>
                        </a:rPr>
                        <a:t>(n=6,687)</a:t>
                      </a:r>
                    </a:p>
                  </a:txBody>
                  <a:tcPr marL="7144" marR="7144" marT="7144"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70C0"/>
                    </a:solidFill>
                  </a:tcPr>
                </a:tc>
                <a:tc>
                  <a:txBody>
                    <a:bodyPr/>
                    <a:lstStyle/>
                    <a:p>
                      <a:pPr algn="ctr" fontAlgn="b"/>
                      <a:r>
                        <a:rPr lang="es-MX" sz="1600" b="1" u="none" strike="noStrike" noProof="0" dirty="0">
                          <a:solidFill>
                            <a:schemeClr val="bg1"/>
                          </a:solidFill>
                          <a:effectLst/>
                          <a:latin typeface="+mj-lt"/>
                        </a:rPr>
                        <a:t>TAK-003</a:t>
                      </a:r>
                    </a:p>
                    <a:p>
                      <a:pPr marL="0" algn="ctr" defTabSz="1218927" rtl="0" eaLnBrk="1" fontAlgn="b" latinLnBrk="0" hangingPunct="1"/>
                      <a:r>
                        <a:rPr lang="es-MX" sz="1600" b="1" u="none" strike="noStrike" kern="1200" noProof="0" dirty="0">
                          <a:solidFill>
                            <a:schemeClr val="bg1"/>
                          </a:solidFill>
                          <a:effectLst/>
                          <a:latin typeface="+mj-lt"/>
                          <a:ea typeface="+mn-ea"/>
                          <a:cs typeface="+mn-cs"/>
                        </a:rPr>
                        <a:t>(n=13,380)</a:t>
                      </a:r>
                    </a:p>
                  </a:txBody>
                  <a:tcPr marL="7144" marR="7144" marT="7144"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70C0"/>
                    </a:solidFill>
                  </a:tcPr>
                </a:tc>
                <a:tc>
                  <a:txBody>
                    <a:bodyPr/>
                    <a:lstStyle/>
                    <a:p>
                      <a:pPr marL="0" marR="0" lvl="0" indent="0" algn="ctr" defTabSz="1218927" rtl="0" eaLnBrk="1" fontAlgn="auto" latinLnBrk="0" hangingPunct="1">
                        <a:lnSpc>
                          <a:spcPct val="100000"/>
                        </a:lnSpc>
                        <a:spcBef>
                          <a:spcPts val="0"/>
                        </a:spcBef>
                        <a:spcAft>
                          <a:spcPts val="0"/>
                        </a:spcAft>
                        <a:buClrTx/>
                        <a:buSzTx/>
                        <a:buFontTx/>
                        <a:buNone/>
                        <a:tabLst/>
                        <a:defRPr/>
                      </a:pPr>
                      <a:r>
                        <a:rPr lang="es-MX" sz="1600" noProof="0" dirty="0">
                          <a:solidFill>
                            <a:schemeClr val="bg1"/>
                          </a:solidFill>
                          <a:latin typeface="+mj-lt"/>
                        </a:rPr>
                        <a:t>EV </a:t>
                      </a:r>
                      <a:br>
                        <a:rPr lang="es-MX" sz="1600" noProof="0" dirty="0">
                          <a:solidFill>
                            <a:schemeClr val="bg1"/>
                          </a:solidFill>
                          <a:latin typeface="+mj-lt"/>
                        </a:rPr>
                      </a:br>
                      <a:r>
                        <a:rPr lang="es-MX" sz="1600" noProof="0" dirty="0">
                          <a:solidFill>
                            <a:schemeClr val="bg1"/>
                          </a:solidFill>
                          <a:latin typeface="+mj-lt"/>
                        </a:rPr>
                        <a:t>(IC del 95%)</a:t>
                      </a:r>
                    </a:p>
                  </a:txBody>
                  <a:tcPr marL="68580" marR="68580" marT="34290" marB="34290" anchor="ctr">
                    <a:lnL w="6350" cap="flat" cmpd="sng" algn="ctr">
                      <a:solidFill>
                        <a:schemeClr val="bg1"/>
                      </a:solidFill>
                      <a:prstDash val="solid"/>
                      <a:round/>
                      <a:headEnd type="none" w="med" len="med"/>
                      <a:tailEnd type="none" w="med" len="med"/>
                    </a:lnL>
                    <a:lnR w="6350" cap="flat" cmpd="sng" algn="ctr">
                      <a:solidFill>
                        <a:srgbClr val="EE1100"/>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70C0"/>
                    </a:solidFill>
                  </a:tcPr>
                </a:tc>
                <a:extLst>
                  <a:ext uri="{0D108BD9-81ED-4DB2-BD59-A6C34878D82A}">
                    <a16:rowId xmlns="" xmlns:a16="http://schemas.microsoft.com/office/drawing/2014/main" val="694705084"/>
                  </a:ext>
                </a:extLst>
              </a:tr>
              <a:tr h="312420">
                <a:tc gridSpan="4">
                  <a:txBody>
                    <a:bodyPr/>
                    <a:lstStyle/>
                    <a:p>
                      <a:r>
                        <a:rPr lang="es-MX" sz="1600" noProof="0" dirty="0">
                          <a:latin typeface="+mj-lt"/>
                        </a:rPr>
                        <a:t>Formas de dengue grave virológicamente confirmadas (por 100 personas-año)</a:t>
                      </a:r>
                    </a:p>
                  </a:txBody>
                  <a:tcPr marL="68580" marR="68580" marT="34290" marB="3429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hMerge="1">
                  <a:txBody>
                    <a:bodyPr/>
                    <a:lstStyle/>
                    <a:p>
                      <a:endParaRPr lang="en-SG"/>
                    </a:p>
                  </a:txBody>
                  <a:tcPr>
                    <a:lnL w="6350" cap="flat" cmpd="sng" algn="ctr">
                      <a:solidFill>
                        <a:srgbClr val="EE1100"/>
                      </a:solidFill>
                      <a:prstDash val="solid"/>
                      <a:round/>
                      <a:headEnd type="none" w="med" len="med"/>
                      <a:tailEnd type="none" w="med" len="med"/>
                    </a:lnL>
                    <a:lnT w="12700" cmpd="sng">
                      <a:noFill/>
                    </a:lnT>
                  </a:tcPr>
                </a:tc>
                <a:tc hMerge="1">
                  <a:txBody>
                    <a:bodyPr/>
                    <a:lstStyle/>
                    <a:p>
                      <a:endParaRPr lang="en-SG"/>
                    </a:p>
                  </a:txBody>
                  <a:tcPr>
                    <a:lnL w="6350" cap="flat" cmpd="sng" algn="ctr">
                      <a:solidFill>
                        <a:srgbClr val="EE1100"/>
                      </a:solidFill>
                      <a:prstDash val="solid"/>
                      <a:round/>
                      <a:headEnd type="none" w="med" len="med"/>
                      <a:tailEnd type="none" w="med" len="med"/>
                    </a:lnL>
                    <a:lnT w="12700" cmpd="sng">
                      <a:noFill/>
                    </a:lnT>
                  </a:tcPr>
                </a:tc>
                <a:tc hMerge="1">
                  <a:txBody>
                    <a:bodyPr/>
                    <a:lstStyle/>
                    <a:p>
                      <a:endParaRPr lang="en-GB"/>
                    </a:p>
                  </a:txBody>
                  <a:tcPr/>
                </a:tc>
                <a:extLst>
                  <a:ext uri="{0D108BD9-81ED-4DB2-BD59-A6C34878D82A}">
                    <a16:rowId xmlns="" xmlns:a16="http://schemas.microsoft.com/office/drawing/2014/main" val="2049332393"/>
                  </a:ext>
                </a:extLst>
              </a:tr>
              <a:tr h="312420">
                <a:tc>
                  <a:txBody>
                    <a:bodyPr/>
                    <a:lstStyle/>
                    <a:p>
                      <a:pPr marL="0" marR="0" lvl="0" indent="0" algn="r" defTabSz="1218927" rtl="0" eaLnBrk="1" fontAlgn="auto" latinLnBrk="0" hangingPunct="1">
                        <a:lnSpc>
                          <a:spcPct val="100000"/>
                        </a:lnSpc>
                        <a:spcBef>
                          <a:spcPts val="0"/>
                        </a:spcBef>
                        <a:spcAft>
                          <a:spcPts val="0"/>
                        </a:spcAft>
                        <a:buClrTx/>
                        <a:buSzTx/>
                        <a:buFontTx/>
                        <a:buNone/>
                        <a:tabLst/>
                        <a:defRPr/>
                      </a:pPr>
                      <a:r>
                        <a:rPr lang="es-MX" sz="1600" b="1" u="none" strike="noStrike" noProof="0" dirty="0">
                          <a:effectLst/>
                          <a:latin typeface="+mj-lt"/>
                        </a:rPr>
                        <a:t>Dengue grave (DCAC)</a:t>
                      </a:r>
                    </a:p>
                  </a:txBody>
                  <a:tcPr marL="68580" marR="68580" marT="34290" marB="3429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s-MX" sz="1600" noProof="0" dirty="0">
                          <a:latin typeface="+mj-lt"/>
                        </a:rPr>
                        <a:t>5 (&lt;0.1)</a:t>
                      </a:r>
                    </a:p>
                  </a:txBody>
                  <a:tcPr marL="68580" marR="68580" marT="34290" marB="3429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s-MX" sz="1600" noProof="0" dirty="0">
                          <a:latin typeface="+mj-lt"/>
                        </a:rPr>
                        <a:t>3 (&lt;0.1)</a:t>
                      </a:r>
                    </a:p>
                  </a:txBody>
                  <a:tcPr marL="68580" marR="68580" marT="34290" marB="3429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s-MX" sz="1600" b="1" noProof="0" dirty="0">
                          <a:latin typeface="+mj-lt"/>
                        </a:rPr>
                        <a:t> 70.2</a:t>
                      </a:r>
                      <a:r>
                        <a:rPr lang="es-MX" sz="1600" noProof="0" dirty="0">
                          <a:latin typeface="+mj-lt"/>
                        </a:rPr>
                        <a:t> (</a:t>
                      </a:r>
                      <a:r>
                        <a:rPr lang="es-MX" sz="1600" noProof="0" dirty="0">
                          <a:latin typeface="+mj-lt"/>
                          <a:cs typeface="Times New Roman" panose="02020603050405020304" pitchFamily="18" charset="0"/>
                        </a:rPr>
                        <a:t>−</a:t>
                      </a:r>
                      <a:r>
                        <a:rPr lang="es-MX" sz="1600" noProof="0" dirty="0">
                          <a:latin typeface="+mj-lt"/>
                        </a:rPr>
                        <a:t>24.7, 92.9)</a:t>
                      </a:r>
                    </a:p>
                  </a:txBody>
                  <a:tcPr marL="68580" marR="68580" marT="34290" marB="3429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 xmlns:a16="http://schemas.microsoft.com/office/drawing/2014/main" val="1516670499"/>
                  </a:ext>
                </a:extLst>
              </a:tr>
              <a:tr h="556260">
                <a:tc>
                  <a:txBody>
                    <a:bodyPr/>
                    <a:lstStyle/>
                    <a:p>
                      <a:pPr marL="0" marR="0" lvl="0" indent="0" algn="r" defTabSz="1218927" rtl="0" eaLnBrk="1" fontAlgn="auto" latinLnBrk="0" hangingPunct="1">
                        <a:lnSpc>
                          <a:spcPct val="100000"/>
                        </a:lnSpc>
                        <a:spcBef>
                          <a:spcPts val="0"/>
                        </a:spcBef>
                        <a:spcAft>
                          <a:spcPts val="0"/>
                        </a:spcAft>
                        <a:buClrTx/>
                        <a:buSzTx/>
                        <a:buFontTx/>
                        <a:buNone/>
                        <a:tabLst/>
                        <a:defRPr/>
                      </a:pPr>
                      <a:r>
                        <a:rPr lang="es-MX" sz="1600" b="1" u="none" strike="noStrike" noProof="0" dirty="0">
                          <a:effectLst/>
                          <a:latin typeface="+mj-lt"/>
                        </a:rPr>
                        <a:t>DH (criterios de la OMS 1997)</a:t>
                      </a:r>
                      <a:endParaRPr lang="es-MX" sz="1600" b="1" noProof="0" dirty="0">
                        <a:latin typeface="+mj-lt"/>
                      </a:endParaRPr>
                    </a:p>
                  </a:txBody>
                  <a:tcPr marL="68580" marR="68580" marT="34290" marB="3429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MX" sz="1600" noProof="0" dirty="0">
                          <a:latin typeface="+mj-lt"/>
                        </a:rPr>
                        <a:t>15 (&lt;0.1)</a:t>
                      </a:r>
                    </a:p>
                  </a:txBody>
                  <a:tcPr marL="68580" marR="68580" marT="34290" marB="3429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MX" sz="1600" noProof="0">
                          <a:latin typeface="+mj-lt"/>
                        </a:rPr>
                        <a:t>9 (&lt;0.1)</a:t>
                      </a:r>
                    </a:p>
                  </a:txBody>
                  <a:tcPr marL="68580" marR="68580" marT="34290" marB="3429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MX" sz="1600" b="1" noProof="0" dirty="0">
                          <a:latin typeface="+mj-lt"/>
                        </a:rPr>
                        <a:t>70.0</a:t>
                      </a:r>
                      <a:r>
                        <a:rPr lang="es-MX" sz="1600" noProof="0" dirty="0">
                          <a:latin typeface="+mj-lt"/>
                        </a:rPr>
                        <a:t> (31.5, 86.9)</a:t>
                      </a:r>
                    </a:p>
                  </a:txBody>
                  <a:tcPr marL="68580" marR="68580" marT="34290" marB="3429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251814577"/>
                  </a:ext>
                </a:extLst>
              </a:tr>
              <a:tr h="556260">
                <a:tc>
                  <a:txBody>
                    <a:bodyPr/>
                    <a:lstStyle/>
                    <a:p>
                      <a:pPr marL="0" marR="0" lvl="0" indent="0" algn="r" defTabSz="1218927" rtl="0" eaLnBrk="1" fontAlgn="auto" latinLnBrk="0" hangingPunct="1">
                        <a:lnSpc>
                          <a:spcPct val="100000"/>
                        </a:lnSpc>
                        <a:spcBef>
                          <a:spcPts val="0"/>
                        </a:spcBef>
                        <a:spcAft>
                          <a:spcPts val="0"/>
                        </a:spcAft>
                        <a:buClrTx/>
                        <a:buSzTx/>
                        <a:buFontTx/>
                        <a:buNone/>
                        <a:tabLst/>
                        <a:defRPr/>
                      </a:pPr>
                      <a:r>
                        <a:rPr lang="es-MX" sz="1600" b="1" noProof="0">
                          <a:latin typeface="+mj-lt"/>
                        </a:rPr>
                        <a:t>Casos con ambas definiciones</a:t>
                      </a:r>
                    </a:p>
                  </a:txBody>
                  <a:tcPr marL="68580" marR="68580" marT="34290" marB="3429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mpd="sng">
                      <a:noFill/>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1600" noProof="0" dirty="0">
                          <a:latin typeface="+mj-lt"/>
                        </a:rPr>
                        <a:t>                    1</a:t>
                      </a:r>
                    </a:p>
                  </a:txBody>
                  <a:tcPr marL="68580" marR="68580" marT="34290" marB="3429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mpd="sng">
                      <a:noFill/>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MX" sz="1600" noProof="0" dirty="0">
                          <a:latin typeface="+mj-lt"/>
                        </a:rPr>
                        <a:t>                   2</a:t>
                      </a:r>
                    </a:p>
                  </a:txBody>
                  <a:tcPr marL="68580" marR="68580" marT="34290" marB="3429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mpd="sng">
                      <a:noFill/>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s-MX" sz="1600" noProof="0" dirty="0">
                        <a:latin typeface="+mj-lt"/>
                      </a:endParaRPr>
                    </a:p>
                  </a:txBody>
                  <a:tcPr marL="68580" marR="68580" marT="34290" marB="3429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mpd="sng">
                      <a:noFill/>
                    </a:lnT>
                    <a:lnB w="635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2171095513"/>
                  </a:ext>
                </a:extLst>
              </a:tr>
            </a:tbl>
          </a:graphicData>
        </a:graphic>
      </p:graphicFrame>
    </p:spTree>
    <p:extLst>
      <p:ext uri="{BB962C8B-B14F-4D97-AF65-F5344CB8AC3E}">
        <p14:creationId xmlns:p14="http://schemas.microsoft.com/office/powerpoint/2010/main" val="12169844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63D44756-8A22-4D89-BBEB-4EBBDE439A2B}"/>
              </a:ext>
            </a:extLst>
          </p:cNvPr>
          <p:cNvSpPr>
            <a:spLocks noGrp="1"/>
          </p:cNvSpPr>
          <p:nvPr>
            <p:ph type="body" sz="quarter" idx="14"/>
          </p:nvPr>
        </p:nvSpPr>
        <p:spPr>
          <a:xfrm>
            <a:off x="395288" y="4545204"/>
            <a:ext cx="7682798" cy="340727"/>
          </a:xfrm>
        </p:spPr>
        <p:txBody>
          <a:bodyPr/>
          <a:lstStyle/>
          <a:p>
            <a:r>
              <a:rPr lang="es" dirty="0"/>
              <a:t>*El total incluye cuatro participantes que recibieron un producto de investigación diferente por error para la 1ª y 2ª dosis y, por lo tanto, fueron excluidos del grupo placebo y TAK-003; †Título neutralizante recíproco ≥10 para uno o más serotipos de DENV al inicio del estudio; </a:t>
            </a:r>
            <a:r>
              <a:rPr lang="es" baseline="30000" dirty="0"/>
              <a:t> ‡</a:t>
            </a:r>
            <a:r>
              <a:rPr lang="es" dirty="0"/>
              <a:t>Seronegativo a los cuatro serotipos de DENV al inicio del estudio; **Relación con la vacuna del ensayo según lo evaluado por el investigador; ††Seis muertes ocurrieron en el grupo placebo y 11 muertes ocurrieron en el grupo TAK-003; ninguna de las muertes se consideró relacionada con TAK-003</a:t>
            </a:r>
          </a:p>
          <a:p>
            <a:r>
              <a:rPr lang="es" dirty="0"/>
              <a:t>DENV: virus del dengue; EAG: evento adverso grave. </a:t>
            </a:r>
            <a:r>
              <a:rPr lang="en-US" dirty="0"/>
              <a:t/>
            </a:r>
            <a:br>
              <a:rPr lang="en-US" dirty="0"/>
            </a:br>
            <a:r>
              <a:rPr lang="es" dirty="0"/>
              <a:t>Tricou V, Biswal S, Lloyd E, Rauscher M, Folschweiller N. Eficacia y seguridad de la vacuna candidata tetravalente contra el dengue de Takeda (TAK-003) después de 4,5 años de seguimiento. Presentado en la 5ª Cumbre Asiática del Dengue 2022; 13–15 de junio de 2022 Singapur; Grabaciones: </a:t>
            </a:r>
            <a:r>
              <a:rPr lang="es" dirty="0">
                <a:hlinkClick r:id="rId3"/>
              </a:rPr>
              <a:t>adva.asia/5th-asia-dengue-summit-recordings/</a:t>
            </a:r>
            <a:r>
              <a:rPr lang="es" dirty="0"/>
              <a:t>.</a:t>
            </a:r>
          </a:p>
        </p:txBody>
      </p:sp>
      <p:sp>
        <p:nvSpPr>
          <p:cNvPr id="4" name="Slide Number Placeholder 3">
            <a:extLst>
              <a:ext uri="{FF2B5EF4-FFF2-40B4-BE49-F238E27FC236}">
                <a16:creationId xmlns="" xmlns:a16="http://schemas.microsoft.com/office/drawing/2014/main" id="{A5455719-95C2-4A8F-B878-C84C9C085FB3}"/>
              </a:ext>
            </a:extLst>
          </p:cNvPr>
          <p:cNvSpPr>
            <a:spLocks noGrp="1"/>
          </p:cNvSpPr>
          <p:nvPr>
            <p:ph type="sldNum" sz="quarter" idx="16"/>
          </p:nvPr>
        </p:nvSpPr>
        <p:spPr/>
        <p:txBody>
          <a:bodyPr/>
          <a:lstStyle/>
          <a:p>
            <a:pPr defTabSz="685511">
              <a:defRPr/>
            </a:pPr>
            <a:fld id="{E9B57936-92EF-4126-AE48-1D9D36D15E98}" type="slidenum">
              <a:rPr kumimoji="1" lang="en-US" altLang="ja-JP">
                <a:solidFill>
                  <a:srgbClr val="A1A4AC"/>
                </a:solidFill>
              </a:rPr>
              <a:pPr defTabSz="685511">
                <a:defRPr/>
              </a:pPr>
              <a:t>47</a:t>
            </a:fld>
            <a:endParaRPr kumimoji="1" lang="en-US" altLang="ja-JP">
              <a:solidFill>
                <a:srgbClr val="A1A4AC"/>
              </a:solidFill>
            </a:endParaRPr>
          </a:p>
        </p:txBody>
      </p:sp>
      <p:sp>
        <p:nvSpPr>
          <p:cNvPr id="5" name="Title 4">
            <a:extLst>
              <a:ext uri="{FF2B5EF4-FFF2-40B4-BE49-F238E27FC236}">
                <a16:creationId xmlns="" xmlns:a16="http://schemas.microsoft.com/office/drawing/2014/main" id="{72DDAB2D-6427-47E9-83DD-2DD0C61258BA}"/>
              </a:ext>
            </a:extLst>
          </p:cNvPr>
          <p:cNvSpPr>
            <a:spLocks noGrp="1"/>
          </p:cNvSpPr>
          <p:nvPr>
            <p:ph type="title"/>
          </p:nvPr>
        </p:nvSpPr>
        <p:spPr>
          <a:xfrm>
            <a:off x="395288" y="182880"/>
            <a:ext cx="8658276" cy="466319"/>
          </a:xfrm>
        </p:spPr>
        <p:txBody>
          <a:bodyPr/>
          <a:lstStyle/>
          <a:p>
            <a:pPr algn="just"/>
            <a:r>
              <a:rPr lang="es" sz="1800" b="1" dirty="0"/>
              <a:t>Las tasas de Eventos adversos graves durante la Parte 3 del estudio fueron similares en los grupos placebo y TAK-003, independientemente del estado serológico basal.</a:t>
            </a:r>
          </a:p>
        </p:txBody>
      </p:sp>
      <p:graphicFrame>
        <p:nvGraphicFramePr>
          <p:cNvPr id="2" name="Table 1">
            <a:extLst>
              <a:ext uri="{FF2B5EF4-FFF2-40B4-BE49-F238E27FC236}">
                <a16:creationId xmlns="" xmlns:a16="http://schemas.microsoft.com/office/drawing/2014/main" id="{03C8916F-C3BC-9AE6-D5D8-A590C25EAC9F}"/>
              </a:ext>
            </a:extLst>
          </p:cNvPr>
          <p:cNvGraphicFramePr>
            <a:graphicFrameLocks noGrp="1"/>
          </p:cNvGraphicFramePr>
          <p:nvPr>
            <p:extLst>
              <p:ext uri="{D42A27DB-BD31-4B8C-83A1-F6EECF244321}">
                <p14:modId xmlns:p14="http://schemas.microsoft.com/office/powerpoint/2010/main" val="1765939443"/>
              </p:ext>
            </p:extLst>
          </p:nvPr>
        </p:nvGraphicFramePr>
        <p:xfrm>
          <a:off x="397110" y="736158"/>
          <a:ext cx="7033472" cy="3391740"/>
        </p:xfrm>
        <a:graphic>
          <a:graphicData uri="http://schemas.openxmlformats.org/drawingml/2006/table">
            <a:tbl>
              <a:tblPr firstRow="1" bandRow="1">
                <a:tableStyleId>{5C22544A-7EE6-4342-B048-85BDC9FD1C3A}</a:tableStyleId>
              </a:tblPr>
              <a:tblGrid>
                <a:gridCol w="2527037">
                  <a:extLst>
                    <a:ext uri="{9D8B030D-6E8A-4147-A177-3AD203B41FA5}">
                      <a16:colId xmlns="" xmlns:a16="http://schemas.microsoft.com/office/drawing/2014/main" val="782386260"/>
                    </a:ext>
                  </a:extLst>
                </a:gridCol>
                <a:gridCol w="1502145">
                  <a:extLst>
                    <a:ext uri="{9D8B030D-6E8A-4147-A177-3AD203B41FA5}">
                      <a16:colId xmlns="" xmlns:a16="http://schemas.microsoft.com/office/drawing/2014/main" val="706902314"/>
                    </a:ext>
                  </a:extLst>
                </a:gridCol>
                <a:gridCol w="1502145">
                  <a:extLst>
                    <a:ext uri="{9D8B030D-6E8A-4147-A177-3AD203B41FA5}">
                      <a16:colId xmlns="" xmlns:a16="http://schemas.microsoft.com/office/drawing/2014/main" val="3660037317"/>
                    </a:ext>
                  </a:extLst>
                </a:gridCol>
                <a:gridCol w="1502145">
                  <a:extLst>
                    <a:ext uri="{9D8B030D-6E8A-4147-A177-3AD203B41FA5}">
                      <a16:colId xmlns="" xmlns:a16="http://schemas.microsoft.com/office/drawing/2014/main" val="207896548"/>
                    </a:ext>
                  </a:extLst>
                </a:gridCol>
              </a:tblGrid>
              <a:tr h="442800">
                <a:tc>
                  <a:txBody>
                    <a:bodyPr/>
                    <a:lstStyle/>
                    <a:p>
                      <a:r>
                        <a:rPr lang="es" sz="1200" noProof="0" dirty="0">
                          <a:solidFill>
                            <a:schemeClr val="bg1"/>
                          </a:solidFill>
                        </a:rPr>
                        <a:t>Participantes con EAG, n/n (%)</a:t>
                      </a:r>
                    </a:p>
                  </a:txBody>
                  <a:tcPr marL="68580" marR="68580" marT="34290" marB="34290" anchor="ctr">
                    <a:solidFill>
                      <a:srgbClr val="0070C0"/>
                    </a:solidFill>
                  </a:tcPr>
                </a:tc>
                <a:tc>
                  <a:txBody>
                    <a:bodyPr/>
                    <a:lstStyle/>
                    <a:p>
                      <a:pPr algn="ctr"/>
                      <a:r>
                        <a:rPr lang="es" sz="1200" noProof="0" dirty="0">
                          <a:solidFill>
                            <a:schemeClr val="bg1"/>
                          </a:solidFill>
                        </a:rPr>
                        <a:t>Placebo</a:t>
                      </a:r>
                    </a:p>
                    <a:p>
                      <a:pPr marL="0" marR="0" indent="0" algn="ctr" defTabSz="1218927" rtl="0" eaLnBrk="1" fontAlgn="auto" latinLnBrk="0" hangingPunct="1">
                        <a:lnSpc>
                          <a:spcPct val="100000"/>
                        </a:lnSpc>
                        <a:spcBef>
                          <a:spcPts val="0"/>
                        </a:spcBef>
                        <a:spcAft>
                          <a:spcPts val="0"/>
                        </a:spcAft>
                        <a:buClrTx/>
                        <a:buSzTx/>
                        <a:buFontTx/>
                        <a:buNone/>
                        <a:tabLst/>
                        <a:defRPr/>
                      </a:pPr>
                      <a:r>
                        <a:rPr lang="es" sz="1200" b="1" noProof="0" dirty="0">
                          <a:solidFill>
                            <a:schemeClr val="bg1"/>
                          </a:solidFill>
                        </a:rPr>
                        <a:t>(n=6687)*</a:t>
                      </a:r>
                    </a:p>
                  </a:txBody>
                  <a:tcPr marL="68580" marR="68580" marT="34290" marB="34290" anchor="ctr">
                    <a:solidFill>
                      <a:srgbClr val="0070C0"/>
                    </a:solidFill>
                  </a:tcPr>
                </a:tc>
                <a:tc>
                  <a:txBody>
                    <a:bodyPr/>
                    <a:lstStyle/>
                    <a:p>
                      <a:pPr algn="ctr"/>
                      <a:r>
                        <a:rPr lang="es" sz="1200" noProof="0" dirty="0">
                          <a:solidFill>
                            <a:schemeClr val="bg1"/>
                          </a:solidFill>
                        </a:rPr>
                        <a:t>TAK-003</a:t>
                      </a:r>
                    </a:p>
                    <a:p>
                      <a:pPr marL="0" marR="0" indent="0" algn="ctr" defTabSz="1218927" rtl="0" eaLnBrk="1" fontAlgn="auto" latinLnBrk="0" hangingPunct="1">
                        <a:lnSpc>
                          <a:spcPct val="100000"/>
                        </a:lnSpc>
                        <a:spcBef>
                          <a:spcPts val="0"/>
                        </a:spcBef>
                        <a:spcAft>
                          <a:spcPts val="0"/>
                        </a:spcAft>
                        <a:buClrTx/>
                        <a:buSzTx/>
                        <a:buFontTx/>
                        <a:buNone/>
                        <a:tabLst/>
                        <a:defRPr/>
                      </a:pPr>
                      <a:r>
                        <a:rPr lang="es" sz="1200" b="1" noProof="0" dirty="0">
                          <a:solidFill>
                            <a:schemeClr val="bg1"/>
                          </a:solidFill>
                        </a:rPr>
                        <a:t>(n=13.380)*</a:t>
                      </a:r>
                    </a:p>
                  </a:txBody>
                  <a:tcPr marL="68580" marR="68580" marT="34290" marB="34290" anchor="ctr">
                    <a:solidFill>
                      <a:srgbClr val="0070C0"/>
                    </a:solidFill>
                  </a:tcPr>
                </a:tc>
                <a:tc>
                  <a:txBody>
                    <a:bodyPr/>
                    <a:lstStyle/>
                    <a:p>
                      <a:pPr algn="ctr"/>
                      <a:r>
                        <a:rPr lang="es" sz="1200" noProof="0" dirty="0">
                          <a:solidFill>
                            <a:schemeClr val="bg1"/>
                          </a:solidFill>
                        </a:rPr>
                        <a:t>Total</a:t>
                      </a:r>
                    </a:p>
                    <a:p>
                      <a:pPr marL="0" marR="0" indent="0" algn="ctr" defTabSz="1218927" rtl="0" eaLnBrk="1" fontAlgn="auto" latinLnBrk="0" hangingPunct="1">
                        <a:lnSpc>
                          <a:spcPct val="100000"/>
                        </a:lnSpc>
                        <a:spcBef>
                          <a:spcPts val="0"/>
                        </a:spcBef>
                        <a:spcAft>
                          <a:spcPts val="0"/>
                        </a:spcAft>
                        <a:buClrTx/>
                        <a:buSzTx/>
                        <a:buFontTx/>
                        <a:buNone/>
                        <a:tabLst/>
                        <a:defRPr/>
                      </a:pPr>
                      <a:r>
                        <a:rPr lang="es" sz="1200" b="1" noProof="0" dirty="0">
                          <a:solidFill>
                            <a:schemeClr val="bg1"/>
                          </a:solidFill>
                        </a:rPr>
                        <a:t>(N=20.071)*</a:t>
                      </a:r>
                    </a:p>
                  </a:txBody>
                  <a:tcPr marL="68580" marR="68580" marT="34290" marB="34290" anchor="ctr">
                    <a:solidFill>
                      <a:srgbClr val="0070C0"/>
                    </a:solidFill>
                  </a:tcPr>
                </a:tc>
                <a:extLst>
                  <a:ext uri="{0D108BD9-81ED-4DB2-BD59-A6C34878D82A}">
                    <a16:rowId xmlns="" xmlns:a16="http://schemas.microsoft.com/office/drawing/2014/main" val="1941985045"/>
                  </a:ext>
                </a:extLst>
              </a:tr>
              <a:tr h="251460">
                <a:tc>
                  <a:txBody>
                    <a:bodyPr/>
                    <a:lstStyle/>
                    <a:p>
                      <a:pPr marL="0" marR="0" lvl="0" indent="0" algn="l" defTabSz="1218927" rtl="0" eaLnBrk="1" fontAlgn="auto" latinLnBrk="0" hangingPunct="1">
                        <a:lnSpc>
                          <a:spcPct val="100000"/>
                        </a:lnSpc>
                        <a:spcBef>
                          <a:spcPts val="0"/>
                        </a:spcBef>
                        <a:spcAft>
                          <a:spcPts val="0"/>
                        </a:spcAft>
                        <a:buClrTx/>
                        <a:buSzTx/>
                        <a:buFontTx/>
                        <a:buNone/>
                        <a:tabLst/>
                        <a:defRPr/>
                      </a:pPr>
                      <a:r>
                        <a:rPr lang="es" sz="1200" b="1" noProof="0" dirty="0"/>
                        <a:t>SAE totales</a:t>
                      </a:r>
                    </a:p>
                  </a:txBody>
                  <a:tcPr marL="68580" marR="68580" marT="34290" marB="34290">
                    <a:noFill/>
                  </a:tcPr>
                </a:tc>
                <a:tc>
                  <a:txBody>
                    <a:bodyPr/>
                    <a:lstStyle/>
                    <a:p>
                      <a:pPr marL="0" marR="0" indent="0" algn="ctr" defTabSz="1218927" rtl="0" eaLnBrk="1" fontAlgn="auto" latinLnBrk="0" hangingPunct="1">
                        <a:lnSpc>
                          <a:spcPct val="100000"/>
                        </a:lnSpc>
                        <a:spcBef>
                          <a:spcPts val="0"/>
                        </a:spcBef>
                        <a:spcAft>
                          <a:spcPts val="0"/>
                        </a:spcAft>
                        <a:buClrTx/>
                        <a:buSzTx/>
                        <a:buFontTx/>
                        <a:buNone/>
                        <a:tabLst/>
                        <a:defRPr/>
                      </a:pPr>
                      <a:r>
                        <a:rPr lang="es" sz="1200" b="1" noProof="0"/>
                        <a:t>396/6686 (5.9)</a:t>
                      </a:r>
                    </a:p>
                  </a:txBody>
                  <a:tcPr marL="68580" marR="68580" marT="34290" marB="34290">
                    <a:noFill/>
                  </a:tcPr>
                </a:tc>
                <a:tc>
                  <a:txBody>
                    <a:bodyPr/>
                    <a:lstStyle/>
                    <a:p>
                      <a:pPr marL="0" marR="0" indent="0" algn="ctr" defTabSz="1218927" rtl="0" eaLnBrk="1" fontAlgn="auto" latinLnBrk="0" hangingPunct="1">
                        <a:lnSpc>
                          <a:spcPct val="100000"/>
                        </a:lnSpc>
                        <a:spcBef>
                          <a:spcPts val="0"/>
                        </a:spcBef>
                        <a:spcAft>
                          <a:spcPts val="0"/>
                        </a:spcAft>
                        <a:buClrTx/>
                        <a:buSzTx/>
                        <a:buFontTx/>
                        <a:buNone/>
                        <a:tabLst/>
                        <a:defRPr/>
                      </a:pPr>
                      <a:r>
                        <a:rPr lang="es" sz="1200" b="1" noProof="0"/>
                        <a:t>664/13,377 (5.0)</a:t>
                      </a:r>
                    </a:p>
                  </a:txBody>
                  <a:tcPr marL="68580" marR="68580" marT="34290" marB="34290">
                    <a:noFill/>
                  </a:tcPr>
                </a:tc>
                <a:tc>
                  <a:txBody>
                    <a:bodyPr/>
                    <a:lstStyle/>
                    <a:p>
                      <a:pPr marL="0" marR="0" indent="0" algn="ctr" defTabSz="1218927" rtl="0" eaLnBrk="1" fontAlgn="auto" latinLnBrk="0" hangingPunct="1">
                        <a:lnSpc>
                          <a:spcPct val="100000"/>
                        </a:lnSpc>
                        <a:spcBef>
                          <a:spcPts val="0"/>
                        </a:spcBef>
                        <a:spcAft>
                          <a:spcPts val="0"/>
                        </a:spcAft>
                        <a:buClrTx/>
                        <a:buSzTx/>
                        <a:buFontTx/>
                        <a:buNone/>
                        <a:tabLst/>
                        <a:defRPr/>
                      </a:pPr>
                      <a:r>
                        <a:rPr lang="es" sz="1200" b="1" noProof="0"/>
                        <a:t>1060/20,067 (5.3)</a:t>
                      </a:r>
                    </a:p>
                  </a:txBody>
                  <a:tcPr marL="68580" marR="68580" marT="34290" marB="34290">
                    <a:noFill/>
                  </a:tcPr>
                </a:tc>
                <a:extLst>
                  <a:ext uri="{0D108BD9-81ED-4DB2-BD59-A6C34878D82A}">
                    <a16:rowId xmlns="" xmlns:a16="http://schemas.microsoft.com/office/drawing/2014/main" val="2687192544"/>
                  </a:ext>
                </a:extLst>
              </a:tr>
              <a:tr h="251460">
                <a:tc>
                  <a:txBody>
                    <a:bodyPr/>
                    <a:lstStyle/>
                    <a:p>
                      <a:pPr marL="0" marR="0" lvl="0" indent="0" algn="l" defTabSz="1218927" rtl="0" eaLnBrk="1" fontAlgn="auto" latinLnBrk="0" hangingPunct="1">
                        <a:lnSpc>
                          <a:spcPct val="100000"/>
                        </a:lnSpc>
                        <a:spcBef>
                          <a:spcPts val="0"/>
                        </a:spcBef>
                        <a:spcAft>
                          <a:spcPts val="0"/>
                        </a:spcAft>
                        <a:buClrTx/>
                        <a:buSzTx/>
                        <a:buFontTx/>
                        <a:buNone/>
                        <a:tabLst/>
                        <a:defRPr/>
                      </a:pPr>
                      <a:r>
                        <a:rPr lang="es" sz="1200" b="1" noProof="0" dirty="0"/>
                        <a:t>SAEs: cualquiera </a:t>
                      </a:r>
                      <a:endParaRPr lang="en-US" sz="1200" b="1" noProof="0" dirty="0"/>
                    </a:p>
                  </a:txBody>
                  <a:tcPr marL="68580" marR="68580" marT="34290" marB="34290">
                    <a:noFill/>
                  </a:tcPr>
                </a:tc>
                <a:tc>
                  <a:txBody>
                    <a:bodyPr/>
                    <a:lstStyle/>
                    <a:p>
                      <a:pPr marL="0" marR="0" indent="0" algn="ctr" defTabSz="1218927" rtl="0" eaLnBrk="1" fontAlgn="auto" latinLnBrk="0" hangingPunct="1">
                        <a:lnSpc>
                          <a:spcPct val="100000"/>
                        </a:lnSpc>
                        <a:spcBef>
                          <a:spcPts val="0"/>
                        </a:spcBef>
                        <a:spcAft>
                          <a:spcPts val="0"/>
                        </a:spcAft>
                        <a:buClrTx/>
                        <a:buSzTx/>
                        <a:buFontTx/>
                        <a:buNone/>
                        <a:tabLst/>
                        <a:defRPr/>
                      </a:pPr>
                      <a:endParaRPr lang="en-US" sz="1200" b="1" noProof="0"/>
                    </a:p>
                  </a:txBody>
                  <a:tcPr marL="68580" marR="68580" marT="34290" marB="34290">
                    <a:noFill/>
                  </a:tcPr>
                </a:tc>
                <a:tc>
                  <a:txBody>
                    <a:bodyPr/>
                    <a:lstStyle/>
                    <a:p>
                      <a:pPr marL="0" marR="0" indent="0" algn="ctr" defTabSz="1218927" rtl="0" eaLnBrk="1" fontAlgn="auto" latinLnBrk="0" hangingPunct="1">
                        <a:lnSpc>
                          <a:spcPct val="100000"/>
                        </a:lnSpc>
                        <a:spcBef>
                          <a:spcPts val="0"/>
                        </a:spcBef>
                        <a:spcAft>
                          <a:spcPts val="0"/>
                        </a:spcAft>
                        <a:buClrTx/>
                        <a:buSzTx/>
                        <a:buFontTx/>
                        <a:buNone/>
                        <a:tabLst/>
                        <a:defRPr/>
                      </a:pPr>
                      <a:endParaRPr lang="en-US" sz="1200" b="1" noProof="0"/>
                    </a:p>
                  </a:txBody>
                  <a:tcPr marL="68580" marR="68580" marT="34290" marB="34290">
                    <a:noFill/>
                  </a:tcPr>
                </a:tc>
                <a:tc>
                  <a:txBody>
                    <a:bodyPr/>
                    <a:lstStyle/>
                    <a:p>
                      <a:pPr marL="0" marR="0" indent="0" algn="ctr" defTabSz="1218927" rtl="0" eaLnBrk="1" fontAlgn="auto" latinLnBrk="0" hangingPunct="1">
                        <a:lnSpc>
                          <a:spcPct val="100000"/>
                        </a:lnSpc>
                        <a:spcBef>
                          <a:spcPts val="0"/>
                        </a:spcBef>
                        <a:spcAft>
                          <a:spcPts val="0"/>
                        </a:spcAft>
                        <a:buClrTx/>
                        <a:buSzTx/>
                        <a:buFontTx/>
                        <a:buNone/>
                        <a:tabLst/>
                        <a:defRPr/>
                      </a:pPr>
                      <a:endParaRPr lang="en-US" sz="1200" b="1" noProof="0" dirty="0"/>
                    </a:p>
                  </a:txBody>
                  <a:tcPr marL="68580" marR="68580" marT="34290" marB="34290">
                    <a:noFill/>
                  </a:tcPr>
                </a:tc>
                <a:extLst>
                  <a:ext uri="{0D108BD9-81ED-4DB2-BD59-A6C34878D82A}">
                    <a16:rowId xmlns="" xmlns:a16="http://schemas.microsoft.com/office/drawing/2014/main" val="10001"/>
                  </a:ext>
                </a:extLst>
              </a:tr>
              <a:tr h="251460">
                <a:tc>
                  <a:txBody>
                    <a:bodyPr/>
                    <a:lstStyle/>
                    <a:p>
                      <a:pPr marL="457200" marR="0" lvl="0" indent="-190800" algn="l" defTabSz="1218927" rtl="0" eaLnBrk="1" fontAlgn="auto" latinLnBrk="0" hangingPunct="1">
                        <a:lnSpc>
                          <a:spcPct val="100000"/>
                        </a:lnSpc>
                        <a:spcBef>
                          <a:spcPts val="0"/>
                        </a:spcBef>
                        <a:spcAft>
                          <a:spcPts val="0"/>
                        </a:spcAft>
                        <a:buClrTx/>
                        <a:buSzTx/>
                        <a:buFontTx/>
                        <a:buNone/>
                        <a:tabLst>
                          <a:tab pos="87313" algn="l"/>
                        </a:tabLst>
                        <a:defRPr/>
                      </a:pPr>
                      <a:r>
                        <a:rPr lang="es" sz="1200" u="none" strike="noStrike" noProof="0" dirty="0">
                          <a:effectLst/>
                        </a:rPr>
                        <a:t>Seropositivo†</a:t>
                      </a:r>
                      <a:r>
                        <a:rPr kumimoji="1" lang="es" sz="1200" b="0" kern="1200" baseline="30000" noProof="0" dirty="0">
                          <a:solidFill>
                            <a:schemeClr val="dk1"/>
                          </a:solidFill>
                          <a:latin typeface="+mn-lt"/>
                          <a:ea typeface="+mn-ea"/>
                          <a:cs typeface="+mn-cs"/>
                        </a:rPr>
                        <a:t> </a:t>
                      </a:r>
                      <a:endParaRPr lang="en-US" sz="1200" noProof="0" dirty="0"/>
                    </a:p>
                  </a:txBody>
                  <a:tcPr marL="68580" marR="68580" marT="34290" marB="34290">
                    <a:noFill/>
                  </a:tcPr>
                </a:tc>
                <a:tc>
                  <a:txBody>
                    <a:bodyPr/>
                    <a:lstStyle/>
                    <a:p>
                      <a:pPr marL="0" marR="0" indent="0" algn="ctr" defTabSz="1218927" rtl="0" eaLnBrk="1" fontAlgn="auto" latinLnBrk="0" hangingPunct="1">
                        <a:lnSpc>
                          <a:spcPct val="100000"/>
                        </a:lnSpc>
                        <a:spcBef>
                          <a:spcPts val="0"/>
                        </a:spcBef>
                        <a:spcAft>
                          <a:spcPts val="0"/>
                        </a:spcAft>
                        <a:buClrTx/>
                        <a:buSzTx/>
                        <a:buFontTx/>
                        <a:buNone/>
                        <a:tabLst/>
                        <a:defRPr/>
                      </a:pPr>
                      <a:r>
                        <a:rPr lang="es" sz="1200" b="0" noProof="0"/>
                        <a:t>291/4854 (6.0)</a:t>
                      </a:r>
                    </a:p>
                  </a:txBody>
                  <a:tcPr marL="68580" marR="68580" marT="34290" marB="34290">
                    <a:noFill/>
                  </a:tcPr>
                </a:tc>
                <a:tc>
                  <a:txBody>
                    <a:bodyPr/>
                    <a:lstStyle/>
                    <a:p>
                      <a:pPr marL="0" marR="0" indent="0" algn="ctr" defTabSz="1218927" rtl="0" eaLnBrk="1" fontAlgn="auto" latinLnBrk="0" hangingPunct="1">
                        <a:lnSpc>
                          <a:spcPct val="100000"/>
                        </a:lnSpc>
                        <a:spcBef>
                          <a:spcPts val="0"/>
                        </a:spcBef>
                        <a:spcAft>
                          <a:spcPts val="0"/>
                        </a:spcAft>
                        <a:buClrTx/>
                        <a:buSzTx/>
                        <a:buFontTx/>
                        <a:buNone/>
                        <a:tabLst/>
                        <a:defRPr/>
                      </a:pPr>
                      <a:r>
                        <a:rPr lang="es" sz="1200" b="0" noProof="0"/>
                        <a:t>481/9663 (5.0)</a:t>
                      </a:r>
                    </a:p>
                  </a:txBody>
                  <a:tcPr marL="68580" marR="68580" marT="34290" marB="34290">
                    <a:noFill/>
                  </a:tcPr>
                </a:tc>
                <a:tc>
                  <a:txBody>
                    <a:bodyPr/>
                    <a:lstStyle/>
                    <a:p>
                      <a:pPr marL="0" marR="0" indent="0" algn="ctr" defTabSz="1218927" rtl="0" eaLnBrk="1" fontAlgn="auto" latinLnBrk="0" hangingPunct="1">
                        <a:lnSpc>
                          <a:spcPct val="100000"/>
                        </a:lnSpc>
                        <a:spcBef>
                          <a:spcPts val="0"/>
                        </a:spcBef>
                        <a:spcAft>
                          <a:spcPts val="0"/>
                        </a:spcAft>
                        <a:buClrTx/>
                        <a:buSzTx/>
                        <a:buFontTx/>
                        <a:buNone/>
                        <a:tabLst/>
                        <a:defRPr/>
                      </a:pPr>
                      <a:r>
                        <a:rPr lang="es" sz="1200" b="0" noProof="0"/>
                        <a:t>772/14,520 (5.3)</a:t>
                      </a:r>
                    </a:p>
                  </a:txBody>
                  <a:tcPr marL="68580" marR="68580" marT="34290" marB="34290">
                    <a:noFill/>
                  </a:tcPr>
                </a:tc>
                <a:extLst>
                  <a:ext uri="{0D108BD9-81ED-4DB2-BD59-A6C34878D82A}">
                    <a16:rowId xmlns="" xmlns:a16="http://schemas.microsoft.com/office/drawing/2014/main" val="4189238921"/>
                  </a:ext>
                </a:extLst>
              </a:tr>
              <a:tr h="251460">
                <a:tc>
                  <a:txBody>
                    <a:bodyPr/>
                    <a:lstStyle/>
                    <a:p>
                      <a:pPr marL="457200" marR="0" lvl="0" indent="-190800" algn="l" defTabSz="1218927" rtl="0" eaLnBrk="1" fontAlgn="auto" latinLnBrk="0" hangingPunct="1">
                        <a:lnSpc>
                          <a:spcPct val="100000"/>
                        </a:lnSpc>
                        <a:spcBef>
                          <a:spcPts val="0"/>
                        </a:spcBef>
                        <a:spcAft>
                          <a:spcPts val="0"/>
                        </a:spcAft>
                        <a:buClrTx/>
                        <a:buSzTx/>
                        <a:buFontTx/>
                        <a:buNone/>
                        <a:tabLst>
                          <a:tab pos="87313" algn="l"/>
                        </a:tabLst>
                        <a:defRPr/>
                      </a:pPr>
                      <a:r>
                        <a:rPr lang="es" sz="1200" u="none" strike="noStrike" noProof="0" dirty="0">
                          <a:effectLst/>
                        </a:rPr>
                        <a:t>Seronegativo‡</a:t>
                      </a:r>
                      <a:endParaRPr lang="en-US" sz="1200" b="0" noProof="0" dirty="0"/>
                    </a:p>
                  </a:txBody>
                  <a:tcPr marL="68580" marR="68580" marT="34290" marB="34290">
                    <a:noFill/>
                  </a:tcPr>
                </a:tc>
                <a:tc>
                  <a:txBody>
                    <a:bodyPr/>
                    <a:lstStyle/>
                    <a:p>
                      <a:pPr marL="0" marR="0" indent="0" algn="ctr" defTabSz="1218927" rtl="0" eaLnBrk="1" fontAlgn="auto" latinLnBrk="0" hangingPunct="1">
                        <a:lnSpc>
                          <a:spcPct val="100000"/>
                        </a:lnSpc>
                        <a:spcBef>
                          <a:spcPts val="0"/>
                        </a:spcBef>
                        <a:spcAft>
                          <a:spcPts val="0"/>
                        </a:spcAft>
                        <a:buClrTx/>
                        <a:buSzTx/>
                        <a:buFontTx/>
                        <a:buNone/>
                        <a:tabLst/>
                        <a:defRPr/>
                      </a:pPr>
                      <a:r>
                        <a:rPr lang="es" sz="1200" b="0" noProof="0" dirty="0"/>
                        <a:t>105/1832 (5.7)</a:t>
                      </a:r>
                    </a:p>
                  </a:txBody>
                  <a:tcPr marL="68580" marR="68580" marT="34290" marB="34290">
                    <a:noFill/>
                  </a:tcPr>
                </a:tc>
                <a:tc>
                  <a:txBody>
                    <a:bodyPr/>
                    <a:lstStyle/>
                    <a:p>
                      <a:pPr marL="0" marR="0" indent="0" algn="ctr" defTabSz="1218927" rtl="0" eaLnBrk="1" fontAlgn="auto" latinLnBrk="0" hangingPunct="1">
                        <a:lnSpc>
                          <a:spcPct val="100000"/>
                        </a:lnSpc>
                        <a:spcBef>
                          <a:spcPts val="0"/>
                        </a:spcBef>
                        <a:spcAft>
                          <a:spcPts val="0"/>
                        </a:spcAft>
                        <a:buClrTx/>
                        <a:buSzTx/>
                        <a:buFontTx/>
                        <a:buNone/>
                        <a:tabLst/>
                        <a:defRPr/>
                      </a:pPr>
                      <a:r>
                        <a:rPr lang="es" sz="1200" b="0" noProof="0"/>
                        <a:t>183/3714 (4.9)</a:t>
                      </a:r>
                    </a:p>
                  </a:txBody>
                  <a:tcPr marL="68580" marR="68580" marT="34290" marB="34290">
                    <a:noFill/>
                  </a:tcPr>
                </a:tc>
                <a:tc>
                  <a:txBody>
                    <a:bodyPr/>
                    <a:lstStyle/>
                    <a:p>
                      <a:pPr marL="0" marR="0" indent="0" algn="ctr" defTabSz="1218927" rtl="0" eaLnBrk="1" fontAlgn="auto" latinLnBrk="0" hangingPunct="1">
                        <a:lnSpc>
                          <a:spcPct val="100000"/>
                        </a:lnSpc>
                        <a:spcBef>
                          <a:spcPts val="0"/>
                        </a:spcBef>
                        <a:spcAft>
                          <a:spcPts val="0"/>
                        </a:spcAft>
                        <a:buClrTx/>
                        <a:buSzTx/>
                        <a:buFontTx/>
                        <a:buNone/>
                        <a:tabLst/>
                        <a:defRPr/>
                      </a:pPr>
                      <a:r>
                        <a:rPr lang="es" sz="1200" b="0" noProof="0"/>
                        <a:t>288/5547 (5.2)</a:t>
                      </a:r>
                    </a:p>
                  </a:txBody>
                  <a:tcPr marL="68580" marR="68580" marT="34290" marB="34290">
                    <a:noFill/>
                  </a:tcPr>
                </a:tc>
                <a:extLst>
                  <a:ext uri="{0D108BD9-81ED-4DB2-BD59-A6C34878D82A}">
                    <a16:rowId xmlns="" xmlns:a16="http://schemas.microsoft.com/office/drawing/2014/main" val="10002"/>
                  </a:ext>
                </a:extLst>
              </a:tr>
              <a:tr h="251460">
                <a:tc>
                  <a:txBody>
                    <a:bodyPr/>
                    <a:lstStyle/>
                    <a:p>
                      <a:pPr marL="0" marR="0" lvl="0" indent="0" algn="l" defTabSz="1218927" rtl="0" eaLnBrk="1" fontAlgn="auto" latinLnBrk="0" hangingPunct="1">
                        <a:lnSpc>
                          <a:spcPct val="100000"/>
                        </a:lnSpc>
                        <a:spcBef>
                          <a:spcPts val="0"/>
                        </a:spcBef>
                        <a:spcAft>
                          <a:spcPts val="0"/>
                        </a:spcAft>
                        <a:buClrTx/>
                        <a:buSzTx/>
                        <a:buFontTx/>
                        <a:buNone/>
                        <a:tabLst/>
                        <a:defRPr/>
                      </a:pPr>
                      <a:r>
                        <a:rPr lang="es" sz="1200" b="1" noProof="0" dirty="0"/>
                        <a:t>SAEs – </a:t>
                      </a:r>
                      <a:r>
                        <a:rPr kumimoji="1" lang="es" sz="1200" b="1" kern="1200" noProof="0" dirty="0">
                          <a:solidFill>
                            <a:schemeClr val="dk1"/>
                          </a:solidFill>
                          <a:latin typeface="+mn-lt"/>
                          <a:ea typeface="+mn-ea"/>
                          <a:cs typeface="+mn-cs"/>
                        </a:rPr>
                        <a:t>relacionadas**</a:t>
                      </a:r>
                    </a:p>
                  </a:txBody>
                  <a:tcPr marL="68580" marR="68580" marT="34290" marB="34290">
                    <a:noFill/>
                  </a:tcPr>
                </a:tc>
                <a:tc>
                  <a:txBody>
                    <a:bodyPr/>
                    <a:lstStyle/>
                    <a:p>
                      <a:pPr marL="0" marR="0" indent="0" algn="ctr" defTabSz="1218927" rtl="0" eaLnBrk="1" fontAlgn="auto" latinLnBrk="0" hangingPunct="1">
                        <a:lnSpc>
                          <a:spcPct val="100000"/>
                        </a:lnSpc>
                        <a:spcBef>
                          <a:spcPts val="0"/>
                        </a:spcBef>
                        <a:spcAft>
                          <a:spcPts val="0"/>
                        </a:spcAft>
                        <a:buClrTx/>
                        <a:buSzTx/>
                        <a:buFontTx/>
                        <a:buNone/>
                        <a:tabLst/>
                        <a:defRPr/>
                      </a:pPr>
                      <a:r>
                        <a:rPr lang="es" sz="1200" b="1" noProof="0"/>
                        <a:t>0</a:t>
                      </a:r>
                    </a:p>
                  </a:txBody>
                  <a:tcPr marL="68580" marR="68580" marT="34290" marB="34290" anchor="ctr">
                    <a:noFill/>
                  </a:tcPr>
                </a:tc>
                <a:tc>
                  <a:txBody>
                    <a:bodyPr/>
                    <a:lstStyle/>
                    <a:p>
                      <a:pPr marL="0" marR="0" indent="0" algn="ctr" defTabSz="1218927" rtl="0" eaLnBrk="1" fontAlgn="auto" latinLnBrk="0" hangingPunct="1">
                        <a:lnSpc>
                          <a:spcPct val="100000"/>
                        </a:lnSpc>
                        <a:spcBef>
                          <a:spcPts val="0"/>
                        </a:spcBef>
                        <a:spcAft>
                          <a:spcPts val="0"/>
                        </a:spcAft>
                        <a:buClrTx/>
                        <a:buSzTx/>
                        <a:buFontTx/>
                        <a:buNone/>
                        <a:tabLst/>
                        <a:defRPr/>
                      </a:pPr>
                      <a:r>
                        <a:rPr lang="es" sz="1200" b="1" noProof="0"/>
                        <a:t>0</a:t>
                      </a:r>
                    </a:p>
                  </a:txBody>
                  <a:tcPr marL="68580" marR="68580" marT="34290" marB="34290" anchor="ctr">
                    <a:noFill/>
                  </a:tcPr>
                </a:tc>
                <a:tc>
                  <a:txBody>
                    <a:bodyPr/>
                    <a:lstStyle/>
                    <a:p>
                      <a:pPr marL="0" marR="0" indent="0" algn="ctr" defTabSz="1218927" rtl="0" eaLnBrk="1" fontAlgn="auto" latinLnBrk="0" hangingPunct="1">
                        <a:lnSpc>
                          <a:spcPct val="100000"/>
                        </a:lnSpc>
                        <a:spcBef>
                          <a:spcPts val="0"/>
                        </a:spcBef>
                        <a:spcAft>
                          <a:spcPts val="0"/>
                        </a:spcAft>
                        <a:buClrTx/>
                        <a:buSzTx/>
                        <a:buFontTx/>
                        <a:buNone/>
                        <a:tabLst/>
                        <a:defRPr/>
                      </a:pPr>
                      <a:r>
                        <a:rPr lang="es" sz="1200" b="1" noProof="0"/>
                        <a:t>0</a:t>
                      </a:r>
                    </a:p>
                  </a:txBody>
                  <a:tcPr marL="68580" marR="68580" marT="34290" marB="34290" anchor="ctr">
                    <a:noFill/>
                  </a:tcPr>
                </a:tc>
                <a:extLst>
                  <a:ext uri="{0D108BD9-81ED-4DB2-BD59-A6C34878D82A}">
                    <a16:rowId xmlns="" xmlns:a16="http://schemas.microsoft.com/office/drawing/2014/main" val="1539822175"/>
                  </a:ext>
                </a:extLst>
              </a:tr>
              <a:tr h="434340">
                <a:tc>
                  <a:txBody>
                    <a:bodyPr/>
                    <a:lstStyle/>
                    <a:p>
                      <a:pPr marL="0" marR="0" lvl="0" indent="0" algn="l" defTabSz="1218927" rtl="0" eaLnBrk="1" fontAlgn="auto" latinLnBrk="0" hangingPunct="1">
                        <a:lnSpc>
                          <a:spcPct val="100000"/>
                        </a:lnSpc>
                        <a:spcBef>
                          <a:spcPts val="0"/>
                        </a:spcBef>
                        <a:spcAft>
                          <a:spcPts val="0"/>
                        </a:spcAft>
                        <a:buClrTx/>
                        <a:buSzTx/>
                        <a:buFontTx/>
                        <a:buNone/>
                        <a:tabLst/>
                        <a:defRPr/>
                      </a:pPr>
                      <a:r>
                        <a:rPr lang="es" sz="1200" b="1" noProof="0"/>
                        <a:t>Lo que lleva a la interrupción del estudio</a:t>
                      </a:r>
                    </a:p>
                  </a:txBody>
                  <a:tcPr marL="68580" marR="68580" marT="34290" marB="34290">
                    <a:noFill/>
                  </a:tcPr>
                </a:tc>
                <a:tc>
                  <a:txBody>
                    <a:bodyPr/>
                    <a:lstStyle/>
                    <a:p>
                      <a:pPr marL="0" marR="0" indent="0" algn="ctr" defTabSz="1218927" rtl="0" eaLnBrk="1" fontAlgn="auto" latinLnBrk="0" hangingPunct="1">
                        <a:lnSpc>
                          <a:spcPct val="100000"/>
                        </a:lnSpc>
                        <a:spcBef>
                          <a:spcPts val="0"/>
                        </a:spcBef>
                        <a:spcAft>
                          <a:spcPts val="0"/>
                        </a:spcAft>
                        <a:buClrTx/>
                        <a:buSzTx/>
                        <a:buFontTx/>
                        <a:buNone/>
                        <a:tabLst/>
                        <a:defRPr/>
                      </a:pPr>
                      <a:endParaRPr lang="en-US" sz="1200" b="1" noProof="0" dirty="0"/>
                    </a:p>
                  </a:txBody>
                  <a:tcPr marL="68580" marR="68580" marT="34290" marB="34290">
                    <a:noFill/>
                  </a:tcPr>
                </a:tc>
                <a:tc>
                  <a:txBody>
                    <a:bodyPr/>
                    <a:lstStyle/>
                    <a:p>
                      <a:pPr marL="0" marR="0" indent="0" algn="ctr" defTabSz="1218927" rtl="0" eaLnBrk="1" fontAlgn="auto" latinLnBrk="0" hangingPunct="1">
                        <a:lnSpc>
                          <a:spcPct val="100000"/>
                        </a:lnSpc>
                        <a:spcBef>
                          <a:spcPts val="0"/>
                        </a:spcBef>
                        <a:spcAft>
                          <a:spcPts val="0"/>
                        </a:spcAft>
                        <a:buClrTx/>
                        <a:buSzTx/>
                        <a:buFontTx/>
                        <a:buNone/>
                        <a:tabLst/>
                        <a:defRPr/>
                      </a:pPr>
                      <a:endParaRPr lang="en-US" sz="1200" b="1" noProof="0"/>
                    </a:p>
                  </a:txBody>
                  <a:tcPr marL="68580" marR="68580" marT="34290" marB="34290">
                    <a:noFill/>
                  </a:tcPr>
                </a:tc>
                <a:tc>
                  <a:txBody>
                    <a:bodyPr/>
                    <a:lstStyle/>
                    <a:p>
                      <a:pPr marL="0" marR="0" indent="0" algn="ctr" defTabSz="1218927" rtl="0" eaLnBrk="1" fontAlgn="auto" latinLnBrk="0" hangingPunct="1">
                        <a:lnSpc>
                          <a:spcPct val="100000"/>
                        </a:lnSpc>
                        <a:spcBef>
                          <a:spcPts val="0"/>
                        </a:spcBef>
                        <a:spcAft>
                          <a:spcPts val="0"/>
                        </a:spcAft>
                        <a:buClrTx/>
                        <a:buSzTx/>
                        <a:buFontTx/>
                        <a:buNone/>
                        <a:tabLst/>
                        <a:defRPr/>
                      </a:pPr>
                      <a:endParaRPr lang="en-US" sz="1200" b="1" noProof="0" dirty="0"/>
                    </a:p>
                  </a:txBody>
                  <a:tcPr marL="68580" marR="68580" marT="34290" marB="34290">
                    <a:noFill/>
                  </a:tcPr>
                </a:tc>
                <a:extLst>
                  <a:ext uri="{0D108BD9-81ED-4DB2-BD59-A6C34878D82A}">
                    <a16:rowId xmlns="" xmlns:a16="http://schemas.microsoft.com/office/drawing/2014/main" val="10005"/>
                  </a:ext>
                </a:extLst>
              </a:tr>
              <a:tr h="251460">
                <a:tc>
                  <a:txBody>
                    <a:bodyPr/>
                    <a:lstStyle/>
                    <a:p>
                      <a:pPr marL="457200" marR="0" lvl="0" indent="-190800" algn="l" defTabSz="1218927" rtl="0" eaLnBrk="1" fontAlgn="auto" latinLnBrk="0" hangingPunct="1">
                        <a:lnSpc>
                          <a:spcPct val="100000"/>
                        </a:lnSpc>
                        <a:spcBef>
                          <a:spcPts val="0"/>
                        </a:spcBef>
                        <a:spcAft>
                          <a:spcPts val="0"/>
                        </a:spcAft>
                        <a:buClrTx/>
                        <a:buSzTx/>
                        <a:buFontTx/>
                        <a:buNone/>
                        <a:tabLst>
                          <a:tab pos="87313" algn="l"/>
                        </a:tabLst>
                        <a:defRPr/>
                      </a:pPr>
                      <a:r>
                        <a:rPr kumimoji="1" lang="es" sz="1200" u="none" strike="noStrike" kern="1200" noProof="0">
                          <a:solidFill>
                            <a:schemeClr val="dk1"/>
                          </a:solidFill>
                          <a:effectLst/>
                          <a:latin typeface="+mn-lt"/>
                          <a:ea typeface="+mn-ea"/>
                          <a:cs typeface="+mn-cs"/>
                        </a:rPr>
                        <a:t>Seropositivo†</a:t>
                      </a:r>
                      <a:endParaRPr kumimoji="1" lang="en-US" sz="1200" b="0" u="none" strike="noStrike" kern="1200" noProof="0">
                        <a:solidFill>
                          <a:schemeClr val="dk1"/>
                        </a:solidFill>
                        <a:effectLst/>
                        <a:latin typeface="+mn-lt"/>
                        <a:ea typeface="+mn-ea"/>
                        <a:cs typeface="+mn-cs"/>
                      </a:endParaRPr>
                    </a:p>
                  </a:txBody>
                  <a:tcPr marL="68580" marR="68580" marT="34290" marB="34290">
                    <a:noFill/>
                  </a:tcPr>
                </a:tc>
                <a:tc>
                  <a:txBody>
                    <a:bodyPr/>
                    <a:lstStyle/>
                    <a:p>
                      <a:pPr marL="0" marR="0" indent="0" algn="ctr" defTabSz="1218927" rtl="0" eaLnBrk="1" fontAlgn="auto" latinLnBrk="0" hangingPunct="1">
                        <a:lnSpc>
                          <a:spcPct val="100000"/>
                        </a:lnSpc>
                        <a:spcBef>
                          <a:spcPts val="0"/>
                        </a:spcBef>
                        <a:spcAft>
                          <a:spcPts val="0"/>
                        </a:spcAft>
                        <a:buClrTx/>
                        <a:buSzTx/>
                        <a:buFontTx/>
                        <a:buNone/>
                        <a:tabLst/>
                        <a:defRPr/>
                      </a:pPr>
                      <a:r>
                        <a:rPr lang="es" sz="1200" b="0" noProof="0" dirty="0"/>
                        <a:t>5/4854 (0.1)</a:t>
                      </a:r>
                    </a:p>
                  </a:txBody>
                  <a:tcPr marL="68580" marR="68580" marT="34290" marB="34290">
                    <a:noFill/>
                  </a:tcPr>
                </a:tc>
                <a:tc>
                  <a:txBody>
                    <a:bodyPr/>
                    <a:lstStyle/>
                    <a:p>
                      <a:pPr marL="0" marR="0" indent="0" algn="ctr" defTabSz="1218927" rtl="0" eaLnBrk="1" fontAlgn="auto" latinLnBrk="0" hangingPunct="1">
                        <a:lnSpc>
                          <a:spcPct val="100000"/>
                        </a:lnSpc>
                        <a:spcBef>
                          <a:spcPts val="0"/>
                        </a:spcBef>
                        <a:spcAft>
                          <a:spcPts val="0"/>
                        </a:spcAft>
                        <a:buClrTx/>
                        <a:buSzTx/>
                        <a:buFontTx/>
                        <a:buNone/>
                        <a:tabLst/>
                        <a:defRPr/>
                      </a:pPr>
                      <a:r>
                        <a:rPr lang="es" sz="1200" b="0" noProof="0" dirty="0"/>
                        <a:t>9/9663 (&lt;0,1)</a:t>
                      </a:r>
                    </a:p>
                  </a:txBody>
                  <a:tcPr marL="68580" marR="68580" marT="34290" marB="34290">
                    <a:noFill/>
                  </a:tcPr>
                </a:tc>
                <a:tc>
                  <a:txBody>
                    <a:bodyPr/>
                    <a:lstStyle/>
                    <a:p>
                      <a:pPr marL="0" marR="0" indent="0" algn="ctr" defTabSz="1218927" rtl="0" eaLnBrk="1" fontAlgn="auto" latinLnBrk="0" hangingPunct="1">
                        <a:lnSpc>
                          <a:spcPct val="100000"/>
                        </a:lnSpc>
                        <a:spcBef>
                          <a:spcPts val="0"/>
                        </a:spcBef>
                        <a:spcAft>
                          <a:spcPts val="0"/>
                        </a:spcAft>
                        <a:buClrTx/>
                        <a:buSzTx/>
                        <a:buFontTx/>
                        <a:buNone/>
                        <a:tabLst/>
                        <a:defRPr/>
                      </a:pPr>
                      <a:r>
                        <a:rPr lang="es" sz="1200" b="0" noProof="0"/>
                        <a:t>14/14.520 (&lt;0,1)</a:t>
                      </a:r>
                    </a:p>
                  </a:txBody>
                  <a:tcPr marL="68580" marR="68580" marT="34290" marB="34290">
                    <a:noFill/>
                  </a:tcPr>
                </a:tc>
                <a:extLst>
                  <a:ext uri="{0D108BD9-81ED-4DB2-BD59-A6C34878D82A}">
                    <a16:rowId xmlns="" xmlns:a16="http://schemas.microsoft.com/office/drawing/2014/main" val="2562812860"/>
                  </a:ext>
                </a:extLst>
              </a:tr>
              <a:tr h="251460">
                <a:tc>
                  <a:txBody>
                    <a:bodyPr/>
                    <a:lstStyle/>
                    <a:p>
                      <a:pPr marL="457200" marR="0" lvl="0" indent="-190800" algn="l" defTabSz="1218927" rtl="0" eaLnBrk="1" fontAlgn="auto" latinLnBrk="0" hangingPunct="1">
                        <a:lnSpc>
                          <a:spcPct val="100000"/>
                        </a:lnSpc>
                        <a:spcBef>
                          <a:spcPts val="0"/>
                        </a:spcBef>
                        <a:spcAft>
                          <a:spcPts val="0"/>
                        </a:spcAft>
                        <a:buClrTx/>
                        <a:buSzTx/>
                        <a:buFontTx/>
                        <a:buNone/>
                        <a:tabLst>
                          <a:tab pos="87313" algn="l"/>
                        </a:tabLst>
                        <a:defRPr/>
                      </a:pPr>
                      <a:r>
                        <a:rPr kumimoji="1" lang="es" sz="1200" u="none" strike="noStrike" kern="1200" noProof="0">
                          <a:solidFill>
                            <a:schemeClr val="dk1"/>
                          </a:solidFill>
                          <a:effectLst/>
                          <a:latin typeface="+mn-lt"/>
                          <a:ea typeface="+mn-ea"/>
                          <a:cs typeface="+mn-cs"/>
                        </a:rPr>
                        <a:t>Seronegativo‡</a:t>
                      </a:r>
                      <a:endParaRPr kumimoji="1" lang="en-US" sz="1200" u="none" strike="noStrike" kern="1200" noProof="0">
                        <a:solidFill>
                          <a:schemeClr val="dk1"/>
                        </a:solidFill>
                        <a:effectLst/>
                        <a:latin typeface="+mn-lt"/>
                        <a:ea typeface="+mn-ea"/>
                        <a:cs typeface="+mn-cs"/>
                      </a:endParaRPr>
                    </a:p>
                  </a:txBody>
                  <a:tcPr marL="68580" marR="68580" marT="34290" marB="34290">
                    <a:noFill/>
                  </a:tcPr>
                </a:tc>
                <a:tc>
                  <a:txBody>
                    <a:bodyPr/>
                    <a:lstStyle/>
                    <a:p>
                      <a:pPr marL="0" marR="0" indent="0" algn="ctr" defTabSz="1218927" rtl="0" eaLnBrk="1" fontAlgn="auto" latinLnBrk="0" hangingPunct="1">
                        <a:lnSpc>
                          <a:spcPct val="100000"/>
                        </a:lnSpc>
                        <a:spcBef>
                          <a:spcPts val="0"/>
                        </a:spcBef>
                        <a:spcAft>
                          <a:spcPts val="0"/>
                        </a:spcAft>
                        <a:buClrTx/>
                        <a:buSzTx/>
                        <a:buFontTx/>
                        <a:buNone/>
                        <a:tabLst/>
                        <a:defRPr/>
                      </a:pPr>
                      <a:r>
                        <a:rPr lang="es" sz="1200" b="0" noProof="0"/>
                        <a:t>1/1832 (&lt;0,1)</a:t>
                      </a:r>
                    </a:p>
                  </a:txBody>
                  <a:tcPr marL="68580" marR="68580" marT="34290" marB="34290">
                    <a:noFill/>
                  </a:tcPr>
                </a:tc>
                <a:tc>
                  <a:txBody>
                    <a:bodyPr/>
                    <a:lstStyle/>
                    <a:p>
                      <a:pPr marL="0" marR="0" indent="0" algn="ctr" defTabSz="1218927" rtl="0" eaLnBrk="1" fontAlgn="auto" latinLnBrk="0" hangingPunct="1">
                        <a:lnSpc>
                          <a:spcPct val="100000"/>
                        </a:lnSpc>
                        <a:spcBef>
                          <a:spcPts val="0"/>
                        </a:spcBef>
                        <a:spcAft>
                          <a:spcPts val="0"/>
                        </a:spcAft>
                        <a:buClrTx/>
                        <a:buSzTx/>
                        <a:buFontTx/>
                        <a:buNone/>
                        <a:tabLst/>
                        <a:defRPr/>
                      </a:pPr>
                      <a:r>
                        <a:rPr lang="es" sz="1200" b="0" noProof="0" dirty="0"/>
                        <a:t>2/3714 (&lt;0,1)</a:t>
                      </a:r>
                    </a:p>
                  </a:txBody>
                  <a:tcPr marL="68580" marR="68580" marT="34290" marB="34290">
                    <a:noFill/>
                  </a:tcPr>
                </a:tc>
                <a:tc>
                  <a:txBody>
                    <a:bodyPr/>
                    <a:lstStyle/>
                    <a:p>
                      <a:pPr marL="0" marR="0" indent="0" algn="ctr" defTabSz="1218927" rtl="0" eaLnBrk="1" fontAlgn="auto" latinLnBrk="0" hangingPunct="1">
                        <a:lnSpc>
                          <a:spcPct val="100000"/>
                        </a:lnSpc>
                        <a:spcBef>
                          <a:spcPts val="0"/>
                        </a:spcBef>
                        <a:spcAft>
                          <a:spcPts val="0"/>
                        </a:spcAft>
                        <a:buClrTx/>
                        <a:buSzTx/>
                        <a:buFontTx/>
                        <a:buNone/>
                        <a:tabLst/>
                        <a:defRPr/>
                      </a:pPr>
                      <a:r>
                        <a:rPr lang="es" sz="1200" b="0" noProof="0"/>
                        <a:t>3/5547 (&lt;0,1)</a:t>
                      </a:r>
                    </a:p>
                  </a:txBody>
                  <a:tcPr marL="68580" marR="68580" marT="34290" marB="34290">
                    <a:noFill/>
                  </a:tcPr>
                </a:tc>
                <a:extLst>
                  <a:ext uri="{0D108BD9-81ED-4DB2-BD59-A6C34878D82A}">
                    <a16:rowId xmlns="" xmlns:a16="http://schemas.microsoft.com/office/drawing/2014/main" val="3069561799"/>
                  </a:ext>
                </a:extLst>
              </a:tr>
              <a:tr h="251460">
                <a:tc>
                  <a:txBody>
                    <a:bodyPr/>
                    <a:lstStyle/>
                    <a:p>
                      <a:pPr marL="0" marR="0" lvl="0" indent="0" algn="l" defTabSz="1218927" rtl="0" eaLnBrk="1" fontAlgn="auto" latinLnBrk="0" hangingPunct="1">
                        <a:lnSpc>
                          <a:spcPct val="100000"/>
                        </a:lnSpc>
                        <a:spcBef>
                          <a:spcPts val="0"/>
                        </a:spcBef>
                        <a:spcAft>
                          <a:spcPts val="0"/>
                        </a:spcAft>
                        <a:buClrTx/>
                        <a:buSzTx/>
                        <a:buFontTx/>
                        <a:buNone/>
                        <a:tabLst/>
                        <a:defRPr/>
                      </a:pPr>
                      <a:r>
                        <a:rPr lang="es" sz="1200" b="1" noProof="0" dirty="0">
                          <a:solidFill>
                            <a:schemeClr val="tx2"/>
                          </a:solidFill>
                        </a:rPr>
                        <a:t>Muertes</a:t>
                      </a:r>
                      <a:r>
                        <a:rPr kumimoji="1" lang="es" sz="1200" b="1" kern="1200" baseline="30000" noProof="0" dirty="0">
                          <a:solidFill>
                            <a:schemeClr val="tx2"/>
                          </a:solidFill>
                          <a:latin typeface="+mn-lt"/>
                          <a:ea typeface="+mn-ea"/>
                          <a:cs typeface="+mn-cs"/>
                        </a:rPr>
                        <a:t>††</a:t>
                      </a:r>
                      <a:endParaRPr lang="en-US" sz="1200" b="1" baseline="30000" noProof="0" dirty="0">
                        <a:solidFill>
                          <a:schemeClr val="tx2"/>
                        </a:solidFill>
                      </a:endParaRPr>
                    </a:p>
                  </a:txBody>
                  <a:tcPr marL="68580" marR="68580" marT="34290" marB="34290">
                    <a:noFill/>
                  </a:tcPr>
                </a:tc>
                <a:tc>
                  <a:txBody>
                    <a:bodyPr/>
                    <a:lstStyle/>
                    <a:p>
                      <a:pPr marL="0" marR="0" indent="0" algn="ctr" defTabSz="1218927" rtl="0" eaLnBrk="1" fontAlgn="auto" latinLnBrk="0" hangingPunct="1">
                        <a:lnSpc>
                          <a:spcPct val="100000"/>
                        </a:lnSpc>
                        <a:spcBef>
                          <a:spcPts val="0"/>
                        </a:spcBef>
                        <a:spcAft>
                          <a:spcPts val="0"/>
                        </a:spcAft>
                        <a:buClrTx/>
                        <a:buSzTx/>
                        <a:buFontTx/>
                        <a:buNone/>
                        <a:tabLst/>
                        <a:defRPr/>
                      </a:pPr>
                      <a:endParaRPr lang="en-US" sz="1200" b="1" noProof="0"/>
                    </a:p>
                  </a:txBody>
                  <a:tcPr marL="68580" marR="68580" marT="34290" marB="34290" anchor="ctr">
                    <a:noFill/>
                  </a:tcPr>
                </a:tc>
                <a:tc>
                  <a:txBody>
                    <a:bodyPr/>
                    <a:lstStyle/>
                    <a:p>
                      <a:pPr marL="0" marR="0" indent="0" algn="ctr" defTabSz="1218927" rtl="0" eaLnBrk="1" fontAlgn="auto" latinLnBrk="0" hangingPunct="1">
                        <a:lnSpc>
                          <a:spcPct val="100000"/>
                        </a:lnSpc>
                        <a:spcBef>
                          <a:spcPts val="0"/>
                        </a:spcBef>
                        <a:spcAft>
                          <a:spcPts val="0"/>
                        </a:spcAft>
                        <a:buClrTx/>
                        <a:buSzTx/>
                        <a:buFontTx/>
                        <a:buNone/>
                        <a:tabLst/>
                        <a:defRPr/>
                      </a:pPr>
                      <a:endParaRPr lang="en-US" sz="1200" b="1" noProof="0" dirty="0"/>
                    </a:p>
                  </a:txBody>
                  <a:tcPr marL="68580" marR="68580" marT="34290" marB="34290" anchor="ctr">
                    <a:noFill/>
                  </a:tcPr>
                </a:tc>
                <a:tc>
                  <a:txBody>
                    <a:bodyPr/>
                    <a:lstStyle/>
                    <a:p>
                      <a:pPr marL="0" marR="0" indent="0" algn="ctr" defTabSz="1218927" rtl="0" eaLnBrk="1" fontAlgn="auto" latinLnBrk="0" hangingPunct="1">
                        <a:lnSpc>
                          <a:spcPct val="100000"/>
                        </a:lnSpc>
                        <a:spcBef>
                          <a:spcPts val="0"/>
                        </a:spcBef>
                        <a:spcAft>
                          <a:spcPts val="0"/>
                        </a:spcAft>
                        <a:buClrTx/>
                        <a:buSzTx/>
                        <a:buFontTx/>
                        <a:buNone/>
                        <a:tabLst/>
                        <a:defRPr/>
                      </a:pPr>
                      <a:endParaRPr lang="en-US" sz="1200" b="1" noProof="0"/>
                    </a:p>
                  </a:txBody>
                  <a:tcPr marL="68580" marR="68580" marT="34290" marB="34290" anchor="ctr">
                    <a:noFill/>
                  </a:tcPr>
                </a:tc>
                <a:extLst>
                  <a:ext uri="{0D108BD9-81ED-4DB2-BD59-A6C34878D82A}">
                    <a16:rowId xmlns="" xmlns:a16="http://schemas.microsoft.com/office/drawing/2014/main" val="10010"/>
                  </a:ext>
                </a:extLst>
              </a:tr>
              <a:tr h="251460">
                <a:tc>
                  <a:txBody>
                    <a:bodyPr/>
                    <a:lstStyle/>
                    <a:p>
                      <a:pPr marL="457200" marR="0" lvl="0" indent="-190800" algn="l" defTabSz="1218927" rtl="0" eaLnBrk="1" fontAlgn="auto" latinLnBrk="0" hangingPunct="1">
                        <a:lnSpc>
                          <a:spcPct val="100000"/>
                        </a:lnSpc>
                        <a:spcBef>
                          <a:spcPts val="0"/>
                        </a:spcBef>
                        <a:spcAft>
                          <a:spcPts val="0"/>
                        </a:spcAft>
                        <a:buClrTx/>
                        <a:buSzTx/>
                        <a:buFontTx/>
                        <a:buNone/>
                        <a:tabLst>
                          <a:tab pos="87313" algn="l"/>
                        </a:tabLst>
                        <a:defRPr/>
                      </a:pPr>
                      <a:r>
                        <a:rPr kumimoji="1" lang="es" sz="1200" u="none" strike="noStrike" kern="1200" noProof="0">
                          <a:solidFill>
                            <a:schemeClr val="dk1"/>
                          </a:solidFill>
                          <a:effectLst/>
                          <a:latin typeface="+mn-lt"/>
                          <a:ea typeface="+mn-ea"/>
                          <a:cs typeface="+mn-cs"/>
                        </a:rPr>
                        <a:t>Seropositivo†</a:t>
                      </a:r>
                      <a:endParaRPr kumimoji="1" lang="en-US" sz="1200" b="0" u="none" strike="noStrike" kern="1200" noProof="0">
                        <a:solidFill>
                          <a:schemeClr val="dk1"/>
                        </a:solidFill>
                        <a:effectLst/>
                        <a:latin typeface="+mn-lt"/>
                        <a:ea typeface="+mn-ea"/>
                        <a:cs typeface="+mn-cs"/>
                      </a:endParaRPr>
                    </a:p>
                  </a:txBody>
                  <a:tcPr marL="68580" marR="68580" marT="34290" marB="34290">
                    <a:noFill/>
                  </a:tcPr>
                </a:tc>
                <a:tc>
                  <a:txBody>
                    <a:bodyPr/>
                    <a:lstStyle/>
                    <a:p>
                      <a:pPr marL="0" marR="0" indent="0" algn="ctr" defTabSz="1218927" rtl="0" eaLnBrk="1" fontAlgn="auto" latinLnBrk="0" hangingPunct="1">
                        <a:lnSpc>
                          <a:spcPct val="100000"/>
                        </a:lnSpc>
                        <a:spcBef>
                          <a:spcPts val="0"/>
                        </a:spcBef>
                        <a:spcAft>
                          <a:spcPts val="0"/>
                        </a:spcAft>
                        <a:buClrTx/>
                        <a:buSzTx/>
                        <a:buFontTx/>
                        <a:buNone/>
                        <a:tabLst/>
                        <a:defRPr/>
                      </a:pPr>
                      <a:r>
                        <a:rPr lang="es" sz="1200" b="0" noProof="0"/>
                        <a:t>5/4854 (0.1)</a:t>
                      </a:r>
                    </a:p>
                  </a:txBody>
                  <a:tcPr marL="68580" marR="68580" marT="34290" marB="34290">
                    <a:noFill/>
                  </a:tcPr>
                </a:tc>
                <a:tc>
                  <a:txBody>
                    <a:bodyPr/>
                    <a:lstStyle/>
                    <a:p>
                      <a:pPr marL="0" marR="0" indent="0" algn="ctr" defTabSz="1218927" rtl="0" eaLnBrk="1" fontAlgn="auto" latinLnBrk="0" hangingPunct="1">
                        <a:lnSpc>
                          <a:spcPct val="100000"/>
                        </a:lnSpc>
                        <a:spcBef>
                          <a:spcPts val="0"/>
                        </a:spcBef>
                        <a:spcAft>
                          <a:spcPts val="0"/>
                        </a:spcAft>
                        <a:buClrTx/>
                        <a:buSzTx/>
                        <a:buFontTx/>
                        <a:buNone/>
                        <a:tabLst/>
                        <a:defRPr/>
                      </a:pPr>
                      <a:r>
                        <a:rPr lang="es" sz="1200" b="0" noProof="0" dirty="0"/>
                        <a:t>9/9663 (&lt;0,1)</a:t>
                      </a:r>
                    </a:p>
                  </a:txBody>
                  <a:tcPr marL="68580" marR="68580" marT="34290" marB="34290">
                    <a:noFill/>
                  </a:tcPr>
                </a:tc>
                <a:tc>
                  <a:txBody>
                    <a:bodyPr/>
                    <a:lstStyle/>
                    <a:p>
                      <a:pPr marL="0" marR="0" indent="0" algn="ctr" defTabSz="1218927" rtl="0" eaLnBrk="1" fontAlgn="auto" latinLnBrk="0" hangingPunct="1">
                        <a:lnSpc>
                          <a:spcPct val="100000"/>
                        </a:lnSpc>
                        <a:spcBef>
                          <a:spcPts val="0"/>
                        </a:spcBef>
                        <a:spcAft>
                          <a:spcPts val="0"/>
                        </a:spcAft>
                        <a:buClrTx/>
                        <a:buSzTx/>
                        <a:buFontTx/>
                        <a:buNone/>
                        <a:tabLst/>
                        <a:defRPr/>
                      </a:pPr>
                      <a:r>
                        <a:rPr lang="es" sz="1200" b="0" noProof="0"/>
                        <a:t>14/14.520 (&lt;0,1)</a:t>
                      </a:r>
                    </a:p>
                  </a:txBody>
                  <a:tcPr marL="68580" marR="68580" marT="34290" marB="34290">
                    <a:noFill/>
                  </a:tcPr>
                </a:tc>
                <a:extLst>
                  <a:ext uri="{0D108BD9-81ED-4DB2-BD59-A6C34878D82A}">
                    <a16:rowId xmlns="" xmlns:a16="http://schemas.microsoft.com/office/drawing/2014/main" val="873889320"/>
                  </a:ext>
                </a:extLst>
              </a:tr>
              <a:tr h="251460">
                <a:tc>
                  <a:txBody>
                    <a:bodyPr/>
                    <a:lstStyle/>
                    <a:p>
                      <a:pPr marL="457200" marR="0" lvl="0" indent="-190800" algn="l" defTabSz="1218927" rtl="0" eaLnBrk="1" fontAlgn="auto" latinLnBrk="0" hangingPunct="1">
                        <a:lnSpc>
                          <a:spcPct val="100000"/>
                        </a:lnSpc>
                        <a:spcBef>
                          <a:spcPts val="0"/>
                        </a:spcBef>
                        <a:spcAft>
                          <a:spcPts val="0"/>
                        </a:spcAft>
                        <a:buClrTx/>
                        <a:buSzTx/>
                        <a:buFontTx/>
                        <a:buNone/>
                        <a:tabLst>
                          <a:tab pos="87313" algn="l"/>
                        </a:tabLst>
                        <a:defRPr/>
                      </a:pPr>
                      <a:r>
                        <a:rPr kumimoji="1" lang="es" sz="1200" u="none" strike="noStrike" kern="1200" noProof="0">
                          <a:solidFill>
                            <a:schemeClr val="dk1"/>
                          </a:solidFill>
                          <a:effectLst/>
                          <a:latin typeface="+mn-lt"/>
                          <a:ea typeface="+mn-ea"/>
                          <a:cs typeface="+mn-cs"/>
                        </a:rPr>
                        <a:t>Seronegativo‡</a:t>
                      </a:r>
                      <a:endParaRPr kumimoji="1" lang="en-US" sz="1200" u="none" strike="noStrike" kern="1200" noProof="0">
                        <a:solidFill>
                          <a:schemeClr val="dk1"/>
                        </a:solidFill>
                        <a:effectLst/>
                        <a:latin typeface="+mn-lt"/>
                        <a:ea typeface="+mn-ea"/>
                        <a:cs typeface="+mn-cs"/>
                      </a:endParaRPr>
                    </a:p>
                  </a:txBody>
                  <a:tcPr marL="68580" marR="68580" marT="34290" marB="34290">
                    <a:noFill/>
                  </a:tcPr>
                </a:tc>
                <a:tc>
                  <a:txBody>
                    <a:bodyPr/>
                    <a:lstStyle/>
                    <a:p>
                      <a:pPr marL="0" marR="0" indent="0" algn="ctr" defTabSz="1218927" rtl="0" eaLnBrk="1" fontAlgn="auto" latinLnBrk="0" hangingPunct="1">
                        <a:lnSpc>
                          <a:spcPct val="100000"/>
                        </a:lnSpc>
                        <a:spcBef>
                          <a:spcPts val="0"/>
                        </a:spcBef>
                        <a:spcAft>
                          <a:spcPts val="0"/>
                        </a:spcAft>
                        <a:buClrTx/>
                        <a:buSzTx/>
                        <a:buFontTx/>
                        <a:buNone/>
                        <a:tabLst/>
                        <a:defRPr/>
                      </a:pPr>
                      <a:r>
                        <a:rPr lang="es" sz="1200" b="0" noProof="0"/>
                        <a:t>1/1832 (&lt;0,1)</a:t>
                      </a:r>
                    </a:p>
                  </a:txBody>
                  <a:tcPr marL="68580" marR="68580" marT="34290" marB="34290">
                    <a:noFill/>
                  </a:tcPr>
                </a:tc>
                <a:tc>
                  <a:txBody>
                    <a:bodyPr/>
                    <a:lstStyle/>
                    <a:p>
                      <a:pPr marL="0" marR="0" indent="0" algn="ctr" defTabSz="1218927" rtl="0" eaLnBrk="1" fontAlgn="auto" latinLnBrk="0" hangingPunct="1">
                        <a:lnSpc>
                          <a:spcPct val="100000"/>
                        </a:lnSpc>
                        <a:spcBef>
                          <a:spcPts val="0"/>
                        </a:spcBef>
                        <a:spcAft>
                          <a:spcPts val="0"/>
                        </a:spcAft>
                        <a:buClrTx/>
                        <a:buSzTx/>
                        <a:buFontTx/>
                        <a:buNone/>
                        <a:tabLst/>
                        <a:defRPr/>
                      </a:pPr>
                      <a:r>
                        <a:rPr lang="es" sz="1200" b="0" noProof="0"/>
                        <a:t>2/3714 (&lt;0,1)</a:t>
                      </a:r>
                    </a:p>
                  </a:txBody>
                  <a:tcPr marL="68580" marR="68580" marT="34290" marB="34290">
                    <a:noFill/>
                  </a:tcPr>
                </a:tc>
                <a:tc>
                  <a:txBody>
                    <a:bodyPr/>
                    <a:lstStyle/>
                    <a:p>
                      <a:pPr marL="0" marR="0" indent="0" algn="ctr" defTabSz="1218927" rtl="0" eaLnBrk="1" fontAlgn="auto" latinLnBrk="0" hangingPunct="1">
                        <a:lnSpc>
                          <a:spcPct val="100000"/>
                        </a:lnSpc>
                        <a:spcBef>
                          <a:spcPts val="0"/>
                        </a:spcBef>
                        <a:spcAft>
                          <a:spcPts val="0"/>
                        </a:spcAft>
                        <a:buClrTx/>
                        <a:buSzTx/>
                        <a:buFontTx/>
                        <a:buNone/>
                        <a:tabLst/>
                        <a:defRPr/>
                      </a:pPr>
                      <a:r>
                        <a:rPr lang="es" sz="1200" b="0" noProof="0" dirty="0"/>
                        <a:t>3/5547 (&lt;0,1)</a:t>
                      </a:r>
                    </a:p>
                  </a:txBody>
                  <a:tcPr marL="68580" marR="68580" marT="34290" marB="34290">
                    <a:noFill/>
                  </a:tcPr>
                </a:tc>
                <a:extLst>
                  <a:ext uri="{0D108BD9-81ED-4DB2-BD59-A6C34878D82A}">
                    <a16:rowId xmlns="" xmlns:a16="http://schemas.microsoft.com/office/drawing/2014/main" val="10011"/>
                  </a:ext>
                </a:extLst>
              </a:tr>
            </a:tbl>
          </a:graphicData>
        </a:graphic>
      </p:graphicFrame>
      <p:sp>
        <p:nvSpPr>
          <p:cNvPr id="13" name="Rectangle 12">
            <a:extLst>
              <a:ext uri="{FF2B5EF4-FFF2-40B4-BE49-F238E27FC236}">
                <a16:creationId xmlns="" xmlns:a16="http://schemas.microsoft.com/office/drawing/2014/main" id="{8C1ECE18-7EBB-4F14-2CAE-AB40B1BC9331}"/>
              </a:ext>
            </a:extLst>
          </p:cNvPr>
          <p:cNvSpPr/>
          <p:nvPr/>
        </p:nvSpPr>
        <p:spPr>
          <a:xfrm>
            <a:off x="395288" y="3381545"/>
            <a:ext cx="7043628" cy="746355"/>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68555" tIns="34289" rIns="68555" bIns="34289" rtlCol="0" anchor="ctr"/>
          <a:lstStyle/>
          <a:p>
            <a:pPr algn="ctr" defTabSz="685511">
              <a:defRPr/>
            </a:pPr>
            <a:endParaRPr kumimoji="1" lang="en-US" sz="1400">
              <a:solidFill>
                <a:srgbClr val="FFFFFF"/>
              </a:solidFill>
              <a:cs typeface="Calibri" panose="020F0502020204030204" pitchFamily="34" charset="0"/>
            </a:endParaRPr>
          </a:p>
        </p:txBody>
      </p:sp>
      <p:sp>
        <p:nvSpPr>
          <p:cNvPr id="14" name="Rectangle 13">
            <a:extLst>
              <a:ext uri="{FF2B5EF4-FFF2-40B4-BE49-F238E27FC236}">
                <a16:creationId xmlns="" xmlns:a16="http://schemas.microsoft.com/office/drawing/2014/main" id="{AD48CDC3-C4F7-05B4-673B-E6AB776897F1}"/>
              </a:ext>
            </a:extLst>
          </p:cNvPr>
          <p:cNvSpPr/>
          <p:nvPr/>
        </p:nvSpPr>
        <p:spPr>
          <a:xfrm>
            <a:off x="7527853" y="3070152"/>
            <a:ext cx="1427288" cy="1057746"/>
          </a:xfrm>
          <a:prstGeom prst="rect">
            <a:avLst/>
          </a:prstGeom>
          <a:solidFill>
            <a:srgbClr val="0070C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511">
              <a:spcBef>
                <a:spcPts val="450"/>
              </a:spcBef>
              <a:spcAft>
                <a:spcPts val="225"/>
              </a:spcAft>
              <a:defRPr/>
            </a:pPr>
            <a:r>
              <a:rPr lang="es" sz="1400" kern="0" dirty="0">
                <a:solidFill>
                  <a:srgbClr val="FFFFFF"/>
                </a:solidFill>
                <a:cs typeface="Calibri" panose="020F0502020204030204" pitchFamily="34" charset="0"/>
              </a:rPr>
              <a:t>No se consideraron muertes relacionadas con TAK-003</a:t>
            </a:r>
          </a:p>
        </p:txBody>
      </p:sp>
    </p:spTree>
    <p:extLst>
      <p:ext uri="{BB962C8B-B14F-4D97-AF65-F5344CB8AC3E}">
        <p14:creationId xmlns:p14="http://schemas.microsoft.com/office/powerpoint/2010/main" val="345282949"/>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315310" y="0"/>
            <a:ext cx="8229600" cy="857250"/>
          </a:xfrm>
        </p:spPr>
        <p:txBody>
          <a:bodyPr/>
          <a:lstStyle/>
          <a:p>
            <a:r>
              <a:rPr lang="es-AR" sz="3200" dirty="0" smtClean="0"/>
              <a:t>Estudios de </a:t>
            </a:r>
            <a:r>
              <a:rPr lang="es-AR" sz="3200" dirty="0" err="1"/>
              <a:t>i</a:t>
            </a:r>
            <a:r>
              <a:rPr lang="es-AR" sz="3200" dirty="0" err="1" smtClean="0"/>
              <a:t>nmunopuente</a:t>
            </a:r>
            <a:r>
              <a:rPr lang="es-AR" sz="3200" dirty="0" smtClean="0"/>
              <a:t> </a:t>
            </a:r>
            <a:endParaRPr lang="es-ES" sz="3200" dirty="0"/>
          </a:p>
        </p:txBody>
      </p:sp>
      <p:sp>
        <p:nvSpPr>
          <p:cNvPr id="3" name="2 CuadroTexto"/>
          <p:cNvSpPr txBox="1"/>
          <p:nvPr/>
        </p:nvSpPr>
        <p:spPr>
          <a:xfrm>
            <a:off x="108642" y="973002"/>
            <a:ext cx="9035358" cy="3170064"/>
          </a:xfrm>
          <a:prstGeom prst="rect">
            <a:avLst/>
          </a:prstGeom>
          <a:noFill/>
        </p:spPr>
        <p:txBody>
          <a:bodyPr wrap="square" lIns="91406" tIns="45703" rIns="91406" bIns="45703" rtlCol="0">
            <a:spAutoFit/>
          </a:bodyPr>
          <a:lstStyle/>
          <a:p>
            <a:pPr marL="457200" indent="-457200" defTabSz="912690">
              <a:buFont typeface="Arial" panose="020B0604020202020204" pitchFamily="34" charset="0"/>
              <a:buChar char="•"/>
            </a:pPr>
            <a:r>
              <a:rPr lang="es-AR" dirty="0"/>
              <a:t>No se ha realizado ningún estudio de eficacia clínica en sujetos a partir de los 17 años de edad. </a:t>
            </a:r>
            <a:endParaRPr lang="es-AR" dirty="0" smtClean="0"/>
          </a:p>
          <a:p>
            <a:pPr marL="457200" indent="-457200" defTabSz="912690">
              <a:buFont typeface="Arial" panose="020B0604020202020204" pitchFamily="34" charset="0"/>
              <a:buChar char="•"/>
            </a:pPr>
            <a:r>
              <a:rPr lang="es-AR" dirty="0" smtClean="0"/>
              <a:t>La </a:t>
            </a:r>
            <a:r>
              <a:rPr lang="es-AR" dirty="0"/>
              <a:t>eficacia de </a:t>
            </a:r>
            <a:r>
              <a:rPr lang="es-AR" dirty="0" err="1"/>
              <a:t>Qdenga</a:t>
            </a:r>
            <a:r>
              <a:rPr lang="es-AR" dirty="0"/>
              <a:t> en </a:t>
            </a:r>
            <a:r>
              <a:rPr lang="es-AR" dirty="0" smtClean="0">
                <a:latin typeface="Calibri" panose="020F0502020204030204" pitchFamily="34" charset="0"/>
                <a:cs typeface="Calibri" panose="020F0502020204030204" pitchFamily="34" charset="0"/>
              </a:rPr>
              <a:t>≥ </a:t>
            </a:r>
            <a:r>
              <a:rPr lang="es-AR" dirty="0" smtClean="0"/>
              <a:t>17 </a:t>
            </a:r>
            <a:r>
              <a:rPr lang="es-AR" dirty="0"/>
              <a:t>años de edad se ha inferido de la eficacia clínica obtenida entre los 4 y los 16 años de edad extrapolando los datos de inmunogenicidad. </a:t>
            </a:r>
            <a:endParaRPr lang="es-AR" dirty="0" smtClean="0"/>
          </a:p>
          <a:p>
            <a:pPr marL="457200" indent="-457200" defTabSz="912690">
              <a:buFont typeface="Arial" panose="020B0604020202020204" pitchFamily="34" charset="0"/>
              <a:buChar char="•"/>
            </a:pPr>
            <a:r>
              <a:rPr lang="es-AR" dirty="0" smtClean="0"/>
              <a:t>La </a:t>
            </a:r>
            <a:r>
              <a:rPr lang="es-AR" dirty="0"/>
              <a:t>inmunogenicidad de </a:t>
            </a:r>
            <a:r>
              <a:rPr lang="es-AR" dirty="0" err="1"/>
              <a:t>Qdenga</a:t>
            </a:r>
            <a:r>
              <a:rPr lang="es-AR" dirty="0"/>
              <a:t> en adultos de 18 a 60 años se evaluó en el DEN-304, un estudio de fase III doble ciego, aleatorizado y controlado con placebo en un país no endémico (EE. UU.). </a:t>
            </a:r>
            <a:endParaRPr lang="es-AR" dirty="0" smtClean="0"/>
          </a:p>
          <a:p>
            <a:pPr marL="457200" indent="-457200" defTabSz="912690">
              <a:buFont typeface="Arial" panose="020B0604020202020204" pitchFamily="34" charset="0"/>
              <a:buChar char="•"/>
            </a:pPr>
            <a:r>
              <a:rPr lang="es-AR" b="1" dirty="0" smtClean="0"/>
              <a:t>Se </a:t>
            </a:r>
            <a:r>
              <a:rPr lang="es-AR" b="1" dirty="0"/>
              <a:t>espera protección contra la enfermedad del dengue en los adultos, aunque se desconoce la magnitud real de la eficacia con respecto a la observada en niños y adolescentes.</a:t>
            </a:r>
          </a:p>
          <a:p>
            <a:pPr defTabSz="912690"/>
            <a:endParaRPr lang="es-ES" sz="2000" dirty="0">
              <a:solidFill>
                <a:prstClr val="black"/>
              </a:solidFill>
            </a:endParaRPr>
          </a:p>
        </p:txBody>
      </p:sp>
    </p:spTree>
    <p:extLst>
      <p:ext uri="{BB962C8B-B14F-4D97-AF65-F5344CB8AC3E}">
        <p14:creationId xmlns:p14="http://schemas.microsoft.com/office/powerpoint/2010/main" val="3985968932"/>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7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6922" y="318056"/>
            <a:ext cx="4220954" cy="12931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3 Rectángulo"/>
          <p:cNvSpPr/>
          <p:nvPr/>
        </p:nvSpPr>
        <p:spPr>
          <a:xfrm>
            <a:off x="5155330" y="373562"/>
            <a:ext cx="3671799" cy="992577"/>
          </a:xfrm>
          <a:prstGeom prst="rect">
            <a:avLst/>
          </a:prstGeom>
          <a:solidFill>
            <a:schemeClr val="bg2">
              <a:lumMod val="90000"/>
            </a:schemeClr>
          </a:solidFill>
        </p:spPr>
        <p:txBody>
          <a:bodyPr wrap="square" lIns="68562" tIns="34289" rIns="68562" bIns="34289">
            <a:spAutoFit/>
          </a:bodyPr>
          <a:lstStyle/>
          <a:p>
            <a:pPr defTabSz="912690"/>
            <a:r>
              <a:rPr lang="es-AR" sz="1500" dirty="0" smtClean="0">
                <a:solidFill>
                  <a:prstClr val="black"/>
                </a:solidFill>
              </a:rPr>
              <a:t>Las </a:t>
            </a:r>
            <a:r>
              <a:rPr lang="es-AR" sz="1500" dirty="0">
                <a:solidFill>
                  <a:prstClr val="black"/>
                </a:solidFill>
              </a:rPr>
              <a:t>respuestas de anticuerpos neutralizantes fueron comparables en ambos estudios luego de recibir un programa de TAK-003 de dos dosis (meses 0 y 3). </a:t>
            </a:r>
          </a:p>
        </p:txBody>
      </p:sp>
      <p:pic>
        <p:nvPicPr>
          <p:cNvPr id="3277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40302" y="1608974"/>
            <a:ext cx="5946090" cy="32411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4618100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88418" name="Rectangle 2"/>
          <p:cNvSpPr>
            <a:spLocks noGrp="1" noChangeArrowheads="1"/>
          </p:cNvSpPr>
          <p:nvPr>
            <p:ph type="title" idx="4294967295"/>
          </p:nvPr>
        </p:nvSpPr>
        <p:spPr>
          <a:xfrm>
            <a:off x="0" y="-64117"/>
            <a:ext cx="5751845" cy="914400"/>
          </a:xfrm>
        </p:spPr>
        <p:txBody>
          <a:bodyPr vert="horz" wrap="square" lIns="68580" tIns="34290" rIns="68580" bIns="34290" numCol="1" rtlCol="0" anchor="ctr" anchorCtr="0" compatLnSpc="1">
            <a:prstTxWarp prst="textNoShape">
              <a:avLst/>
            </a:prstTxWarp>
            <a:noAutofit/>
          </a:bodyPr>
          <a:lstStyle/>
          <a:p>
            <a:r>
              <a:rPr lang="es-ES_tradnl" altLang="es-AR" sz="3200" b="1" dirty="0" smtClean="0"/>
              <a:t>Dengue: cadena </a:t>
            </a:r>
            <a:r>
              <a:rPr lang="es-ES_tradnl" altLang="es-AR" sz="3200" b="1" dirty="0"/>
              <a:t>de transmisión</a:t>
            </a:r>
          </a:p>
        </p:txBody>
      </p:sp>
      <p:grpSp>
        <p:nvGrpSpPr>
          <p:cNvPr id="4" name="3 Grupo"/>
          <p:cNvGrpSpPr/>
          <p:nvPr/>
        </p:nvGrpSpPr>
        <p:grpSpPr>
          <a:xfrm>
            <a:off x="984022" y="780176"/>
            <a:ext cx="6893240" cy="2728961"/>
            <a:chOff x="381000" y="2514600"/>
            <a:chExt cx="8964612" cy="3342486"/>
          </a:xfrm>
        </p:grpSpPr>
        <p:sp>
          <p:nvSpPr>
            <p:cNvPr id="188419" name="Oval 3"/>
            <p:cNvSpPr>
              <a:spLocks noChangeArrowheads="1"/>
            </p:cNvSpPr>
            <p:nvPr/>
          </p:nvSpPr>
          <p:spPr bwMode="auto">
            <a:xfrm>
              <a:off x="381000" y="2514600"/>
              <a:ext cx="2714625" cy="2286000"/>
            </a:xfrm>
            <a:prstGeom prst="ellipse">
              <a:avLst/>
            </a:prstGeom>
            <a:solidFill>
              <a:schemeClr val="accent5">
                <a:lumMod val="75000"/>
              </a:schemeClr>
            </a:solidFill>
            <a:ln w="9525">
              <a:solidFill>
                <a:schemeClr val="tx1"/>
              </a:solidFill>
              <a:round/>
              <a:headEnd/>
              <a:tailEnd/>
            </a:ln>
          </p:spPr>
          <p:txBody>
            <a:bodyPr wrap="none" anchor="ctr"/>
            <a:lstStyle>
              <a:lvl1pPr algn="l">
                <a:defRPr>
                  <a:solidFill>
                    <a:schemeClr val="tx1"/>
                  </a:solidFill>
                  <a:latin typeface="Arial" charset="0"/>
                  <a:cs typeface="Arial" charset="0"/>
                </a:defRPr>
              </a:lvl1pPr>
              <a:lvl2pPr marL="742950" indent="-285750" algn="l">
                <a:defRPr>
                  <a:solidFill>
                    <a:schemeClr val="tx1"/>
                  </a:solidFill>
                  <a:latin typeface="Arial" charset="0"/>
                  <a:cs typeface="Arial" charset="0"/>
                </a:defRPr>
              </a:lvl2pPr>
              <a:lvl3pPr marL="1143000" indent="-228600" algn="l">
                <a:defRPr>
                  <a:solidFill>
                    <a:schemeClr val="tx1"/>
                  </a:solidFill>
                  <a:latin typeface="Arial" charset="0"/>
                  <a:cs typeface="Arial" charset="0"/>
                </a:defRPr>
              </a:lvl3pPr>
              <a:lvl4pPr marL="1600200" indent="-228600" algn="l">
                <a:defRPr>
                  <a:solidFill>
                    <a:schemeClr val="tx1"/>
                  </a:solidFill>
                  <a:latin typeface="Arial" charset="0"/>
                  <a:cs typeface="Arial" charset="0"/>
                </a:defRPr>
              </a:lvl4pPr>
              <a:lvl5pPr marL="2057400" indent="-228600" algn="l">
                <a:defRPr>
                  <a:solidFill>
                    <a:schemeClr val="tx1"/>
                  </a:solidFill>
                  <a:latin typeface="Arial" charset="0"/>
                  <a:cs typeface="Arial" charset="0"/>
                </a:defRPr>
              </a:lvl5pPr>
              <a:lvl6pPr marL="2514600" indent="-228600" fontAlgn="base">
                <a:spcBef>
                  <a:spcPct val="0"/>
                </a:spcBef>
                <a:spcAft>
                  <a:spcPct val="0"/>
                </a:spcAft>
                <a:defRPr>
                  <a:solidFill>
                    <a:schemeClr val="tx1"/>
                  </a:solidFill>
                  <a:latin typeface="Arial" charset="0"/>
                  <a:cs typeface="Arial" charset="0"/>
                </a:defRPr>
              </a:lvl6pPr>
              <a:lvl7pPr marL="2971800" indent="-228600" fontAlgn="base">
                <a:spcBef>
                  <a:spcPct val="0"/>
                </a:spcBef>
                <a:spcAft>
                  <a:spcPct val="0"/>
                </a:spcAft>
                <a:defRPr>
                  <a:solidFill>
                    <a:schemeClr val="tx1"/>
                  </a:solidFill>
                  <a:latin typeface="Arial" charset="0"/>
                  <a:cs typeface="Arial" charset="0"/>
                </a:defRPr>
              </a:lvl7pPr>
              <a:lvl8pPr marL="3429000" indent="-228600" fontAlgn="base">
                <a:spcBef>
                  <a:spcPct val="0"/>
                </a:spcBef>
                <a:spcAft>
                  <a:spcPct val="0"/>
                </a:spcAft>
                <a:defRPr>
                  <a:solidFill>
                    <a:schemeClr val="tx1"/>
                  </a:solidFill>
                  <a:latin typeface="Arial" charset="0"/>
                  <a:cs typeface="Arial" charset="0"/>
                </a:defRPr>
              </a:lvl8pPr>
              <a:lvl9pPr marL="3886200" indent="-228600" fontAlgn="base">
                <a:spcBef>
                  <a:spcPct val="0"/>
                </a:spcBef>
                <a:spcAft>
                  <a:spcPct val="0"/>
                </a:spcAft>
                <a:defRPr>
                  <a:solidFill>
                    <a:schemeClr val="tx1"/>
                  </a:solidFill>
                  <a:latin typeface="Arial" charset="0"/>
                  <a:cs typeface="Arial" charset="0"/>
                </a:defRPr>
              </a:lvl9pPr>
            </a:lstStyle>
            <a:p>
              <a:pPr algn="ctr" eaLnBrk="0" hangingPunct="0"/>
              <a:r>
                <a:rPr lang="es-MX" altLang="es-AR" sz="1500" b="1">
                  <a:solidFill>
                    <a:srgbClr val="FFFFFF"/>
                  </a:solidFill>
                  <a:latin typeface="+mn-lt"/>
                </a:rPr>
                <a:t>Reservorio Viral</a:t>
              </a:r>
              <a:endParaRPr lang="es-ES" altLang="es-AR" sz="1500" b="1">
                <a:solidFill>
                  <a:srgbClr val="FFFFFF"/>
                </a:solidFill>
                <a:latin typeface="+mn-lt"/>
              </a:endParaRPr>
            </a:p>
          </p:txBody>
        </p:sp>
        <p:grpSp>
          <p:nvGrpSpPr>
            <p:cNvPr id="2" name="Group 4"/>
            <p:cNvGrpSpPr>
              <a:grpSpLocks/>
            </p:cNvGrpSpPr>
            <p:nvPr/>
          </p:nvGrpSpPr>
          <p:grpSpPr bwMode="auto">
            <a:xfrm>
              <a:off x="573087" y="2794796"/>
              <a:ext cx="8772525" cy="3062290"/>
              <a:chOff x="343" y="1915"/>
              <a:chExt cx="5526" cy="1929"/>
            </a:xfrm>
          </p:grpSpPr>
          <p:sp>
            <p:nvSpPr>
              <p:cNvPr id="140293" name="Rectangle 5"/>
              <p:cNvSpPr>
                <a:spLocks noChangeArrowheads="1"/>
              </p:cNvSpPr>
              <p:nvPr/>
            </p:nvSpPr>
            <p:spPr bwMode="auto">
              <a:xfrm>
                <a:off x="3325" y="3495"/>
                <a:ext cx="2544" cy="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a:defRPr>
                    <a:solidFill>
                      <a:schemeClr val="tx1"/>
                    </a:solidFill>
                    <a:latin typeface="Arial" charset="0"/>
                    <a:cs typeface="Arial" charset="0"/>
                  </a:defRPr>
                </a:lvl1pPr>
                <a:lvl2pPr marL="742950" indent="-285750" algn="l">
                  <a:defRPr>
                    <a:solidFill>
                      <a:schemeClr val="tx1"/>
                    </a:solidFill>
                    <a:latin typeface="Arial" charset="0"/>
                    <a:cs typeface="Arial" charset="0"/>
                  </a:defRPr>
                </a:lvl2pPr>
                <a:lvl3pPr marL="1143000" indent="-228600" algn="l">
                  <a:defRPr>
                    <a:solidFill>
                      <a:schemeClr val="tx1"/>
                    </a:solidFill>
                    <a:latin typeface="Arial" charset="0"/>
                    <a:cs typeface="Arial" charset="0"/>
                  </a:defRPr>
                </a:lvl3pPr>
                <a:lvl4pPr marL="1600200" indent="-228600" algn="l">
                  <a:defRPr>
                    <a:solidFill>
                      <a:schemeClr val="tx1"/>
                    </a:solidFill>
                    <a:latin typeface="Arial" charset="0"/>
                    <a:cs typeface="Arial" charset="0"/>
                  </a:defRPr>
                </a:lvl4pPr>
                <a:lvl5pPr marL="2057400" indent="-228600" algn="l">
                  <a:defRPr>
                    <a:solidFill>
                      <a:schemeClr val="tx1"/>
                    </a:solidFill>
                    <a:latin typeface="Arial" charset="0"/>
                    <a:cs typeface="Arial" charset="0"/>
                  </a:defRPr>
                </a:lvl5pPr>
                <a:lvl6pPr marL="2514600" indent="-228600" fontAlgn="base">
                  <a:spcBef>
                    <a:spcPct val="0"/>
                  </a:spcBef>
                  <a:spcAft>
                    <a:spcPct val="0"/>
                  </a:spcAft>
                  <a:defRPr>
                    <a:solidFill>
                      <a:schemeClr val="tx1"/>
                    </a:solidFill>
                    <a:latin typeface="Arial" charset="0"/>
                    <a:cs typeface="Arial" charset="0"/>
                  </a:defRPr>
                </a:lvl6pPr>
                <a:lvl7pPr marL="2971800" indent="-228600" fontAlgn="base">
                  <a:spcBef>
                    <a:spcPct val="0"/>
                  </a:spcBef>
                  <a:spcAft>
                    <a:spcPct val="0"/>
                  </a:spcAft>
                  <a:defRPr>
                    <a:solidFill>
                      <a:schemeClr val="tx1"/>
                    </a:solidFill>
                    <a:latin typeface="Arial" charset="0"/>
                    <a:cs typeface="Arial" charset="0"/>
                  </a:defRPr>
                </a:lvl7pPr>
                <a:lvl8pPr marL="3429000" indent="-228600" fontAlgn="base">
                  <a:spcBef>
                    <a:spcPct val="0"/>
                  </a:spcBef>
                  <a:spcAft>
                    <a:spcPct val="0"/>
                  </a:spcAft>
                  <a:defRPr>
                    <a:solidFill>
                      <a:schemeClr val="tx1"/>
                    </a:solidFill>
                    <a:latin typeface="Arial" charset="0"/>
                    <a:cs typeface="Arial" charset="0"/>
                  </a:defRPr>
                </a:lvl8pPr>
                <a:lvl9pPr marL="3886200" indent="-228600" fontAlgn="base">
                  <a:spcBef>
                    <a:spcPct val="0"/>
                  </a:spcBef>
                  <a:spcAft>
                    <a:spcPct val="0"/>
                  </a:spcAft>
                  <a:defRPr>
                    <a:solidFill>
                      <a:schemeClr val="tx1"/>
                    </a:solidFill>
                    <a:latin typeface="Arial" charset="0"/>
                    <a:cs typeface="Arial" charset="0"/>
                  </a:defRPr>
                </a:lvl9pPr>
              </a:lstStyle>
              <a:p>
                <a:pPr algn="ctr" eaLnBrk="0" hangingPunct="0">
                  <a:spcBef>
                    <a:spcPct val="50000"/>
                  </a:spcBef>
                </a:pPr>
                <a:r>
                  <a:rPr lang="es-MX" altLang="es-AR" sz="1050" b="1" dirty="0">
                    <a:latin typeface="+mn-lt"/>
                  </a:rPr>
                  <a:t>Personas sin anticuerpos específicos contra el serotipo de virus circulante</a:t>
                </a:r>
                <a:endParaRPr lang="es-ES" altLang="es-AR" sz="1050" b="1" dirty="0">
                  <a:latin typeface="+mn-lt"/>
                </a:endParaRPr>
              </a:p>
            </p:txBody>
          </p:sp>
          <p:sp>
            <p:nvSpPr>
              <p:cNvPr id="140294" name="Rectangle 6"/>
              <p:cNvSpPr>
                <a:spLocks noChangeArrowheads="1"/>
              </p:cNvSpPr>
              <p:nvPr/>
            </p:nvSpPr>
            <p:spPr bwMode="auto">
              <a:xfrm>
                <a:off x="2182" y="1915"/>
                <a:ext cx="1710" cy="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gn="l">
                  <a:defRPr>
                    <a:solidFill>
                      <a:schemeClr val="tx1"/>
                    </a:solidFill>
                    <a:latin typeface="Arial" charset="0"/>
                    <a:cs typeface="Arial" charset="0"/>
                  </a:defRPr>
                </a:lvl1pPr>
                <a:lvl2pPr marL="742950" indent="-285750" algn="l">
                  <a:defRPr>
                    <a:solidFill>
                      <a:schemeClr val="tx1"/>
                    </a:solidFill>
                    <a:latin typeface="Arial" charset="0"/>
                    <a:cs typeface="Arial" charset="0"/>
                  </a:defRPr>
                </a:lvl2pPr>
                <a:lvl3pPr marL="1143000" indent="-228600" algn="l">
                  <a:defRPr>
                    <a:solidFill>
                      <a:schemeClr val="tx1"/>
                    </a:solidFill>
                    <a:latin typeface="Arial" charset="0"/>
                    <a:cs typeface="Arial" charset="0"/>
                  </a:defRPr>
                </a:lvl3pPr>
                <a:lvl4pPr marL="1600200" indent="-228600" algn="l">
                  <a:defRPr>
                    <a:solidFill>
                      <a:schemeClr val="tx1"/>
                    </a:solidFill>
                    <a:latin typeface="Arial" charset="0"/>
                    <a:cs typeface="Arial" charset="0"/>
                  </a:defRPr>
                </a:lvl4pPr>
                <a:lvl5pPr marL="2057400" indent="-228600" algn="l">
                  <a:defRPr>
                    <a:solidFill>
                      <a:schemeClr val="tx1"/>
                    </a:solidFill>
                    <a:latin typeface="Arial" charset="0"/>
                    <a:cs typeface="Arial" charset="0"/>
                  </a:defRPr>
                </a:lvl5pPr>
                <a:lvl6pPr marL="2514600" indent="-228600" fontAlgn="base">
                  <a:spcBef>
                    <a:spcPct val="0"/>
                  </a:spcBef>
                  <a:spcAft>
                    <a:spcPct val="0"/>
                  </a:spcAft>
                  <a:defRPr>
                    <a:solidFill>
                      <a:schemeClr val="tx1"/>
                    </a:solidFill>
                    <a:latin typeface="Arial" charset="0"/>
                    <a:cs typeface="Arial" charset="0"/>
                  </a:defRPr>
                </a:lvl6pPr>
                <a:lvl7pPr marL="2971800" indent="-228600" fontAlgn="base">
                  <a:spcBef>
                    <a:spcPct val="0"/>
                  </a:spcBef>
                  <a:spcAft>
                    <a:spcPct val="0"/>
                  </a:spcAft>
                  <a:defRPr>
                    <a:solidFill>
                      <a:schemeClr val="tx1"/>
                    </a:solidFill>
                    <a:latin typeface="Arial" charset="0"/>
                    <a:cs typeface="Arial" charset="0"/>
                  </a:defRPr>
                </a:lvl7pPr>
                <a:lvl8pPr marL="3429000" indent="-228600" fontAlgn="base">
                  <a:spcBef>
                    <a:spcPct val="0"/>
                  </a:spcBef>
                  <a:spcAft>
                    <a:spcPct val="0"/>
                  </a:spcAft>
                  <a:defRPr>
                    <a:solidFill>
                      <a:schemeClr val="tx1"/>
                    </a:solidFill>
                    <a:latin typeface="Arial" charset="0"/>
                    <a:cs typeface="Arial" charset="0"/>
                  </a:defRPr>
                </a:lvl8pPr>
                <a:lvl9pPr marL="3886200" indent="-228600" fontAlgn="base">
                  <a:spcBef>
                    <a:spcPct val="0"/>
                  </a:spcBef>
                  <a:spcAft>
                    <a:spcPct val="0"/>
                  </a:spcAft>
                  <a:defRPr>
                    <a:solidFill>
                      <a:schemeClr val="tx1"/>
                    </a:solidFill>
                    <a:latin typeface="Arial" charset="0"/>
                    <a:cs typeface="Arial" charset="0"/>
                  </a:defRPr>
                </a:lvl9pPr>
              </a:lstStyle>
              <a:p>
                <a:pPr algn="ctr" eaLnBrk="0" hangingPunct="0">
                  <a:spcBef>
                    <a:spcPct val="50000"/>
                  </a:spcBef>
                </a:pPr>
                <a:r>
                  <a:rPr lang="es-MX" altLang="es-AR" sz="1050" b="1" i="1" dirty="0">
                    <a:latin typeface="+mn-lt"/>
                  </a:rPr>
                  <a:t>    Aedes </a:t>
                </a:r>
                <a:r>
                  <a:rPr lang="es-MX" altLang="es-AR" sz="1050" b="1" i="1" dirty="0" err="1">
                    <a:latin typeface="+mn-lt"/>
                  </a:rPr>
                  <a:t>aegypti</a:t>
                </a:r>
                <a:r>
                  <a:rPr lang="es-MX" altLang="es-AR" sz="1050" b="1" i="1" dirty="0">
                    <a:latin typeface="+mn-lt"/>
                  </a:rPr>
                  <a:t> </a:t>
                </a:r>
                <a:r>
                  <a:rPr lang="es-MX" altLang="es-AR" sz="1050" b="1" dirty="0">
                    <a:latin typeface="+mn-lt"/>
                  </a:rPr>
                  <a:t>u otras especies</a:t>
                </a:r>
                <a:endParaRPr lang="es-ES" altLang="es-AR" sz="1050" b="1" i="1" dirty="0">
                  <a:latin typeface="+mn-lt"/>
                </a:endParaRPr>
              </a:p>
            </p:txBody>
          </p:sp>
          <p:sp>
            <p:nvSpPr>
              <p:cNvPr id="140295" name="Rectangle 7"/>
              <p:cNvSpPr>
                <a:spLocks noChangeArrowheads="1"/>
              </p:cNvSpPr>
              <p:nvPr/>
            </p:nvSpPr>
            <p:spPr bwMode="auto">
              <a:xfrm>
                <a:off x="343" y="3178"/>
                <a:ext cx="1467" cy="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a:defRPr>
                    <a:solidFill>
                      <a:schemeClr val="tx1"/>
                    </a:solidFill>
                    <a:latin typeface="Arial" charset="0"/>
                    <a:cs typeface="Arial" charset="0"/>
                  </a:defRPr>
                </a:lvl1pPr>
                <a:lvl2pPr marL="742950" indent="-285750" algn="l">
                  <a:defRPr>
                    <a:solidFill>
                      <a:schemeClr val="tx1"/>
                    </a:solidFill>
                    <a:latin typeface="Arial" charset="0"/>
                    <a:cs typeface="Arial" charset="0"/>
                  </a:defRPr>
                </a:lvl2pPr>
                <a:lvl3pPr marL="1143000" indent="-228600" algn="l">
                  <a:defRPr>
                    <a:solidFill>
                      <a:schemeClr val="tx1"/>
                    </a:solidFill>
                    <a:latin typeface="Arial" charset="0"/>
                    <a:cs typeface="Arial" charset="0"/>
                  </a:defRPr>
                </a:lvl3pPr>
                <a:lvl4pPr marL="1600200" indent="-228600" algn="l">
                  <a:defRPr>
                    <a:solidFill>
                      <a:schemeClr val="tx1"/>
                    </a:solidFill>
                    <a:latin typeface="Arial" charset="0"/>
                    <a:cs typeface="Arial" charset="0"/>
                  </a:defRPr>
                </a:lvl4pPr>
                <a:lvl5pPr marL="2057400" indent="-228600" algn="l">
                  <a:defRPr>
                    <a:solidFill>
                      <a:schemeClr val="tx1"/>
                    </a:solidFill>
                    <a:latin typeface="Arial" charset="0"/>
                    <a:cs typeface="Arial" charset="0"/>
                  </a:defRPr>
                </a:lvl5pPr>
                <a:lvl6pPr marL="2514600" indent="-228600" fontAlgn="base">
                  <a:spcBef>
                    <a:spcPct val="0"/>
                  </a:spcBef>
                  <a:spcAft>
                    <a:spcPct val="0"/>
                  </a:spcAft>
                  <a:defRPr>
                    <a:solidFill>
                      <a:schemeClr val="tx1"/>
                    </a:solidFill>
                    <a:latin typeface="Arial" charset="0"/>
                    <a:cs typeface="Arial" charset="0"/>
                  </a:defRPr>
                </a:lvl6pPr>
                <a:lvl7pPr marL="2971800" indent="-228600" fontAlgn="base">
                  <a:spcBef>
                    <a:spcPct val="0"/>
                  </a:spcBef>
                  <a:spcAft>
                    <a:spcPct val="0"/>
                  </a:spcAft>
                  <a:defRPr>
                    <a:solidFill>
                      <a:schemeClr val="tx1"/>
                    </a:solidFill>
                    <a:latin typeface="Arial" charset="0"/>
                    <a:cs typeface="Arial" charset="0"/>
                  </a:defRPr>
                </a:lvl7pPr>
                <a:lvl8pPr marL="3429000" indent="-228600" fontAlgn="base">
                  <a:spcBef>
                    <a:spcPct val="0"/>
                  </a:spcBef>
                  <a:spcAft>
                    <a:spcPct val="0"/>
                  </a:spcAft>
                  <a:defRPr>
                    <a:solidFill>
                      <a:schemeClr val="tx1"/>
                    </a:solidFill>
                    <a:latin typeface="Arial" charset="0"/>
                    <a:cs typeface="Arial" charset="0"/>
                  </a:defRPr>
                </a:lvl8pPr>
                <a:lvl9pPr marL="3886200" indent="-228600" fontAlgn="base">
                  <a:spcBef>
                    <a:spcPct val="0"/>
                  </a:spcBef>
                  <a:spcAft>
                    <a:spcPct val="0"/>
                  </a:spcAft>
                  <a:defRPr>
                    <a:solidFill>
                      <a:schemeClr val="tx1"/>
                    </a:solidFill>
                    <a:latin typeface="Arial" charset="0"/>
                    <a:cs typeface="Arial" charset="0"/>
                  </a:defRPr>
                </a:lvl9pPr>
              </a:lstStyle>
              <a:p>
                <a:pPr algn="ctr" eaLnBrk="0" hangingPunct="0">
                  <a:spcBef>
                    <a:spcPct val="50000"/>
                  </a:spcBef>
                </a:pPr>
                <a:r>
                  <a:rPr lang="es-MX" altLang="es-AR" sz="1050" b="1" dirty="0">
                    <a:latin typeface="+mn-lt"/>
                  </a:rPr>
                  <a:t>Personas infectadas en etapa de viremia</a:t>
                </a:r>
                <a:endParaRPr lang="es-ES" altLang="es-AR" sz="1050" b="1" dirty="0">
                  <a:latin typeface="+mn-lt"/>
                </a:endParaRPr>
              </a:p>
            </p:txBody>
          </p:sp>
        </p:grpSp>
        <p:grpSp>
          <p:nvGrpSpPr>
            <p:cNvPr id="3" name="Group 9"/>
            <p:cNvGrpSpPr>
              <a:grpSpLocks/>
            </p:cNvGrpSpPr>
            <p:nvPr/>
          </p:nvGrpSpPr>
          <p:grpSpPr bwMode="auto">
            <a:xfrm>
              <a:off x="2612661" y="3352800"/>
              <a:ext cx="3759540" cy="1660376"/>
              <a:chOff x="1634" y="2112"/>
              <a:chExt cx="2531" cy="1152"/>
            </a:xfrm>
          </p:grpSpPr>
          <p:sp>
            <p:nvSpPr>
              <p:cNvPr id="140297" name="Oval 10"/>
              <p:cNvSpPr>
                <a:spLocks noChangeArrowheads="1"/>
              </p:cNvSpPr>
              <p:nvPr/>
            </p:nvSpPr>
            <p:spPr bwMode="auto">
              <a:xfrm>
                <a:off x="1634" y="2112"/>
                <a:ext cx="2531" cy="1152"/>
              </a:xfrm>
              <a:prstGeom prst="ellipse">
                <a:avLst/>
              </a:prstGeom>
              <a:solidFill>
                <a:srgbClr val="FFFFFF"/>
              </a:solidFill>
              <a:ln w="9525">
                <a:solidFill>
                  <a:schemeClr val="tx1"/>
                </a:solidFill>
                <a:round/>
                <a:headEnd/>
                <a:tailEnd/>
              </a:ln>
            </p:spPr>
            <p:txBody>
              <a:bodyPr wrap="none" anchor="ctr"/>
              <a:lstStyle>
                <a:lvl1pPr algn="l">
                  <a:defRPr>
                    <a:solidFill>
                      <a:schemeClr val="tx1"/>
                    </a:solidFill>
                    <a:latin typeface="Arial" charset="0"/>
                    <a:cs typeface="Arial" charset="0"/>
                  </a:defRPr>
                </a:lvl1pPr>
                <a:lvl2pPr marL="742950" indent="-285750" algn="l">
                  <a:defRPr>
                    <a:solidFill>
                      <a:schemeClr val="tx1"/>
                    </a:solidFill>
                    <a:latin typeface="Arial" charset="0"/>
                    <a:cs typeface="Arial" charset="0"/>
                  </a:defRPr>
                </a:lvl2pPr>
                <a:lvl3pPr marL="1143000" indent="-228600" algn="l">
                  <a:defRPr>
                    <a:solidFill>
                      <a:schemeClr val="tx1"/>
                    </a:solidFill>
                    <a:latin typeface="Arial" charset="0"/>
                    <a:cs typeface="Arial" charset="0"/>
                  </a:defRPr>
                </a:lvl3pPr>
                <a:lvl4pPr marL="1600200" indent="-228600" algn="l">
                  <a:defRPr>
                    <a:solidFill>
                      <a:schemeClr val="tx1"/>
                    </a:solidFill>
                    <a:latin typeface="Arial" charset="0"/>
                    <a:cs typeface="Arial" charset="0"/>
                  </a:defRPr>
                </a:lvl4pPr>
                <a:lvl5pPr marL="2057400" indent="-228600" algn="l">
                  <a:defRPr>
                    <a:solidFill>
                      <a:schemeClr val="tx1"/>
                    </a:solidFill>
                    <a:latin typeface="Arial" charset="0"/>
                    <a:cs typeface="Arial" charset="0"/>
                  </a:defRPr>
                </a:lvl5pPr>
                <a:lvl6pPr marL="2514600" indent="-228600" fontAlgn="base">
                  <a:spcBef>
                    <a:spcPct val="0"/>
                  </a:spcBef>
                  <a:spcAft>
                    <a:spcPct val="0"/>
                  </a:spcAft>
                  <a:defRPr>
                    <a:solidFill>
                      <a:schemeClr val="tx1"/>
                    </a:solidFill>
                    <a:latin typeface="Arial" charset="0"/>
                    <a:cs typeface="Arial" charset="0"/>
                  </a:defRPr>
                </a:lvl6pPr>
                <a:lvl7pPr marL="2971800" indent="-228600" fontAlgn="base">
                  <a:spcBef>
                    <a:spcPct val="0"/>
                  </a:spcBef>
                  <a:spcAft>
                    <a:spcPct val="0"/>
                  </a:spcAft>
                  <a:defRPr>
                    <a:solidFill>
                      <a:schemeClr val="tx1"/>
                    </a:solidFill>
                    <a:latin typeface="Arial" charset="0"/>
                    <a:cs typeface="Arial" charset="0"/>
                  </a:defRPr>
                </a:lvl7pPr>
                <a:lvl8pPr marL="3429000" indent="-228600" fontAlgn="base">
                  <a:spcBef>
                    <a:spcPct val="0"/>
                  </a:spcBef>
                  <a:spcAft>
                    <a:spcPct val="0"/>
                  </a:spcAft>
                  <a:defRPr>
                    <a:solidFill>
                      <a:schemeClr val="tx1"/>
                    </a:solidFill>
                    <a:latin typeface="Arial" charset="0"/>
                    <a:cs typeface="Arial" charset="0"/>
                  </a:defRPr>
                </a:lvl8pPr>
                <a:lvl9pPr marL="3886200" indent="-228600" fontAlgn="base">
                  <a:spcBef>
                    <a:spcPct val="0"/>
                  </a:spcBef>
                  <a:spcAft>
                    <a:spcPct val="0"/>
                  </a:spcAft>
                  <a:defRPr>
                    <a:solidFill>
                      <a:schemeClr val="tx1"/>
                    </a:solidFill>
                    <a:latin typeface="Arial" charset="0"/>
                    <a:cs typeface="Arial" charset="0"/>
                  </a:defRPr>
                </a:lvl9pPr>
              </a:lstStyle>
              <a:p>
                <a:pPr algn="ctr" eaLnBrk="0" hangingPunct="0"/>
                <a:endParaRPr lang="es-AR" altLang="es-AR" sz="1500" b="1">
                  <a:solidFill>
                    <a:srgbClr val="FFFFFF"/>
                  </a:solidFill>
                  <a:latin typeface="+mn-lt"/>
                </a:endParaRPr>
              </a:p>
            </p:txBody>
          </p:sp>
          <p:pic>
            <p:nvPicPr>
              <p:cNvPr id="140298" name="Picture 11" descr="Mosquito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59" y="2458"/>
                <a:ext cx="1248" cy="4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88429" name="Oval 13"/>
            <p:cNvSpPr>
              <a:spLocks noChangeArrowheads="1"/>
            </p:cNvSpPr>
            <p:nvPr/>
          </p:nvSpPr>
          <p:spPr bwMode="auto">
            <a:xfrm>
              <a:off x="6227763" y="2997200"/>
              <a:ext cx="2532062" cy="2286000"/>
            </a:xfrm>
            <a:prstGeom prst="ellipse">
              <a:avLst/>
            </a:prstGeom>
            <a:solidFill>
              <a:schemeClr val="bg2">
                <a:lumMod val="75000"/>
              </a:schemeClr>
            </a:solidFill>
            <a:ln w="9525">
              <a:solidFill>
                <a:schemeClr val="tx1"/>
              </a:solidFill>
              <a:round/>
              <a:headEnd/>
              <a:tailEnd/>
            </a:ln>
          </p:spPr>
          <p:txBody>
            <a:bodyPr wrap="none" anchor="ctr"/>
            <a:lstStyle>
              <a:lvl1pPr algn="l">
                <a:defRPr>
                  <a:solidFill>
                    <a:schemeClr val="tx1"/>
                  </a:solidFill>
                  <a:latin typeface="Arial" charset="0"/>
                  <a:cs typeface="Arial" charset="0"/>
                </a:defRPr>
              </a:lvl1pPr>
              <a:lvl2pPr marL="742950" indent="-285750" algn="l">
                <a:defRPr>
                  <a:solidFill>
                    <a:schemeClr val="tx1"/>
                  </a:solidFill>
                  <a:latin typeface="Arial" charset="0"/>
                  <a:cs typeface="Arial" charset="0"/>
                </a:defRPr>
              </a:lvl2pPr>
              <a:lvl3pPr marL="1143000" indent="-228600" algn="l">
                <a:defRPr>
                  <a:solidFill>
                    <a:schemeClr val="tx1"/>
                  </a:solidFill>
                  <a:latin typeface="Arial" charset="0"/>
                  <a:cs typeface="Arial" charset="0"/>
                </a:defRPr>
              </a:lvl3pPr>
              <a:lvl4pPr marL="1600200" indent="-228600" algn="l">
                <a:defRPr>
                  <a:solidFill>
                    <a:schemeClr val="tx1"/>
                  </a:solidFill>
                  <a:latin typeface="Arial" charset="0"/>
                  <a:cs typeface="Arial" charset="0"/>
                </a:defRPr>
              </a:lvl4pPr>
              <a:lvl5pPr marL="2057400" indent="-228600" algn="l">
                <a:defRPr>
                  <a:solidFill>
                    <a:schemeClr val="tx1"/>
                  </a:solidFill>
                  <a:latin typeface="Arial" charset="0"/>
                  <a:cs typeface="Arial" charset="0"/>
                </a:defRPr>
              </a:lvl5pPr>
              <a:lvl6pPr marL="2514600" indent="-228600" fontAlgn="base">
                <a:spcBef>
                  <a:spcPct val="0"/>
                </a:spcBef>
                <a:spcAft>
                  <a:spcPct val="0"/>
                </a:spcAft>
                <a:defRPr>
                  <a:solidFill>
                    <a:schemeClr val="tx1"/>
                  </a:solidFill>
                  <a:latin typeface="Arial" charset="0"/>
                  <a:cs typeface="Arial" charset="0"/>
                </a:defRPr>
              </a:lvl6pPr>
              <a:lvl7pPr marL="2971800" indent="-228600" fontAlgn="base">
                <a:spcBef>
                  <a:spcPct val="0"/>
                </a:spcBef>
                <a:spcAft>
                  <a:spcPct val="0"/>
                </a:spcAft>
                <a:defRPr>
                  <a:solidFill>
                    <a:schemeClr val="tx1"/>
                  </a:solidFill>
                  <a:latin typeface="Arial" charset="0"/>
                  <a:cs typeface="Arial" charset="0"/>
                </a:defRPr>
              </a:lvl7pPr>
              <a:lvl8pPr marL="3429000" indent="-228600" fontAlgn="base">
                <a:spcBef>
                  <a:spcPct val="0"/>
                </a:spcBef>
                <a:spcAft>
                  <a:spcPct val="0"/>
                </a:spcAft>
                <a:defRPr>
                  <a:solidFill>
                    <a:schemeClr val="tx1"/>
                  </a:solidFill>
                  <a:latin typeface="Arial" charset="0"/>
                  <a:cs typeface="Arial" charset="0"/>
                </a:defRPr>
              </a:lvl8pPr>
              <a:lvl9pPr marL="3886200" indent="-228600" fontAlgn="base">
                <a:spcBef>
                  <a:spcPct val="0"/>
                </a:spcBef>
                <a:spcAft>
                  <a:spcPct val="0"/>
                </a:spcAft>
                <a:defRPr>
                  <a:solidFill>
                    <a:schemeClr val="tx1"/>
                  </a:solidFill>
                  <a:latin typeface="Arial" charset="0"/>
                  <a:cs typeface="Arial" charset="0"/>
                </a:defRPr>
              </a:lvl9pPr>
            </a:lstStyle>
            <a:p>
              <a:pPr algn="ctr" eaLnBrk="0" hangingPunct="0"/>
              <a:r>
                <a:rPr lang="es-MX" altLang="es-AR" sz="1500" b="1" dirty="0">
                  <a:solidFill>
                    <a:srgbClr val="FFFFFF"/>
                  </a:solidFill>
                  <a:latin typeface="+mn-lt"/>
                </a:rPr>
                <a:t>Susceptible</a:t>
              </a:r>
              <a:endParaRPr lang="es-ES" altLang="es-AR" sz="1500" b="1" dirty="0">
                <a:solidFill>
                  <a:srgbClr val="FFFFFF"/>
                </a:solidFill>
                <a:latin typeface="+mn-lt"/>
              </a:endParaRPr>
            </a:p>
          </p:txBody>
        </p:sp>
      </p:grpSp>
      <p:sp>
        <p:nvSpPr>
          <p:cNvPr id="15" name="7 Rectángulo"/>
          <p:cNvSpPr/>
          <p:nvPr/>
        </p:nvSpPr>
        <p:spPr>
          <a:xfrm>
            <a:off x="1441516" y="3525342"/>
            <a:ext cx="6068095" cy="1015663"/>
          </a:xfrm>
          <a:prstGeom prst="rect">
            <a:avLst/>
          </a:prstGeom>
        </p:spPr>
        <p:style>
          <a:lnRef idx="2">
            <a:schemeClr val="accent5"/>
          </a:lnRef>
          <a:fillRef idx="1">
            <a:schemeClr val="lt1"/>
          </a:fillRef>
          <a:effectRef idx="0">
            <a:schemeClr val="accent5"/>
          </a:effectRef>
          <a:fontRef idx="minor">
            <a:schemeClr val="dk1"/>
          </a:fontRef>
        </p:style>
        <p:txBody>
          <a:bodyPr wrap="square">
            <a:spAutoFit/>
          </a:bodyPr>
          <a:lstStyle/>
          <a:p>
            <a:r>
              <a:rPr lang="es-ES" sz="1500" b="1" dirty="0"/>
              <a:t>Trasmisión: presencia simultánea de tres elementos: </a:t>
            </a:r>
            <a:endParaRPr lang="es-ES" sz="1500" dirty="0"/>
          </a:p>
          <a:p>
            <a:pPr marL="257175" indent="-257175">
              <a:buFont typeface="+mj-lt"/>
              <a:buAutoNum type="arabicPeriod"/>
            </a:pPr>
            <a:r>
              <a:rPr lang="es-ES" sz="1500" dirty="0"/>
              <a:t>El virus circulando en la sangre de una persona infectada. </a:t>
            </a:r>
          </a:p>
          <a:p>
            <a:pPr marL="257175" indent="-257175">
              <a:buFont typeface="+mj-lt"/>
              <a:buAutoNum type="arabicPeriod"/>
            </a:pPr>
            <a:r>
              <a:rPr lang="es-ES" sz="1500" dirty="0"/>
              <a:t>Hembras del mosquito </a:t>
            </a:r>
            <a:r>
              <a:rPr lang="es-ES" sz="1500" i="1" dirty="0"/>
              <a:t>Aedes </a:t>
            </a:r>
            <a:r>
              <a:rPr lang="es-ES" sz="1500" i="1" dirty="0" err="1"/>
              <a:t>aegypti</a:t>
            </a:r>
            <a:r>
              <a:rPr lang="es-ES" sz="1500" i="1" dirty="0"/>
              <a:t> </a:t>
            </a:r>
            <a:r>
              <a:rPr lang="es-ES" sz="1500" dirty="0"/>
              <a:t>en cantidades considerables.</a:t>
            </a:r>
          </a:p>
          <a:p>
            <a:pPr marL="257175" indent="-257175">
              <a:buFont typeface="+mj-lt"/>
              <a:buAutoNum type="arabicPeriod"/>
            </a:pPr>
            <a:r>
              <a:rPr lang="es-ES" sz="1500" dirty="0"/>
              <a:t>Personas susceptibles de adquirir el virus e infectarse.</a:t>
            </a:r>
          </a:p>
        </p:txBody>
      </p:sp>
      <p:sp>
        <p:nvSpPr>
          <p:cNvPr id="5" name="CaixaDeTexto 4">
            <a:extLst>
              <a:ext uri="{FF2B5EF4-FFF2-40B4-BE49-F238E27FC236}">
                <a16:creationId xmlns="" xmlns:a16="http://schemas.microsoft.com/office/drawing/2014/main" id="{61CDBE33-D954-412E-88DD-84ED3E692BC0}"/>
              </a:ext>
            </a:extLst>
          </p:cNvPr>
          <p:cNvSpPr txBox="1"/>
          <p:nvPr/>
        </p:nvSpPr>
        <p:spPr>
          <a:xfrm>
            <a:off x="416560" y="4775004"/>
            <a:ext cx="8239760" cy="400110"/>
          </a:xfrm>
          <a:prstGeom prst="rect">
            <a:avLst/>
          </a:prstGeom>
          <a:noFill/>
        </p:spPr>
        <p:txBody>
          <a:bodyPr wrap="square" rtlCol="0">
            <a:spAutoFit/>
          </a:bodyPr>
          <a:lstStyle/>
          <a:p>
            <a:r>
              <a:rPr lang="es-ES" sz="1000" dirty="0"/>
              <a:t>Ministerio de la Protección Social de Colombia, INS, PAHO. Protocolo para la vigilancia en Salud Pública del dengue</a:t>
            </a:r>
            <a:r>
              <a:rPr lang="en-GB" sz="1000" dirty="0"/>
              <a:t>. Disponible </a:t>
            </a:r>
            <a:r>
              <a:rPr lang="en-GB" sz="1000" dirty="0" err="1"/>
              <a:t>en</a:t>
            </a:r>
            <a:r>
              <a:rPr lang="en-GB" sz="1000" dirty="0"/>
              <a:t> </a:t>
            </a:r>
            <a:r>
              <a:rPr lang="en-GB" sz="1000" dirty="0">
                <a:hlinkClick r:id="rId4"/>
              </a:rPr>
              <a:t>https://www.paho.org/col/dmdocuments/PROTOCOLO_VIGILANCIA_DENGUE.PDF</a:t>
            </a:r>
            <a:r>
              <a:rPr lang="en-GB" sz="1000" dirty="0"/>
              <a:t>  </a:t>
            </a:r>
            <a:endParaRPr lang="es-ES" sz="1000" dirty="0"/>
          </a:p>
        </p:txBody>
      </p:sp>
      <p:pic>
        <p:nvPicPr>
          <p:cNvPr id="16" name="Picture 2" descr="aedes aegypti mosquito pernilongo con manchas blancas y fondo blanco - aedes aegypti  fotografías e imágenes de stock"/>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242858" y="1476983"/>
            <a:ext cx="2005485" cy="1264898"/>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3815938"/>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9264" y="1389414"/>
            <a:ext cx="3631432" cy="17356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4 CuadroTexto"/>
          <p:cNvSpPr txBox="1"/>
          <p:nvPr/>
        </p:nvSpPr>
        <p:spPr>
          <a:xfrm>
            <a:off x="4933746" y="844412"/>
            <a:ext cx="4210259" cy="4216426"/>
          </a:xfrm>
          <a:prstGeom prst="rect">
            <a:avLst/>
          </a:prstGeom>
          <a:noFill/>
        </p:spPr>
        <p:txBody>
          <a:bodyPr wrap="square" lIns="91318" tIns="45659" rIns="91318" bIns="45659" rtlCol="0">
            <a:spAutoFit/>
          </a:bodyPr>
          <a:lstStyle/>
          <a:p>
            <a:pPr marL="285715" indent="-285715" defTabSz="912690">
              <a:buFont typeface="Arial" pitchFamily="34" charset="0"/>
              <a:buChar char="•"/>
            </a:pPr>
            <a:r>
              <a:rPr lang="es-ES" sz="1600" dirty="0">
                <a:solidFill>
                  <a:prstClr val="black"/>
                </a:solidFill>
                <a:latin typeface="Trebuchet MS"/>
              </a:rPr>
              <a:t>La amplificación de la respuesta inmune dependiente de  Ac. ocurre cuando los anticuerpos preexistentes presentes de una infección primaria se unen a una partícula DENV infectante con un serotipo diferente. </a:t>
            </a:r>
          </a:p>
          <a:p>
            <a:pPr marL="285715" indent="-285715" defTabSz="912690">
              <a:buFont typeface="Arial" pitchFamily="34" charset="0"/>
              <a:buChar char="•"/>
            </a:pPr>
            <a:r>
              <a:rPr lang="es-ES" sz="1600" dirty="0">
                <a:solidFill>
                  <a:srgbClr val="FF0000"/>
                </a:solidFill>
                <a:latin typeface="Trebuchet MS"/>
              </a:rPr>
              <a:t>Los anticuerpos de la infección primaria no pueden neutralizar el virus. </a:t>
            </a:r>
          </a:p>
          <a:p>
            <a:pPr marL="285715" indent="-285715" defTabSz="912690">
              <a:buFont typeface="Arial" pitchFamily="34" charset="0"/>
              <a:buChar char="•"/>
            </a:pPr>
            <a:endParaRPr lang="es-ES" sz="1600" dirty="0">
              <a:solidFill>
                <a:prstClr val="black"/>
              </a:solidFill>
              <a:latin typeface="Trebuchet MS"/>
            </a:endParaRPr>
          </a:p>
          <a:p>
            <a:pPr marL="285715" indent="-285715" defTabSz="912690">
              <a:buFont typeface="Arial" pitchFamily="34" charset="0"/>
              <a:buChar char="•"/>
            </a:pPr>
            <a:r>
              <a:rPr lang="es-ES" sz="1600" dirty="0">
                <a:solidFill>
                  <a:prstClr val="black"/>
                </a:solidFill>
                <a:latin typeface="Trebuchet MS"/>
              </a:rPr>
              <a:t>El complejo de virus Ab se une a los receptores llamados receptores </a:t>
            </a:r>
            <a:r>
              <a:rPr lang="es-ES" sz="1600" dirty="0" err="1">
                <a:solidFill>
                  <a:prstClr val="black"/>
                </a:solidFill>
                <a:latin typeface="Trebuchet MS"/>
              </a:rPr>
              <a:t>Fcγ</a:t>
            </a:r>
            <a:r>
              <a:rPr lang="es-ES" sz="1600" dirty="0">
                <a:solidFill>
                  <a:prstClr val="black"/>
                </a:solidFill>
                <a:latin typeface="Trebuchet MS"/>
              </a:rPr>
              <a:t> (</a:t>
            </a:r>
            <a:r>
              <a:rPr lang="es-ES" sz="1600" dirty="0" err="1">
                <a:solidFill>
                  <a:prstClr val="black"/>
                </a:solidFill>
                <a:latin typeface="Trebuchet MS"/>
              </a:rPr>
              <a:t>FcγR</a:t>
            </a:r>
            <a:r>
              <a:rPr lang="es-ES" sz="1600" dirty="0">
                <a:solidFill>
                  <a:prstClr val="black"/>
                </a:solidFill>
                <a:latin typeface="Trebuchet MS"/>
              </a:rPr>
              <a:t>) en monocitos circulantes. Los anticuerpos ayudan al virus a infectar a los monocitos de manera más eficiente. </a:t>
            </a:r>
          </a:p>
          <a:p>
            <a:pPr defTabSz="912690"/>
            <a:endParaRPr lang="en-US" sz="1100" dirty="0">
              <a:solidFill>
                <a:prstClr val="black"/>
              </a:solidFill>
              <a:latin typeface="Trebuchet MS"/>
            </a:endParaRPr>
          </a:p>
          <a:p>
            <a:pPr defTabSz="912690"/>
            <a:r>
              <a:rPr lang="en-US" sz="1100" dirty="0">
                <a:solidFill>
                  <a:prstClr val="black"/>
                </a:solidFill>
                <a:latin typeface="Trebuchet MS"/>
              </a:rPr>
              <a:t>2007 Nature Publishing Group Whitehead, S. S. et al. Prospects for a dengue virus vaccine. Nature Reviews Microbiology 5, 518–528 (2007). </a:t>
            </a:r>
          </a:p>
        </p:txBody>
      </p:sp>
      <p:sp>
        <p:nvSpPr>
          <p:cNvPr id="6" name="5 Rectángulo"/>
          <p:cNvSpPr/>
          <p:nvPr/>
        </p:nvSpPr>
        <p:spPr>
          <a:xfrm>
            <a:off x="140679" y="13415"/>
            <a:ext cx="9003323" cy="830997"/>
          </a:xfrm>
          <a:prstGeom prst="rect">
            <a:avLst/>
          </a:prstGeom>
          <a:noFill/>
        </p:spPr>
        <p:txBody>
          <a:bodyPr vert="horz" wrap="square" lIns="91318" tIns="45659" rIns="91318" bIns="45659" rtlCol="0" anchor="ctr">
            <a:spAutoFit/>
          </a:bodyPr>
          <a:lstStyle/>
          <a:p>
            <a:pPr algn="ctr" defTabSz="912690">
              <a:spcBef>
                <a:spcPct val="0"/>
              </a:spcBef>
            </a:pPr>
            <a:r>
              <a:rPr lang="es-MX" sz="2400" dirty="0">
                <a:solidFill>
                  <a:srgbClr val="53548A">
                    <a:lumMod val="60000"/>
                    <a:lumOff val="40000"/>
                  </a:srgbClr>
                </a:solidFill>
                <a:latin typeface="Trebuchet MS"/>
              </a:rPr>
              <a:t>Modelo de la amplificación de la respuesta inmune dependiente (ADE) de la infección con dengue</a:t>
            </a:r>
          </a:p>
        </p:txBody>
      </p:sp>
      <p:sp>
        <p:nvSpPr>
          <p:cNvPr id="2" name="1 Rectángulo"/>
          <p:cNvSpPr/>
          <p:nvPr/>
        </p:nvSpPr>
        <p:spPr>
          <a:xfrm>
            <a:off x="361741" y="3707773"/>
            <a:ext cx="4572000" cy="923330"/>
          </a:xfrm>
          <a:prstGeom prst="rect">
            <a:avLst/>
          </a:prstGeom>
        </p:spPr>
        <p:txBody>
          <a:bodyPr lIns="91430" tIns="45715" rIns="91430" bIns="45715">
            <a:spAutoFit/>
          </a:bodyPr>
          <a:lstStyle/>
          <a:p>
            <a:pPr defTabSz="912690"/>
            <a:r>
              <a:rPr lang="es-AR" dirty="0">
                <a:solidFill>
                  <a:srgbClr val="FF0000"/>
                </a:solidFill>
              </a:rPr>
              <a:t>El resultado es un aumento en la replicación general del virus y un mayor riesgo de dengue grave. </a:t>
            </a:r>
            <a:endParaRPr lang="es-ES" dirty="0">
              <a:solidFill>
                <a:srgbClr val="FF0000"/>
              </a:solidFill>
            </a:endParaRPr>
          </a:p>
        </p:txBody>
      </p:sp>
    </p:spTree>
    <p:extLst>
      <p:ext uri="{BB962C8B-B14F-4D97-AF65-F5344CB8AC3E}">
        <p14:creationId xmlns:p14="http://schemas.microsoft.com/office/powerpoint/2010/main" val="58268386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2484" y="1179871"/>
            <a:ext cx="8659091" cy="25297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1" name="Rectangle 3"/>
          <p:cNvSpPr>
            <a:spLocks noGrp="1" noChangeArrowheads="1"/>
          </p:cNvSpPr>
          <p:nvPr>
            <p:ph type="body" idx="4294967295"/>
          </p:nvPr>
        </p:nvSpPr>
        <p:spPr>
          <a:xfrm>
            <a:off x="13988" y="55986"/>
            <a:ext cx="9086275" cy="1200329"/>
          </a:xfrm>
          <a:noFill/>
        </p:spPr>
        <p:txBody>
          <a:bodyPr wrap="square">
            <a:spAutoFit/>
          </a:bodyPr>
          <a:lstStyle/>
          <a:p>
            <a:pPr marL="0" indent="0" algn="ctr">
              <a:spcBef>
                <a:spcPct val="0"/>
              </a:spcBef>
              <a:buNone/>
            </a:pPr>
            <a:r>
              <a:rPr lang="es-ES" sz="2400" dirty="0"/>
              <a:t>Modo de acción de una vacuna contra el dengue recombinante y atenuada en vivo: un estudio de comparación de modelos</a:t>
            </a:r>
          </a:p>
          <a:p>
            <a:pPr marL="0" indent="0" algn="ctr">
              <a:spcBef>
                <a:spcPct val="0"/>
              </a:spcBef>
              <a:buNone/>
            </a:pPr>
            <a:endParaRPr lang="es-CO" altLang="fr-FR" sz="2400" i="1" dirty="0"/>
          </a:p>
        </p:txBody>
      </p:sp>
      <p:sp>
        <p:nvSpPr>
          <p:cNvPr id="2052" name="Text Box 4"/>
          <p:cNvSpPr txBox="1">
            <a:spLocks noChangeArrowheads="1"/>
          </p:cNvSpPr>
          <p:nvPr/>
        </p:nvSpPr>
        <p:spPr bwMode="auto">
          <a:xfrm>
            <a:off x="404092" y="3974280"/>
            <a:ext cx="8347364" cy="6895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73170" tIns="36570" rIns="73170" bIns="36570">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684763"/>
            <a:r>
              <a:rPr lang="en-US" altLang="fr-FR" sz="1000" dirty="0" err="1">
                <a:solidFill>
                  <a:srgbClr val="6B747B"/>
                </a:solidFill>
                <a:cs typeface="Arial" charset="0"/>
              </a:rPr>
              <a:t>Flasche</a:t>
            </a:r>
            <a:r>
              <a:rPr lang="en-US" altLang="fr-FR" sz="1000" dirty="0">
                <a:solidFill>
                  <a:srgbClr val="6B747B"/>
                </a:solidFill>
                <a:cs typeface="Arial" charset="0"/>
              </a:rPr>
              <a:t> S, Jit M, Rodríguez-</a:t>
            </a:r>
            <a:r>
              <a:rPr lang="en-US" altLang="fr-FR" sz="1000" dirty="0" err="1">
                <a:solidFill>
                  <a:srgbClr val="6B747B"/>
                </a:solidFill>
                <a:cs typeface="Arial" charset="0"/>
              </a:rPr>
              <a:t>Barraquer</a:t>
            </a:r>
            <a:r>
              <a:rPr lang="en-US" altLang="fr-FR" sz="1000" dirty="0">
                <a:solidFill>
                  <a:srgbClr val="6B747B"/>
                </a:solidFill>
                <a:cs typeface="Arial" charset="0"/>
              </a:rPr>
              <a:t> I, Coudeville L, </a:t>
            </a:r>
            <a:r>
              <a:rPr lang="en-US" altLang="fr-FR" sz="1000" dirty="0" err="1">
                <a:solidFill>
                  <a:srgbClr val="6B747B"/>
                </a:solidFill>
                <a:cs typeface="Arial" charset="0"/>
              </a:rPr>
              <a:t>Recker</a:t>
            </a:r>
            <a:r>
              <a:rPr lang="en-US" altLang="fr-FR" sz="1000" dirty="0">
                <a:solidFill>
                  <a:srgbClr val="6B747B"/>
                </a:solidFill>
                <a:cs typeface="Arial" charset="0"/>
              </a:rPr>
              <a:t> M, et al. (2016) The Long-Term Safety, Public Health Impact, and Cost-Effectiveness of Routine Vaccination with a Recombinant, Live-Attenuated Dengue Vaccine (</a:t>
            </a:r>
            <a:r>
              <a:rPr lang="en-US" altLang="fr-FR" sz="1000" dirty="0" err="1">
                <a:solidFill>
                  <a:srgbClr val="6B747B"/>
                </a:solidFill>
                <a:cs typeface="Arial" charset="0"/>
              </a:rPr>
              <a:t>Dengvaxia</a:t>
            </a:r>
            <a:r>
              <a:rPr lang="en-US" altLang="fr-FR" sz="1000" dirty="0">
                <a:solidFill>
                  <a:srgbClr val="6B747B"/>
                </a:solidFill>
                <a:cs typeface="Arial" charset="0"/>
              </a:rPr>
              <a:t>): A Model Comparison Study. PLOS Medicine 13(11): e1002181. https://doi.org/10.1371/journal.pmed.1002181</a:t>
            </a:r>
          </a:p>
          <a:p>
            <a:pPr defTabSz="684763"/>
            <a:r>
              <a:rPr lang="en-US" altLang="fr-FR" sz="1000" dirty="0">
                <a:solidFill>
                  <a:srgbClr val="6B747B"/>
                </a:solidFill>
                <a:cs typeface="Arial" charset="0"/>
                <a:hlinkClick r:id="rId3"/>
              </a:rPr>
              <a:t>http://journals.plos.org/plosmedicine/article?id=10.1371/journal.pmed.1002181</a:t>
            </a:r>
            <a:endParaRPr lang="en-US" altLang="fr-FR" sz="1000" dirty="0">
              <a:solidFill>
                <a:srgbClr val="6B747B"/>
              </a:solidFill>
              <a:cs typeface="Arial" charset="0"/>
            </a:endParaRPr>
          </a:p>
        </p:txBody>
      </p:sp>
      <p:pic>
        <p:nvPicPr>
          <p:cNvPr id="2053"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45548" y="4757180"/>
            <a:ext cx="3740727" cy="344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857301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140329" y="242193"/>
            <a:ext cx="8229600" cy="857250"/>
          </a:xfrm>
        </p:spPr>
        <p:txBody>
          <a:bodyPr/>
          <a:lstStyle/>
          <a:p>
            <a:r>
              <a:rPr lang="es-ES" sz="3600" dirty="0" smtClean="0"/>
              <a:t>Seguridad</a:t>
            </a:r>
            <a:endParaRPr lang="es-ES" sz="3600" dirty="0"/>
          </a:p>
        </p:txBody>
      </p:sp>
      <p:sp>
        <p:nvSpPr>
          <p:cNvPr id="3" name="2 Marcador de contenido"/>
          <p:cNvSpPr>
            <a:spLocks noGrp="1"/>
          </p:cNvSpPr>
          <p:nvPr>
            <p:ph idx="1"/>
          </p:nvPr>
        </p:nvSpPr>
        <p:spPr>
          <a:xfrm>
            <a:off x="230863" y="1343886"/>
            <a:ext cx="8686800" cy="3394472"/>
          </a:xfrm>
        </p:spPr>
        <p:txBody>
          <a:bodyPr/>
          <a:lstStyle/>
          <a:p>
            <a:pPr eaLnBrk="1" hangingPunct="1">
              <a:defRPr/>
            </a:pPr>
            <a:r>
              <a:rPr lang="es-ES" sz="2400" dirty="0">
                <a:latin typeface="Calibri" panose="020F0502020204030204" pitchFamily="34" charset="0"/>
                <a:cs typeface="Calibri" panose="020F0502020204030204" pitchFamily="34" charset="0"/>
              </a:rPr>
              <a:t>Se realizó un análisis de seguridad integrado de dos estudios fase 2 y tres de fase 3, donde no se identificaron riesgos de seguridad importantes. La vacuna fue bien tolerada entre 4 y 60 años, independientemente del estado serológico basal de DENV, edad o sexo (</a:t>
            </a:r>
            <a:r>
              <a:rPr lang="es-ES" sz="2400" i="1" dirty="0" err="1">
                <a:latin typeface="Calibri" panose="020F0502020204030204" pitchFamily="34" charset="0"/>
                <a:cs typeface="Calibri" panose="020F0502020204030204" pitchFamily="34" charset="0"/>
              </a:rPr>
              <a:t>Patel</a:t>
            </a:r>
            <a:r>
              <a:rPr lang="es-ES" sz="2400" i="1" dirty="0">
                <a:latin typeface="Calibri" panose="020F0502020204030204" pitchFamily="34" charset="0"/>
                <a:cs typeface="Calibri" panose="020F0502020204030204" pitchFamily="34" charset="0"/>
              </a:rPr>
              <a:t> et al. 2023</a:t>
            </a:r>
            <a:r>
              <a:rPr lang="es-ES" sz="2400" i="1" dirty="0" smtClean="0">
                <a:latin typeface="Calibri" panose="020F0502020204030204" pitchFamily="34" charset="0"/>
                <a:cs typeface="Calibri" panose="020F0502020204030204" pitchFamily="34" charset="0"/>
              </a:rPr>
              <a:t>).</a:t>
            </a:r>
          </a:p>
          <a:p>
            <a:pPr marL="0" indent="0" eaLnBrk="1" hangingPunct="1">
              <a:buNone/>
              <a:defRPr/>
            </a:pPr>
            <a:endParaRPr lang="es-AR" sz="2400" i="1" dirty="0">
              <a:latin typeface="Calibri" panose="020F0502020204030204" pitchFamily="34" charset="0"/>
              <a:cs typeface="Calibri" panose="020F0502020204030204" pitchFamily="34" charset="0"/>
            </a:endParaRPr>
          </a:p>
          <a:p>
            <a:endParaRPr lang="es-AR" dirty="0"/>
          </a:p>
          <a:p>
            <a:endParaRPr lang="es-ES" dirty="0"/>
          </a:p>
        </p:txBody>
      </p:sp>
    </p:spTree>
    <p:extLst>
      <p:ext uri="{BB962C8B-B14F-4D97-AF65-F5344CB8AC3E}">
        <p14:creationId xmlns:p14="http://schemas.microsoft.com/office/powerpoint/2010/main" val="338024798"/>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ítulo 1"/>
          <p:cNvSpPr>
            <a:spLocks noGrp="1"/>
          </p:cNvSpPr>
          <p:nvPr>
            <p:ph type="title"/>
          </p:nvPr>
        </p:nvSpPr>
        <p:spPr>
          <a:xfrm>
            <a:off x="254000" y="-123825"/>
            <a:ext cx="8604250" cy="862013"/>
          </a:xfrm>
        </p:spPr>
        <p:txBody>
          <a:bodyPr/>
          <a:lstStyle/>
          <a:p>
            <a:pPr eaLnBrk="1" hangingPunct="1"/>
            <a:r>
              <a:rPr lang="es-AR" sz="3200" b="1" dirty="0" smtClean="0">
                <a:latin typeface="Calibri" panose="020F0502020204030204" pitchFamily="34" charset="0"/>
                <a:cs typeface="Calibri" panose="020F0502020204030204" pitchFamily="34" charset="0"/>
              </a:rPr>
              <a:t>Efectos adversos</a:t>
            </a:r>
          </a:p>
        </p:txBody>
      </p:sp>
      <p:sp>
        <p:nvSpPr>
          <p:cNvPr id="33795" name="Marcador de contenido 2"/>
          <p:cNvSpPr>
            <a:spLocks noGrp="1"/>
          </p:cNvSpPr>
          <p:nvPr>
            <p:ph idx="1"/>
          </p:nvPr>
        </p:nvSpPr>
        <p:spPr>
          <a:xfrm>
            <a:off x="254000" y="738188"/>
            <a:ext cx="8604250" cy="2055812"/>
          </a:xfrm>
        </p:spPr>
        <p:txBody>
          <a:bodyPr>
            <a:noAutofit/>
          </a:bodyPr>
          <a:lstStyle/>
          <a:p>
            <a:pPr>
              <a:defRPr/>
            </a:pPr>
            <a:r>
              <a:rPr lang="es-AR" sz="1400" b="1" dirty="0" smtClean="0">
                <a:latin typeface="Calibri" panose="020F0502020204030204" pitchFamily="34" charset="0"/>
                <a:cs typeface="Calibri" panose="020F0502020204030204" pitchFamily="34" charset="0"/>
              </a:rPr>
              <a:t>Las </a:t>
            </a:r>
            <a:r>
              <a:rPr lang="es-AR" sz="1400" b="1" dirty="0">
                <a:latin typeface="Calibri" panose="020F0502020204030204" pitchFamily="34" charset="0"/>
                <a:cs typeface="Calibri" panose="020F0502020204030204" pitchFamily="34" charset="0"/>
              </a:rPr>
              <a:t>reacciones adversas generalmente ocurrieron en los 2 días posteriores a la inyección, fueron de intensidad leve a moderada, tuvieron una duración breve (de 1 a 3 días) y fueron menos frecuentes tras la segunda </a:t>
            </a:r>
            <a:r>
              <a:rPr lang="es-AR" sz="1400" b="1" dirty="0" smtClean="0">
                <a:latin typeface="Calibri" panose="020F0502020204030204" pitchFamily="34" charset="0"/>
                <a:cs typeface="Calibri" panose="020F0502020204030204" pitchFamily="34" charset="0"/>
              </a:rPr>
              <a:t>dosis. </a:t>
            </a:r>
            <a:endParaRPr lang="es-AR" sz="1400" dirty="0">
              <a:latin typeface="Calibri" panose="020F0502020204030204" pitchFamily="34" charset="0"/>
              <a:cs typeface="Calibri" panose="020F0502020204030204" pitchFamily="34" charset="0"/>
            </a:endParaRPr>
          </a:p>
          <a:p>
            <a:pPr marL="0" indent="0">
              <a:buFont typeface="Arial" panose="020B0604020202020204" pitchFamily="34" charset="0"/>
              <a:buNone/>
              <a:defRPr/>
            </a:pPr>
            <a:endParaRPr lang="es-AR" sz="1400" b="1" dirty="0" smtClean="0">
              <a:solidFill>
                <a:srgbClr val="FF0000"/>
              </a:solidFill>
            </a:endParaRPr>
          </a:p>
          <a:p>
            <a:pPr marL="0" indent="0">
              <a:buFont typeface="Arial" panose="020B0604020202020204" pitchFamily="34" charset="0"/>
              <a:buNone/>
              <a:defRPr/>
            </a:pPr>
            <a:r>
              <a:rPr lang="es-AR" sz="1400" b="1" dirty="0"/>
              <a:t>E</a:t>
            </a:r>
            <a:r>
              <a:rPr lang="es-AR" sz="1400" b="1" dirty="0" smtClean="0"/>
              <a:t>fectos </a:t>
            </a:r>
            <a:r>
              <a:rPr lang="es-AR" sz="1400" b="1" dirty="0"/>
              <a:t>adversos:</a:t>
            </a:r>
          </a:p>
          <a:p>
            <a:pPr>
              <a:defRPr/>
            </a:pPr>
            <a:r>
              <a:rPr lang="es-AR" sz="1400" b="1" dirty="0"/>
              <a:t>Muy </a:t>
            </a:r>
            <a:r>
              <a:rPr lang="es-AR" sz="1400" b="1" dirty="0" smtClean="0"/>
              <a:t>frecuentes (&gt;1/10)</a:t>
            </a:r>
            <a:r>
              <a:rPr lang="es-AR" sz="1400" dirty="0" smtClean="0"/>
              <a:t>: </a:t>
            </a:r>
            <a:r>
              <a:rPr lang="es-AR" sz="1400" dirty="0"/>
              <a:t>dolor y enrojecimiento en el lugar de la inyección, dolor de cabeza, dolor muscular, malestar general, debilidad, infecciones de la nariz o la garganta y fiebre.</a:t>
            </a:r>
          </a:p>
          <a:p>
            <a:pPr>
              <a:defRPr/>
            </a:pPr>
            <a:r>
              <a:rPr lang="es-ES" sz="1400" b="1" dirty="0" smtClean="0"/>
              <a:t>Frecuentes (</a:t>
            </a:r>
            <a:r>
              <a:rPr lang="es-ES" sz="1400" b="1" dirty="0"/>
              <a:t>≤ </a:t>
            </a:r>
            <a:r>
              <a:rPr lang="es-ES" sz="1400" b="1" dirty="0" smtClean="0"/>
              <a:t>1/10)</a:t>
            </a:r>
            <a:r>
              <a:rPr lang="es-ES" sz="1400" dirty="0" smtClean="0"/>
              <a:t>: </a:t>
            </a:r>
            <a:r>
              <a:rPr lang="es-ES" sz="1400" dirty="0"/>
              <a:t>hinchazón, hematomas, picazón, en el lugar de la inyección, dolor o inflamación de la nariz o la garganta y las amígdalas, dolor articular, enfermedad similar a la gripe.</a:t>
            </a:r>
            <a:endParaRPr lang="es-AR" sz="1400" dirty="0"/>
          </a:p>
          <a:p>
            <a:pPr>
              <a:defRPr/>
            </a:pPr>
            <a:r>
              <a:rPr lang="es-ES" sz="1400" b="1" dirty="0"/>
              <a:t>Poco </a:t>
            </a:r>
            <a:r>
              <a:rPr lang="es-ES" sz="1400" b="1" dirty="0" smtClean="0"/>
              <a:t>frecuentes (≤1/100)</a:t>
            </a:r>
            <a:r>
              <a:rPr lang="es-ES" sz="1400" dirty="0" smtClean="0"/>
              <a:t>: </a:t>
            </a:r>
            <a:r>
              <a:rPr lang="es-ES" sz="1400" dirty="0"/>
              <a:t>diarrea, </a:t>
            </a:r>
            <a:r>
              <a:rPr lang="es-ES" sz="1400" dirty="0" smtClean="0"/>
              <a:t>astenia, </a:t>
            </a:r>
            <a:r>
              <a:rPr lang="es-ES" sz="1400" dirty="0"/>
              <a:t>dolor abdominal, malestar, vómitos, mareos, </a:t>
            </a:r>
            <a:r>
              <a:rPr lang="es-ES" sz="1400" b="1" dirty="0" smtClean="0"/>
              <a:t>prurito, </a:t>
            </a:r>
            <a:r>
              <a:rPr lang="es-ES" sz="1400" b="1" dirty="0" err="1" smtClean="0"/>
              <a:t>rash</a:t>
            </a:r>
            <a:r>
              <a:rPr lang="es-ES" sz="1400" b="1" dirty="0" smtClean="0"/>
              <a:t>, </a:t>
            </a:r>
            <a:r>
              <a:rPr lang="es-ES" sz="1400" b="1" dirty="0"/>
              <a:t>urticaria</a:t>
            </a:r>
            <a:r>
              <a:rPr lang="es-ES" sz="1400" dirty="0"/>
              <a:t>, cansancio, sangrado y/o cambios en el color de la piel en el lugar de la inyección, inflamación de las vías respiratorias y secreción nasal</a:t>
            </a:r>
            <a:r>
              <a:rPr lang="es-ES" sz="1400" dirty="0" smtClean="0"/>
              <a:t>.</a:t>
            </a:r>
          </a:p>
          <a:p>
            <a:pPr>
              <a:defRPr/>
            </a:pPr>
            <a:r>
              <a:rPr lang="es-ES" sz="1400" b="1" dirty="0"/>
              <a:t>Muy Infrecuentes </a:t>
            </a:r>
            <a:r>
              <a:rPr lang="es-ES" sz="1400" b="1" dirty="0" smtClean="0"/>
              <a:t>(</a:t>
            </a:r>
            <a:r>
              <a:rPr lang="es-ES" sz="1400" b="1" dirty="0"/>
              <a:t>≤ </a:t>
            </a:r>
            <a:r>
              <a:rPr lang="es-ES" sz="1400" b="1" dirty="0" smtClean="0"/>
              <a:t>1/10.000): </a:t>
            </a:r>
            <a:r>
              <a:rPr lang="es-ES" sz="1400" b="1" dirty="0" err="1" smtClean="0"/>
              <a:t>angioedema</a:t>
            </a:r>
            <a:endParaRPr lang="es-ES" sz="1400" b="1" dirty="0" smtClean="0"/>
          </a:p>
          <a:p>
            <a:pPr>
              <a:defRPr/>
            </a:pPr>
            <a:endParaRPr lang="es-ES" sz="1400" dirty="0"/>
          </a:p>
          <a:p>
            <a:pPr>
              <a:defRPr/>
            </a:pPr>
            <a:r>
              <a:rPr lang="es-ES" sz="1400" b="1" dirty="0"/>
              <a:t>Efectos adversos adicionales en niños de 4 a 5 años de edad:</a:t>
            </a:r>
            <a:endParaRPr lang="es-AR" sz="1400" dirty="0"/>
          </a:p>
          <a:p>
            <a:pPr>
              <a:defRPr/>
            </a:pPr>
            <a:r>
              <a:rPr lang="es-ES" sz="1400" b="1" dirty="0"/>
              <a:t>Muy frecuentes</a:t>
            </a:r>
            <a:r>
              <a:rPr lang="es-ES" sz="1400" dirty="0"/>
              <a:t>: disminución del apetito, somnolencia e irritabilidad.</a:t>
            </a:r>
            <a:endParaRPr lang="es-AR" sz="1400" dirty="0"/>
          </a:p>
          <a:p>
            <a:pPr marL="0" indent="0">
              <a:buFont typeface="Arial" panose="020B0604020202020204" pitchFamily="34" charset="0"/>
              <a:buNone/>
              <a:defRPr/>
            </a:pPr>
            <a:endParaRPr lang="es-AR" sz="1400" dirty="0"/>
          </a:p>
        </p:txBody>
      </p:sp>
      <p:sp>
        <p:nvSpPr>
          <p:cNvPr id="34822" name="CuadroTexto 2"/>
          <p:cNvSpPr txBox="1">
            <a:spLocks noChangeArrowheads="1"/>
          </p:cNvSpPr>
          <p:nvPr/>
        </p:nvSpPr>
        <p:spPr bwMode="auto">
          <a:xfrm>
            <a:off x="4362450" y="4648200"/>
            <a:ext cx="2951163"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r>
              <a:rPr lang="es-AR" sz="1100" i="1"/>
              <a:t>ANMAT prospecto</a:t>
            </a:r>
          </a:p>
          <a:p>
            <a:r>
              <a:rPr lang="es-AR" sz="1100" i="1"/>
              <a:t>Estudio integrado de seguridad. Patel et al. 2023</a:t>
            </a:r>
          </a:p>
        </p:txBody>
      </p:sp>
    </p:spTree>
    <p:extLst>
      <p:ext uri="{BB962C8B-B14F-4D97-AF65-F5344CB8AC3E}">
        <p14:creationId xmlns:p14="http://schemas.microsoft.com/office/powerpoint/2010/main" val="3099971678"/>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ítulo 1"/>
          <p:cNvSpPr>
            <a:spLocks noGrp="1"/>
          </p:cNvSpPr>
          <p:nvPr>
            <p:ph type="title"/>
          </p:nvPr>
        </p:nvSpPr>
        <p:spPr>
          <a:xfrm>
            <a:off x="315913" y="211138"/>
            <a:ext cx="8604250" cy="862012"/>
          </a:xfrm>
        </p:spPr>
        <p:txBody>
          <a:bodyPr/>
          <a:lstStyle/>
          <a:p>
            <a:r>
              <a:rPr lang="es-419" sz="3600" b="1" dirty="0" smtClean="0">
                <a:latin typeface="Calibri" panose="020F0502020204030204" pitchFamily="34" charset="0"/>
                <a:cs typeface="Calibri" panose="020F0502020204030204" pitchFamily="34" charset="0"/>
              </a:rPr>
              <a:t>Viremia de la vacuna</a:t>
            </a:r>
            <a:br>
              <a:rPr lang="es-419" sz="3600" b="1" dirty="0" smtClean="0">
                <a:latin typeface="Calibri" panose="020F0502020204030204" pitchFamily="34" charset="0"/>
                <a:cs typeface="Calibri" panose="020F0502020204030204" pitchFamily="34" charset="0"/>
              </a:rPr>
            </a:br>
            <a:endParaRPr lang="es-AR" sz="3600" b="1" dirty="0" smtClean="0">
              <a:latin typeface="Calibri" panose="020F0502020204030204" pitchFamily="34" charset="0"/>
              <a:cs typeface="Calibri" panose="020F0502020204030204" pitchFamily="34" charset="0"/>
            </a:endParaRPr>
          </a:p>
        </p:txBody>
      </p:sp>
      <p:sp>
        <p:nvSpPr>
          <p:cNvPr id="3" name="Marcador de contenido 2"/>
          <p:cNvSpPr>
            <a:spLocks noGrp="1"/>
          </p:cNvSpPr>
          <p:nvPr>
            <p:ph idx="1"/>
          </p:nvPr>
        </p:nvSpPr>
        <p:spPr>
          <a:xfrm>
            <a:off x="381000" y="844550"/>
            <a:ext cx="8623300" cy="4000500"/>
          </a:xfrm>
        </p:spPr>
        <p:txBody>
          <a:bodyPr>
            <a:normAutofit fontScale="92500" lnSpcReduction="10000"/>
          </a:bodyPr>
          <a:lstStyle/>
          <a:p>
            <a:pPr algn="just">
              <a:defRPr/>
            </a:pPr>
            <a:r>
              <a:rPr lang="es-AR" dirty="0" smtClean="0"/>
              <a:t>En </a:t>
            </a:r>
            <a:r>
              <a:rPr lang="es-AR" dirty="0"/>
              <a:t>el estudio clínico DEN-205, se observó </a:t>
            </a:r>
            <a:r>
              <a:rPr lang="es-AR" dirty="0" smtClean="0"/>
              <a:t>viremia </a:t>
            </a:r>
            <a:r>
              <a:rPr lang="es-AR" dirty="0"/>
              <a:t>transitoria después de la vacunación </a:t>
            </a:r>
            <a:r>
              <a:rPr lang="es-AR" dirty="0" smtClean="0"/>
              <a:t>en </a:t>
            </a:r>
            <a:r>
              <a:rPr lang="es-AR" dirty="0"/>
              <a:t>el 49% </a:t>
            </a:r>
            <a:r>
              <a:rPr lang="es-AR" dirty="0" smtClean="0"/>
              <a:t>de los seronegativos </a:t>
            </a:r>
            <a:r>
              <a:rPr lang="es-AR" dirty="0"/>
              <a:t>y en el 16% </a:t>
            </a:r>
            <a:r>
              <a:rPr lang="es-AR" dirty="0" smtClean="0"/>
              <a:t>de los seropositivos. </a:t>
            </a:r>
          </a:p>
          <a:p>
            <a:pPr marL="0" indent="0" algn="just">
              <a:buFont typeface="Arial" panose="020B0604020202020204" pitchFamily="34" charset="0"/>
              <a:buNone/>
              <a:defRPr/>
            </a:pPr>
            <a:r>
              <a:rPr lang="es-AR" dirty="0" smtClean="0"/>
              <a:t> </a:t>
            </a:r>
          </a:p>
          <a:p>
            <a:pPr algn="just">
              <a:defRPr/>
            </a:pPr>
            <a:r>
              <a:rPr lang="es-AR" b="1" dirty="0" smtClean="0"/>
              <a:t>La </a:t>
            </a:r>
            <a:r>
              <a:rPr lang="es-AR" b="1" dirty="0"/>
              <a:t>viremia por lo general comenzó en la segunda semana después de la primera inyección y tuvo una duración media de 4 </a:t>
            </a:r>
            <a:r>
              <a:rPr lang="es-AR" b="1" dirty="0" smtClean="0"/>
              <a:t>días</a:t>
            </a:r>
            <a:r>
              <a:rPr lang="es-AR" dirty="0" smtClean="0"/>
              <a:t>. </a:t>
            </a:r>
          </a:p>
          <a:p>
            <a:pPr algn="just">
              <a:defRPr/>
            </a:pPr>
            <a:endParaRPr lang="es-AR" dirty="0" smtClean="0"/>
          </a:p>
          <a:p>
            <a:pPr algn="just">
              <a:defRPr/>
            </a:pPr>
            <a:r>
              <a:rPr lang="es-AR" dirty="0" smtClean="0"/>
              <a:t>La </a:t>
            </a:r>
            <a:r>
              <a:rPr lang="es-AR" dirty="0"/>
              <a:t>viremia vacunal se asoció con síntomas transitorios, de leves a moderados, como dolor de cabeza, artralgia, mialgia y </a:t>
            </a:r>
            <a:r>
              <a:rPr lang="es-AR" b="1" dirty="0" err="1" smtClean="0"/>
              <a:t>rash</a:t>
            </a:r>
            <a:r>
              <a:rPr lang="es-AR" dirty="0" smtClean="0"/>
              <a:t> </a:t>
            </a:r>
            <a:r>
              <a:rPr lang="es-AR" dirty="0"/>
              <a:t>en algunos sujetos. </a:t>
            </a:r>
            <a:endParaRPr lang="es-AR" dirty="0" smtClean="0"/>
          </a:p>
          <a:p>
            <a:pPr marL="0" indent="0" algn="just">
              <a:buFont typeface="Arial" panose="020B0604020202020204" pitchFamily="34" charset="0"/>
              <a:buNone/>
              <a:defRPr/>
            </a:pPr>
            <a:endParaRPr lang="es-AR" dirty="0" smtClean="0"/>
          </a:p>
          <a:p>
            <a:pPr algn="just">
              <a:defRPr/>
            </a:pPr>
            <a:r>
              <a:rPr lang="es-AR" dirty="0" smtClean="0"/>
              <a:t>La </a:t>
            </a:r>
            <a:r>
              <a:rPr lang="es-AR" dirty="0"/>
              <a:t>viremia por la vacuna se detecta en raras ocasiones después de la segunda dosis</a:t>
            </a:r>
            <a:r>
              <a:rPr lang="es-AR" dirty="0" smtClean="0"/>
              <a:t>.</a:t>
            </a:r>
          </a:p>
          <a:p>
            <a:pPr algn="just">
              <a:defRPr/>
            </a:pPr>
            <a:endParaRPr lang="es-AR" dirty="0" smtClean="0"/>
          </a:p>
          <a:p>
            <a:pPr algn="just">
              <a:defRPr/>
            </a:pPr>
            <a:r>
              <a:rPr lang="es-AR" b="1" dirty="0"/>
              <a:t>El estudio de fase 2 en adultos de 21 a 45 años mostró que la viremia por virus vacunal fue más frecuente por DEN 2, con un pico de incidencia a los 11 días y resolución al día 30 en casi todos los sujetos. La viremia fue más frecuente en seronegativos y de mayor duración. </a:t>
            </a:r>
            <a:endParaRPr lang="es-419" b="1" dirty="0"/>
          </a:p>
          <a:p>
            <a:pPr>
              <a:defRPr/>
            </a:pPr>
            <a:endParaRPr lang="es-AR" dirty="0"/>
          </a:p>
          <a:p>
            <a:pPr algn="just">
              <a:defRPr/>
            </a:pPr>
            <a:endParaRPr lang="es-419" dirty="0"/>
          </a:p>
          <a:p>
            <a:pPr>
              <a:defRPr/>
            </a:pPr>
            <a:endParaRPr lang="es-AR" dirty="0"/>
          </a:p>
        </p:txBody>
      </p:sp>
      <p:sp>
        <p:nvSpPr>
          <p:cNvPr id="4" name="Rectángulo 3"/>
          <p:cNvSpPr/>
          <p:nvPr/>
        </p:nvSpPr>
        <p:spPr>
          <a:xfrm>
            <a:off x="317500" y="2286000"/>
            <a:ext cx="8686800" cy="1354138"/>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AR" dirty="0"/>
              <a:t> </a:t>
            </a:r>
          </a:p>
        </p:txBody>
      </p:sp>
      <p:sp>
        <p:nvSpPr>
          <p:cNvPr id="35845" name="Rectángulo 4"/>
          <p:cNvSpPr>
            <a:spLocks noChangeArrowheads="1"/>
          </p:cNvSpPr>
          <p:nvPr/>
        </p:nvSpPr>
        <p:spPr bwMode="auto">
          <a:xfrm>
            <a:off x="231775" y="4616450"/>
            <a:ext cx="8772525" cy="430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MS PGothic" panose="020B0600070205080204" pitchFamily="34" charset="-128"/>
              </a:defRPr>
            </a:lvl1pPr>
            <a:lvl2pPr marL="742950" indent="-285750">
              <a:defRPr>
                <a:solidFill>
                  <a:schemeClr val="tx1"/>
                </a:solidFill>
                <a:latin typeface="Calibri" panose="020F0502020204030204" pitchFamily="34" charset="0"/>
                <a:ea typeface="MS PGothic" panose="020B0600070205080204" pitchFamily="34" charset="-128"/>
              </a:defRPr>
            </a:lvl2pPr>
            <a:lvl3pPr marL="1143000" indent="-228600">
              <a:defRPr>
                <a:solidFill>
                  <a:schemeClr val="tx1"/>
                </a:solidFill>
                <a:latin typeface="Calibri" panose="020F0502020204030204" pitchFamily="34" charset="0"/>
                <a:ea typeface="MS PGothic" panose="020B0600070205080204" pitchFamily="34" charset="-128"/>
              </a:defRPr>
            </a:lvl3pPr>
            <a:lvl4pPr marL="1600200" indent="-228600">
              <a:defRPr>
                <a:solidFill>
                  <a:schemeClr val="tx1"/>
                </a:solidFill>
                <a:latin typeface="Calibri" panose="020F0502020204030204" pitchFamily="34" charset="0"/>
                <a:ea typeface="MS PGothic" panose="020B0600070205080204" pitchFamily="34" charset="-128"/>
              </a:defRPr>
            </a:lvl4pPr>
            <a:lvl5pPr marL="2057400" indent="-228600">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r>
              <a:rPr lang="es-AR" sz="1100" i="1"/>
              <a:t>V. Tricou, J. G. Low, H. M. Oh et al., Safety and immunogenicity of a single dose of a tetravalent dengue vaccine with two different serotype-2 potencies in adults in Singapore: A phase 2, double-blind, randomised, controlled trial, Vaccine, https://doi.org/10.1016/j.vaccine.2019.11.06</a:t>
            </a:r>
          </a:p>
        </p:txBody>
      </p:sp>
      <p:pic>
        <p:nvPicPr>
          <p:cNvPr id="35846" name="Imagen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9393238" y="406400"/>
            <a:ext cx="4046537" cy="421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49783238"/>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xmlns="" id="{4E021156-F368-D547-AC64-C8467A339D87}"/>
              </a:ext>
            </a:extLst>
          </p:cNvPr>
          <p:cNvSpPr>
            <a:spLocks noGrp="1"/>
          </p:cNvSpPr>
          <p:nvPr>
            <p:ph type="ctrTitle"/>
          </p:nvPr>
        </p:nvSpPr>
        <p:spPr>
          <a:xfrm>
            <a:off x="746225" y="1709328"/>
            <a:ext cx="2953320" cy="1724844"/>
          </a:xfrm>
          <a:prstGeom prst="rect">
            <a:avLst/>
          </a:prstGeom>
        </p:spPr>
        <p:txBody>
          <a:bodyPr anchor="ctr" anchorCtr="0">
            <a:noAutofit/>
          </a:bodyPr>
          <a:lstStyle/>
          <a:p>
            <a:r>
              <a:rPr lang="es-419" sz="1800" dirty="0">
                <a:latin typeface="Arial-BoldMT"/>
              </a:rPr>
              <a:t>QDENGA®</a:t>
            </a:r>
            <a:br>
              <a:rPr lang="es-419" sz="1800" dirty="0">
                <a:latin typeface="Arial-BoldMT"/>
              </a:rPr>
            </a:br>
            <a:r>
              <a:rPr lang="es-419" sz="900" i="1" dirty="0">
                <a:latin typeface="Arial-BoldMT"/>
              </a:rPr>
              <a:t>VACUNA TETRAVALENTE CONTRA EL DENGUE</a:t>
            </a:r>
            <a:endParaRPr lang="x-none" sz="2400" i="1" dirty="0"/>
          </a:p>
        </p:txBody>
      </p:sp>
      <p:sp>
        <p:nvSpPr>
          <p:cNvPr id="3" name="CuadroTexto 2">
            <a:extLst>
              <a:ext uri="{FF2B5EF4-FFF2-40B4-BE49-F238E27FC236}">
                <a16:creationId xmlns:a16="http://schemas.microsoft.com/office/drawing/2014/main" xmlns="" id="{398A6A02-D98E-ABD2-AF5C-3646328935C5}"/>
              </a:ext>
            </a:extLst>
          </p:cNvPr>
          <p:cNvSpPr txBox="1"/>
          <p:nvPr/>
        </p:nvSpPr>
        <p:spPr>
          <a:xfrm>
            <a:off x="8022432" y="4947293"/>
            <a:ext cx="1835944" cy="219291"/>
          </a:xfrm>
          <a:prstGeom prst="rect">
            <a:avLst/>
          </a:prstGeom>
          <a:noFill/>
        </p:spPr>
        <p:txBody>
          <a:bodyPr wrap="square">
            <a:spAutoFit/>
          </a:bodyPr>
          <a:lstStyle/>
          <a:p>
            <a:r>
              <a:rPr lang="es-AR" sz="825" dirty="0">
                <a:latin typeface="Calibri" panose="020F0502020204030204" pitchFamily="34" charset="0"/>
                <a:ea typeface="Times New Roman" panose="02020603050405020304" pitchFamily="18" charset="0"/>
              </a:rPr>
              <a:t>VV-MEDMAT-93364</a:t>
            </a:r>
            <a:endParaRPr lang="es-AR" sz="825" dirty="0"/>
          </a:p>
        </p:txBody>
      </p:sp>
      <p:pic>
        <p:nvPicPr>
          <p:cNvPr id="7" name="Imagen 6">
            <a:extLst>
              <a:ext uri="{FF2B5EF4-FFF2-40B4-BE49-F238E27FC236}">
                <a16:creationId xmlns:a16="http://schemas.microsoft.com/office/drawing/2014/main" xmlns="" id="{D9BAD3E7-184B-4A10-1DF3-B786AD444636}"/>
              </a:ext>
            </a:extLst>
          </p:cNvPr>
          <p:cNvPicPr>
            <a:picLocks noChangeAspect="1"/>
          </p:cNvPicPr>
          <p:nvPr/>
        </p:nvPicPr>
        <p:blipFill>
          <a:blip r:embed="rId3"/>
          <a:stretch>
            <a:fillRect/>
          </a:stretch>
        </p:blipFill>
        <p:spPr>
          <a:xfrm>
            <a:off x="3877098" y="1397463"/>
            <a:ext cx="5266902" cy="2563190"/>
          </a:xfrm>
          <a:prstGeom prst="rect">
            <a:avLst/>
          </a:prstGeom>
        </p:spPr>
      </p:pic>
      <p:sp>
        <p:nvSpPr>
          <p:cNvPr id="5" name="Rectángulo 4"/>
          <p:cNvSpPr/>
          <p:nvPr/>
        </p:nvSpPr>
        <p:spPr>
          <a:xfrm>
            <a:off x="7807530" y="16892"/>
            <a:ext cx="1064866" cy="607797"/>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s-AR" sz="1200" dirty="0">
              <a:solidFill>
                <a:schemeClr val="bg1"/>
              </a:solidFill>
            </a:endParaRPr>
          </a:p>
        </p:txBody>
      </p:sp>
      <p:sp>
        <p:nvSpPr>
          <p:cNvPr id="8" name="Rectángulo 7"/>
          <p:cNvSpPr/>
          <p:nvPr/>
        </p:nvSpPr>
        <p:spPr>
          <a:xfrm>
            <a:off x="816745" y="114971"/>
            <a:ext cx="1229338" cy="59119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s-AR" sz="1200" dirty="0">
              <a:solidFill>
                <a:schemeClr val="bg1"/>
              </a:solidFill>
            </a:endParaRPr>
          </a:p>
        </p:txBody>
      </p:sp>
      <p:sp>
        <p:nvSpPr>
          <p:cNvPr id="9" name="Rectángulo 8"/>
          <p:cNvSpPr/>
          <p:nvPr/>
        </p:nvSpPr>
        <p:spPr>
          <a:xfrm>
            <a:off x="670379" y="4492899"/>
            <a:ext cx="1982285" cy="59119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s-AR" sz="1200" dirty="0">
              <a:solidFill>
                <a:schemeClr val="bg1"/>
              </a:solidFill>
            </a:endParaRPr>
          </a:p>
        </p:txBody>
      </p:sp>
      <p:sp>
        <p:nvSpPr>
          <p:cNvPr id="10" name="Rectángulo 9"/>
          <p:cNvSpPr/>
          <p:nvPr/>
        </p:nvSpPr>
        <p:spPr>
          <a:xfrm>
            <a:off x="7031289" y="4552301"/>
            <a:ext cx="1982285" cy="59119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s-AR" sz="1200" dirty="0">
              <a:solidFill>
                <a:schemeClr val="bg1"/>
              </a:solidFill>
            </a:endParaRPr>
          </a:p>
        </p:txBody>
      </p:sp>
      <p:sp>
        <p:nvSpPr>
          <p:cNvPr id="11" name="Rectángulo 10"/>
          <p:cNvSpPr/>
          <p:nvPr/>
        </p:nvSpPr>
        <p:spPr>
          <a:xfrm>
            <a:off x="0" y="81610"/>
            <a:ext cx="1982285" cy="59119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s-AR" sz="1200" dirty="0">
              <a:solidFill>
                <a:schemeClr val="bg1"/>
              </a:solidFill>
            </a:endParaRPr>
          </a:p>
        </p:txBody>
      </p:sp>
      <p:sp>
        <p:nvSpPr>
          <p:cNvPr id="12" name="Title 1">
            <a:extLst>
              <a:ext uri="{FF2B5EF4-FFF2-40B4-BE49-F238E27FC236}">
                <a16:creationId xmlns="" xmlns:a16="http://schemas.microsoft.com/office/drawing/2014/main" id="{7FF27543-18D2-49CD-99C1-A1E485F60194}"/>
              </a:ext>
            </a:extLst>
          </p:cNvPr>
          <p:cNvSpPr txBox="1">
            <a:spLocks/>
          </p:cNvSpPr>
          <p:nvPr/>
        </p:nvSpPr>
        <p:spPr>
          <a:xfrm>
            <a:off x="2581311" y="389792"/>
            <a:ext cx="8640093" cy="514351"/>
          </a:xfrm>
          <a:prstGeom prst="rect">
            <a:avLst/>
          </a:prstGeom>
        </p:spPr>
        <p:txBody>
          <a:bodyPr vert="horz" wrap="square" lIns="0" tIns="0" rIns="0" bIns="0" rtlCol="0" anchor="t" anchorCtr="0">
            <a:noAutofit/>
          </a:bodyPr>
          <a:lstStyle>
            <a:lvl1pPr algn="l" defTabSz="685511" rtl="0" eaLnBrk="1" latinLnBrk="0" hangingPunct="1">
              <a:lnSpc>
                <a:spcPts val="2850"/>
              </a:lnSpc>
              <a:spcBef>
                <a:spcPct val="0"/>
              </a:spcBef>
              <a:buNone/>
              <a:defRPr kumimoji="1" sz="2700" b="1" i="0" kern="1200" baseline="0">
                <a:solidFill>
                  <a:schemeClr val="tx1"/>
                </a:solidFill>
                <a:latin typeface="Calibri" panose="020F0502020204030204" pitchFamily="34" charset="0"/>
                <a:ea typeface="メイリオ" pitchFamily="50" charset="-128"/>
                <a:cs typeface="Calibri" pitchFamily="34" charset="0"/>
              </a:defRPr>
            </a:lvl1pPr>
          </a:lstStyle>
          <a:p>
            <a:r>
              <a:rPr lang="es" sz="2800" smtClean="0"/>
              <a:t>Aspectos</a:t>
            </a:r>
            <a:r>
              <a:rPr lang="es" sz="2400" smtClean="0"/>
              <a:t> </a:t>
            </a:r>
            <a:r>
              <a:rPr lang="es" sz="2800" smtClean="0"/>
              <a:t>programáticos</a:t>
            </a:r>
            <a:endParaRPr lang="es" sz="2400" dirty="0"/>
          </a:p>
        </p:txBody>
      </p:sp>
    </p:spTree>
    <p:extLst>
      <p:ext uri="{BB962C8B-B14F-4D97-AF65-F5344CB8AC3E}">
        <p14:creationId xmlns:p14="http://schemas.microsoft.com/office/powerpoint/2010/main" val="42639514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FF27543-18D2-49CD-99C1-A1E485F60194}"/>
              </a:ext>
            </a:extLst>
          </p:cNvPr>
          <p:cNvSpPr>
            <a:spLocks noGrp="1"/>
          </p:cNvSpPr>
          <p:nvPr>
            <p:ph type="title"/>
          </p:nvPr>
        </p:nvSpPr>
        <p:spPr>
          <a:xfrm>
            <a:off x="779672" y="191700"/>
            <a:ext cx="8640093" cy="514351"/>
          </a:xfrm>
        </p:spPr>
        <p:txBody>
          <a:bodyPr>
            <a:noAutofit/>
          </a:bodyPr>
          <a:lstStyle/>
          <a:p>
            <a:r>
              <a:rPr lang="es" sz="2800" b="1" dirty="0" smtClean="0"/>
              <a:t>Aspectos</a:t>
            </a:r>
            <a:r>
              <a:rPr lang="es" sz="2400" dirty="0" smtClean="0"/>
              <a:t> </a:t>
            </a:r>
            <a:r>
              <a:rPr lang="es" sz="2800" b="1" dirty="0" smtClean="0"/>
              <a:t>programáticos</a:t>
            </a:r>
            <a:endParaRPr lang="es" sz="2400" b="1" dirty="0"/>
          </a:p>
        </p:txBody>
      </p:sp>
      <p:sp>
        <p:nvSpPr>
          <p:cNvPr id="6" name="Slide Number Placeholder 5">
            <a:extLst>
              <a:ext uri="{FF2B5EF4-FFF2-40B4-BE49-F238E27FC236}">
                <a16:creationId xmlns="" xmlns:a16="http://schemas.microsoft.com/office/drawing/2014/main" id="{D7504206-8A34-9FD2-85AE-EFCC7ED0D0D0}"/>
              </a:ext>
            </a:extLst>
          </p:cNvPr>
          <p:cNvSpPr>
            <a:spLocks noGrp="1"/>
          </p:cNvSpPr>
          <p:nvPr>
            <p:ph type="sldNum" sz="quarter" idx="4"/>
          </p:nvPr>
        </p:nvSpPr>
        <p:spPr/>
        <p:txBody>
          <a:bodyPr/>
          <a:lstStyle/>
          <a:p>
            <a:pPr algn="r">
              <a:defRPr/>
            </a:pPr>
            <a:fld id="{E9B57936-92EF-4126-AE48-1D9D36D15E98}" type="slidenum">
              <a:rPr kumimoji="1" lang="en-US" altLang="ja-JP" sz="800" b="0">
                <a:solidFill>
                  <a:srgbClr val="A1A4AC"/>
                </a:solidFill>
                <a:ea typeface="メイリオ" panose="020B0604030504040204" pitchFamily="34" charset="-128"/>
              </a:rPr>
              <a:pPr algn="r">
                <a:defRPr/>
              </a:pPr>
              <a:t>56</a:t>
            </a:fld>
            <a:endParaRPr kumimoji="1" lang="en-US" altLang="ja-JP" sz="800" b="0">
              <a:solidFill>
                <a:srgbClr val="A1A4AC"/>
              </a:solidFill>
              <a:ea typeface="メイリオ" panose="020B0604030504040204" pitchFamily="34" charset="-128"/>
            </a:endParaRPr>
          </a:p>
        </p:txBody>
      </p:sp>
      <p:sp>
        <p:nvSpPr>
          <p:cNvPr id="3" name="Text Placeholder 2">
            <a:extLst>
              <a:ext uri="{FF2B5EF4-FFF2-40B4-BE49-F238E27FC236}">
                <a16:creationId xmlns="" xmlns:a16="http://schemas.microsoft.com/office/drawing/2014/main" id="{C33485A1-2355-498F-A84A-3ABF7229BCD2}"/>
              </a:ext>
            </a:extLst>
          </p:cNvPr>
          <p:cNvSpPr>
            <a:spLocks noGrp="1"/>
          </p:cNvSpPr>
          <p:nvPr>
            <p:ph type="body" sz="quarter" idx="4294967295"/>
          </p:nvPr>
        </p:nvSpPr>
        <p:spPr>
          <a:xfrm>
            <a:off x="513407" y="4689652"/>
            <a:ext cx="7529513" cy="340519"/>
          </a:xfrm>
        </p:spPr>
        <p:txBody>
          <a:bodyPr>
            <a:normAutofit fontScale="55000" lnSpcReduction="20000"/>
          </a:bodyPr>
          <a:lstStyle/>
          <a:p>
            <a:pPr marL="0" indent="0">
              <a:buNone/>
            </a:pPr>
            <a:r>
              <a:rPr lang="es" dirty="0" smtClean="0"/>
              <a:t>DENV</a:t>
            </a:r>
            <a:r>
              <a:rPr lang="es" dirty="0"/>
              <a:t>: virus del dengue.</a:t>
            </a:r>
            <a:r>
              <a:rPr lang="en-US" dirty="0"/>
              <a:t/>
            </a:r>
            <a:br>
              <a:rPr lang="en-US" dirty="0"/>
            </a:br>
            <a:r>
              <a:rPr lang="es" dirty="0"/>
              <a:t> TAK-003 SmPC. Disponible en: </a:t>
            </a:r>
            <a:r>
              <a:rPr lang="es" dirty="0">
                <a:hlinkClick r:id="rId3"/>
              </a:rPr>
              <a:t>ema.europa.eu/en/medicines/human/EPAR/qdenga</a:t>
            </a:r>
            <a:r>
              <a:rPr lang="es" dirty="0"/>
              <a:t>.</a:t>
            </a:r>
          </a:p>
        </p:txBody>
      </p:sp>
      <p:sp>
        <p:nvSpPr>
          <p:cNvPr id="5" name="Oval 4">
            <a:extLst>
              <a:ext uri="{FF2B5EF4-FFF2-40B4-BE49-F238E27FC236}">
                <a16:creationId xmlns="" xmlns:a16="http://schemas.microsoft.com/office/drawing/2014/main" id="{A4EAB142-BAF3-4CF5-9EDA-1E494D8B748E}"/>
              </a:ext>
            </a:extLst>
          </p:cNvPr>
          <p:cNvSpPr/>
          <p:nvPr/>
        </p:nvSpPr>
        <p:spPr>
          <a:xfrm>
            <a:off x="7176256" y="571859"/>
            <a:ext cx="353267" cy="353267"/>
          </a:xfrm>
          <a:prstGeom prst="ellipse">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65" tIns="34289" rIns="68565" bIns="34289" rtlCol="0" anchor="ctr"/>
          <a:lstStyle/>
          <a:p>
            <a:pPr algn="ctr" defTabSz="685630">
              <a:defRPr/>
            </a:pPr>
            <a:endParaRPr kumimoji="1" lang="en-US" sz="1400">
              <a:solidFill>
                <a:srgbClr val="FFFFFF"/>
              </a:solidFill>
              <a:cs typeface="Calibri" panose="020F0502020204030204" pitchFamily="34" charset="0"/>
            </a:endParaRPr>
          </a:p>
        </p:txBody>
      </p:sp>
      <p:sp>
        <p:nvSpPr>
          <p:cNvPr id="21" name="Title 2">
            <a:extLst>
              <a:ext uri="{FF2B5EF4-FFF2-40B4-BE49-F238E27FC236}">
                <a16:creationId xmlns="" xmlns:a16="http://schemas.microsoft.com/office/drawing/2014/main" id="{057D076B-9636-4B7D-8A49-68CF0BE86218}"/>
              </a:ext>
            </a:extLst>
          </p:cNvPr>
          <p:cNvSpPr txBox="1">
            <a:spLocks/>
          </p:cNvSpPr>
          <p:nvPr/>
        </p:nvSpPr>
        <p:spPr>
          <a:xfrm>
            <a:off x="1172810" y="982600"/>
            <a:ext cx="8353176" cy="527957"/>
          </a:xfrm>
          <a:prstGeom prst="rect">
            <a:avLst/>
          </a:prstGeom>
        </p:spPr>
        <p:txBody>
          <a:bodyPr vert="horz" lIns="0" tIns="34289" rIns="68565" bIns="34289" rtlCol="0" anchor="b" anchorCtr="0">
            <a:noAutofit/>
          </a:bodyPr>
          <a:lstStyle>
            <a:lvl1pPr algn="l" defTabSz="914400" rtl="0" eaLnBrk="1" latinLnBrk="0" hangingPunct="1">
              <a:spcBef>
                <a:spcPct val="0"/>
              </a:spcBef>
              <a:buNone/>
              <a:defRPr kumimoji="1" sz="2400" b="1" kern="1200" baseline="0">
                <a:solidFill>
                  <a:schemeClr val="accent3"/>
                </a:solidFill>
                <a:latin typeface="Calibri" panose="020F0502020204030204" pitchFamily="34" charset="0"/>
                <a:ea typeface="メイリオ" pitchFamily="50" charset="-128"/>
                <a:cs typeface="Calibri" panose="020F0502020204030204" pitchFamily="34" charset="0"/>
              </a:defRPr>
            </a:lvl1pPr>
          </a:lstStyle>
          <a:p>
            <a:pPr defTabSz="685630">
              <a:defRPr/>
            </a:pPr>
            <a:endParaRPr lang="en-US" sz="1500">
              <a:solidFill>
                <a:srgbClr val="891515"/>
              </a:solidFill>
            </a:endParaRPr>
          </a:p>
        </p:txBody>
      </p:sp>
      <p:sp>
        <p:nvSpPr>
          <p:cNvPr id="22" name="Oval 21">
            <a:extLst>
              <a:ext uri="{FF2B5EF4-FFF2-40B4-BE49-F238E27FC236}">
                <a16:creationId xmlns="" xmlns:a16="http://schemas.microsoft.com/office/drawing/2014/main" id="{2960D76B-445E-4800-B036-1C81E8B5D216}"/>
              </a:ext>
            </a:extLst>
          </p:cNvPr>
          <p:cNvSpPr/>
          <p:nvPr/>
        </p:nvSpPr>
        <p:spPr>
          <a:xfrm>
            <a:off x="1090660" y="1658497"/>
            <a:ext cx="850106" cy="850106"/>
          </a:xfrm>
          <a:prstGeom prst="ellipse">
            <a:avLst/>
          </a:prstGeom>
          <a:solidFill>
            <a:schemeClr val="accent1"/>
          </a:solidFill>
          <a:ln w="38100">
            <a:solidFill>
              <a:schemeClr val="accent1"/>
            </a:solidFill>
          </a:ln>
          <a:effectLst/>
        </p:spPr>
        <p:style>
          <a:lnRef idx="1">
            <a:schemeClr val="accent1"/>
          </a:lnRef>
          <a:fillRef idx="3">
            <a:schemeClr val="accent1"/>
          </a:fillRef>
          <a:effectRef idx="2">
            <a:schemeClr val="accent1"/>
          </a:effectRef>
          <a:fontRef idx="minor">
            <a:schemeClr val="lt1"/>
          </a:fontRef>
        </p:style>
        <p:txBody>
          <a:bodyPr spcFirstLastPara="0" vert="horz" wrap="square" lIns="0" tIns="129131" rIns="0" bIns="129131" numCol="1" spcCol="953" anchor="ctr" anchorCtr="0">
            <a:noAutofit/>
          </a:bodyPr>
          <a:lstStyle/>
          <a:p>
            <a:pPr algn="ctr" defTabSz="666585">
              <a:lnSpc>
                <a:spcPct val="90000"/>
              </a:lnSpc>
              <a:spcBef>
                <a:spcPct val="0"/>
              </a:spcBef>
              <a:spcAft>
                <a:spcPct val="35000"/>
              </a:spcAft>
              <a:defRPr/>
            </a:pPr>
            <a:endParaRPr kumimoji="1" lang="en-US" sz="1500">
              <a:solidFill>
                <a:srgbClr val="FFFFFF"/>
              </a:solidFill>
              <a:cs typeface="Calibri" panose="020F0502020204030204" pitchFamily="34" charset="0"/>
            </a:endParaRPr>
          </a:p>
        </p:txBody>
      </p:sp>
      <p:sp>
        <p:nvSpPr>
          <p:cNvPr id="23" name="Oval 22">
            <a:extLst>
              <a:ext uri="{FF2B5EF4-FFF2-40B4-BE49-F238E27FC236}">
                <a16:creationId xmlns="" xmlns:a16="http://schemas.microsoft.com/office/drawing/2014/main" id="{68C577D9-6AA6-4CED-B700-B46B7FF208C0}"/>
              </a:ext>
            </a:extLst>
          </p:cNvPr>
          <p:cNvSpPr/>
          <p:nvPr/>
        </p:nvSpPr>
        <p:spPr>
          <a:xfrm>
            <a:off x="1090660" y="2995807"/>
            <a:ext cx="850106" cy="850106"/>
          </a:xfrm>
          <a:prstGeom prst="ellipse">
            <a:avLst/>
          </a:prstGeom>
          <a:solidFill>
            <a:schemeClr val="accent1"/>
          </a:solid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spcFirstLastPara="0" vert="horz" wrap="square" lIns="0" tIns="129131" rIns="0" bIns="129131" numCol="1" spcCol="953" anchor="ctr" anchorCtr="0">
            <a:noAutofit/>
          </a:bodyPr>
          <a:lstStyle/>
          <a:p>
            <a:pPr algn="ctr" defTabSz="666585">
              <a:lnSpc>
                <a:spcPct val="90000"/>
              </a:lnSpc>
              <a:spcBef>
                <a:spcPct val="0"/>
              </a:spcBef>
              <a:spcAft>
                <a:spcPct val="35000"/>
              </a:spcAft>
              <a:defRPr/>
            </a:pPr>
            <a:endParaRPr kumimoji="1" lang="en-US" sz="1500">
              <a:solidFill>
                <a:srgbClr val="FFFFFF"/>
              </a:solidFill>
              <a:cs typeface="Calibri" panose="020F0502020204030204" pitchFamily="34" charset="0"/>
            </a:endParaRPr>
          </a:p>
        </p:txBody>
      </p:sp>
      <p:sp>
        <p:nvSpPr>
          <p:cNvPr id="24" name="Oval 23">
            <a:extLst>
              <a:ext uri="{FF2B5EF4-FFF2-40B4-BE49-F238E27FC236}">
                <a16:creationId xmlns="" xmlns:a16="http://schemas.microsoft.com/office/drawing/2014/main" id="{1BA067C5-D606-4CD4-8D59-1021261F7985}"/>
              </a:ext>
            </a:extLst>
          </p:cNvPr>
          <p:cNvSpPr/>
          <p:nvPr/>
        </p:nvSpPr>
        <p:spPr>
          <a:xfrm>
            <a:off x="5099719" y="1658497"/>
            <a:ext cx="850106" cy="850106"/>
          </a:xfrm>
          <a:prstGeom prst="ellipse">
            <a:avLst/>
          </a:prstGeom>
          <a:solidFill>
            <a:schemeClr val="accent1"/>
          </a:solid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spcFirstLastPara="0" vert="horz" wrap="square" lIns="0" tIns="129131" rIns="0" bIns="129131" numCol="1" spcCol="953" anchor="ctr" anchorCtr="0">
            <a:noAutofit/>
          </a:bodyPr>
          <a:lstStyle/>
          <a:p>
            <a:pPr algn="ctr" defTabSz="666585">
              <a:lnSpc>
                <a:spcPct val="90000"/>
              </a:lnSpc>
              <a:spcBef>
                <a:spcPct val="0"/>
              </a:spcBef>
              <a:spcAft>
                <a:spcPct val="35000"/>
              </a:spcAft>
              <a:defRPr/>
            </a:pPr>
            <a:endParaRPr kumimoji="1" lang="en-US" sz="1500">
              <a:solidFill>
                <a:srgbClr val="FFFFFF"/>
              </a:solidFill>
              <a:cs typeface="Calibri" panose="020F0502020204030204" pitchFamily="34" charset="0"/>
            </a:endParaRPr>
          </a:p>
        </p:txBody>
      </p:sp>
      <p:sp>
        <p:nvSpPr>
          <p:cNvPr id="25" name="Oval 24">
            <a:extLst>
              <a:ext uri="{FF2B5EF4-FFF2-40B4-BE49-F238E27FC236}">
                <a16:creationId xmlns="" xmlns:a16="http://schemas.microsoft.com/office/drawing/2014/main" id="{8C5DFCAA-4F06-4A65-BC17-54D4913A94C9}"/>
              </a:ext>
            </a:extLst>
          </p:cNvPr>
          <p:cNvSpPr/>
          <p:nvPr/>
        </p:nvSpPr>
        <p:spPr>
          <a:xfrm>
            <a:off x="5099719" y="2995807"/>
            <a:ext cx="850106" cy="850106"/>
          </a:xfrm>
          <a:prstGeom prst="ellipse">
            <a:avLst/>
          </a:prstGeom>
          <a:solidFill>
            <a:schemeClr val="accent1"/>
          </a:solidFill>
          <a:ln w="28575">
            <a:solidFill>
              <a:schemeClr val="accent1"/>
            </a:solidFill>
          </a:ln>
          <a:effectLst/>
        </p:spPr>
        <p:style>
          <a:lnRef idx="1">
            <a:schemeClr val="accent1"/>
          </a:lnRef>
          <a:fillRef idx="3">
            <a:schemeClr val="accent1"/>
          </a:fillRef>
          <a:effectRef idx="2">
            <a:schemeClr val="accent1"/>
          </a:effectRef>
          <a:fontRef idx="minor">
            <a:schemeClr val="lt1"/>
          </a:fontRef>
        </p:style>
        <p:txBody>
          <a:bodyPr spcFirstLastPara="0" vert="horz" wrap="square" lIns="0" tIns="129131" rIns="0" bIns="129131" numCol="1" spcCol="953" anchor="ctr" anchorCtr="0">
            <a:noAutofit/>
          </a:bodyPr>
          <a:lstStyle/>
          <a:p>
            <a:pPr algn="ctr" defTabSz="666585">
              <a:lnSpc>
                <a:spcPct val="90000"/>
              </a:lnSpc>
              <a:spcBef>
                <a:spcPct val="0"/>
              </a:spcBef>
              <a:spcAft>
                <a:spcPct val="35000"/>
              </a:spcAft>
              <a:defRPr/>
            </a:pPr>
            <a:endParaRPr kumimoji="1" lang="en-US" sz="1500">
              <a:solidFill>
                <a:srgbClr val="FFFFFF"/>
              </a:solidFill>
              <a:cs typeface="Calibri" panose="020F0502020204030204" pitchFamily="34" charset="0"/>
            </a:endParaRPr>
          </a:p>
        </p:txBody>
      </p:sp>
      <p:sp>
        <p:nvSpPr>
          <p:cNvPr id="26" name="TextBox 25">
            <a:extLst>
              <a:ext uri="{FF2B5EF4-FFF2-40B4-BE49-F238E27FC236}">
                <a16:creationId xmlns="" xmlns:a16="http://schemas.microsoft.com/office/drawing/2014/main" id="{4889DE20-90B0-4CE0-9766-033EEFCE675E}"/>
              </a:ext>
            </a:extLst>
          </p:cNvPr>
          <p:cNvSpPr txBox="1"/>
          <p:nvPr/>
        </p:nvSpPr>
        <p:spPr>
          <a:xfrm>
            <a:off x="2033642" y="1310267"/>
            <a:ext cx="2808281" cy="1546575"/>
          </a:xfrm>
          <a:prstGeom prst="rect">
            <a:avLst/>
          </a:prstGeom>
          <a:noFill/>
        </p:spPr>
        <p:txBody>
          <a:bodyPr wrap="square" lIns="68565" tIns="34289" rIns="68565" bIns="34289" rtlCol="0" anchor="ctr">
            <a:spAutoFit/>
          </a:bodyPr>
          <a:lstStyle/>
          <a:p>
            <a:pPr defTabSz="685630">
              <a:lnSpc>
                <a:spcPct val="120000"/>
              </a:lnSpc>
              <a:defRPr/>
            </a:pPr>
            <a:r>
              <a:rPr kumimoji="1" lang="es" sz="1600" b="1" dirty="0">
                <a:solidFill>
                  <a:srgbClr val="E1242A"/>
                </a:solidFill>
                <a:cs typeface="Calibri" panose="020F0502020204030204" pitchFamily="34" charset="0"/>
              </a:rPr>
              <a:t>Indicación</a:t>
            </a:r>
          </a:p>
          <a:p>
            <a:pPr defTabSz="685630">
              <a:lnSpc>
                <a:spcPct val="120000"/>
              </a:lnSpc>
              <a:defRPr/>
            </a:pPr>
            <a:r>
              <a:rPr kumimoji="1" lang="es" sz="1600" dirty="0">
                <a:solidFill>
                  <a:srgbClr val="000000"/>
                </a:solidFill>
                <a:cs typeface="Calibri" panose="020F0502020204030204" pitchFamily="34" charset="0"/>
              </a:rPr>
              <a:t>Prevención del dengue en individuos de ≥4 años de edad, independientemente de la exposición previa al dengue</a:t>
            </a:r>
          </a:p>
        </p:txBody>
      </p:sp>
      <p:sp>
        <p:nvSpPr>
          <p:cNvPr id="27" name="TextBox 26">
            <a:extLst>
              <a:ext uri="{FF2B5EF4-FFF2-40B4-BE49-F238E27FC236}">
                <a16:creationId xmlns="" xmlns:a16="http://schemas.microsoft.com/office/drawing/2014/main" id="{AFD9441E-D8B0-4E3D-8B0E-C270355BA7E9}"/>
              </a:ext>
            </a:extLst>
          </p:cNvPr>
          <p:cNvSpPr txBox="1"/>
          <p:nvPr/>
        </p:nvSpPr>
        <p:spPr>
          <a:xfrm>
            <a:off x="2033643" y="3090771"/>
            <a:ext cx="2936081" cy="660179"/>
          </a:xfrm>
          <a:prstGeom prst="rect">
            <a:avLst/>
          </a:prstGeom>
          <a:noFill/>
        </p:spPr>
        <p:txBody>
          <a:bodyPr wrap="square" lIns="68565" tIns="34289" rIns="68565" bIns="34289" rtlCol="0" anchor="ctr">
            <a:spAutoFit/>
          </a:bodyPr>
          <a:lstStyle/>
          <a:p>
            <a:pPr defTabSz="685630">
              <a:lnSpc>
                <a:spcPct val="120000"/>
              </a:lnSpc>
              <a:defRPr/>
            </a:pPr>
            <a:r>
              <a:rPr kumimoji="1" lang="es" sz="1600" b="1" dirty="0">
                <a:solidFill>
                  <a:srgbClr val="E1242A"/>
                </a:solidFill>
                <a:cs typeface="Calibri" panose="020F0502020204030204" pitchFamily="34" charset="0"/>
              </a:rPr>
              <a:t>Modo de administración</a:t>
            </a:r>
          </a:p>
          <a:p>
            <a:pPr defTabSz="685630">
              <a:lnSpc>
                <a:spcPct val="120000"/>
              </a:lnSpc>
              <a:defRPr/>
            </a:pPr>
            <a:r>
              <a:rPr kumimoji="1" lang="es" sz="1600" dirty="0">
                <a:solidFill>
                  <a:srgbClr val="000000"/>
                </a:solidFill>
                <a:cs typeface="Calibri" panose="020F0502020204030204" pitchFamily="34" charset="0"/>
              </a:rPr>
              <a:t>Uso subcutáneo</a:t>
            </a:r>
          </a:p>
        </p:txBody>
      </p:sp>
      <p:sp>
        <p:nvSpPr>
          <p:cNvPr id="28" name="TextBox 27">
            <a:extLst>
              <a:ext uri="{FF2B5EF4-FFF2-40B4-BE49-F238E27FC236}">
                <a16:creationId xmlns="" xmlns:a16="http://schemas.microsoft.com/office/drawing/2014/main" id="{15DF275D-0C10-4AB8-BCC3-AC5A6AA5DEFC}"/>
              </a:ext>
            </a:extLst>
          </p:cNvPr>
          <p:cNvSpPr txBox="1"/>
          <p:nvPr/>
        </p:nvSpPr>
        <p:spPr>
          <a:xfrm>
            <a:off x="6061473" y="1328416"/>
            <a:ext cx="2936081" cy="660179"/>
          </a:xfrm>
          <a:prstGeom prst="rect">
            <a:avLst/>
          </a:prstGeom>
          <a:noFill/>
        </p:spPr>
        <p:txBody>
          <a:bodyPr wrap="square" lIns="68565" tIns="34289" rIns="68565" bIns="34289" rtlCol="0" anchor="ctr">
            <a:spAutoFit/>
          </a:bodyPr>
          <a:lstStyle/>
          <a:p>
            <a:pPr defTabSz="685630">
              <a:lnSpc>
                <a:spcPct val="120000"/>
              </a:lnSpc>
              <a:defRPr/>
            </a:pPr>
            <a:r>
              <a:rPr kumimoji="1" lang="es" sz="1600" b="1" dirty="0">
                <a:solidFill>
                  <a:srgbClr val="E1242A"/>
                </a:solidFill>
                <a:cs typeface="Calibri" panose="020F0502020204030204" pitchFamily="34" charset="0"/>
              </a:rPr>
              <a:t>Esquema de dosis</a:t>
            </a:r>
          </a:p>
          <a:p>
            <a:pPr defTabSz="685630">
              <a:lnSpc>
                <a:spcPct val="120000"/>
              </a:lnSpc>
              <a:defRPr/>
            </a:pPr>
            <a:r>
              <a:rPr kumimoji="1" lang="es" sz="1600" dirty="0">
                <a:solidFill>
                  <a:srgbClr val="000000"/>
                </a:solidFill>
                <a:cs typeface="Calibri" panose="020F0502020204030204" pitchFamily="34" charset="0"/>
              </a:rPr>
              <a:t>Dos dosis (0 y 3 meses)</a:t>
            </a:r>
          </a:p>
        </p:txBody>
      </p:sp>
      <p:sp>
        <p:nvSpPr>
          <p:cNvPr id="29" name="TextBox 28">
            <a:extLst>
              <a:ext uri="{FF2B5EF4-FFF2-40B4-BE49-F238E27FC236}">
                <a16:creationId xmlns="" xmlns:a16="http://schemas.microsoft.com/office/drawing/2014/main" id="{9A8E97A5-8D16-44EC-B430-DC6BE560F7B7}"/>
              </a:ext>
            </a:extLst>
          </p:cNvPr>
          <p:cNvSpPr txBox="1"/>
          <p:nvPr/>
        </p:nvSpPr>
        <p:spPr>
          <a:xfrm>
            <a:off x="6063798" y="3004571"/>
            <a:ext cx="2936081" cy="955644"/>
          </a:xfrm>
          <a:prstGeom prst="rect">
            <a:avLst/>
          </a:prstGeom>
          <a:noFill/>
        </p:spPr>
        <p:txBody>
          <a:bodyPr wrap="square" lIns="68565" tIns="34289" rIns="68565" bIns="34289" rtlCol="0" anchor="ctr">
            <a:spAutoFit/>
          </a:bodyPr>
          <a:lstStyle/>
          <a:p>
            <a:pPr defTabSz="685630">
              <a:lnSpc>
                <a:spcPct val="120000"/>
              </a:lnSpc>
              <a:defRPr/>
            </a:pPr>
            <a:r>
              <a:rPr kumimoji="1" lang="es" sz="1600" b="1" dirty="0">
                <a:solidFill>
                  <a:srgbClr val="E1242A"/>
                </a:solidFill>
                <a:cs typeface="Calibri" panose="020F0502020204030204" pitchFamily="34" charset="0"/>
              </a:rPr>
              <a:t>Presentación</a:t>
            </a:r>
          </a:p>
          <a:p>
            <a:pPr defTabSz="685630">
              <a:lnSpc>
                <a:spcPct val="120000"/>
              </a:lnSpc>
              <a:defRPr/>
            </a:pPr>
            <a:r>
              <a:rPr kumimoji="1" lang="es" sz="1600" dirty="0">
                <a:solidFill>
                  <a:srgbClr val="000000"/>
                </a:solidFill>
                <a:cs typeface="Calibri" panose="020F0502020204030204" pitchFamily="34" charset="0"/>
              </a:rPr>
              <a:t>Vacuna liofilizada para la reconstitución</a:t>
            </a:r>
          </a:p>
        </p:txBody>
      </p:sp>
      <p:pic>
        <p:nvPicPr>
          <p:cNvPr id="30" name="Graphic 29" descr="Aguja">
            <a:extLst>
              <a:ext uri="{FF2B5EF4-FFF2-40B4-BE49-F238E27FC236}">
                <a16:creationId xmlns="" xmlns:a16="http://schemas.microsoft.com/office/drawing/2014/main" id="{6AF915B3-13D7-4CCB-8B62-9CC4955FFC5E}"/>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 xmlns:asvg="http://schemas.microsoft.com/office/drawing/2016/SVG/main" r:embed="rId5"/>
              </a:ext>
            </a:extLst>
          </a:blip>
          <a:stretch>
            <a:fillRect/>
          </a:stretch>
        </p:blipFill>
        <p:spPr>
          <a:xfrm>
            <a:off x="1217461" y="3122608"/>
            <a:ext cx="596504" cy="596504"/>
          </a:xfrm>
          <a:prstGeom prst="rect">
            <a:avLst/>
          </a:prstGeom>
        </p:spPr>
      </p:pic>
      <p:pic>
        <p:nvPicPr>
          <p:cNvPr id="31" name="Graphic 30" descr="Calendario mensual">
            <a:extLst>
              <a:ext uri="{FF2B5EF4-FFF2-40B4-BE49-F238E27FC236}">
                <a16:creationId xmlns="" xmlns:a16="http://schemas.microsoft.com/office/drawing/2014/main" id="{EC1EAC42-4BA7-45EF-8C7C-DA128585AC8B}"/>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5181872" y="1740649"/>
            <a:ext cx="685800" cy="685800"/>
          </a:xfrm>
          <a:prstGeom prst="rect">
            <a:avLst/>
          </a:prstGeom>
        </p:spPr>
      </p:pic>
      <p:pic>
        <p:nvPicPr>
          <p:cNvPr id="32" name="Graphic 31" descr="Bullseye">
            <a:extLst>
              <a:ext uri="{FF2B5EF4-FFF2-40B4-BE49-F238E27FC236}">
                <a16:creationId xmlns="" xmlns:a16="http://schemas.microsoft.com/office/drawing/2014/main" id="{2F761412-7441-4951-BD89-D3B471078F72}"/>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 xmlns:asvg="http://schemas.microsoft.com/office/drawing/2016/SVG/main" r:embed="rId9"/>
              </a:ext>
            </a:extLst>
          </a:blip>
          <a:stretch>
            <a:fillRect/>
          </a:stretch>
        </p:blipFill>
        <p:spPr>
          <a:xfrm>
            <a:off x="1172811" y="1740649"/>
            <a:ext cx="685800" cy="685800"/>
          </a:xfrm>
          <a:prstGeom prst="rect">
            <a:avLst/>
          </a:prstGeom>
        </p:spPr>
      </p:pic>
      <p:pic>
        <p:nvPicPr>
          <p:cNvPr id="33" name="Picture 32">
            <a:extLst>
              <a:ext uri="{FF2B5EF4-FFF2-40B4-BE49-F238E27FC236}">
                <a16:creationId xmlns="" xmlns:a16="http://schemas.microsoft.com/office/drawing/2014/main" id="{96691EA9-A8D5-4762-934B-F30B63AAA0AD}"/>
              </a:ext>
            </a:extLst>
          </p:cNvPr>
          <p:cNvPicPr>
            <a:picLocks noChangeAspect="1"/>
          </p:cNvPicPr>
          <p:nvPr/>
        </p:nvPicPr>
        <p:blipFill>
          <a:blip r:embed="rId10"/>
          <a:stretch>
            <a:fillRect/>
          </a:stretch>
        </p:blipFill>
        <p:spPr>
          <a:xfrm>
            <a:off x="5206884" y="3082849"/>
            <a:ext cx="635795" cy="737521"/>
          </a:xfrm>
          <a:prstGeom prst="rect">
            <a:avLst/>
          </a:prstGeom>
        </p:spPr>
      </p:pic>
      <p:sp>
        <p:nvSpPr>
          <p:cNvPr id="4" name="3 CuadroTexto"/>
          <p:cNvSpPr txBox="1"/>
          <p:nvPr/>
        </p:nvSpPr>
        <p:spPr>
          <a:xfrm>
            <a:off x="691846" y="779708"/>
            <a:ext cx="3485121" cy="523220"/>
          </a:xfrm>
          <a:prstGeom prst="rect">
            <a:avLst/>
          </a:prstGeom>
          <a:noFill/>
        </p:spPr>
        <p:txBody>
          <a:bodyPr wrap="none" lIns="91430" tIns="45715" rIns="91430" bIns="45715" rtlCol="0">
            <a:spAutoFit/>
          </a:bodyPr>
          <a:lstStyle/>
          <a:p>
            <a:pPr defTabSz="912690"/>
            <a:r>
              <a:rPr lang="es-AR" sz="2800" b="1" dirty="0">
                <a:solidFill>
                  <a:srgbClr val="FF0000"/>
                </a:solidFill>
              </a:rPr>
              <a:t>Vacuna viral atenuada</a:t>
            </a:r>
            <a:endParaRPr lang="es-ES" sz="2800" b="1" dirty="0">
              <a:solidFill>
                <a:srgbClr val="FF0000"/>
              </a:solidFill>
            </a:endParaRPr>
          </a:p>
        </p:txBody>
      </p:sp>
      <p:sp>
        <p:nvSpPr>
          <p:cNvPr id="34" name="Rectángulo 33"/>
          <p:cNvSpPr/>
          <p:nvPr/>
        </p:nvSpPr>
        <p:spPr>
          <a:xfrm>
            <a:off x="7876514" y="205047"/>
            <a:ext cx="968073" cy="39393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s-AR" sz="1200" dirty="0">
              <a:solidFill>
                <a:schemeClr val="bg1"/>
              </a:solidFill>
            </a:endParaRPr>
          </a:p>
        </p:txBody>
      </p:sp>
      <p:sp>
        <p:nvSpPr>
          <p:cNvPr id="35" name="Rectángulo 34"/>
          <p:cNvSpPr/>
          <p:nvPr/>
        </p:nvSpPr>
        <p:spPr>
          <a:xfrm>
            <a:off x="8042920" y="4662945"/>
            <a:ext cx="968073" cy="393931"/>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s-AR" sz="1200" dirty="0">
              <a:solidFill>
                <a:schemeClr val="bg1"/>
              </a:solidFill>
            </a:endParaRPr>
          </a:p>
        </p:txBody>
      </p:sp>
      <p:sp>
        <p:nvSpPr>
          <p:cNvPr id="36" name="Rectángulo 35"/>
          <p:cNvSpPr/>
          <p:nvPr/>
        </p:nvSpPr>
        <p:spPr>
          <a:xfrm>
            <a:off x="1" y="81610"/>
            <a:ext cx="470234" cy="59119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s-AR" sz="1200" dirty="0">
              <a:solidFill>
                <a:schemeClr val="bg1"/>
              </a:solidFill>
            </a:endParaRPr>
          </a:p>
        </p:txBody>
      </p:sp>
    </p:spTree>
    <p:extLst>
      <p:ext uri="{BB962C8B-B14F-4D97-AF65-F5344CB8AC3E}">
        <p14:creationId xmlns:p14="http://schemas.microsoft.com/office/powerpoint/2010/main" val="30076254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763443" y="-395949"/>
            <a:ext cx="7886700" cy="994172"/>
          </a:xfrm>
        </p:spPr>
        <p:txBody>
          <a:bodyPr/>
          <a:lstStyle/>
          <a:p>
            <a:r>
              <a:rPr lang="en-US" sz="2400" b="1" dirty="0" smtClean="0">
                <a:latin typeface="Calibri"/>
                <a:ea typeface="メイリオ"/>
                <a:cs typeface="Calibri"/>
              </a:rPr>
              <a:t>TAK-003 (</a:t>
            </a:r>
            <a:r>
              <a:rPr lang="en-US" sz="2400" b="1" dirty="0" err="1" smtClean="0">
                <a:latin typeface="Calibri"/>
                <a:ea typeface="メイリオ"/>
                <a:cs typeface="Calibri"/>
              </a:rPr>
              <a:t>Qdenga</a:t>
            </a:r>
            <a:r>
              <a:rPr lang="en-US" sz="2400" b="1" dirty="0" smtClean="0">
                <a:latin typeface="Calibri"/>
                <a:ea typeface="メイリオ"/>
                <a:cs typeface="Calibri"/>
              </a:rPr>
              <a:t>): </a:t>
            </a:r>
            <a:r>
              <a:rPr lang="en-US" sz="2400" b="1" dirty="0" err="1" smtClean="0">
                <a:latin typeface="Calibri"/>
                <a:ea typeface="メイリオ"/>
                <a:cs typeface="Calibri"/>
              </a:rPr>
              <a:t>aspectos</a:t>
            </a:r>
            <a:r>
              <a:rPr lang="en-US" sz="2400" b="1" dirty="0" smtClean="0">
                <a:latin typeface="Calibri"/>
                <a:ea typeface="メイリオ"/>
                <a:cs typeface="Calibri"/>
              </a:rPr>
              <a:t> </a:t>
            </a:r>
            <a:r>
              <a:rPr lang="en-US" sz="2400" b="1" dirty="0" err="1" smtClean="0">
                <a:latin typeface="Calibri"/>
                <a:ea typeface="メイリオ"/>
                <a:cs typeface="Calibri"/>
              </a:rPr>
              <a:t>programáticos</a:t>
            </a:r>
            <a:r>
              <a:rPr lang="en-US" sz="2400" b="1" dirty="0" smtClean="0">
                <a:latin typeface="Calibri"/>
                <a:ea typeface="メイリオ"/>
                <a:cs typeface="Calibri"/>
              </a:rPr>
              <a:t> </a:t>
            </a:r>
            <a:endParaRPr lang="en-US" sz="2400" b="1" dirty="0"/>
          </a:p>
        </p:txBody>
      </p:sp>
      <p:sp>
        <p:nvSpPr>
          <p:cNvPr id="3" name="Marcador de contenido 2"/>
          <p:cNvSpPr>
            <a:spLocks noGrp="1"/>
          </p:cNvSpPr>
          <p:nvPr>
            <p:ph idx="1"/>
          </p:nvPr>
        </p:nvSpPr>
        <p:spPr>
          <a:xfrm>
            <a:off x="226118" y="883087"/>
            <a:ext cx="8689285" cy="3975549"/>
          </a:xfrm>
        </p:spPr>
        <p:txBody>
          <a:bodyPr>
            <a:normAutofit/>
          </a:bodyPr>
          <a:lstStyle/>
          <a:p>
            <a:r>
              <a:rPr lang="es-AR" sz="1800" i="1" dirty="0" smtClean="0">
                <a:solidFill>
                  <a:schemeClr val="tx1"/>
                </a:solidFill>
              </a:rPr>
              <a:t>Personas </a:t>
            </a:r>
            <a:r>
              <a:rPr lang="es-AR" sz="1800" i="1" dirty="0">
                <a:solidFill>
                  <a:schemeClr val="tx1"/>
                </a:solidFill>
              </a:rPr>
              <a:t>a partir de los 4 años de edad</a:t>
            </a:r>
          </a:p>
          <a:p>
            <a:r>
              <a:rPr lang="es-AR" sz="1800" dirty="0" err="1">
                <a:solidFill>
                  <a:schemeClr val="tx1"/>
                </a:solidFill>
              </a:rPr>
              <a:t>Qdenga</a:t>
            </a:r>
            <a:r>
              <a:rPr lang="es-AR" sz="1800" dirty="0">
                <a:solidFill>
                  <a:schemeClr val="tx1"/>
                </a:solidFill>
              </a:rPr>
              <a:t>® debe administrarse como una dosis de 0,5 ml en un cronograma de dos dosis (0 y 3 meses).</a:t>
            </a:r>
          </a:p>
          <a:p>
            <a:r>
              <a:rPr lang="es-AR" sz="1800" dirty="0">
                <a:solidFill>
                  <a:schemeClr val="tx1"/>
                </a:solidFill>
              </a:rPr>
              <a:t>No se ha establecido la necesidad de una dosis de refuerzo.</a:t>
            </a:r>
          </a:p>
          <a:p>
            <a:r>
              <a:rPr lang="es-ES" sz="1800" dirty="0">
                <a:solidFill>
                  <a:schemeClr val="tx1"/>
                </a:solidFill>
              </a:rPr>
              <a:t>Presentación: </a:t>
            </a:r>
            <a:r>
              <a:rPr lang="es-AR" sz="1800" dirty="0">
                <a:solidFill>
                  <a:schemeClr val="tx1"/>
                </a:solidFill>
              </a:rPr>
              <a:t>polvo y disolvente para solución inyectable en jeringa precargada</a:t>
            </a:r>
          </a:p>
          <a:p>
            <a:r>
              <a:rPr lang="es-AR" sz="1800" dirty="0" smtClean="0">
                <a:solidFill>
                  <a:schemeClr val="tx1"/>
                </a:solidFill>
              </a:rPr>
              <a:t>Tras </a:t>
            </a:r>
            <a:r>
              <a:rPr lang="es-AR" sz="1800" dirty="0">
                <a:solidFill>
                  <a:schemeClr val="tx1"/>
                </a:solidFill>
              </a:rPr>
              <a:t>la reconstitución completa de la vacuna liofilizada con diluyente, </a:t>
            </a:r>
            <a:r>
              <a:rPr lang="es-AR" sz="1800" dirty="0" err="1">
                <a:solidFill>
                  <a:schemeClr val="tx1"/>
                </a:solidFill>
              </a:rPr>
              <a:t>Qdenga</a:t>
            </a:r>
            <a:r>
              <a:rPr lang="es-AR" sz="1800" dirty="0">
                <a:solidFill>
                  <a:schemeClr val="tx1"/>
                </a:solidFill>
              </a:rPr>
              <a:t>® se debe administrar por </a:t>
            </a:r>
            <a:r>
              <a:rPr lang="es-AR" sz="1800" b="1" dirty="0">
                <a:solidFill>
                  <a:schemeClr val="tx1"/>
                </a:solidFill>
              </a:rPr>
              <a:t>vía subcutánea (SC) </a:t>
            </a:r>
            <a:r>
              <a:rPr lang="es-AR" sz="1800" dirty="0">
                <a:solidFill>
                  <a:schemeClr val="tx1"/>
                </a:solidFill>
              </a:rPr>
              <a:t>preferiblemente en la parte superior del brazo en la región del deltoides</a:t>
            </a:r>
            <a:r>
              <a:rPr lang="es-AR" sz="1800" dirty="0" smtClean="0">
                <a:solidFill>
                  <a:schemeClr val="tx1"/>
                </a:solidFill>
              </a:rPr>
              <a:t>.</a:t>
            </a:r>
          </a:p>
          <a:p>
            <a:pPr algn="just"/>
            <a:r>
              <a:rPr lang="es-AR" sz="1800" b="1" dirty="0" err="1">
                <a:solidFill>
                  <a:srgbClr val="FF0000"/>
                </a:solidFill>
              </a:rPr>
              <a:t>Qdenga</a:t>
            </a:r>
            <a:r>
              <a:rPr lang="es-AR" sz="1800" b="1" dirty="0">
                <a:solidFill>
                  <a:srgbClr val="FF0000"/>
                </a:solidFill>
              </a:rPr>
              <a:t>® no debe inyectarse por vía </a:t>
            </a:r>
            <a:r>
              <a:rPr lang="es-AR" sz="1800" b="1" dirty="0" err="1">
                <a:solidFill>
                  <a:srgbClr val="FF0000"/>
                </a:solidFill>
              </a:rPr>
              <a:t>intravascular</a:t>
            </a:r>
            <a:r>
              <a:rPr lang="es-AR" sz="1800" b="1" dirty="0">
                <a:solidFill>
                  <a:srgbClr val="FF0000"/>
                </a:solidFill>
              </a:rPr>
              <a:t>, por vía intradérmica ni intramuscular. </a:t>
            </a:r>
          </a:p>
          <a:p>
            <a:pPr algn="just"/>
            <a:r>
              <a:rPr lang="es-AR" sz="1800" dirty="0"/>
              <a:t>La vacuna no debe mezclarse en la misma jeringa con otras vacunas u otros medicamentos parenterales</a:t>
            </a:r>
            <a:r>
              <a:rPr lang="es-AR" sz="1800" dirty="0" smtClean="0"/>
              <a:t>.</a:t>
            </a:r>
            <a:endParaRPr lang="es-AR" sz="1800" dirty="0">
              <a:solidFill>
                <a:schemeClr val="tx1"/>
              </a:solidFill>
            </a:endParaRPr>
          </a:p>
          <a:p>
            <a:endParaRPr lang="es-ES" sz="2400" dirty="0" smtClean="0">
              <a:solidFill>
                <a:schemeClr val="tx1"/>
              </a:solidFill>
            </a:endParaRPr>
          </a:p>
          <a:p>
            <a:endParaRPr lang="es-AR" sz="2400" dirty="0" smtClean="0">
              <a:solidFill>
                <a:schemeClr val="tx1"/>
              </a:solidFill>
            </a:endParaRPr>
          </a:p>
          <a:p>
            <a:pPr marL="0" indent="0">
              <a:buNone/>
            </a:pPr>
            <a:endParaRPr lang="es-AR" sz="2400" dirty="0" smtClean="0">
              <a:solidFill>
                <a:schemeClr val="tx1"/>
              </a:solidFill>
            </a:endParaRPr>
          </a:p>
        </p:txBody>
      </p:sp>
      <p:sp>
        <p:nvSpPr>
          <p:cNvPr id="4" name="Rectángulo 3"/>
          <p:cNvSpPr/>
          <p:nvPr/>
        </p:nvSpPr>
        <p:spPr>
          <a:xfrm>
            <a:off x="7632071" y="89681"/>
            <a:ext cx="1283332" cy="49708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s-AR" sz="1200" dirty="0">
              <a:solidFill>
                <a:schemeClr val="bg1"/>
              </a:solidFill>
            </a:endParaRPr>
          </a:p>
        </p:txBody>
      </p:sp>
      <p:sp>
        <p:nvSpPr>
          <p:cNvPr id="5" name="Rectángulo 4"/>
          <p:cNvSpPr/>
          <p:nvPr/>
        </p:nvSpPr>
        <p:spPr>
          <a:xfrm>
            <a:off x="7985156" y="4757418"/>
            <a:ext cx="841973" cy="386082"/>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s-AR" sz="1200" dirty="0">
              <a:solidFill>
                <a:schemeClr val="bg1"/>
              </a:solidFill>
            </a:endParaRPr>
          </a:p>
        </p:txBody>
      </p:sp>
      <p:sp>
        <p:nvSpPr>
          <p:cNvPr id="6" name="Rectángulo 5"/>
          <p:cNvSpPr/>
          <p:nvPr/>
        </p:nvSpPr>
        <p:spPr>
          <a:xfrm>
            <a:off x="1" y="81610"/>
            <a:ext cx="470234" cy="59119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s-AR" sz="1200" dirty="0">
              <a:solidFill>
                <a:schemeClr val="bg1"/>
              </a:solidFill>
            </a:endParaRPr>
          </a:p>
        </p:txBody>
      </p:sp>
    </p:spTree>
    <p:extLst>
      <p:ext uri="{BB962C8B-B14F-4D97-AF65-F5344CB8AC3E}">
        <p14:creationId xmlns:p14="http://schemas.microsoft.com/office/powerpoint/2010/main" val="653579265"/>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xmlns="" id="{8B248630-1AEB-0FA2-C7B7-490B62133A08}"/>
              </a:ext>
            </a:extLst>
          </p:cNvPr>
          <p:cNvSpPr>
            <a:spLocks noGrp="1"/>
          </p:cNvSpPr>
          <p:nvPr>
            <p:ph type="body" sz="quarter" idx="15"/>
          </p:nvPr>
        </p:nvSpPr>
        <p:spPr>
          <a:xfrm>
            <a:off x="343961" y="798614"/>
            <a:ext cx="5984411" cy="2311082"/>
          </a:xfrm>
        </p:spPr>
        <p:txBody>
          <a:bodyPr>
            <a:noAutofit/>
          </a:bodyPr>
          <a:lstStyle/>
          <a:p>
            <a:pPr algn="just"/>
            <a:r>
              <a:rPr lang="es-AR" sz="1600" b="1" dirty="0" smtClean="0"/>
              <a:t>Instrucciones de uso</a:t>
            </a:r>
          </a:p>
          <a:p>
            <a:pPr algn="just"/>
            <a:r>
              <a:rPr lang="es-AR" sz="1600" b="1" dirty="0" err="1" smtClean="0"/>
              <a:t>Qdenga</a:t>
            </a:r>
            <a:r>
              <a:rPr lang="es-AR" sz="1600" b="1" dirty="0" smtClean="0"/>
              <a:t>®</a:t>
            </a:r>
            <a:r>
              <a:rPr lang="es-AR" sz="1600" dirty="0" smtClean="0"/>
              <a:t> es una vacuna de 2 componentes que consiste en un vial que contiene una vacuna liofilizada y diluyente proporcionado en la jeringa </a:t>
            </a:r>
            <a:r>
              <a:rPr lang="es-AR" sz="1600" dirty="0" err="1" smtClean="0"/>
              <a:t>prellenada</a:t>
            </a:r>
            <a:r>
              <a:rPr lang="es-AR" sz="1600" dirty="0" smtClean="0"/>
              <a:t>. La vacuna liofilizada debe reconstituirse con diluyente </a:t>
            </a:r>
            <a:r>
              <a:rPr lang="es-419" sz="1600" dirty="0" smtClean="0"/>
              <a:t>antes de su administración.</a:t>
            </a:r>
          </a:p>
          <a:p>
            <a:pPr algn="just"/>
            <a:r>
              <a:rPr lang="es-AR" sz="1600" dirty="0" smtClean="0"/>
              <a:t>Para reconstituir </a:t>
            </a:r>
            <a:r>
              <a:rPr lang="es-AR" sz="1600" dirty="0" err="1" smtClean="0"/>
              <a:t>Qdenga</a:t>
            </a:r>
            <a:r>
              <a:rPr lang="es-AR" sz="1600" dirty="0" smtClean="0"/>
              <a:t>®, utilice sólo el solvente (solución de cloruro de sodio al 0.22 %) que viene en la jeringa </a:t>
            </a:r>
            <a:r>
              <a:rPr lang="es-AR" sz="1600" dirty="0" err="1" smtClean="0"/>
              <a:t>prellenada</a:t>
            </a:r>
            <a:r>
              <a:rPr lang="es-AR" sz="1600" dirty="0" smtClean="0"/>
              <a:t> suministrada con la vacuna, ya que no contiene conservantes ni sustancias antivirales.</a:t>
            </a:r>
          </a:p>
          <a:p>
            <a:pPr algn="just"/>
            <a:r>
              <a:rPr lang="es-AR" sz="1600" dirty="0" smtClean="0"/>
              <a:t>Debe evitarse el contacto con conservantes, antisépticos, detergentes y otras sustancias antivirales, ya que pueden inactivar la vacuna.</a:t>
            </a:r>
          </a:p>
          <a:p>
            <a:pPr algn="just"/>
            <a:r>
              <a:rPr lang="es-AR" sz="1600" b="1" dirty="0" smtClean="0"/>
              <a:t>Saque el vial de vacuna y la jeringa </a:t>
            </a:r>
            <a:r>
              <a:rPr lang="es-AR" sz="1600" b="1" dirty="0" err="1" smtClean="0"/>
              <a:t>prellenada</a:t>
            </a:r>
            <a:r>
              <a:rPr lang="es-AR" sz="1600" b="1" dirty="0" smtClean="0"/>
              <a:t> de diluyente de la heladera y colóquelo a </a:t>
            </a:r>
            <a:r>
              <a:rPr lang="es-AR" sz="1600" b="1" u="sng" dirty="0" smtClean="0"/>
              <a:t>temperatura </a:t>
            </a:r>
            <a:r>
              <a:rPr lang="es-419" sz="1600" b="1" u="sng" dirty="0" smtClean="0"/>
              <a:t>ambiente durante aproximadamente 15 minutos</a:t>
            </a:r>
            <a:r>
              <a:rPr lang="es-419" sz="1600" b="1" dirty="0" smtClean="0"/>
              <a:t>.</a:t>
            </a:r>
            <a:endParaRPr lang="es-AR" sz="1600" b="1" dirty="0"/>
          </a:p>
        </p:txBody>
      </p:sp>
      <p:sp>
        <p:nvSpPr>
          <p:cNvPr id="3" name="Marcador de pie de página 2">
            <a:extLst>
              <a:ext uri="{FF2B5EF4-FFF2-40B4-BE49-F238E27FC236}">
                <a16:creationId xmlns:a16="http://schemas.microsoft.com/office/drawing/2014/main" xmlns="" id="{13200BB2-3422-5E88-6F1C-A34B635EBAD6}"/>
              </a:ext>
            </a:extLst>
          </p:cNvPr>
          <p:cNvSpPr>
            <a:spLocks noGrp="1"/>
          </p:cNvSpPr>
          <p:nvPr>
            <p:ph type="ftr" sz="quarter" idx="3"/>
          </p:nvPr>
        </p:nvSpPr>
        <p:spPr/>
        <p:txBody>
          <a:bodyPr/>
          <a:lstStyle/>
          <a:p>
            <a:r>
              <a:rPr lang="x-none"/>
              <a:t> </a:t>
            </a:r>
            <a:endParaRPr lang="x-none" dirty="0"/>
          </a:p>
        </p:txBody>
      </p:sp>
      <p:sp>
        <p:nvSpPr>
          <p:cNvPr id="4" name="Título 3">
            <a:extLst>
              <a:ext uri="{FF2B5EF4-FFF2-40B4-BE49-F238E27FC236}">
                <a16:creationId xmlns:a16="http://schemas.microsoft.com/office/drawing/2014/main" xmlns="" id="{29DF89BA-7DD1-AD9B-214C-3B9938D0B2DE}"/>
              </a:ext>
            </a:extLst>
          </p:cNvPr>
          <p:cNvSpPr>
            <a:spLocks noGrp="1"/>
          </p:cNvSpPr>
          <p:nvPr>
            <p:ph type="title"/>
          </p:nvPr>
        </p:nvSpPr>
        <p:spPr>
          <a:xfrm>
            <a:off x="708056" y="120033"/>
            <a:ext cx="7455190" cy="514351"/>
          </a:xfrm>
        </p:spPr>
        <p:txBody>
          <a:bodyPr>
            <a:normAutofit/>
          </a:bodyPr>
          <a:lstStyle/>
          <a:p>
            <a:r>
              <a:rPr lang="es-AR" b="1" dirty="0"/>
              <a:t>Modo de administración</a:t>
            </a:r>
            <a:endParaRPr lang="es-419" b="1" dirty="0"/>
          </a:p>
        </p:txBody>
      </p:sp>
      <p:pic>
        <p:nvPicPr>
          <p:cNvPr id="7" name="Imagen 6">
            <a:extLst>
              <a:ext uri="{FF2B5EF4-FFF2-40B4-BE49-F238E27FC236}">
                <a16:creationId xmlns:a16="http://schemas.microsoft.com/office/drawing/2014/main" xmlns="" id="{51A815E3-CDF2-1D86-B3F2-365F7C646445}"/>
              </a:ext>
            </a:extLst>
          </p:cNvPr>
          <p:cNvPicPr>
            <a:picLocks noChangeAspect="1"/>
          </p:cNvPicPr>
          <p:nvPr/>
        </p:nvPicPr>
        <p:blipFill>
          <a:blip r:embed="rId2"/>
          <a:stretch>
            <a:fillRect/>
          </a:stretch>
        </p:blipFill>
        <p:spPr>
          <a:xfrm>
            <a:off x="6580201" y="805185"/>
            <a:ext cx="1574774" cy="1751264"/>
          </a:xfrm>
          <a:prstGeom prst="rect">
            <a:avLst/>
          </a:prstGeom>
          <a:ln>
            <a:noFill/>
          </a:ln>
          <a:effectLst>
            <a:outerShdw blurRad="292100" dist="139700" dir="2700000" algn="tl" rotWithShape="0">
              <a:srgbClr val="333333">
                <a:alpha val="65000"/>
              </a:srgbClr>
            </a:outerShdw>
          </a:effectLst>
        </p:spPr>
      </p:pic>
      <p:pic>
        <p:nvPicPr>
          <p:cNvPr id="8" name="Imagen 7" descr="Imagen que contiene avión&#10;&#10;Descripción generada automáticamente">
            <a:extLst>
              <a:ext uri="{FF2B5EF4-FFF2-40B4-BE49-F238E27FC236}">
                <a16:creationId xmlns:a16="http://schemas.microsoft.com/office/drawing/2014/main" xmlns="" id="{A5294867-D8F2-6748-7315-9C7909ADE93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17608" y="2939364"/>
            <a:ext cx="2564365" cy="932438"/>
          </a:xfrm>
          <a:prstGeom prst="rect">
            <a:avLst/>
          </a:prstGeom>
          <a:ln>
            <a:noFill/>
          </a:ln>
          <a:effectLst>
            <a:outerShdw blurRad="292100" dist="139700" dir="2700000" algn="tl" rotWithShape="0">
              <a:srgbClr val="333333">
                <a:alpha val="65000"/>
              </a:srgbClr>
            </a:outerShdw>
          </a:effectLst>
        </p:spPr>
      </p:pic>
      <p:sp>
        <p:nvSpPr>
          <p:cNvPr id="9" name="Rectángulo 8"/>
          <p:cNvSpPr/>
          <p:nvPr/>
        </p:nvSpPr>
        <p:spPr>
          <a:xfrm>
            <a:off x="7632071" y="89681"/>
            <a:ext cx="1283332" cy="49708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s-AR" sz="1200" dirty="0">
              <a:solidFill>
                <a:schemeClr val="bg1"/>
              </a:solidFill>
            </a:endParaRPr>
          </a:p>
        </p:txBody>
      </p:sp>
      <p:sp>
        <p:nvSpPr>
          <p:cNvPr id="10" name="Rectángulo 9"/>
          <p:cNvSpPr/>
          <p:nvPr/>
        </p:nvSpPr>
        <p:spPr>
          <a:xfrm>
            <a:off x="7860668" y="4643708"/>
            <a:ext cx="1283332" cy="49708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s-AR" sz="1200" dirty="0">
              <a:solidFill>
                <a:schemeClr val="bg1"/>
              </a:solidFill>
            </a:endParaRPr>
          </a:p>
        </p:txBody>
      </p:sp>
      <p:sp>
        <p:nvSpPr>
          <p:cNvPr id="11" name="Rectángulo 10"/>
          <p:cNvSpPr/>
          <p:nvPr/>
        </p:nvSpPr>
        <p:spPr>
          <a:xfrm>
            <a:off x="1" y="81610"/>
            <a:ext cx="470234" cy="59119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s-AR" sz="1200" dirty="0">
              <a:solidFill>
                <a:schemeClr val="bg1"/>
              </a:solidFill>
            </a:endParaRPr>
          </a:p>
        </p:txBody>
      </p:sp>
    </p:spTree>
    <p:extLst>
      <p:ext uri="{BB962C8B-B14F-4D97-AF65-F5344CB8AC3E}">
        <p14:creationId xmlns:p14="http://schemas.microsoft.com/office/powerpoint/2010/main" val="1676972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xmlns="" id="{0B3AC3A7-C185-D2FD-F379-DD29DE08CC81}"/>
              </a:ext>
            </a:extLst>
          </p:cNvPr>
          <p:cNvSpPr>
            <a:spLocks noGrp="1"/>
          </p:cNvSpPr>
          <p:nvPr>
            <p:ph type="body" sz="quarter" idx="15"/>
          </p:nvPr>
        </p:nvSpPr>
        <p:spPr>
          <a:xfrm>
            <a:off x="2867891" y="828960"/>
            <a:ext cx="6042746" cy="3411875"/>
          </a:xfrm>
        </p:spPr>
        <p:txBody>
          <a:bodyPr>
            <a:normAutofit/>
          </a:bodyPr>
          <a:lstStyle/>
          <a:p>
            <a:pPr marL="257175" indent="-257175">
              <a:buFont typeface="Arial" panose="020B0604020202020204" pitchFamily="34" charset="0"/>
              <a:buChar char="•"/>
            </a:pPr>
            <a:r>
              <a:rPr lang="es-AR" sz="1000" dirty="0">
                <a:latin typeface="+mn-lt"/>
              </a:rPr>
              <a:t>Retire el tapón del vial de la vacuna y limpie la superficie </a:t>
            </a:r>
            <a:r>
              <a:rPr lang="es-419" sz="1000" dirty="0">
                <a:latin typeface="+mn-lt"/>
              </a:rPr>
              <a:t>del tapón de la parte superior del vial con una gasa con alcohol.</a:t>
            </a:r>
          </a:p>
          <a:p>
            <a:pPr marL="257175" indent="-257175">
              <a:buFont typeface="Arial" panose="020B0604020202020204" pitchFamily="34" charset="0"/>
              <a:buChar char="•"/>
            </a:pPr>
            <a:r>
              <a:rPr lang="es-AR" sz="1000" dirty="0">
                <a:latin typeface="+mn-lt"/>
              </a:rPr>
              <a:t>Conecte una aguja estéril en la jeringa prellenada e inserte la aguja en el vial de la vacuna. Se recomienda </a:t>
            </a:r>
            <a:r>
              <a:rPr lang="es-419" sz="1000" dirty="0">
                <a:latin typeface="+mn-lt"/>
              </a:rPr>
              <a:t>una aguja calibre 23G.</a:t>
            </a:r>
          </a:p>
          <a:p>
            <a:pPr marL="257175" indent="-257175">
              <a:buFont typeface="Arial" panose="020B0604020202020204" pitchFamily="34" charset="0"/>
              <a:buChar char="•"/>
            </a:pPr>
            <a:r>
              <a:rPr lang="es-AR" sz="1000" b="1" dirty="0">
                <a:latin typeface="+mn-lt"/>
              </a:rPr>
              <a:t>Dirija el flujo del diluyente hacia el costado del vial mientras presiona lentamente el émbolo, para reducir la posibilidad de que se formen burbujas.</a:t>
            </a:r>
          </a:p>
          <a:p>
            <a:pPr marL="257175" indent="-257175">
              <a:buFont typeface="Arial" panose="020B0604020202020204" pitchFamily="34" charset="0"/>
              <a:buChar char="•"/>
            </a:pPr>
            <a:endParaRPr lang="es-AR" sz="1000" dirty="0">
              <a:latin typeface="+mn-lt"/>
            </a:endParaRPr>
          </a:p>
          <a:p>
            <a:pPr marL="257175" indent="-257175">
              <a:buFont typeface="Arial" panose="020B0604020202020204" pitchFamily="34" charset="0"/>
              <a:buChar char="•"/>
            </a:pPr>
            <a:endParaRPr lang="es-AR" sz="1000" dirty="0">
              <a:latin typeface="+mn-lt"/>
            </a:endParaRPr>
          </a:p>
          <a:p>
            <a:pPr marL="257175" indent="-257175">
              <a:buFont typeface="Arial" panose="020B0604020202020204" pitchFamily="34" charset="0"/>
              <a:buChar char="•"/>
            </a:pPr>
            <a:endParaRPr lang="es-AR" sz="1000" dirty="0">
              <a:latin typeface="+mn-lt"/>
            </a:endParaRPr>
          </a:p>
          <a:p>
            <a:pPr marL="257175" indent="-257175">
              <a:buFont typeface="Arial" panose="020B0604020202020204" pitchFamily="34" charset="0"/>
              <a:buChar char="•"/>
            </a:pPr>
            <a:endParaRPr lang="es-AR" sz="1000" dirty="0">
              <a:latin typeface="+mn-lt"/>
            </a:endParaRPr>
          </a:p>
          <a:p>
            <a:pPr marL="257175" indent="-257175">
              <a:buFont typeface="Arial" panose="020B0604020202020204" pitchFamily="34" charset="0"/>
              <a:buChar char="•"/>
            </a:pPr>
            <a:r>
              <a:rPr lang="es-AR" sz="1000" dirty="0">
                <a:latin typeface="+mn-lt"/>
              </a:rPr>
              <a:t>Suelte el dedo del émbolo y, sosteniendo el ensamblaje sobre una superficie plana, haga </a:t>
            </a:r>
            <a:r>
              <a:rPr lang="es-AR" sz="1000" b="1" dirty="0">
                <a:latin typeface="+mn-lt"/>
              </a:rPr>
              <a:t>girar suavemente</a:t>
            </a:r>
            <a:r>
              <a:rPr lang="es-AR" sz="1000" dirty="0">
                <a:latin typeface="+mn-lt"/>
              </a:rPr>
              <a:t> el vial en ambas direcciones con el ensamblaje de aguja y </a:t>
            </a:r>
            <a:r>
              <a:rPr lang="es-419" sz="1000" dirty="0">
                <a:latin typeface="+mn-lt"/>
              </a:rPr>
              <a:t>jeringa adjunto.</a:t>
            </a:r>
          </a:p>
          <a:p>
            <a:pPr marL="257175" indent="-257175">
              <a:buFont typeface="Arial" panose="020B0604020202020204" pitchFamily="34" charset="0"/>
              <a:buChar char="•"/>
            </a:pPr>
            <a:r>
              <a:rPr lang="es-AR" sz="1000" b="1" dirty="0">
                <a:latin typeface="+mn-lt"/>
              </a:rPr>
              <a:t>NO AGITE</a:t>
            </a:r>
            <a:r>
              <a:rPr lang="es-AR" sz="1000" dirty="0">
                <a:latin typeface="+mn-lt"/>
              </a:rPr>
              <a:t>. Puede formarse espuma y burbujas en el </a:t>
            </a:r>
            <a:r>
              <a:rPr lang="es-419" sz="1000" dirty="0">
                <a:latin typeface="+mn-lt"/>
              </a:rPr>
              <a:t>producto reconstituido.</a:t>
            </a:r>
          </a:p>
          <a:p>
            <a:pPr marL="257175" indent="-257175">
              <a:buFont typeface="Arial" panose="020B0604020202020204" pitchFamily="34" charset="0"/>
              <a:buChar char="•"/>
            </a:pPr>
            <a:r>
              <a:rPr lang="es-419" sz="1000" dirty="0">
                <a:latin typeface="+mn-lt"/>
              </a:rPr>
              <a:t>D</a:t>
            </a:r>
            <a:r>
              <a:rPr lang="es-AR" sz="1000" dirty="0">
                <a:latin typeface="+mn-lt"/>
              </a:rPr>
              <a:t>eje reposar el conjunto de vial y jeringa por un rato, hasta que la solución se vuelva </a:t>
            </a:r>
            <a:r>
              <a:rPr lang="es-AR" sz="1000" u="sng" dirty="0">
                <a:latin typeface="+mn-lt"/>
              </a:rPr>
              <a:t>transparente</a:t>
            </a:r>
            <a:r>
              <a:rPr lang="es-AR" sz="1000" dirty="0">
                <a:latin typeface="+mn-lt"/>
              </a:rPr>
              <a:t>. Esto tarda </a:t>
            </a:r>
            <a:r>
              <a:rPr lang="pt-BR" sz="1000" dirty="0">
                <a:latin typeface="+mn-lt"/>
              </a:rPr>
              <a:t>entre 30 a 60 segundos</a:t>
            </a:r>
            <a:endParaRPr lang="es-AR" sz="1000" dirty="0">
              <a:latin typeface="+mn-lt"/>
            </a:endParaRPr>
          </a:p>
          <a:p>
            <a:pPr marL="257175" indent="-257175">
              <a:buFont typeface="Arial" panose="020B0604020202020204" pitchFamily="34" charset="0"/>
              <a:buChar char="•"/>
            </a:pPr>
            <a:endParaRPr lang="es-AR" sz="1000" dirty="0">
              <a:latin typeface="+mn-lt"/>
            </a:endParaRPr>
          </a:p>
          <a:p>
            <a:pPr marL="257175" indent="-257175">
              <a:buFont typeface="Arial" panose="020B0604020202020204" pitchFamily="34" charset="0"/>
              <a:buChar char="•"/>
            </a:pPr>
            <a:endParaRPr lang="es-AR" sz="1000" dirty="0">
              <a:latin typeface="+mn-lt"/>
            </a:endParaRPr>
          </a:p>
          <a:p>
            <a:pPr algn="l"/>
            <a:endParaRPr lang="es-419" sz="1000" dirty="0">
              <a:latin typeface="+mn-lt"/>
            </a:endParaRPr>
          </a:p>
        </p:txBody>
      </p:sp>
      <p:sp>
        <p:nvSpPr>
          <p:cNvPr id="3" name="Marcador de pie de página 2">
            <a:extLst>
              <a:ext uri="{FF2B5EF4-FFF2-40B4-BE49-F238E27FC236}">
                <a16:creationId xmlns:a16="http://schemas.microsoft.com/office/drawing/2014/main" xmlns="" id="{5AE8D093-723A-340E-4AAB-3A184EA2AE51}"/>
              </a:ext>
            </a:extLst>
          </p:cNvPr>
          <p:cNvSpPr>
            <a:spLocks noGrp="1"/>
          </p:cNvSpPr>
          <p:nvPr>
            <p:ph type="ftr" sz="quarter" idx="3"/>
          </p:nvPr>
        </p:nvSpPr>
        <p:spPr/>
        <p:txBody>
          <a:bodyPr/>
          <a:lstStyle/>
          <a:p>
            <a:r>
              <a:rPr lang="x-none"/>
              <a:t> </a:t>
            </a:r>
            <a:endParaRPr lang="x-none" dirty="0"/>
          </a:p>
        </p:txBody>
      </p:sp>
      <p:pic>
        <p:nvPicPr>
          <p:cNvPr id="10" name="Imagen 9">
            <a:extLst>
              <a:ext uri="{FF2B5EF4-FFF2-40B4-BE49-F238E27FC236}">
                <a16:creationId xmlns:a16="http://schemas.microsoft.com/office/drawing/2014/main" xmlns="" id="{501D3D77-1D84-BF35-4613-4DA61604CE01}"/>
              </a:ext>
            </a:extLst>
          </p:cNvPr>
          <p:cNvPicPr>
            <a:picLocks noChangeAspect="1"/>
          </p:cNvPicPr>
          <p:nvPr/>
        </p:nvPicPr>
        <p:blipFill>
          <a:blip r:embed="rId2"/>
          <a:stretch>
            <a:fillRect/>
          </a:stretch>
        </p:blipFill>
        <p:spPr>
          <a:xfrm>
            <a:off x="911997" y="726847"/>
            <a:ext cx="1554389" cy="1301924"/>
          </a:xfrm>
          <a:prstGeom prst="rect">
            <a:avLst/>
          </a:prstGeom>
        </p:spPr>
      </p:pic>
      <p:pic>
        <p:nvPicPr>
          <p:cNvPr id="15" name="Imagen 14">
            <a:extLst>
              <a:ext uri="{FF2B5EF4-FFF2-40B4-BE49-F238E27FC236}">
                <a16:creationId xmlns:a16="http://schemas.microsoft.com/office/drawing/2014/main" xmlns="" id="{14A64589-8AAD-9F6F-4C83-0AC8A4FD457E}"/>
              </a:ext>
            </a:extLst>
          </p:cNvPr>
          <p:cNvPicPr>
            <a:picLocks noChangeAspect="1"/>
          </p:cNvPicPr>
          <p:nvPr/>
        </p:nvPicPr>
        <p:blipFill>
          <a:blip r:embed="rId3"/>
          <a:stretch>
            <a:fillRect/>
          </a:stretch>
        </p:blipFill>
        <p:spPr>
          <a:xfrm>
            <a:off x="974105" y="2660073"/>
            <a:ext cx="1539078" cy="1234261"/>
          </a:xfrm>
          <a:prstGeom prst="rect">
            <a:avLst/>
          </a:prstGeom>
        </p:spPr>
      </p:pic>
      <p:sp>
        <p:nvSpPr>
          <p:cNvPr id="19" name="CuadroTexto 18">
            <a:extLst>
              <a:ext uri="{FF2B5EF4-FFF2-40B4-BE49-F238E27FC236}">
                <a16:creationId xmlns:a16="http://schemas.microsoft.com/office/drawing/2014/main" xmlns="" id="{553FF35C-EA65-937F-0CEA-70FA3E3B4D5C}"/>
              </a:ext>
            </a:extLst>
          </p:cNvPr>
          <p:cNvSpPr txBox="1"/>
          <p:nvPr/>
        </p:nvSpPr>
        <p:spPr>
          <a:xfrm>
            <a:off x="454559" y="4457973"/>
            <a:ext cx="7949933" cy="461665"/>
          </a:xfrm>
          <a:prstGeom prst="rect">
            <a:avLst/>
          </a:prstGeom>
          <a:noFill/>
        </p:spPr>
        <p:txBody>
          <a:bodyPr wrap="square">
            <a:spAutoFit/>
          </a:bodyPr>
          <a:lstStyle/>
          <a:p>
            <a:pPr algn="ctr"/>
            <a:r>
              <a:rPr lang="es-AR" sz="1200" dirty="0"/>
              <a:t>Tras la reconstitución, la solución resultante debe ser transparente, incolora a amarillo pálido y libre de</a:t>
            </a:r>
          </a:p>
          <a:p>
            <a:pPr algn="ctr"/>
            <a:r>
              <a:rPr lang="es-AR" sz="1200" dirty="0"/>
              <a:t>partículas extrañas. </a:t>
            </a:r>
            <a:r>
              <a:rPr lang="es-AR" sz="1200" b="1" dirty="0"/>
              <a:t>Deseche la vacuna si hay presencia de partículas y/o si cambió de color.</a:t>
            </a:r>
            <a:endParaRPr lang="es-419" sz="1200" b="1" dirty="0"/>
          </a:p>
        </p:txBody>
      </p:sp>
      <p:sp>
        <p:nvSpPr>
          <p:cNvPr id="6" name="Título 3">
            <a:extLst>
              <a:ext uri="{FF2B5EF4-FFF2-40B4-BE49-F238E27FC236}">
                <a16:creationId xmlns:a16="http://schemas.microsoft.com/office/drawing/2014/main" xmlns="" id="{C54A4974-E6A3-A804-76B6-20A5BA9A9853}"/>
              </a:ext>
            </a:extLst>
          </p:cNvPr>
          <p:cNvSpPr>
            <a:spLocks noGrp="1"/>
          </p:cNvSpPr>
          <p:nvPr>
            <p:ph type="title"/>
          </p:nvPr>
        </p:nvSpPr>
        <p:spPr>
          <a:xfrm>
            <a:off x="701930" y="120984"/>
            <a:ext cx="7455190" cy="514351"/>
          </a:xfrm>
        </p:spPr>
        <p:txBody>
          <a:bodyPr>
            <a:normAutofit/>
          </a:bodyPr>
          <a:lstStyle/>
          <a:p>
            <a:r>
              <a:rPr lang="es-AR" b="1" dirty="0"/>
              <a:t>Modo de administración</a:t>
            </a:r>
            <a:endParaRPr lang="es-419" b="1" dirty="0"/>
          </a:p>
        </p:txBody>
      </p:sp>
      <p:sp>
        <p:nvSpPr>
          <p:cNvPr id="9" name="Rectángulo 8"/>
          <p:cNvSpPr/>
          <p:nvPr/>
        </p:nvSpPr>
        <p:spPr>
          <a:xfrm>
            <a:off x="7632071" y="89681"/>
            <a:ext cx="1283332" cy="49708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s-AR" sz="1200" dirty="0">
              <a:solidFill>
                <a:schemeClr val="bg1"/>
              </a:solidFill>
            </a:endParaRPr>
          </a:p>
        </p:txBody>
      </p:sp>
      <p:sp>
        <p:nvSpPr>
          <p:cNvPr id="11" name="Rectángulo 10"/>
          <p:cNvSpPr/>
          <p:nvPr/>
        </p:nvSpPr>
        <p:spPr>
          <a:xfrm>
            <a:off x="7860668" y="4643708"/>
            <a:ext cx="1283332" cy="49708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s-AR" sz="1200" dirty="0">
              <a:solidFill>
                <a:schemeClr val="bg1"/>
              </a:solidFill>
            </a:endParaRPr>
          </a:p>
        </p:txBody>
      </p:sp>
      <p:sp>
        <p:nvSpPr>
          <p:cNvPr id="12" name="Rectángulo 11"/>
          <p:cNvSpPr/>
          <p:nvPr/>
        </p:nvSpPr>
        <p:spPr>
          <a:xfrm>
            <a:off x="1" y="81610"/>
            <a:ext cx="470234" cy="59119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s-AR" sz="1200" dirty="0">
              <a:solidFill>
                <a:schemeClr val="bg1"/>
              </a:solidFill>
            </a:endParaRPr>
          </a:p>
        </p:txBody>
      </p:sp>
    </p:spTree>
    <p:extLst>
      <p:ext uri="{BB962C8B-B14F-4D97-AF65-F5344CB8AC3E}">
        <p14:creationId xmlns:p14="http://schemas.microsoft.com/office/powerpoint/2010/main" val="25554531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457200" y="88533"/>
            <a:ext cx="8229600" cy="857250"/>
          </a:xfrm>
        </p:spPr>
        <p:txBody>
          <a:bodyPr/>
          <a:lstStyle/>
          <a:p>
            <a:r>
              <a:rPr lang="es-ES_tradnl" sz="3200" b="1" dirty="0"/>
              <a:t>Trasmisión del dengue a través del mosquito infectado</a:t>
            </a:r>
            <a:endParaRPr lang="es-AR" sz="3200" b="1" dirty="0"/>
          </a:p>
        </p:txBody>
      </p:sp>
      <p:pic>
        <p:nvPicPr>
          <p:cNvPr id="3074"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330035" y="1048683"/>
            <a:ext cx="6611817" cy="35459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aixaDeTexto 2">
            <a:extLst>
              <a:ext uri="{FF2B5EF4-FFF2-40B4-BE49-F238E27FC236}">
                <a16:creationId xmlns="" xmlns:a16="http://schemas.microsoft.com/office/drawing/2014/main" id="{8236BE52-597E-41CA-B08E-81253BC73ED3}"/>
              </a:ext>
            </a:extLst>
          </p:cNvPr>
          <p:cNvSpPr txBox="1"/>
          <p:nvPr/>
        </p:nvSpPr>
        <p:spPr>
          <a:xfrm>
            <a:off x="4114800" y="2115238"/>
            <a:ext cx="914400" cy="369332"/>
          </a:xfrm>
          <a:prstGeom prst="rect">
            <a:avLst/>
          </a:prstGeom>
          <a:noFill/>
        </p:spPr>
        <p:txBody>
          <a:bodyPr wrap="square" rtlCol="0">
            <a:spAutoFit/>
          </a:bodyPr>
          <a:lstStyle/>
          <a:p>
            <a:endParaRPr lang="en-GB" dirty="0"/>
          </a:p>
        </p:txBody>
      </p:sp>
      <p:sp>
        <p:nvSpPr>
          <p:cNvPr id="4" name="CaixaDeTexto 3">
            <a:extLst>
              <a:ext uri="{FF2B5EF4-FFF2-40B4-BE49-F238E27FC236}">
                <a16:creationId xmlns="" xmlns:a16="http://schemas.microsoft.com/office/drawing/2014/main" id="{B5958D0E-933F-41E5-824B-A54C9395F969}"/>
              </a:ext>
            </a:extLst>
          </p:cNvPr>
          <p:cNvSpPr txBox="1"/>
          <p:nvPr/>
        </p:nvSpPr>
        <p:spPr>
          <a:xfrm>
            <a:off x="1266441" y="4594623"/>
            <a:ext cx="5387249" cy="400110"/>
          </a:xfrm>
          <a:prstGeom prst="rect">
            <a:avLst/>
          </a:prstGeom>
          <a:noFill/>
        </p:spPr>
        <p:txBody>
          <a:bodyPr wrap="square" rtlCol="0">
            <a:spAutoFit/>
          </a:bodyPr>
          <a:lstStyle/>
          <a:p>
            <a:r>
              <a:rPr lang="es-419" sz="1000" dirty="0"/>
              <a:t>UNICEF Argentina 2010. Participación social en la prevención del dengue. 2a Edición. Disponible en https://www.buenosaires.gob.ar/sites/gcaba/files/unicef_dengue_2edic_baja.pdf</a:t>
            </a:r>
          </a:p>
        </p:txBody>
      </p:sp>
    </p:spTree>
    <p:extLst>
      <p:ext uri="{BB962C8B-B14F-4D97-AF65-F5344CB8AC3E}">
        <p14:creationId xmlns:p14="http://schemas.microsoft.com/office/powerpoint/2010/main" val="1906140171"/>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xmlns="" id="{E4ABFA03-DF4F-57EE-D6FE-25245F6F73ED}"/>
              </a:ext>
            </a:extLst>
          </p:cNvPr>
          <p:cNvSpPr>
            <a:spLocks noGrp="1"/>
          </p:cNvSpPr>
          <p:nvPr>
            <p:ph type="body" sz="quarter" idx="15"/>
          </p:nvPr>
        </p:nvSpPr>
        <p:spPr>
          <a:xfrm>
            <a:off x="2759869" y="936487"/>
            <a:ext cx="6150769" cy="1864901"/>
          </a:xfrm>
        </p:spPr>
        <p:txBody>
          <a:bodyPr>
            <a:normAutofit/>
          </a:bodyPr>
          <a:lstStyle/>
          <a:p>
            <a:pPr marL="257175" indent="-257175">
              <a:buFont typeface="Arial" panose="020B0604020202020204" pitchFamily="34" charset="0"/>
              <a:buChar char="•"/>
            </a:pPr>
            <a:r>
              <a:rPr lang="es-AR" b="0" i="0" u="none" strike="noStrike" baseline="0" dirty="0">
                <a:latin typeface="+mn-lt"/>
              </a:rPr>
              <a:t>Extraiga todo el volumen de la solución de </a:t>
            </a:r>
            <a:r>
              <a:rPr lang="es-AR" b="0" i="0" u="none" strike="noStrike" baseline="0" dirty="0" err="1">
                <a:latin typeface="+mn-lt"/>
              </a:rPr>
              <a:t>Qdenga</a:t>
            </a:r>
            <a:r>
              <a:rPr lang="es-AR" b="0" i="0" u="none" strike="noStrike" baseline="0" dirty="0">
                <a:latin typeface="+mn-lt"/>
              </a:rPr>
              <a:t>®  con la misma jeringa, hasta que aparezca una burbuja de aire en la jeringa.</a:t>
            </a:r>
          </a:p>
          <a:p>
            <a:pPr marL="257175" indent="-257175">
              <a:buFont typeface="Arial" panose="020B0604020202020204" pitchFamily="34" charset="0"/>
              <a:buChar char="•"/>
            </a:pPr>
            <a:r>
              <a:rPr lang="es-AR" b="0" i="0" u="none" strike="noStrike" baseline="0" dirty="0">
                <a:latin typeface="+mn-lt"/>
              </a:rPr>
              <a:t>Retire el ensamblaje de jeringa de aguja del vial.</a:t>
            </a:r>
          </a:p>
          <a:p>
            <a:pPr marL="257175" indent="-257175">
              <a:buFont typeface="Arial" panose="020B0604020202020204" pitchFamily="34" charset="0"/>
              <a:buChar char="•"/>
            </a:pPr>
            <a:r>
              <a:rPr lang="es-AR" b="0" i="0" u="none" strike="noStrike" baseline="0" dirty="0">
                <a:latin typeface="+mn-lt"/>
              </a:rPr>
              <a:t>Sostenga la jeringa con la aguja apuntando hacia arriba, golpee suavemente el costado de la jeringa para llevar la burbuja de aire a la parte superior, deseche la aguja adjunta y reemplácela con una nueva aguja estéril, expulse la burbuja de aire hasta que una pequeña gota del líquido se forme en la parte superior de la aguja. La </a:t>
            </a:r>
            <a:r>
              <a:rPr lang="es-419" b="0" i="0" u="none" strike="noStrike" baseline="0" dirty="0">
                <a:latin typeface="+mn-lt"/>
              </a:rPr>
              <a:t>aguja recomendada es de calibre 25G de 16 </a:t>
            </a:r>
            <a:r>
              <a:rPr lang="es-419" b="0" i="0" u="none" strike="noStrike" baseline="0" dirty="0" err="1">
                <a:latin typeface="+mn-lt"/>
              </a:rPr>
              <a:t>mm.</a:t>
            </a:r>
            <a:endParaRPr lang="es-419" dirty="0">
              <a:latin typeface="+mn-lt"/>
            </a:endParaRPr>
          </a:p>
          <a:p>
            <a:pPr marL="257175" indent="-257175">
              <a:buFont typeface="Arial" panose="020B0604020202020204" pitchFamily="34" charset="0"/>
              <a:buChar char="•"/>
            </a:pPr>
            <a:r>
              <a:rPr lang="es-AR" b="0" i="0" u="none" strike="noStrike" baseline="0" dirty="0" err="1">
                <a:latin typeface="+mn-lt"/>
              </a:rPr>
              <a:t>Qdenga</a:t>
            </a:r>
            <a:r>
              <a:rPr lang="es-AR" b="0" i="0" u="none" strike="noStrike" baseline="0" dirty="0">
                <a:latin typeface="+mn-lt"/>
              </a:rPr>
              <a:t>® está lista para la administración mediante </a:t>
            </a:r>
            <a:r>
              <a:rPr lang="es-419" b="0" i="0" u="none" strike="noStrike" baseline="0" dirty="0">
                <a:latin typeface="+mn-lt"/>
              </a:rPr>
              <a:t>inyección </a:t>
            </a:r>
            <a:r>
              <a:rPr lang="es-419" b="1" i="0" u="none" strike="noStrike" baseline="0" dirty="0">
                <a:latin typeface="+mn-lt"/>
              </a:rPr>
              <a:t>subcutánea</a:t>
            </a:r>
            <a:r>
              <a:rPr lang="es-419" b="0" i="0" u="none" strike="noStrike" baseline="0" dirty="0">
                <a:latin typeface="+mn-lt"/>
              </a:rPr>
              <a:t>.</a:t>
            </a:r>
            <a:endParaRPr lang="es-419" dirty="0">
              <a:latin typeface="+mn-lt"/>
            </a:endParaRPr>
          </a:p>
        </p:txBody>
      </p:sp>
      <p:sp>
        <p:nvSpPr>
          <p:cNvPr id="3" name="Marcador de pie de página 2">
            <a:extLst>
              <a:ext uri="{FF2B5EF4-FFF2-40B4-BE49-F238E27FC236}">
                <a16:creationId xmlns:a16="http://schemas.microsoft.com/office/drawing/2014/main" xmlns="" id="{C15C5A8A-B6FE-FFFA-3FB8-C786733C43DA}"/>
              </a:ext>
            </a:extLst>
          </p:cNvPr>
          <p:cNvSpPr>
            <a:spLocks noGrp="1"/>
          </p:cNvSpPr>
          <p:nvPr>
            <p:ph type="ftr" sz="quarter" idx="3"/>
          </p:nvPr>
        </p:nvSpPr>
        <p:spPr/>
        <p:txBody>
          <a:bodyPr/>
          <a:lstStyle/>
          <a:p>
            <a:r>
              <a:rPr lang="x-none"/>
              <a:t> </a:t>
            </a:r>
            <a:endParaRPr lang="x-none" dirty="0"/>
          </a:p>
        </p:txBody>
      </p:sp>
      <p:pic>
        <p:nvPicPr>
          <p:cNvPr id="8" name="Imagen 7">
            <a:extLst>
              <a:ext uri="{FF2B5EF4-FFF2-40B4-BE49-F238E27FC236}">
                <a16:creationId xmlns:a16="http://schemas.microsoft.com/office/drawing/2014/main" xmlns="" id="{B5BDABB4-51CA-B4E4-2A06-700DBA79F00E}"/>
              </a:ext>
            </a:extLst>
          </p:cNvPr>
          <p:cNvPicPr>
            <a:picLocks noChangeAspect="1"/>
          </p:cNvPicPr>
          <p:nvPr/>
        </p:nvPicPr>
        <p:blipFill>
          <a:blip r:embed="rId2"/>
          <a:stretch>
            <a:fillRect/>
          </a:stretch>
        </p:blipFill>
        <p:spPr>
          <a:xfrm>
            <a:off x="343960" y="1067121"/>
            <a:ext cx="2202695" cy="1864901"/>
          </a:xfrm>
          <a:prstGeom prst="rect">
            <a:avLst/>
          </a:prstGeom>
        </p:spPr>
      </p:pic>
      <p:sp>
        <p:nvSpPr>
          <p:cNvPr id="10" name="CuadroTexto 9">
            <a:extLst>
              <a:ext uri="{FF2B5EF4-FFF2-40B4-BE49-F238E27FC236}">
                <a16:creationId xmlns:a16="http://schemas.microsoft.com/office/drawing/2014/main" xmlns="" id="{58D0AA16-F1D5-0CC4-AF70-5575D88A4FC8}"/>
              </a:ext>
            </a:extLst>
          </p:cNvPr>
          <p:cNvSpPr txBox="1"/>
          <p:nvPr/>
        </p:nvSpPr>
        <p:spPr>
          <a:xfrm>
            <a:off x="401111" y="3192880"/>
            <a:ext cx="8509527" cy="1200329"/>
          </a:xfrm>
          <a:prstGeom prst="rect">
            <a:avLst/>
          </a:prstGeom>
          <a:noFill/>
        </p:spPr>
        <p:txBody>
          <a:bodyPr wrap="square">
            <a:spAutoFit/>
          </a:bodyPr>
          <a:lstStyle/>
          <a:p>
            <a:pPr algn="l"/>
            <a:r>
              <a:rPr lang="es-AR" sz="1200" b="1" dirty="0" err="1"/>
              <a:t>Qdenga</a:t>
            </a:r>
            <a:r>
              <a:rPr lang="es-AR" sz="1200" b="1" dirty="0"/>
              <a:t>® debe administrarse inmediatamente después de la reconstitución. Se ha demostrado la estabilidad química y física durante el uso durante </a:t>
            </a:r>
            <a:r>
              <a:rPr lang="es-AR" sz="1200" b="1" u="sng" dirty="0"/>
              <a:t>2 horas</a:t>
            </a:r>
            <a:r>
              <a:rPr lang="es-AR" sz="1200" b="1" dirty="0"/>
              <a:t> a temperatura ambiente (de hasta 32.5 °C) desde el momento de la reconstitución del vial de la vacuna</a:t>
            </a:r>
            <a:r>
              <a:rPr lang="es-AR" sz="1200" dirty="0"/>
              <a:t>. Después de ese periodo, la vacuna debe desecharse. No la regrese a la heladera. Desde un punto de vista microbiológico, </a:t>
            </a:r>
            <a:r>
              <a:rPr lang="es-AR" sz="1200" dirty="0" err="1"/>
              <a:t>Qdenga</a:t>
            </a:r>
            <a:r>
              <a:rPr lang="es-AR" sz="1200" dirty="0"/>
              <a:t>® debe usarse inmediatamente. Si no se usa inmediatamente, los tiempos y condiciones de almacenamiento en uso son </a:t>
            </a:r>
            <a:r>
              <a:rPr lang="es-419" sz="1200" dirty="0"/>
              <a:t>responsabilidad del usuario.</a:t>
            </a:r>
          </a:p>
          <a:p>
            <a:pPr algn="l"/>
            <a:r>
              <a:rPr lang="es-AR" sz="1200" dirty="0"/>
              <a:t>Todo medicamento no utilizado o material de desecho debe desecharse de acuerdo con los requisitos </a:t>
            </a:r>
            <a:r>
              <a:rPr lang="es-419" sz="1200" dirty="0"/>
              <a:t>locales.</a:t>
            </a:r>
          </a:p>
        </p:txBody>
      </p:sp>
      <p:sp>
        <p:nvSpPr>
          <p:cNvPr id="7" name="Título 3">
            <a:extLst>
              <a:ext uri="{FF2B5EF4-FFF2-40B4-BE49-F238E27FC236}">
                <a16:creationId xmlns:a16="http://schemas.microsoft.com/office/drawing/2014/main" xmlns="" id="{F0185F61-3E9B-E5A7-B422-69C425637BF9}"/>
              </a:ext>
            </a:extLst>
          </p:cNvPr>
          <p:cNvSpPr>
            <a:spLocks noGrp="1"/>
          </p:cNvSpPr>
          <p:nvPr>
            <p:ph type="title"/>
          </p:nvPr>
        </p:nvSpPr>
        <p:spPr>
          <a:xfrm>
            <a:off x="673692" y="120033"/>
            <a:ext cx="7455190" cy="514351"/>
          </a:xfrm>
        </p:spPr>
        <p:txBody>
          <a:bodyPr>
            <a:normAutofit/>
          </a:bodyPr>
          <a:lstStyle/>
          <a:p>
            <a:r>
              <a:rPr lang="es-AR" b="1" dirty="0"/>
              <a:t>Modo de administración</a:t>
            </a:r>
            <a:endParaRPr lang="es-419" b="1" dirty="0"/>
          </a:p>
        </p:txBody>
      </p:sp>
      <p:sp>
        <p:nvSpPr>
          <p:cNvPr id="9" name="Rectángulo 8"/>
          <p:cNvSpPr/>
          <p:nvPr/>
        </p:nvSpPr>
        <p:spPr>
          <a:xfrm>
            <a:off x="7632071" y="89681"/>
            <a:ext cx="1283332" cy="49708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s-AR" sz="1200" dirty="0">
              <a:solidFill>
                <a:schemeClr val="bg1"/>
              </a:solidFill>
            </a:endParaRPr>
          </a:p>
        </p:txBody>
      </p:sp>
      <p:sp>
        <p:nvSpPr>
          <p:cNvPr id="11" name="Rectángulo 10"/>
          <p:cNvSpPr/>
          <p:nvPr/>
        </p:nvSpPr>
        <p:spPr>
          <a:xfrm>
            <a:off x="7860668" y="4643708"/>
            <a:ext cx="1283332" cy="49708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s-AR" sz="1200" dirty="0">
              <a:solidFill>
                <a:schemeClr val="bg1"/>
              </a:solidFill>
            </a:endParaRPr>
          </a:p>
        </p:txBody>
      </p:sp>
      <p:sp>
        <p:nvSpPr>
          <p:cNvPr id="12" name="Rectángulo 11"/>
          <p:cNvSpPr/>
          <p:nvPr/>
        </p:nvSpPr>
        <p:spPr>
          <a:xfrm>
            <a:off x="1" y="81610"/>
            <a:ext cx="470234" cy="59119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s-AR" sz="1200" dirty="0">
              <a:solidFill>
                <a:schemeClr val="bg1"/>
              </a:solidFill>
            </a:endParaRPr>
          </a:p>
        </p:txBody>
      </p:sp>
    </p:spTree>
    <p:extLst>
      <p:ext uri="{BB962C8B-B14F-4D97-AF65-F5344CB8AC3E}">
        <p14:creationId xmlns:p14="http://schemas.microsoft.com/office/powerpoint/2010/main" val="42933025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519442" y="-407405"/>
            <a:ext cx="7886700" cy="994172"/>
          </a:xfrm>
        </p:spPr>
        <p:txBody>
          <a:bodyPr/>
          <a:lstStyle/>
          <a:p>
            <a:r>
              <a:rPr lang="en-US" b="1" dirty="0" smtClean="0">
                <a:latin typeface="Calibri"/>
                <a:ea typeface="メイリオ"/>
                <a:cs typeface="Calibri"/>
              </a:rPr>
              <a:t>TAK-003 (</a:t>
            </a:r>
            <a:r>
              <a:rPr lang="en-US" b="1" dirty="0" err="1" smtClean="0">
                <a:latin typeface="Calibri"/>
                <a:ea typeface="メイリオ"/>
                <a:cs typeface="Calibri"/>
              </a:rPr>
              <a:t>Qdenga</a:t>
            </a:r>
            <a:r>
              <a:rPr lang="en-US" b="1" dirty="0" smtClean="0">
                <a:latin typeface="Calibri"/>
                <a:ea typeface="メイリオ"/>
                <a:cs typeface="Calibri"/>
              </a:rPr>
              <a:t>): </a:t>
            </a:r>
            <a:r>
              <a:rPr lang="en-US" b="1" dirty="0" err="1" smtClean="0">
                <a:latin typeface="Calibri"/>
                <a:ea typeface="メイリオ"/>
                <a:cs typeface="Calibri"/>
              </a:rPr>
              <a:t>aspectos</a:t>
            </a:r>
            <a:r>
              <a:rPr lang="en-US" b="1" dirty="0" smtClean="0">
                <a:latin typeface="Calibri"/>
                <a:ea typeface="メイリオ"/>
                <a:cs typeface="Calibri"/>
              </a:rPr>
              <a:t> </a:t>
            </a:r>
            <a:r>
              <a:rPr lang="en-US" b="1" dirty="0" err="1" smtClean="0">
                <a:latin typeface="Calibri"/>
                <a:ea typeface="メイリオ"/>
                <a:cs typeface="Calibri"/>
              </a:rPr>
              <a:t>programáticos</a:t>
            </a:r>
            <a:r>
              <a:rPr lang="en-US" b="1" dirty="0" smtClean="0">
                <a:latin typeface="Calibri"/>
                <a:ea typeface="メイリオ"/>
                <a:cs typeface="Calibri"/>
              </a:rPr>
              <a:t> </a:t>
            </a:r>
            <a:endParaRPr lang="en-US" b="1" dirty="0"/>
          </a:p>
        </p:txBody>
      </p:sp>
      <p:sp>
        <p:nvSpPr>
          <p:cNvPr id="3" name="Marcador de contenido 2"/>
          <p:cNvSpPr>
            <a:spLocks noGrp="1"/>
          </p:cNvSpPr>
          <p:nvPr>
            <p:ph idx="1"/>
          </p:nvPr>
        </p:nvSpPr>
        <p:spPr>
          <a:xfrm>
            <a:off x="101630" y="781869"/>
            <a:ext cx="8951835" cy="4361631"/>
          </a:xfrm>
        </p:spPr>
        <p:txBody>
          <a:bodyPr>
            <a:noAutofit/>
          </a:bodyPr>
          <a:lstStyle/>
          <a:p>
            <a:r>
              <a:rPr lang="es-AR" sz="1600" b="1" dirty="0" smtClean="0">
                <a:solidFill>
                  <a:schemeClr val="tx1"/>
                </a:solidFill>
              </a:rPr>
              <a:t>Contraindicaciones:</a:t>
            </a:r>
            <a:endParaRPr lang="en-US" sz="1600" b="1" dirty="0">
              <a:solidFill>
                <a:schemeClr val="tx1"/>
              </a:solidFill>
            </a:endParaRPr>
          </a:p>
          <a:p>
            <a:pPr lvl="1"/>
            <a:r>
              <a:rPr lang="es-AR" sz="1200" dirty="0" smtClean="0">
                <a:solidFill>
                  <a:schemeClr val="tx1"/>
                </a:solidFill>
              </a:rPr>
              <a:t>Hipersensibilidad </a:t>
            </a:r>
            <a:r>
              <a:rPr lang="es-AR" sz="1200" dirty="0">
                <a:solidFill>
                  <a:schemeClr val="tx1"/>
                </a:solidFill>
              </a:rPr>
              <a:t>a los principios activos o a alguno de los excipientes incluidos en la vacuna, o hipersensibilidad a una dosis previa de </a:t>
            </a:r>
            <a:r>
              <a:rPr lang="es-AR" sz="1200" dirty="0" err="1">
                <a:solidFill>
                  <a:schemeClr val="tx1"/>
                </a:solidFill>
              </a:rPr>
              <a:t>Qdenga</a:t>
            </a:r>
            <a:r>
              <a:rPr lang="es-AR" sz="1200" dirty="0" smtClean="0">
                <a:solidFill>
                  <a:schemeClr val="tx1"/>
                </a:solidFill>
              </a:rPr>
              <a:t>.</a:t>
            </a:r>
          </a:p>
          <a:p>
            <a:pPr lvl="1"/>
            <a:r>
              <a:rPr lang="es-AR" sz="1200" dirty="0" smtClean="0">
                <a:solidFill>
                  <a:schemeClr val="tx1"/>
                </a:solidFill>
              </a:rPr>
              <a:t>Personas </a:t>
            </a:r>
            <a:r>
              <a:rPr lang="es-AR" sz="1200" dirty="0">
                <a:solidFill>
                  <a:schemeClr val="tx1"/>
                </a:solidFill>
              </a:rPr>
              <a:t>con inmunodeficiencias congénitas o adquiridas, incluidos los tratamientos inmunosupresores como la quimioterapia o altas dosis de </a:t>
            </a:r>
            <a:r>
              <a:rPr lang="es-AR" sz="1200" dirty="0" err="1">
                <a:solidFill>
                  <a:schemeClr val="tx1"/>
                </a:solidFill>
              </a:rPr>
              <a:t>corticoesteroides</a:t>
            </a:r>
            <a:r>
              <a:rPr lang="es-AR" sz="1200" dirty="0">
                <a:solidFill>
                  <a:schemeClr val="tx1"/>
                </a:solidFill>
              </a:rPr>
              <a:t> sistémicos (p. ej., 20 mg/día o 2 mg/kg de peso corporal por día de </a:t>
            </a:r>
            <a:r>
              <a:rPr lang="es-AR" sz="1200" dirty="0" err="1">
                <a:solidFill>
                  <a:schemeClr val="tx1"/>
                </a:solidFill>
              </a:rPr>
              <a:t>prednisona</a:t>
            </a:r>
            <a:r>
              <a:rPr lang="es-AR" sz="1200" dirty="0">
                <a:solidFill>
                  <a:schemeClr val="tx1"/>
                </a:solidFill>
              </a:rPr>
              <a:t> durante 2 semanas o más) en las 4 semanas previas a la vacunación, al igual que con otras vacunas atenuadas vivas. </a:t>
            </a:r>
            <a:endParaRPr lang="en-US" sz="1200" dirty="0">
              <a:solidFill>
                <a:schemeClr val="tx1"/>
              </a:solidFill>
            </a:endParaRPr>
          </a:p>
          <a:p>
            <a:pPr lvl="1"/>
            <a:r>
              <a:rPr lang="es-AR" sz="1200" dirty="0" smtClean="0">
                <a:solidFill>
                  <a:schemeClr val="tx1"/>
                </a:solidFill>
              </a:rPr>
              <a:t>Personas </a:t>
            </a:r>
            <a:r>
              <a:rPr lang="es-AR" sz="1200" dirty="0">
                <a:solidFill>
                  <a:schemeClr val="tx1"/>
                </a:solidFill>
              </a:rPr>
              <a:t>con infección sintomática por VIH o con infección asintomática por VIH cuando va acompañada de indicios de deterioro de la función </a:t>
            </a:r>
            <a:r>
              <a:rPr lang="es-AR" sz="1200" dirty="0" smtClean="0">
                <a:solidFill>
                  <a:schemeClr val="tx1"/>
                </a:solidFill>
              </a:rPr>
              <a:t>inmunitaria.</a:t>
            </a:r>
            <a:endParaRPr lang="en-US" sz="1200" dirty="0">
              <a:solidFill>
                <a:schemeClr val="tx1"/>
              </a:solidFill>
            </a:endParaRPr>
          </a:p>
          <a:p>
            <a:pPr lvl="1"/>
            <a:r>
              <a:rPr lang="es-AR" sz="1200" dirty="0" smtClean="0">
                <a:solidFill>
                  <a:schemeClr val="tx1"/>
                </a:solidFill>
              </a:rPr>
              <a:t>Mujeres embarazadas o en periodo de lactancia</a:t>
            </a:r>
          </a:p>
          <a:p>
            <a:pPr lvl="1"/>
            <a:endParaRPr lang="en-US" sz="1200" dirty="0">
              <a:solidFill>
                <a:schemeClr val="tx1"/>
              </a:solidFill>
            </a:endParaRPr>
          </a:p>
          <a:p>
            <a:r>
              <a:rPr lang="es-AR" sz="1400" b="1" dirty="0">
                <a:solidFill>
                  <a:schemeClr val="tx1"/>
                </a:solidFill>
              </a:rPr>
              <a:t>Administración </a:t>
            </a:r>
            <a:r>
              <a:rPr lang="es-AR" sz="1400" b="1" dirty="0" smtClean="0">
                <a:solidFill>
                  <a:schemeClr val="tx1"/>
                </a:solidFill>
              </a:rPr>
              <a:t>simultánea</a:t>
            </a:r>
            <a:r>
              <a:rPr lang="en-US" sz="1400" dirty="0" smtClean="0">
                <a:solidFill>
                  <a:schemeClr val="tx1"/>
                </a:solidFill>
              </a:rPr>
              <a:t>: </a:t>
            </a:r>
            <a:r>
              <a:rPr lang="en-US" sz="1400" dirty="0" err="1" smtClean="0">
                <a:solidFill>
                  <a:schemeClr val="tx1"/>
                </a:solidFill>
              </a:rPr>
              <a:t>estudiada</a:t>
            </a:r>
            <a:r>
              <a:rPr lang="en-US" sz="1400" dirty="0" smtClean="0">
                <a:solidFill>
                  <a:schemeClr val="tx1"/>
                </a:solidFill>
              </a:rPr>
              <a:t> con la </a:t>
            </a:r>
            <a:r>
              <a:rPr lang="en-US" sz="1400" dirty="0" err="1" smtClean="0">
                <a:solidFill>
                  <a:schemeClr val="tx1"/>
                </a:solidFill>
              </a:rPr>
              <a:t>vacuna</a:t>
            </a:r>
            <a:r>
              <a:rPr lang="en-US" sz="1400" dirty="0" smtClean="0">
                <a:solidFill>
                  <a:schemeClr val="tx1"/>
                </a:solidFill>
              </a:rPr>
              <a:t> </a:t>
            </a:r>
            <a:r>
              <a:rPr lang="es-AR" sz="1400" dirty="0" smtClean="0">
                <a:solidFill>
                  <a:schemeClr val="tx1"/>
                </a:solidFill>
              </a:rPr>
              <a:t>hepatitis A y fiebre</a:t>
            </a:r>
            <a:r>
              <a:rPr lang="en-US" sz="1400" dirty="0">
                <a:solidFill>
                  <a:schemeClr val="tx1"/>
                </a:solidFill>
              </a:rPr>
              <a:t> </a:t>
            </a:r>
            <a:r>
              <a:rPr lang="es-AR" sz="1400" dirty="0" smtClean="0">
                <a:solidFill>
                  <a:schemeClr val="tx1"/>
                </a:solidFill>
              </a:rPr>
              <a:t>amarilla </a:t>
            </a:r>
            <a:r>
              <a:rPr lang="es-AR" sz="1400" dirty="0">
                <a:solidFill>
                  <a:schemeClr val="tx1"/>
                </a:solidFill>
              </a:rPr>
              <a:t>durante la misma </a:t>
            </a:r>
            <a:r>
              <a:rPr lang="es-AR" sz="1400" dirty="0" smtClean="0">
                <a:solidFill>
                  <a:schemeClr val="tx1"/>
                </a:solidFill>
              </a:rPr>
              <a:t>visita.</a:t>
            </a:r>
          </a:p>
          <a:p>
            <a:pPr marL="0" indent="0">
              <a:buNone/>
            </a:pPr>
            <a:endParaRPr lang="es-AR" sz="1400" dirty="0" smtClean="0">
              <a:solidFill>
                <a:schemeClr val="tx1"/>
              </a:solidFill>
            </a:endParaRPr>
          </a:p>
          <a:p>
            <a:r>
              <a:rPr lang="es-AR" sz="1400" dirty="0" smtClean="0">
                <a:solidFill>
                  <a:schemeClr val="tx1"/>
                </a:solidFill>
              </a:rPr>
              <a:t>Se recomienda un intervalo de 28 días con vacunas a virus vivos (Triple viral, varicela y fiebre amarilla sino la recibió el mismo día)</a:t>
            </a:r>
            <a:endParaRPr lang="en-US" sz="1400" dirty="0">
              <a:solidFill>
                <a:schemeClr val="tx1"/>
              </a:solidFill>
            </a:endParaRPr>
          </a:p>
          <a:p>
            <a:endParaRPr lang="es-ES" sz="1400" dirty="0" smtClean="0">
              <a:solidFill>
                <a:schemeClr val="tx1"/>
              </a:solidFill>
            </a:endParaRPr>
          </a:p>
        </p:txBody>
      </p:sp>
      <p:sp>
        <p:nvSpPr>
          <p:cNvPr id="4" name="Rectángulo 3"/>
          <p:cNvSpPr/>
          <p:nvPr/>
        </p:nvSpPr>
        <p:spPr>
          <a:xfrm>
            <a:off x="7632071" y="89681"/>
            <a:ext cx="1283332" cy="49708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s-AR" sz="1200" dirty="0">
              <a:solidFill>
                <a:schemeClr val="bg1"/>
              </a:solidFill>
            </a:endParaRPr>
          </a:p>
        </p:txBody>
      </p:sp>
      <p:sp>
        <p:nvSpPr>
          <p:cNvPr id="5" name="Rectángulo 4"/>
          <p:cNvSpPr/>
          <p:nvPr/>
        </p:nvSpPr>
        <p:spPr>
          <a:xfrm>
            <a:off x="7985156" y="4757418"/>
            <a:ext cx="841973" cy="386082"/>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s-AR" sz="1200" dirty="0">
              <a:solidFill>
                <a:schemeClr val="bg1"/>
              </a:solidFill>
            </a:endParaRPr>
          </a:p>
        </p:txBody>
      </p:sp>
      <p:sp>
        <p:nvSpPr>
          <p:cNvPr id="6" name="Rectángulo 5"/>
          <p:cNvSpPr/>
          <p:nvPr/>
        </p:nvSpPr>
        <p:spPr>
          <a:xfrm>
            <a:off x="1" y="81610"/>
            <a:ext cx="470234" cy="59119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s-AR" sz="1200" dirty="0">
              <a:solidFill>
                <a:schemeClr val="bg1"/>
              </a:solidFill>
            </a:endParaRPr>
          </a:p>
        </p:txBody>
      </p:sp>
    </p:spTree>
    <p:extLst>
      <p:ext uri="{BB962C8B-B14F-4D97-AF65-F5344CB8AC3E}">
        <p14:creationId xmlns:p14="http://schemas.microsoft.com/office/powerpoint/2010/main" val="2040529739"/>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xmlns="" id="{B68FBE25-7208-90DE-BE3B-DA29B88B71F6}"/>
              </a:ext>
            </a:extLst>
          </p:cNvPr>
          <p:cNvSpPr>
            <a:spLocks noGrp="1"/>
          </p:cNvSpPr>
          <p:nvPr>
            <p:ph type="body" sz="quarter" idx="15"/>
          </p:nvPr>
        </p:nvSpPr>
        <p:spPr>
          <a:xfrm>
            <a:off x="155665" y="644297"/>
            <a:ext cx="8754973" cy="3976412"/>
          </a:xfrm>
        </p:spPr>
        <p:txBody>
          <a:bodyPr>
            <a:noAutofit/>
          </a:bodyPr>
          <a:lstStyle/>
          <a:p>
            <a:pPr algn="just"/>
            <a:r>
              <a:rPr lang="es-419" sz="1300" b="1" dirty="0">
                <a:latin typeface="+mj-lt"/>
              </a:rPr>
              <a:t>Trazabilidad</a:t>
            </a:r>
          </a:p>
          <a:p>
            <a:pPr algn="just"/>
            <a:r>
              <a:rPr lang="es-AR" sz="1300" b="0" i="0" u="none" strike="noStrike" baseline="0" dirty="0">
                <a:latin typeface="+mj-lt"/>
              </a:rPr>
              <a:t>A fin de mejorar la trazabilidad de los medicamentos biológicos, se deberá registrar claramente el nombre y el número de lote del producto administrado</a:t>
            </a:r>
            <a:r>
              <a:rPr lang="es-AR" sz="1300" b="0" i="0" u="none" strike="noStrike" baseline="0" dirty="0" smtClean="0">
                <a:latin typeface="+mj-lt"/>
              </a:rPr>
              <a:t>.</a:t>
            </a:r>
            <a:endParaRPr lang="es-AR" sz="1300" b="0" i="0" u="none" strike="noStrike" baseline="0" dirty="0">
              <a:latin typeface="+mj-lt"/>
            </a:endParaRPr>
          </a:p>
          <a:p>
            <a:pPr algn="just"/>
            <a:r>
              <a:rPr lang="es-419" sz="1300" b="1" dirty="0">
                <a:latin typeface="+mj-lt"/>
              </a:rPr>
              <a:t>Recomendaciones generales</a:t>
            </a:r>
          </a:p>
          <a:p>
            <a:pPr marL="214313" indent="-214313" algn="just">
              <a:buFont typeface="Wingdings" panose="05000000000000000000" pitchFamily="2" charset="2"/>
              <a:buChar char="§"/>
            </a:pPr>
            <a:r>
              <a:rPr lang="es-419" sz="1300" b="1" i="0" u="none" strike="noStrike" baseline="0" dirty="0">
                <a:latin typeface="+mj-lt"/>
              </a:rPr>
              <a:t>Anafilaxia:  </a:t>
            </a:r>
            <a:r>
              <a:rPr lang="es-AR" sz="1300" b="0" i="0" u="none" strike="noStrike" baseline="0" dirty="0">
                <a:latin typeface="+mj-lt"/>
              </a:rPr>
              <a:t>Al igual que con todas las vacunas inyectables, el tratamiento médico adecuado y la supervisión deben estar siempre disponibles en caso de una reacción anafiláctica poco común después de la administración </a:t>
            </a:r>
            <a:r>
              <a:rPr lang="es-419" sz="1300" b="0" i="0" u="none" strike="noStrike" baseline="0" dirty="0">
                <a:latin typeface="+mj-lt"/>
              </a:rPr>
              <a:t>de la vacuna.</a:t>
            </a:r>
          </a:p>
          <a:p>
            <a:pPr marL="214313" indent="-214313" algn="just">
              <a:buFont typeface="Wingdings" panose="05000000000000000000" pitchFamily="2" charset="2"/>
              <a:buChar char="§"/>
            </a:pPr>
            <a:r>
              <a:rPr lang="es-AR" sz="1300" b="1" i="0" u="none" strike="noStrike" baseline="0" dirty="0">
                <a:latin typeface="+mj-lt"/>
              </a:rPr>
              <a:t>Revisión de la historia clínica:  </a:t>
            </a:r>
            <a:r>
              <a:rPr lang="es-AR" sz="1300" b="0" i="0" u="none" strike="noStrike" baseline="0" dirty="0">
                <a:latin typeface="+mj-lt"/>
              </a:rPr>
              <a:t>La vacunación debe ser precedida por una revisión de los antecedentes médicos (especialmente con respecto a la vacunación previa y las posibles reacciones a la </a:t>
            </a:r>
            <a:r>
              <a:rPr lang="es-AR" sz="1300" b="0" i="0" u="none" strike="noStrike" baseline="0" dirty="0" err="1">
                <a:latin typeface="+mj-lt"/>
              </a:rPr>
              <a:t>hipersensibiliad</a:t>
            </a:r>
            <a:r>
              <a:rPr lang="es-AR" sz="1300" b="0" i="0" u="none" strike="noStrike" baseline="0" dirty="0">
                <a:latin typeface="+mj-lt"/>
              </a:rPr>
              <a:t> que ocurrieron después de </a:t>
            </a:r>
            <a:r>
              <a:rPr lang="es-419" sz="1300" b="0" i="0" u="none" strike="noStrike" baseline="0" dirty="0">
                <a:latin typeface="+mj-lt"/>
              </a:rPr>
              <a:t>la vacunación).</a:t>
            </a:r>
          </a:p>
          <a:p>
            <a:pPr marL="214313" indent="-214313" algn="just">
              <a:buFont typeface="Wingdings" panose="05000000000000000000" pitchFamily="2" charset="2"/>
              <a:buChar char="§"/>
            </a:pPr>
            <a:r>
              <a:rPr lang="es-419" sz="1300" b="1" i="0" u="none" strike="noStrike" baseline="0" dirty="0">
                <a:latin typeface="+mj-lt"/>
              </a:rPr>
              <a:t>Enfermedad concomitante: </a:t>
            </a:r>
            <a:r>
              <a:rPr lang="es-AR" sz="1300" b="0" i="0" u="none" strike="noStrike" baseline="0" dirty="0">
                <a:latin typeface="+mj-lt"/>
              </a:rPr>
              <a:t>La vacunación con </a:t>
            </a:r>
            <a:r>
              <a:rPr lang="es-AR" sz="1300" b="0" i="0" u="none" strike="noStrike" baseline="0" dirty="0" err="1">
                <a:latin typeface="+mj-lt"/>
              </a:rPr>
              <a:t>Qdenga</a:t>
            </a:r>
            <a:r>
              <a:rPr lang="es-AR" sz="1300" b="0" i="0" u="none" strike="noStrike" baseline="0" dirty="0">
                <a:latin typeface="+mj-lt"/>
              </a:rPr>
              <a:t>® debe posponerse en sujetos que padezcan una </a:t>
            </a:r>
            <a:r>
              <a:rPr lang="es-AR" sz="1300" i="0" u="sng" strike="noStrike" baseline="0" dirty="0">
                <a:latin typeface="+mj-lt"/>
              </a:rPr>
              <a:t>enfermedad febril aguda </a:t>
            </a:r>
            <a:r>
              <a:rPr lang="es-AR" sz="1300" b="1" i="0" u="sng" strike="noStrike" baseline="0" dirty="0">
                <a:latin typeface="+mj-lt"/>
              </a:rPr>
              <a:t>grave</a:t>
            </a:r>
            <a:r>
              <a:rPr lang="es-AR" sz="1300" b="0" i="0" u="none" strike="noStrike" baseline="0" dirty="0">
                <a:latin typeface="+mj-lt"/>
              </a:rPr>
              <a:t>. La presencia de una infección menor, como un resfriado, no debe provocar un aplazamiento de la </a:t>
            </a:r>
            <a:r>
              <a:rPr lang="es-419" sz="1300" b="0" i="0" u="none" strike="noStrike" baseline="0" dirty="0">
                <a:latin typeface="+mj-lt"/>
              </a:rPr>
              <a:t>vacunación.</a:t>
            </a:r>
          </a:p>
          <a:p>
            <a:pPr marL="214313" indent="-214313" algn="just">
              <a:buFont typeface="Wingdings" panose="05000000000000000000" pitchFamily="2" charset="2"/>
              <a:buChar char="§"/>
            </a:pPr>
            <a:r>
              <a:rPr lang="es-AR" sz="1300" b="1" i="0" u="none" strike="noStrike" baseline="0" dirty="0">
                <a:latin typeface="+mj-lt"/>
              </a:rPr>
              <a:t>Limitaciones de la eficacia de la vacuna: </a:t>
            </a:r>
            <a:r>
              <a:rPr lang="es-AR" sz="1300" b="0" i="0" u="none" strike="noStrike" baseline="0" dirty="0">
                <a:latin typeface="+mj-lt"/>
              </a:rPr>
              <a:t>Es posible que no se obtenga una respuesta inmunológica de protección con </a:t>
            </a:r>
            <a:r>
              <a:rPr lang="es-AR" sz="1300" b="0" i="0" u="none" strike="noStrike" baseline="0" dirty="0" err="1">
                <a:latin typeface="+mj-lt"/>
              </a:rPr>
              <a:t>Qdenga</a:t>
            </a:r>
            <a:r>
              <a:rPr lang="es-AR" sz="1300" b="0" i="0" u="none" strike="noStrike" baseline="0" dirty="0">
                <a:latin typeface="+mj-lt"/>
              </a:rPr>
              <a:t>® en todos los vacunados contra todos los serotipos del virus del dengue y puede disminuir con el tiempo (ver sección </a:t>
            </a:r>
            <a:r>
              <a:rPr lang="es-AR" sz="1300" b="0" i="1" u="none" strike="noStrike" baseline="0" dirty="0">
                <a:latin typeface="+mj-lt"/>
              </a:rPr>
              <a:t>“Propiedades farmacodinámicas”). </a:t>
            </a:r>
            <a:r>
              <a:rPr lang="es-AR" sz="1300" b="0" i="0" u="none" strike="noStrike" baseline="0" dirty="0" smtClean="0">
                <a:latin typeface="+mj-lt"/>
              </a:rPr>
              <a:t>Se </a:t>
            </a:r>
            <a:r>
              <a:rPr lang="es-AR" sz="1300" b="0" i="0" u="none" strike="noStrike" baseline="0" dirty="0">
                <a:latin typeface="+mj-lt"/>
              </a:rPr>
              <a:t>recomienda continuar con las medidas de protección personal contra las picaduras de mosquitos después de la vacunación. Las personas deben buscar atención </a:t>
            </a:r>
            <a:r>
              <a:rPr lang="es-419" sz="1300" b="0" i="0" u="none" strike="noStrike" baseline="0" dirty="0">
                <a:latin typeface="+mj-lt"/>
              </a:rPr>
              <a:t>médica si desarrollan síntomas de dengue o signos de advertencia de dengue. </a:t>
            </a:r>
          </a:p>
          <a:p>
            <a:pPr algn="just"/>
            <a:r>
              <a:rPr lang="es-AR" sz="1300" b="0" i="0" u="none" strike="noStrike" baseline="0" dirty="0">
                <a:latin typeface="+mj-lt"/>
              </a:rPr>
              <a:t>No existen datos sobre el uso de </a:t>
            </a:r>
            <a:r>
              <a:rPr lang="es-AR" sz="1300" b="0" i="0" u="none" strike="noStrike" baseline="0" dirty="0" err="1">
                <a:latin typeface="+mj-lt"/>
              </a:rPr>
              <a:t>Qdenga</a:t>
            </a:r>
            <a:r>
              <a:rPr lang="es-AR" sz="1300" b="0" i="0" u="none" strike="noStrike" baseline="0" dirty="0">
                <a:latin typeface="+mj-lt"/>
              </a:rPr>
              <a:t>® en sujetos mayores de 60 años y los datos son limitados en pacientes con afecciones médicas crónicas.</a:t>
            </a:r>
          </a:p>
          <a:p>
            <a:pPr algn="just"/>
            <a:endParaRPr lang="es-419" sz="1300" dirty="0">
              <a:latin typeface="+mj-lt"/>
            </a:endParaRPr>
          </a:p>
        </p:txBody>
      </p:sp>
      <p:sp>
        <p:nvSpPr>
          <p:cNvPr id="3" name="Marcador de pie de página 2">
            <a:extLst>
              <a:ext uri="{FF2B5EF4-FFF2-40B4-BE49-F238E27FC236}">
                <a16:creationId xmlns:a16="http://schemas.microsoft.com/office/drawing/2014/main" xmlns="" id="{2E864FCE-8E7A-6D06-4092-FE33A89591CF}"/>
              </a:ext>
            </a:extLst>
          </p:cNvPr>
          <p:cNvSpPr>
            <a:spLocks noGrp="1"/>
          </p:cNvSpPr>
          <p:nvPr>
            <p:ph type="ftr" sz="quarter" idx="3"/>
          </p:nvPr>
        </p:nvSpPr>
        <p:spPr/>
        <p:txBody>
          <a:bodyPr/>
          <a:lstStyle/>
          <a:p>
            <a:r>
              <a:rPr lang="x-none" dirty="0"/>
              <a:t> </a:t>
            </a:r>
          </a:p>
        </p:txBody>
      </p:sp>
      <p:sp>
        <p:nvSpPr>
          <p:cNvPr id="4" name="Título 3">
            <a:extLst>
              <a:ext uri="{FF2B5EF4-FFF2-40B4-BE49-F238E27FC236}">
                <a16:creationId xmlns:a16="http://schemas.microsoft.com/office/drawing/2014/main" xmlns="" id="{A77BDD8B-79EB-9A68-623D-BE74C8EB1337}"/>
              </a:ext>
            </a:extLst>
          </p:cNvPr>
          <p:cNvSpPr>
            <a:spLocks noGrp="1"/>
          </p:cNvSpPr>
          <p:nvPr>
            <p:ph type="title"/>
          </p:nvPr>
        </p:nvSpPr>
        <p:spPr>
          <a:xfrm>
            <a:off x="742112" y="17581"/>
            <a:ext cx="7455190" cy="514351"/>
          </a:xfrm>
        </p:spPr>
        <p:txBody>
          <a:bodyPr>
            <a:normAutofit/>
          </a:bodyPr>
          <a:lstStyle/>
          <a:p>
            <a:r>
              <a:rPr lang="es-419" sz="1800" b="1" dirty="0">
                <a:latin typeface="+mj-lt"/>
              </a:rPr>
              <a:t>ADVERTENCIAS Y PRECAUCIONES</a:t>
            </a:r>
          </a:p>
        </p:txBody>
      </p:sp>
      <p:sp>
        <p:nvSpPr>
          <p:cNvPr id="7" name="Rectángulo 6"/>
          <p:cNvSpPr/>
          <p:nvPr/>
        </p:nvSpPr>
        <p:spPr>
          <a:xfrm>
            <a:off x="7632071" y="89681"/>
            <a:ext cx="1283332" cy="49708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s-AR" sz="1200" dirty="0">
              <a:solidFill>
                <a:schemeClr val="bg1"/>
              </a:solidFill>
            </a:endParaRPr>
          </a:p>
        </p:txBody>
      </p:sp>
      <p:sp>
        <p:nvSpPr>
          <p:cNvPr id="8" name="Rectángulo 7"/>
          <p:cNvSpPr/>
          <p:nvPr/>
        </p:nvSpPr>
        <p:spPr>
          <a:xfrm>
            <a:off x="7985156" y="4757418"/>
            <a:ext cx="841973" cy="386082"/>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s-AR" sz="1200" dirty="0">
              <a:solidFill>
                <a:schemeClr val="bg1"/>
              </a:solidFill>
            </a:endParaRPr>
          </a:p>
        </p:txBody>
      </p:sp>
      <p:sp>
        <p:nvSpPr>
          <p:cNvPr id="10" name="Rectángulo 9"/>
          <p:cNvSpPr/>
          <p:nvPr/>
        </p:nvSpPr>
        <p:spPr>
          <a:xfrm>
            <a:off x="1" y="81611"/>
            <a:ext cx="467999" cy="57359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s-AR" sz="1200" dirty="0">
              <a:solidFill>
                <a:schemeClr val="bg1"/>
              </a:solidFill>
            </a:endParaRPr>
          </a:p>
        </p:txBody>
      </p:sp>
    </p:spTree>
    <p:extLst>
      <p:ext uri="{BB962C8B-B14F-4D97-AF65-F5344CB8AC3E}">
        <p14:creationId xmlns:p14="http://schemas.microsoft.com/office/powerpoint/2010/main" val="42850486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xmlns="" id="{B68FBE25-7208-90DE-BE3B-DA29B88B71F6}"/>
              </a:ext>
            </a:extLst>
          </p:cNvPr>
          <p:cNvSpPr>
            <a:spLocks noGrp="1"/>
          </p:cNvSpPr>
          <p:nvPr>
            <p:ph type="body" sz="quarter" idx="15"/>
          </p:nvPr>
        </p:nvSpPr>
        <p:spPr>
          <a:xfrm>
            <a:off x="470235" y="807642"/>
            <a:ext cx="8346542" cy="2602211"/>
          </a:xfrm>
        </p:spPr>
        <p:txBody>
          <a:bodyPr>
            <a:noAutofit/>
          </a:bodyPr>
          <a:lstStyle/>
          <a:p>
            <a:pPr algn="l"/>
            <a:r>
              <a:rPr lang="es-AR" sz="1600" b="1" i="0" u="none" strike="noStrike" baseline="0" dirty="0">
                <a:latin typeface="+mj-lt"/>
              </a:rPr>
              <a:t>Reacciones relacionadas con la ansiedad</a:t>
            </a:r>
          </a:p>
          <a:p>
            <a:pPr algn="l"/>
            <a:r>
              <a:rPr lang="es-AR" sz="1600" b="0" i="0" u="none" strike="noStrike" baseline="0" dirty="0">
                <a:latin typeface="+mj-lt"/>
              </a:rPr>
              <a:t>Las reacciones relacionadas con la ansiedad, incluyendo las reacciones </a:t>
            </a:r>
            <a:r>
              <a:rPr lang="es-AR" sz="1600" b="0" i="0" u="none" strike="noStrike" baseline="0" dirty="0" err="1">
                <a:latin typeface="+mj-lt"/>
              </a:rPr>
              <a:t>vasovagales</a:t>
            </a:r>
            <a:r>
              <a:rPr lang="es-AR" sz="1600" b="0" i="0" u="none" strike="noStrike" baseline="0" dirty="0">
                <a:latin typeface="+mj-lt"/>
              </a:rPr>
              <a:t> (síncope), hiperventilación o reacciones relacionadas con el estrés pueden ocurrir en asociación con la vacunación como una respuesta psicogénica a la inyección de aguja. Es importante que se tomen precauciones para </a:t>
            </a:r>
            <a:r>
              <a:rPr lang="es-419" sz="1600" b="0" i="0" u="none" strike="noStrike" baseline="0" dirty="0">
                <a:latin typeface="+mj-lt"/>
              </a:rPr>
              <a:t>evitar lesiones por desmayos.</a:t>
            </a:r>
          </a:p>
          <a:p>
            <a:pPr algn="l"/>
            <a:endParaRPr lang="es-419" sz="1600" b="0" i="0" u="none" strike="noStrike" baseline="0" dirty="0">
              <a:latin typeface="+mj-lt"/>
            </a:endParaRPr>
          </a:p>
          <a:p>
            <a:pPr algn="l"/>
            <a:r>
              <a:rPr lang="es-419" sz="1600" b="1" i="0" u="none" strike="noStrike" baseline="0" dirty="0">
                <a:latin typeface="+mj-lt"/>
              </a:rPr>
              <a:t>Mujeres en edad fértil</a:t>
            </a:r>
          </a:p>
          <a:p>
            <a:pPr algn="l"/>
            <a:r>
              <a:rPr lang="es-AR" sz="1600" b="0" i="0" u="none" strike="noStrike" baseline="0" dirty="0">
                <a:latin typeface="+mj-lt"/>
              </a:rPr>
              <a:t>Al igual que con otras vacunas vivas atenuadas, las mujeres en edad fértil deben evitar el embarazo durante </a:t>
            </a:r>
            <a:r>
              <a:rPr lang="es-AR" sz="1600" b="0" u="sng" strike="noStrike" baseline="0" dirty="0">
                <a:latin typeface="+mj-lt"/>
              </a:rPr>
              <a:t>al menos un mes después</a:t>
            </a:r>
            <a:r>
              <a:rPr lang="es-AR" sz="1600" b="0" i="0" u="none" strike="noStrike" baseline="0" dirty="0">
                <a:latin typeface="+mj-lt"/>
              </a:rPr>
              <a:t> de la </a:t>
            </a:r>
            <a:r>
              <a:rPr lang="es-AR" sz="1600" b="0" i="0" u="none" strike="noStrike" baseline="0" dirty="0" smtClean="0">
                <a:latin typeface="+mj-lt"/>
              </a:rPr>
              <a:t>vacunación.</a:t>
            </a:r>
            <a:endParaRPr lang="es-419" sz="1600" b="1" i="0" u="none" strike="noStrike" baseline="0" dirty="0">
              <a:latin typeface="+mj-lt"/>
            </a:endParaRPr>
          </a:p>
          <a:p>
            <a:pPr algn="l"/>
            <a:endParaRPr lang="es-419" dirty="0">
              <a:latin typeface="+mj-lt"/>
            </a:endParaRPr>
          </a:p>
        </p:txBody>
      </p:sp>
      <p:sp>
        <p:nvSpPr>
          <p:cNvPr id="3" name="Marcador de pie de página 2">
            <a:extLst>
              <a:ext uri="{FF2B5EF4-FFF2-40B4-BE49-F238E27FC236}">
                <a16:creationId xmlns:a16="http://schemas.microsoft.com/office/drawing/2014/main" xmlns="" id="{2E864FCE-8E7A-6D06-4092-FE33A89591CF}"/>
              </a:ext>
            </a:extLst>
          </p:cNvPr>
          <p:cNvSpPr>
            <a:spLocks noGrp="1"/>
          </p:cNvSpPr>
          <p:nvPr>
            <p:ph type="ftr" sz="quarter" idx="3"/>
          </p:nvPr>
        </p:nvSpPr>
        <p:spPr/>
        <p:txBody>
          <a:bodyPr/>
          <a:lstStyle/>
          <a:p>
            <a:r>
              <a:rPr lang="x-none"/>
              <a:t> </a:t>
            </a:r>
            <a:endParaRPr lang="x-none" dirty="0"/>
          </a:p>
        </p:txBody>
      </p:sp>
      <p:sp>
        <p:nvSpPr>
          <p:cNvPr id="4" name="Título 3">
            <a:extLst>
              <a:ext uri="{FF2B5EF4-FFF2-40B4-BE49-F238E27FC236}">
                <a16:creationId xmlns:a16="http://schemas.microsoft.com/office/drawing/2014/main" xmlns="" id="{A77BDD8B-79EB-9A68-623D-BE74C8EB1337}"/>
              </a:ext>
            </a:extLst>
          </p:cNvPr>
          <p:cNvSpPr>
            <a:spLocks noGrp="1"/>
          </p:cNvSpPr>
          <p:nvPr>
            <p:ph type="title"/>
          </p:nvPr>
        </p:nvSpPr>
        <p:spPr>
          <a:xfrm>
            <a:off x="644682" y="81610"/>
            <a:ext cx="7455190" cy="514351"/>
          </a:xfrm>
        </p:spPr>
        <p:txBody>
          <a:bodyPr>
            <a:normAutofit/>
          </a:bodyPr>
          <a:lstStyle/>
          <a:p>
            <a:r>
              <a:rPr lang="es-419" sz="1800" b="1" dirty="0">
                <a:latin typeface="+mj-lt"/>
              </a:rPr>
              <a:t>ADVERTENCIAS Y PRECAUCIONES</a:t>
            </a:r>
            <a:endParaRPr lang="es-419" sz="1800" dirty="0">
              <a:latin typeface="+mj-lt"/>
            </a:endParaRPr>
          </a:p>
        </p:txBody>
      </p:sp>
      <p:sp>
        <p:nvSpPr>
          <p:cNvPr id="7" name="Rectángulo 6"/>
          <p:cNvSpPr/>
          <p:nvPr/>
        </p:nvSpPr>
        <p:spPr>
          <a:xfrm>
            <a:off x="7632071" y="89681"/>
            <a:ext cx="1283332" cy="49708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s-AR" sz="1200" dirty="0">
              <a:solidFill>
                <a:schemeClr val="bg1"/>
              </a:solidFill>
            </a:endParaRPr>
          </a:p>
        </p:txBody>
      </p:sp>
      <p:sp>
        <p:nvSpPr>
          <p:cNvPr id="8" name="Rectángulo 7"/>
          <p:cNvSpPr/>
          <p:nvPr/>
        </p:nvSpPr>
        <p:spPr>
          <a:xfrm>
            <a:off x="7985156" y="4757418"/>
            <a:ext cx="841973" cy="386082"/>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s-AR" sz="1200" dirty="0">
              <a:solidFill>
                <a:schemeClr val="bg1"/>
              </a:solidFill>
            </a:endParaRPr>
          </a:p>
        </p:txBody>
      </p:sp>
      <p:sp>
        <p:nvSpPr>
          <p:cNvPr id="9" name="Rectángulo 8"/>
          <p:cNvSpPr/>
          <p:nvPr/>
        </p:nvSpPr>
        <p:spPr>
          <a:xfrm>
            <a:off x="1" y="81610"/>
            <a:ext cx="470234" cy="59119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s-AR" sz="1200" dirty="0">
              <a:solidFill>
                <a:schemeClr val="bg1"/>
              </a:solidFill>
            </a:endParaRPr>
          </a:p>
        </p:txBody>
      </p:sp>
      <p:sp>
        <p:nvSpPr>
          <p:cNvPr id="10" name="Rectángulo 9"/>
          <p:cNvSpPr/>
          <p:nvPr/>
        </p:nvSpPr>
        <p:spPr>
          <a:xfrm>
            <a:off x="402878" y="3544686"/>
            <a:ext cx="8507759" cy="1200329"/>
          </a:xfrm>
          <a:prstGeom prst="rect">
            <a:avLst/>
          </a:prstGeom>
          <a:solidFill>
            <a:schemeClr val="accent4">
              <a:lumMod val="20000"/>
              <a:lumOff val="80000"/>
            </a:schemeClr>
          </a:solidFill>
        </p:spPr>
        <p:txBody>
          <a:bodyPr wrap="square">
            <a:spAutoFit/>
          </a:bodyPr>
          <a:lstStyle/>
          <a:p>
            <a:pPr algn="ctr"/>
            <a:r>
              <a:rPr lang="es-ES" b="1" dirty="0" smtClean="0">
                <a:solidFill>
                  <a:srgbClr val="444444"/>
                </a:solidFill>
                <a:latin typeface="Archivo"/>
              </a:rPr>
              <a:t>Se recomienda </a:t>
            </a:r>
            <a:r>
              <a:rPr lang="es-ES" b="1" dirty="0">
                <a:solidFill>
                  <a:srgbClr val="444444"/>
                </a:solidFill>
                <a:latin typeface="Archivo"/>
              </a:rPr>
              <a:t>que las personas que han tenido el dengue esperen entre 3 y 6 meses para recibir la primera dosis</a:t>
            </a:r>
            <a:r>
              <a:rPr lang="es-ES" dirty="0">
                <a:solidFill>
                  <a:srgbClr val="444444"/>
                </a:solidFill>
                <a:latin typeface="Archivo"/>
              </a:rPr>
              <a:t> de la vacuna contra esta enfermedad. </a:t>
            </a:r>
            <a:r>
              <a:rPr lang="es-ES" dirty="0" smtClean="0">
                <a:solidFill>
                  <a:srgbClr val="444444"/>
                </a:solidFill>
                <a:latin typeface="Archivo"/>
              </a:rPr>
              <a:t>Porque puede </a:t>
            </a:r>
            <a:r>
              <a:rPr lang="es-ES" dirty="0">
                <a:solidFill>
                  <a:srgbClr val="444444"/>
                </a:solidFill>
                <a:latin typeface="Archivo"/>
              </a:rPr>
              <a:t>interferir con los anticuerpos que se generan con la propia </a:t>
            </a:r>
            <a:r>
              <a:rPr lang="es-ES" dirty="0" smtClean="0">
                <a:solidFill>
                  <a:srgbClr val="444444"/>
                </a:solidFill>
                <a:latin typeface="Archivo"/>
              </a:rPr>
              <a:t>enfermedad.</a:t>
            </a:r>
            <a:endParaRPr lang="es-AR" dirty="0"/>
          </a:p>
        </p:txBody>
      </p:sp>
    </p:spTree>
    <p:extLst>
      <p:ext uri="{BB962C8B-B14F-4D97-AF65-F5344CB8AC3E}">
        <p14:creationId xmlns:p14="http://schemas.microsoft.com/office/powerpoint/2010/main" val="19246502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p:cNvSpPr>
            <a:spLocks noGrp="1"/>
          </p:cNvSpPr>
          <p:nvPr>
            <p:ph type="body" sz="quarter" idx="15"/>
          </p:nvPr>
        </p:nvSpPr>
        <p:spPr>
          <a:xfrm>
            <a:off x="233363" y="826789"/>
            <a:ext cx="8677275" cy="3500767"/>
          </a:xfrm>
          <a:solidFill>
            <a:schemeClr val="accent4">
              <a:lumMod val="20000"/>
              <a:lumOff val="80000"/>
            </a:schemeClr>
          </a:solidFill>
        </p:spPr>
        <p:txBody>
          <a:bodyPr>
            <a:normAutofit/>
          </a:bodyPr>
          <a:lstStyle/>
          <a:p>
            <a:pPr marL="457200" lvl="0" indent="-457200">
              <a:buFont typeface="+mj-lt"/>
              <a:buAutoNum type="arabicPeriod"/>
            </a:pPr>
            <a:r>
              <a:rPr lang="es-ES" sz="1800" dirty="0"/>
              <a:t>¿Tuvo fiebre en las últimas 24hs?</a:t>
            </a:r>
            <a:endParaRPr lang="es-AR" sz="1800" dirty="0"/>
          </a:p>
          <a:p>
            <a:pPr marL="457200" lvl="0" indent="-457200">
              <a:buFont typeface="+mj-lt"/>
              <a:buAutoNum type="arabicPeriod"/>
            </a:pPr>
            <a:r>
              <a:rPr lang="es-ES" sz="1800" dirty="0"/>
              <a:t>¿Tuvo Dengue? Si la respuesta es afirmativa, ¿pasaron más de 3 meses del alta?</a:t>
            </a:r>
            <a:endParaRPr lang="es-AR" sz="1800" dirty="0"/>
          </a:p>
          <a:p>
            <a:pPr marL="457200" lvl="0" indent="-457200">
              <a:buFont typeface="+mj-lt"/>
              <a:buAutoNum type="arabicPeriod"/>
            </a:pPr>
            <a:r>
              <a:rPr lang="es-ES" sz="1800" dirty="0"/>
              <a:t>¿Es alérgico a algún medicamento, alimento, vacuna o al látex?</a:t>
            </a:r>
            <a:endParaRPr lang="es-AR" sz="1800" dirty="0"/>
          </a:p>
          <a:p>
            <a:pPr marL="457200" lvl="0" indent="-457200">
              <a:buFont typeface="+mj-lt"/>
              <a:buAutoNum type="arabicPeriod"/>
            </a:pPr>
            <a:r>
              <a:rPr lang="es-ES" sz="1800" dirty="0"/>
              <a:t>¿Ha recibido alguna vacuna en los últimos 30 días?</a:t>
            </a:r>
            <a:endParaRPr lang="es-AR" sz="1800" dirty="0"/>
          </a:p>
          <a:p>
            <a:pPr marL="457200" lvl="0" indent="-457200">
              <a:buFont typeface="+mj-lt"/>
              <a:buAutoNum type="arabicPeriod"/>
            </a:pPr>
            <a:r>
              <a:rPr lang="es-ES" sz="1800" dirty="0"/>
              <a:t>¿Se encuentra bajo tratamiento de alguna medicación inmunosupresora o padece alguna enfermedad que afecte su sistema inmunitario? ¿Ha recibido corticoides, medicamentos anticancerosos o radioterapia en los últimos 3 meses?</a:t>
            </a:r>
            <a:endParaRPr lang="es-AR" sz="1800" dirty="0"/>
          </a:p>
          <a:p>
            <a:pPr marL="457200" lvl="0" indent="-457200">
              <a:buFont typeface="+mj-lt"/>
              <a:buAutoNum type="arabicPeriod"/>
            </a:pPr>
            <a:r>
              <a:rPr lang="es-ES" sz="1800" dirty="0"/>
              <a:t>¿Ha recibido inyecciones de inmunoglobulinas o transfusiones de sangre u otros derivados de la misma, en el último año?</a:t>
            </a:r>
            <a:endParaRPr lang="es-AR" sz="1800" dirty="0"/>
          </a:p>
          <a:p>
            <a:pPr marL="457200" lvl="0" indent="-457200">
              <a:buFont typeface="+mj-lt"/>
              <a:buAutoNum type="arabicPeriod"/>
            </a:pPr>
            <a:r>
              <a:rPr lang="es-ES" sz="1800" dirty="0"/>
              <a:t>¿Está embarazada o planea buscar un embarazo en los próximos días? ¿Se encuentra amantando?</a:t>
            </a:r>
            <a:endParaRPr lang="es-AR" sz="1800" dirty="0"/>
          </a:p>
          <a:p>
            <a:endParaRPr lang="es-AR" sz="1100" dirty="0"/>
          </a:p>
        </p:txBody>
      </p:sp>
      <p:sp>
        <p:nvSpPr>
          <p:cNvPr id="3" name="Marcador de pie de página 2"/>
          <p:cNvSpPr>
            <a:spLocks noGrp="1"/>
          </p:cNvSpPr>
          <p:nvPr>
            <p:ph type="ftr" sz="quarter" idx="3"/>
          </p:nvPr>
        </p:nvSpPr>
        <p:spPr/>
        <p:txBody>
          <a:bodyPr/>
          <a:lstStyle/>
          <a:p>
            <a:r>
              <a:rPr lang="x-none" smtClean="0"/>
              <a:t> </a:t>
            </a:r>
            <a:endParaRPr lang="x-none" dirty="0"/>
          </a:p>
        </p:txBody>
      </p:sp>
      <p:sp>
        <p:nvSpPr>
          <p:cNvPr id="4" name="Título 3"/>
          <p:cNvSpPr>
            <a:spLocks noGrp="1"/>
          </p:cNvSpPr>
          <p:nvPr>
            <p:ph type="title"/>
          </p:nvPr>
        </p:nvSpPr>
        <p:spPr/>
        <p:txBody>
          <a:bodyPr/>
          <a:lstStyle/>
          <a:p>
            <a:r>
              <a:rPr lang="es-ES" b="1" dirty="0" smtClean="0"/>
              <a:t>Preguntas previas </a:t>
            </a:r>
            <a:r>
              <a:rPr lang="es-ES" b="1" dirty="0"/>
              <a:t>a la aplicación de esta vacuna </a:t>
            </a:r>
            <a:endParaRPr lang="es-AR" dirty="0"/>
          </a:p>
        </p:txBody>
      </p:sp>
      <p:sp>
        <p:nvSpPr>
          <p:cNvPr id="7" name="Rectángulo 6"/>
          <p:cNvSpPr/>
          <p:nvPr/>
        </p:nvSpPr>
        <p:spPr>
          <a:xfrm>
            <a:off x="1" y="81610"/>
            <a:ext cx="470234" cy="59119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s-AR" sz="1200" dirty="0">
              <a:solidFill>
                <a:schemeClr val="bg1"/>
              </a:solidFill>
            </a:endParaRPr>
          </a:p>
        </p:txBody>
      </p:sp>
      <p:sp>
        <p:nvSpPr>
          <p:cNvPr id="8" name="Rectángulo 7"/>
          <p:cNvSpPr/>
          <p:nvPr/>
        </p:nvSpPr>
        <p:spPr>
          <a:xfrm>
            <a:off x="7909750" y="58386"/>
            <a:ext cx="1072748" cy="59119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s-AR" sz="1200" dirty="0">
              <a:solidFill>
                <a:schemeClr val="bg1"/>
              </a:solidFill>
            </a:endParaRPr>
          </a:p>
        </p:txBody>
      </p:sp>
      <p:sp>
        <p:nvSpPr>
          <p:cNvPr id="9" name="Rectángulo 8"/>
          <p:cNvSpPr/>
          <p:nvPr/>
        </p:nvSpPr>
        <p:spPr>
          <a:xfrm>
            <a:off x="8046454" y="4455262"/>
            <a:ext cx="936043" cy="59119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s-AR" sz="1200" dirty="0">
              <a:solidFill>
                <a:schemeClr val="bg1"/>
              </a:solidFill>
            </a:endParaRPr>
          </a:p>
        </p:txBody>
      </p:sp>
    </p:spTree>
    <p:extLst>
      <p:ext uri="{BB962C8B-B14F-4D97-AF65-F5344CB8AC3E}">
        <p14:creationId xmlns:p14="http://schemas.microsoft.com/office/powerpoint/2010/main" val="3569426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32503" y="0"/>
            <a:ext cx="8229600" cy="857250"/>
          </a:xfrm>
        </p:spPr>
        <p:txBody>
          <a:bodyPr/>
          <a:lstStyle/>
          <a:p>
            <a:r>
              <a:rPr lang="es-AR" sz="4000" b="1" dirty="0" smtClean="0"/>
              <a:t>Conclusiones</a:t>
            </a:r>
            <a:endParaRPr lang="es-AR" sz="4000" b="1" dirty="0"/>
          </a:p>
        </p:txBody>
      </p:sp>
      <p:sp>
        <p:nvSpPr>
          <p:cNvPr id="3" name="Marcador de contenido 2"/>
          <p:cNvSpPr>
            <a:spLocks noGrp="1"/>
          </p:cNvSpPr>
          <p:nvPr>
            <p:ph idx="1"/>
          </p:nvPr>
        </p:nvSpPr>
        <p:spPr>
          <a:xfrm>
            <a:off x="0" y="857250"/>
            <a:ext cx="8858816" cy="3394472"/>
          </a:xfrm>
        </p:spPr>
        <p:txBody>
          <a:bodyPr/>
          <a:lstStyle/>
          <a:p>
            <a:r>
              <a:rPr lang="es-ES" sz="1800" dirty="0"/>
              <a:t>Por su intensidad y magnitud, la Argentina atraviesa la </a:t>
            </a:r>
            <a:r>
              <a:rPr lang="es-ES" sz="1800" dirty="0" smtClean="0"/>
              <a:t>epidemia de</a:t>
            </a:r>
            <a:r>
              <a:rPr lang="es-ES" sz="1800" dirty="0"/>
              <a:t> </a:t>
            </a:r>
            <a:r>
              <a:rPr lang="es-ES" sz="1800" dirty="0" smtClean="0"/>
              <a:t>dengue</a:t>
            </a:r>
            <a:r>
              <a:rPr lang="es-ES" sz="1800" dirty="0"/>
              <a:t> más importante de su </a:t>
            </a:r>
            <a:r>
              <a:rPr lang="es-ES" sz="1800" dirty="0" smtClean="0"/>
              <a:t>historia</a:t>
            </a:r>
            <a:r>
              <a:rPr lang="es-ES" sz="1800" dirty="0"/>
              <a:t>.</a:t>
            </a:r>
          </a:p>
          <a:p>
            <a:r>
              <a:rPr lang="es-ES" sz="1800" dirty="0"/>
              <a:t>Las principales </a:t>
            </a:r>
            <a:r>
              <a:rPr lang="es-ES" sz="1800" dirty="0" smtClean="0"/>
              <a:t>acciones</a:t>
            </a:r>
            <a:r>
              <a:rPr lang="es-ES" sz="1800" dirty="0"/>
              <a:t> contra el dengue son el control del mosquito</a:t>
            </a:r>
            <a:r>
              <a:rPr lang="es-ES" sz="1800" i="1" dirty="0"/>
              <a:t> Aedes </a:t>
            </a:r>
            <a:r>
              <a:rPr lang="es-ES" sz="1800" i="1" dirty="0" err="1"/>
              <a:t>aegypti</a:t>
            </a:r>
            <a:r>
              <a:rPr lang="es-ES" sz="1800" dirty="0"/>
              <a:t> -el principal vector transmisor del virus- y mantener y reforzar las acciones de vigilancia, el diagnóstico temprano y el tratamiento oportuno de los casos de dengue.</a:t>
            </a:r>
          </a:p>
          <a:p>
            <a:r>
              <a:rPr lang="es-ES" sz="1800" dirty="0"/>
              <a:t>Este año se suma una nueva herramienta: la posibilidad de tener una vacuna efectiva y segura contra la enfermedad</a:t>
            </a:r>
            <a:r>
              <a:rPr lang="es-ES" sz="1800" dirty="0" smtClean="0"/>
              <a:t>.</a:t>
            </a:r>
          </a:p>
          <a:p>
            <a:pPr marL="0" indent="0">
              <a:buNone/>
            </a:pPr>
            <a:endParaRPr lang="es-ES" sz="2000" dirty="0" smtClean="0"/>
          </a:p>
          <a:p>
            <a:pPr marL="0" indent="0">
              <a:buNone/>
            </a:pPr>
            <a:endParaRPr lang="es-ES" sz="2000" dirty="0"/>
          </a:p>
          <a:p>
            <a:pPr marL="0" indent="0">
              <a:buNone/>
            </a:pPr>
            <a:endParaRPr lang="es-ES" sz="2000" dirty="0" smtClean="0"/>
          </a:p>
          <a:p>
            <a:pPr marL="0" indent="0">
              <a:buNone/>
            </a:pPr>
            <a:r>
              <a:rPr lang="es-ES" sz="1800" i="1" dirty="0" smtClean="0"/>
              <a:t>Las autoridades ministeriales deberán evaluar la implementación de la vacuna en el sistema público. La decisión deberá basarse en la evidencia científica, recomendaciones de la Comisión Nacional de Inmunizaciones, OMS/PAHO, expertos y sociedades científicas.  </a:t>
            </a:r>
            <a:endParaRPr lang="es-AR" sz="2800" i="1" dirty="0"/>
          </a:p>
        </p:txBody>
      </p:sp>
    </p:spTree>
    <p:extLst>
      <p:ext uri="{BB962C8B-B14F-4D97-AF65-F5344CB8AC3E}">
        <p14:creationId xmlns:p14="http://schemas.microsoft.com/office/powerpoint/2010/main" val="379974259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sz="3600" dirty="0" smtClean="0"/>
              <a:t>Preguntas finales de repaso</a:t>
            </a:r>
            <a:endParaRPr lang="en-US" sz="3600" dirty="0"/>
          </a:p>
        </p:txBody>
      </p:sp>
      <p:sp>
        <p:nvSpPr>
          <p:cNvPr id="3" name="Marcador de contenido 2"/>
          <p:cNvSpPr>
            <a:spLocks noGrp="1"/>
          </p:cNvSpPr>
          <p:nvPr>
            <p:ph idx="1"/>
          </p:nvPr>
        </p:nvSpPr>
        <p:spPr/>
        <p:txBody>
          <a:bodyPr/>
          <a:lstStyle/>
          <a:p>
            <a:pPr marL="0" lvl="0" indent="0">
              <a:buNone/>
            </a:pPr>
            <a:r>
              <a:rPr lang="es-ES" sz="2400" dirty="0" smtClean="0"/>
              <a:t>1- ¿Cuánto </a:t>
            </a:r>
            <a:r>
              <a:rPr lang="es-ES" sz="2400" dirty="0"/>
              <a:t>tiempo antes se debe retirar de la heladera la vacuna para ser reconstituida y aplicada en el paciente?</a:t>
            </a:r>
            <a:endParaRPr lang="en-US" sz="2400" dirty="0"/>
          </a:p>
          <a:p>
            <a:pPr marL="514350" lvl="0" indent="-514350">
              <a:buFont typeface="+mj-lt"/>
              <a:buAutoNum type="alphaLcPeriod"/>
            </a:pPr>
            <a:r>
              <a:rPr lang="es-ES" sz="2400" dirty="0"/>
              <a:t>10 minutos</a:t>
            </a:r>
            <a:endParaRPr lang="en-US" sz="2400" dirty="0"/>
          </a:p>
          <a:p>
            <a:pPr marL="514350" lvl="0" indent="-514350">
              <a:buFont typeface="+mj-lt"/>
              <a:buAutoNum type="alphaLcPeriod"/>
            </a:pPr>
            <a:r>
              <a:rPr lang="es-ES" sz="2400" dirty="0"/>
              <a:t>15 minutos</a:t>
            </a:r>
            <a:endParaRPr lang="en-US" sz="2400" dirty="0"/>
          </a:p>
          <a:p>
            <a:pPr marL="514350" lvl="0" indent="-514350">
              <a:buFont typeface="+mj-lt"/>
              <a:buAutoNum type="alphaLcPeriod"/>
            </a:pPr>
            <a:r>
              <a:rPr lang="es-ES" sz="2400" dirty="0"/>
              <a:t>5 minutos</a:t>
            </a:r>
            <a:endParaRPr lang="en-US" sz="2400" dirty="0"/>
          </a:p>
          <a:p>
            <a:endParaRPr lang="en-US" dirty="0"/>
          </a:p>
        </p:txBody>
      </p:sp>
    </p:spTree>
    <p:extLst>
      <p:ext uri="{BB962C8B-B14F-4D97-AF65-F5344CB8AC3E}">
        <p14:creationId xmlns:p14="http://schemas.microsoft.com/office/powerpoint/2010/main" val="245115749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sz="3600" dirty="0" smtClean="0"/>
              <a:t>Preguntas finales de repaso</a:t>
            </a:r>
            <a:endParaRPr lang="en-US" sz="3600" dirty="0"/>
          </a:p>
        </p:txBody>
      </p:sp>
      <p:sp>
        <p:nvSpPr>
          <p:cNvPr id="3" name="Marcador de contenido 2"/>
          <p:cNvSpPr>
            <a:spLocks noGrp="1"/>
          </p:cNvSpPr>
          <p:nvPr>
            <p:ph idx="1"/>
          </p:nvPr>
        </p:nvSpPr>
        <p:spPr/>
        <p:txBody>
          <a:bodyPr/>
          <a:lstStyle/>
          <a:p>
            <a:pPr marL="0" lvl="0" indent="0">
              <a:buNone/>
            </a:pPr>
            <a:r>
              <a:rPr lang="es-ES" sz="2400" dirty="0" smtClean="0"/>
              <a:t>1- ¿Cuánto </a:t>
            </a:r>
            <a:r>
              <a:rPr lang="es-ES" sz="2400" dirty="0"/>
              <a:t>tiempo antes se debe retirar de la heladera la vacuna para ser reconstituida y aplicada en el paciente?</a:t>
            </a:r>
            <a:endParaRPr lang="en-US" sz="2400" dirty="0"/>
          </a:p>
          <a:p>
            <a:pPr marL="514350" lvl="0" indent="-514350">
              <a:buFont typeface="+mj-lt"/>
              <a:buAutoNum type="alphaLcPeriod"/>
            </a:pPr>
            <a:r>
              <a:rPr lang="es-ES" sz="2400" dirty="0"/>
              <a:t>10 minutos</a:t>
            </a:r>
            <a:endParaRPr lang="en-US" sz="2400" dirty="0"/>
          </a:p>
          <a:p>
            <a:pPr marL="514350" lvl="0" indent="-514350">
              <a:buFont typeface="+mj-lt"/>
              <a:buAutoNum type="alphaLcPeriod"/>
            </a:pPr>
            <a:r>
              <a:rPr lang="es-ES" sz="2400" dirty="0">
                <a:solidFill>
                  <a:srgbClr val="00B050"/>
                </a:solidFill>
              </a:rPr>
              <a:t>15 minutos</a:t>
            </a:r>
            <a:endParaRPr lang="en-US" sz="2400" dirty="0">
              <a:solidFill>
                <a:srgbClr val="00B050"/>
              </a:solidFill>
            </a:endParaRPr>
          </a:p>
          <a:p>
            <a:pPr marL="514350" lvl="0" indent="-514350">
              <a:buFont typeface="+mj-lt"/>
              <a:buAutoNum type="alphaLcPeriod"/>
            </a:pPr>
            <a:r>
              <a:rPr lang="es-ES" sz="2400" dirty="0"/>
              <a:t>5 minutos</a:t>
            </a:r>
            <a:endParaRPr lang="en-US" sz="2400" dirty="0"/>
          </a:p>
          <a:p>
            <a:endParaRPr lang="en-US" dirty="0"/>
          </a:p>
        </p:txBody>
      </p:sp>
    </p:spTree>
    <p:extLst>
      <p:ext uri="{BB962C8B-B14F-4D97-AF65-F5344CB8AC3E}">
        <p14:creationId xmlns:p14="http://schemas.microsoft.com/office/powerpoint/2010/main" val="180703869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sz="3600" dirty="0" smtClean="0"/>
              <a:t>Preguntas finales de repaso</a:t>
            </a:r>
            <a:endParaRPr lang="en-US" sz="3600" dirty="0"/>
          </a:p>
        </p:txBody>
      </p:sp>
      <p:sp>
        <p:nvSpPr>
          <p:cNvPr id="3" name="Marcador de contenido 2"/>
          <p:cNvSpPr>
            <a:spLocks noGrp="1"/>
          </p:cNvSpPr>
          <p:nvPr>
            <p:ph idx="1"/>
          </p:nvPr>
        </p:nvSpPr>
        <p:spPr/>
        <p:txBody>
          <a:bodyPr/>
          <a:lstStyle/>
          <a:p>
            <a:pPr marL="0" lvl="0" indent="0">
              <a:buNone/>
            </a:pPr>
            <a:r>
              <a:rPr lang="es-ES" sz="2400" dirty="0" smtClean="0"/>
              <a:t>2- ¿Qué </a:t>
            </a:r>
            <a:r>
              <a:rPr lang="es-ES" sz="2400" dirty="0"/>
              <a:t>vía debemos utilizar para aplicar esta vacuna?</a:t>
            </a:r>
            <a:endParaRPr lang="en-US" sz="2400" dirty="0"/>
          </a:p>
          <a:p>
            <a:pPr marL="457200" lvl="0" indent="-457200">
              <a:buFont typeface="+mj-lt"/>
              <a:buAutoNum type="alphaLcParenR"/>
            </a:pPr>
            <a:r>
              <a:rPr lang="es-ES" sz="2400" dirty="0"/>
              <a:t>Intramuscular</a:t>
            </a:r>
            <a:endParaRPr lang="en-US" sz="2400" dirty="0"/>
          </a:p>
          <a:p>
            <a:pPr marL="457200" lvl="0" indent="-457200">
              <a:buFont typeface="+mj-lt"/>
              <a:buAutoNum type="alphaLcParenR"/>
            </a:pPr>
            <a:r>
              <a:rPr lang="es-ES" sz="2400" dirty="0"/>
              <a:t>intradérmica</a:t>
            </a:r>
            <a:endParaRPr lang="en-US" sz="2400" dirty="0"/>
          </a:p>
          <a:p>
            <a:pPr marL="457200" lvl="0" indent="-457200">
              <a:buFont typeface="+mj-lt"/>
              <a:buAutoNum type="alphaLcParenR"/>
            </a:pPr>
            <a:r>
              <a:rPr lang="es-ES" sz="2400" dirty="0"/>
              <a:t>Subcutánea</a:t>
            </a:r>
            <a:endParaRPr lang="en-US" sz="2400" dirty="0"/>
          </a:p>
          <a:p>
            <a:endParaRPr lang="en-US" dirty="0"/>
          </a:p>
        </p:txBody>
      </p:sp>
    </p:spTree>
    <p:extLst>
      <p:ext uri="{BB962C8B-B14F-4D97-AF65-F5344CB8AC3E}">
        <p14:creationId xmlns:p14="http://schemas.microsoft.com/office/powerpoint/2010/main" val="328801665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sz="3600" dirty="0" smtClean="0"/>
              <a:t>Preguntas finales de repaso</a:t>
            </a:r>
            <a:endParaRPr lang="en-US" sz="3600" dirty="0"/>
          </a:p>
        </p:txBody>
      </p:sp>
      <p:sp>
        <p:nvSpPr>
          <p:cNvPr id="3" name="Marcador de contenido 2"/>
          <p:cNvSpPr>
            <a:spLocks noGrp="1"/>
          </p:cNvSpPr>
          <p:nvPr>
            <p:ph idx="1"/>
          </p:nvPr>
        </p:nvSpPr>
        <p:spPr/>
        <p:txBody>
          <a:bodyPr/>
          <a:lstStyle/>
          <a:p>
            <a:pPr marL="0" lvl="0" indent="0">
              <a:buNone/>
            </a:pPr>
            <a:r>
              <a:rPr lang="es-ES" sz="2400" dirty="0" smtClean="0"/>
              <a:t>2- ¿Qué </a:t>
            </a:r>
            <a:r>
              <a:rPr lang="es-ES" sz="2400" dirty="0"/>
              <a:t>vía debemos utilizar para aplicar esta vacuna?</a:t>
            </a:r>
            <a:endParaRPr lang="en-US" sz="2400" dirty="0"/>
          </a:p>
          <a:p>
            <a:pPr marL="457200" lvl="0" indent="-457200">
              <a:buFont typeface="+mj-lt"/>
              <a:buAutoNum type="alphaLcParenR"/>
            </a:pPr>
            <a:r>
              <a:rPr lang="es-ES" sz="2400" dirty="0"/>
              <a:t>Intramuscular</a:t>
            </a:r>
            <a:endParaRPr lang="en-US" sz="2400" dirty="0"/>
          </a:p>
          <a:p>
            <a:pPr marL="457200" lvl="0" indent="-457200">
              <a:buFont typeface="+mj-lt"/>
              <a:buAutoNum type="alphaLcParenR"/>
            </a:pPr>
            <a:r>
              <a:rPr lang="es-ES" sz="2400" dirty="0"/>
              <a:t>intradérmica</a:t>
            </a:r>
            <a:endParaRPr lang="en-US" sz="2400" dirty="0"/>
          </a:p>
          <a:p>
            <a:pPr marL="457200" lvl="0" indent="-457200">
              <a:buFont typeface="+mj-lt"/>
              <a:buAutoNum type="alphaLcParenR"/>
            </a:pPr>
            <a:r>
              <a:rPr lang="es-ES" sz="2400" dirty="0">
                <a:solidFill>
                  <a:srgbClr val="00B050"/>
                </a:solidFill>
              </a:rPr>
              <a:t>Subcutánea</a:t>
            </a:r>
            <a:endParaRPr lang="en-US" sz="2400" dirty="0">
              <a:solidFill>
                <a:srgbClr val="00B050"/>
              </a:solidFill>
            </a:endParaRPr>
          </a:p>
          <a:p>
            <a:endParaRPr lang="en-US" dirty="0"/>
          </a:p>
        </p:txBody>
      </p:sp>
    </p:spTree>
    <p:extLst>
      <p:ext uri="{BB962C8B-B14F-4D97-AF65-F5344CB8AC3E}">
        <p14:creationId xmlns:p14="http://schemas.microsoft.com/office/powerpoint/2010/main" val="26605374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2"/>
          <p:cNvSpPr>
            <a:spLocks noGrp="1"/>
          </p:cNvSpPr>
          <p:nvPr>
            <p:ph type="title"/>
          </p:nvPr>
        </p:nvSpPr>
        <p:spPr>
          <a:xfrm>
            <a:off x="-205531" y="0"/>
            <a:ext cx="9416642" cy="857250"/>
          </a:xfrm>
        </p:spPr>
        <p:txBody>
          <a:bodyPr/>
          <a:lstStyle/>
          <a:p>
            <a:r>
              <a:rPr lang="es-ES_tradnl" sz="3200" b="1" dirty="0" smtClean="0"/>
              <a:t>Trasmisión: presencia simultanea de tres elementos </a:t>
            </a:r>
            <a:endParaRPr lang="es-ES" sz="3200" b="1" dirty="0" smtClean="0"/>
          </a:p>
        </p:txBody>
      </p:sp>
      <p:graphicFrame>
        <p:nvGraphicFramePr>
          <p:cNvPr id="2" name="Diagrama 1"/>
          <p:cNvGraphicFramePr/>
          <p:nvPr>
            <p:extLst>
              <p:ext uri="{D42A27DB-BD31-4B8C-83A1-F6EECF244321}">
                <p14:modId xmlns:p14="http://schemas.microsoft.com/office/powerpoint/2010/main" val="1990905504"/>
              </p:ext>
            </p:extLst>
          </p:nvPr>
        </p:nvGraphicFramePr>
        <p:xfrm>
          <a:off x="125835" y="117446"/>
          <a:ext cx="8800051" cy="479116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28676" name="Picture 4" descr="recipiente de plástico abandonado en un jarrón con agua estancada en su interior. vista de cerca. mosquitos en potencial reproducción&quot;. nproliferación de aedes aegypti, dengue, chikungunya, virus del zika, mosquitos. - dengue fotografías e imágenes de stock"/>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252426" y="3904051"/>
            <a:ext cx="1656682" cy="110445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pic>
        <p:nvPicPr>
          <p:cNvPr id="28678" name="Picture 6" descr="hombre aplicándose repelente de insectos en la mano - dengue repelente fotografías e imágenes de stock"/>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31726" t="-519"/>
          <a:stretch/>
        </p:blipFill>
        <p:spPr bwMode="auto">
          <a:xfrm>
            <a:off x="4058174" y="2760971"/>
            <a:ext cx="1442906" cy="141624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spTree>
    <p:extLst>
      <p:ext uri="{BB962C8B-B14F-4D97-AF65-F5344CB8AC3E}">
        <p14:creationId xmlns:p14="http://schemas.microsoft.com/office/powerpoint/2010/main" val="2439580643"/>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sz="3600" dirty="0" smtClean="0"/>
              <a:t>Preguntas finales de repaso</a:t>
            </a:r>
            <a:endParaRPr lang="en-US" sz="3600" dirty="0"/>
          </a:p>
        </p:txBody>
      </p:sp>
      <p:sp>
        <p:nvSpPr>
          <p:cNvPr id="3" name="Marcador de contenido 2"/>
          <p:cNvSpPr>
            <a:spLocks noGrp="1"/>
          </p:cNvSpPr>
          <p:nvPr>
            <p:ph idx="1"/>
          </p:nvPr>
        </p:nvSpPr>
        <p:spPr/>
        <p:txBody>
          <a:bodyPr/>
          <a:lstStyle/>
          <a:p>
            <a:pPr marL="0" lvl="0" indent="0">
              <a:buNone/>
            </a:pPr>
            <a:r>
              <a:rPr lang="es-ES" sz="2400" dirty="0" smtClean="0"/>
              <a:t>3- ¿Cuáles </a:t>
            </a:r>
            <a:r>
              <a:rPr lang="es-ES" sz="2400" dirty="0"/>
              <a:t>son las personas que tienen contraindicada esta vacuna? Indique la correcta.</a:t>
            </a:r>
            <a:endParaRPr lang="en-US" sz="2400" dirty="0"/>
          </a:p>
          <a:p>
            <a:pPr lvl="0"/>
            <a:r>
              <a:rPr lang="es-ES" sz="2400" dirty="0"/>
              <a:t>Embarazadas o en lactancia activa, </a:t>
            </a:r>
            <a:r>
              <a:rPr lang="es-ES" sz="2400" dirty="0" err="1"/>
              <a:t>Inmunosuprimidos</a:t>
            </a:r>
            <a:r>
              <a:rPr lang="es-ES" sz="2400" dirty="0"/>
              <a:t> y pacientes menores de 4 años.</a:t>
            </a:r>
            <a:endParaRPr lang="en-US" sz="2400" dirty="0"/>
          </a:p>
          <a:p>
            <a:pPr lvl="0"/>
            <a:r>
              <a:rPr lang="es-ES" sz="2400" dirty="0" err="1"/>
              <a:t>Inmunosuprimidos</a:t>
            </a:r>
            <a:r>
              <a:rPr lang="es-ES" sz="2400" dirty="0"/>
              <a:t>, embarazadas y mayores de 60 años.</a:t>
            </a:r>
            <a:endParaRPr lang="en-US" sz="2400" dirty="0"/>
          </a:p>
          <a:p>
            <a:pPr lvl="0"/>
            <a:r>
              <a:rPr lang="es-ES" sz="2400" dirty="0" err="1"/>
              <a:t>Inmunosuprimidos</a:t>
            </a:r>
            <a:r>
              <a:rPr lang="es-ES" sz="2400" dirty="0"/>
              <a:t>, HIV asintomático y alérgicos al huevo.</a:t>
            </a:r>
            <a:endParaRPr lang="en-US" sz="2400" dirty="0"/>
          </a:p>
          <a:p>
            <a:endParaRPr lang="en-US" dirty="0"/>
          </a:p>
        </p:txBody>
      </p:sp>
    </p:spTree>
    <p:extLst>
      <p:ext uri="{BB962C8B-B14F-4D97-AF65-F5344CB8AC3E}">
        <p14:creationId xmlns:p14="http://schemas.microsoft.com/office/powerpoint/2010/main" val="170449954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sz="3600" dirty="0" smtClean="0"/>
              <a:t>Preguntas finales de repaso</a:t>
            </a:r>
            <a:endParaRPr lang="en-US" sz="3600" dirty="0"/>
          </a:p>
        </p:txBody>
      </p:sp>
      <p:sp>
        <p:nvSpPr>
          <p:cNvPr id="3" name="Marcador de contenido 2"/>
          <p:cNvSpPr>
            <a:spLocks noGrp="1"/>
          </p:cNvSpPr>
          <p:nvPr>
            <p:ph idx="1"/>
          </p:nvPr>
        </p:nvSpPr>
        <p:spPr/>
        <p:txBody>
          <a:bodyPr/>
          <a:lstStyle/>
          <a:p>
            <a:pPr marL="0" lvl="0" indent="0">
              <a:buNone/>
            </a:pPr>
            <a:r>
              <a:rPr lang="es-ES" sz="2400" dirty="0" smtClean="0"/>
              <a:t>3- ¿Cuáles </a:t>
            </a:r>
            <a:r>
              <a:rPr lang="es-ES" sz="2400" dirty="0"/>
              <a:t>son las personas que tienen contraindicada esta vacuna? Indique la correcta.</a:t>
            </a:r>
            <a:endParaRPr lang="en-US" sz="2400" dirty="0"/>
          </a:p>
          <a:p>
            <a:pPr lvl="0"/>
            <a:r>
              <a:rPr lang="es-ES" sz="2400" dirty="0">
                <a:solidFill>
                  <a:srgbClr val="00B050"/>
                </a:solidFill>
              </a:rPr>
              <a:t>Embarazadas o en lactancia activa, </a:t>
            </a:r>
            <a:r>
              <a:rPr lang="es-ES" sz="2400" dirty="0" err="1">
                <a:solidFill>
                  <a:srgbClr val="00B050"/>
                </a:solidFill>
              </a:rPr>
              <a:t>Inmunosuprimidos</a:t>
            </a:r>
            <a:r>
              <a:rPr lang="es-ES" sz="2400" dirty="0">
                <a:solidFill>
                  <a:srgbClr val="00B050"/>
                </a:solidFill>
              </a:rPr>
              <a:t> y pacientes menores de 4 años.</a:t>
            </a:r>
            <a:endParaRPr lang="en-US" sz="2400" dirty="0">
              <a:solidFill>
                <a:srgbClr val="00B050"/>
              </a:solidFill>
            </a:endParaRPr>
          </a:p>
          <a:p>
            <a:pPr lvl="0"/>
            <a:r>
              <a:rPr lang="es-ES" sz="2400" dirty="0" err="1"/>
              <a:t>Inmunosuprimidos</a:t>
            </a:r>
            <a:r>
              <a:rPr lang="es-ES" sz="2400" dirty="0"/>
              <a:t>, embarazadas y mayores de 60 años.</a:t>
            </a:r>
            <a:endParaRPr lang="en-US" sz="2400" dirty="0"/>
          </a:p>
          <a:p>
            <a:pPr lvl="0"/>
            <a:r>
              <a:rPr lang="es-ES" sz="2400" dirty="0" err="1"/>
              <a:t>Inmunosuprimidos</a:t>
            </a:r>
            <a:r>
              <a:rPr lang="es-ES" sz="2400" dirty="0"/>
              <a:t>, HIV asintomático y alérgicos al huevo.</a:t>
            </a:r>
            <a:endParaRPr lang="en-US" sz="2400" dirty="0"/>
          </a:p>
          <a:p>
            <a:endParaRPr lang="en-US" dirty="0"/>
          </a:p>
        </p:txBody>
      </p:sp>
    </p:spTree>
    <p:extLst>
      <p:ext uri="{BB962C8B-B14F-4D97-AF65-F5344CB8AC3E}">
        <p14:creationId xmlns:p14="http://schemas.microsoft.com/office/powerpoint/2010/main" val="223640584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sz="3600" dirty="0" smtClean="0"/>
              <a:t>Preguntas finales de repaso</a:t>
            </a:r>
            <a:endParaRPr lang="en-US" sz="3600" dirty="0"/>
          </a:p>
        </p:txBody>
      </p:sp>
      <p:sp>
        <p:nvSpPr>
          <p:cNvPr id="3" name="Marcador de contenido 2"/>
          <p:cNvSpPr>
            <a:spLocks noGrp="1"/>
          </p:cNvSpPr>
          <p:nvPr>
            <p:ph idx="1"/>
          </p:nvPr>
        </p:nvSpPr>
        <p:spPr/>
        <p:txBody>
          <a:bodyPr/>
          <a:lstStyle/>
          <a:p>
            <a:pPr marL="0" lvl="0" indent="0">
              <a:buNone/>
            </a:pPr>
            <a:r>
              <a:rPr lang="es-ES" sz="2400" dirty="0"/>
              <a:t>4</a:t>
            </a:r>
            <a:r>
              <a:rPr lang="es-ES" sz="2400" dirty="0" smtClean="0"/>
              <a:t>- ¿</a:t>
            </a:r>
            <a:r>
              <a:rPr lang="es-ES" sz="2400" dirty="0"/>
              <a:t>Cuál es intervalo mínimo entre la 1ra y 2da dosis?</a:t>
            </a:r>
            <a:endParaRPr lang="en-US" sz="2400" dirty="0"/>
          </a:p>
          <a:p>
            <a:pPr marL="457200" lvl="0" indent="-457200">
              <a:buFont typeface="+mj-lt"/>
              <a:buAutoNum type="alphaLcParenR"/>
            </a:pPr>
            <a:r>
              <a:rPr lang="es-ES" sz="2400" dirty="0"/>
              <a:t>1 mes</a:t>
            </a:r>
            <a:endParaRPr lang="en-US" sz="2400" dirty="0"/>
          </a:p>
          <a:p>
            <a:pPr marL="457200" lvl="0" indent="-457200">
              <a:buFont typeface="+mj-lt"/>
              <a:buAutoNum type="alphaLcParenR"/>
            </a:pPr>
            <a:r>
              <a:rPr lang="es-ES" sz="2400" dirty="0"/>
              <a:t>3 meses</a:t>
            </a:r>
            <a:endParaRPr lang="en-US" sz="2400" dirty="0"/>
          </a:p>
          <a:p>
            <a:pPr marL="457200" lvl="0" indent="-457200">
              <a:buFont typeface="+mj-lt"/>
              <a:buAutoNum type="alphaLcParenR"/>
            </a:pPr>
            <a:r>
              <a:rPr lang="es-ES" sz="2400" dirty="0"/>
              <a:t>6 meses</a:t>
            </a:r>
            <a:endParaRPr lang="en-US" sz="2400" dirty="0"/>
          </a:p>
        </p:txBody>
      </p:sp>
    </p:spTree>
    <p:extLst>
      <p:ext uri="{BB962C8B-B14F-4D97-AF65-F5344CB8AC3E}">
        <p14:creationId xmlns:p14="http://schemas.microsoft.com/office/powerpoint/2010/main" val="250325386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sz="3600" dirty="0" smtClean="0"/>
              <a:t>Preguntas finales de repaso</a:t>
            </a:r>
            <a:endParaRPr lang="en-US" sz="3600" dirty="0"/>
          </a:p>
        </p:txBody>
      </p:sp>
      <p:sp>
        <p:nvSpPr>
          <p:cNvPr id="3" name="Marcador de contenido 2"/>
          <p:cNvSpPr>
            <a:spLocks noGrp="1"/>
          </p:cNvSpPr>
          <p:nvPr>
            <p:ph idx="1"/>
          </p:nvPr>
        </p:nvSpPr>
        <p:spPr/>
        <p:txBody>
          <a:bodyPr/>
          <a:lstStyle/>
          <a:p>
            <a:pPr marL="0" lvl="0" indent="0">
              <a:buNone/>
            </a:pPr>
            <a:r>
              <a:rPr lang="es-ES" sz="2400" dirty="0"/>
              <a:t>4</a:t>
            </a:r>
            <a:r>
              <a:rPr lang="es-ES" sz="2400" dirty="0" smtClean="0"/>
              <a:t>- ¿</a:t>
            </a:r>
            <a:r>
              <a:rPr lang="es-ES" sz="2400" dirty="0"/>
              <a:t>Cuál es intervalo mínimo entre la 1ra y 2da dosis?</a:t>
            </a:r>
            <a:endParaRPr lang="en-US" sz="2400" dirty="0"/>
          </a:p>
          <a:p>
            <a:pPr marL="457200" lvl="0" indent="-457200">
              <a:buFont typeface="+mj-lt"/>
              <a:buAutoNum type="alphaLcParenR"/>
            </a:pPr>
            <a:r>
              <a:rPr lang="es-ES" sz="2400" dirty="0"/>
              <a:t>1 mes</a:t>
            </a:r>
            <a:endParaRPr lang="en-US" sz="2400" dirty="0"/>
          </a:p>
          <a:p>
            <a:pPr marL="457200" lvl="0" indent="-457200">
              <a:buFont typeface="+mj-lt"/>
              <a:buAutoNum type="alphaLcParenR"/>
            </a:pPr>
            <a:r>
              <a:rPr lang="es-ES" sz="2400" dirty="0">
                <a:solidFill>
                  <a:srgbClr val="00B050"/>
                </a:solidFill>
              </a:rPr>
              <a:t>3 meses</a:t>
            </a:r>
            <a:endParaRPr lang="en-US" sz="2400" dirty="0">
              <a:solidFill>
                <a:srgbClr val="00B050"/>
              </a:solidFill>
            </a:endParaRPr>
          </a:p>
          <a:p>
            <a:pPr marL="457200" lvl="0" indent="-457200">
              <a:buFont typeface="+mj-lt"/>
              <a:buAutoNum type="alphaLcParenR"/>
            </a:pPr>
            <a:r>
              <a:rPr lang="es-ES" sz="2400" dirty="0"/>
              <a:t>6 meses</a:t>
            </a:r>
            <a:endParaRPr lang="en-US" sz="2400" dirty="0"/>
          </a:p>
        </p:txBody>
      </p:sp>
    </p:spTree>
    <p:extLst>
      <p:ext uri="{BB962C8B-B14F-4D97-AF65-F5344CB8AC3E}">
        <p14:creationId xmlns:p14="http://schemas.microsoft.com/office/powerpoint/2010/main" val="58331612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7" name="Text Box 3"/>
          <p:cNvSpPr txBox="1">
            <a:spLocks noChangeArrowheads="1"/>
          </p:cNvSpPr>
          <p:nvPr/>
        </p:nvSpPr>
        <p:spPr bwMode="auto">
          <a:xfrm>
            <a:off x="5326739" y="567431"/>
            <a:ext cx="3530146" cy="1567332"/>
          </a:xfrm>
          <a:prstGeom prst="rect">
            <a:avLst/>
          </a:prstGeom>
          <a:noFill/>
          <a:ln w="9525">
            <a:noFill/>
            <a:miter lim="800000"/>
            <a:headEnd/>
            <a:tailEnd/>
          </a:ln>
          <a:effectLst/>
        </p:spPr>
        <p:txBody>
          <a:bodyPr wrap="square" lIns="89009" tIns="44506" rIns="89009" bIns="44506">
            <a:spAutoFit/>
          </a:bodyPr>
          <a:lstStyle>
            <a:lvl1pPr defTabSz="893763">
              <a:defRPr sz="2000">
                <a:solidFill>
                  <a:schemeClr val="tx1"/>
                </a:solidFill>
                <a:latin typeface="Arial" pitchFamily="34" charset="0"/>
              </a:defRPr>
            </a:lvl1pPr>
            <a:lvl2pPr marL="742950" indent="-285750" defTabSz="893763">
              <a:defRPr sz="2000">
                <a:solidFill>
                  <a:schemeClr val="tx1"/>
                </a:solidFill>
                <a:latin typeface="Arial" pitchFamily="34" charset="0"/>
              </a:defRPr>
            </a:lvl2pPr>
            <a:lvl3pPr marL="1143000" indent="-228600" defTabSz="893763">
              <a:defRPr sz="2000">
                <a:solidFill>
                  <a:schemeClr val="tx1"/>
                </a:solidFill>
                <a:latin typeface="Arial" pitchFamily="34" charset="0"/>
              </a:defRPr>
            </a:lvl3pPr>
            <a:lvl4pPr marL="1600200" indent="-228600" defTabSz="893763">
              <a:defRPr sz="2000">
                <a:solidFill>
                  <a:schemeClr val="tx1"/>
                </a:solidFill>
                <a:latin typeface="Arial" pitchFamily="34" charset="0"/>
              </a:defRPr>
            </a:lvl4pPr>
            <a:lvl5pPr marL="2057400" indent="-228600" defTabSz="893763">
              <a:defRPr sz="2000">
                <a:solidFill>
                  <a:schemeClr val="tx1"/>
                </a:solidFill>
                <a:latin typeface="Arial" pitchFamily="34" charset="0"/>
              </a:defRPr>
            </a:lvl5pPr>
            <a:lvl6pPr marL="2514600" indent="-228600" defTabSz="893763" eaLnBrk="0" fontAlgn="base" hangingPunct="0">
              <a:spcBef>
                <a:spcPct val="0"/>
              </a:spcBef>
              <a:spcAft>
                <a:spcPct val="0"/>
              </a:spcAft>
              <a:defRPr sz="2000">
                <a:solidFill>
                  <a:schemeClr val="tx1"/>
                </a:solidFill>
                <a:latin typeface="Arial" pitchFamily="34" charset="0"/>
              </a:defRPr>
            </a:lvl6pPr>
            <a:lvl7pPr marL="2971800" indent="-228600" defTabSz="893763" eaLnBrk="0" fontAlgn="base" hangingPunct="0">
              <a:spcBef>
                <a:spcPct val="0"/>
              </a:spcBef>
              <a:spcAft>
                <a:spcPct val="0"/>
              </a:spcAft>
              <a:defRPr sz="2000">
                <a:solidFill>
                  <a:schemeClr val="tx1"/>
                </a:solidFill>
                <a:latin typeface="Arial" pitchFamily="34" charset="0"/>
              </a:defRPr>
            </a:lvl7pPr>
            <a:lvl8pPr marL="3429000" indent="-228600" defTabSz="893763" eaLnBrk="0" fontAlgn="base" hangingPunct="0">
              <a:spcBef>
                <a:spcPct val="0"/>
              </a:spcBef>
              <a:spcAft>
                <a:spcPct val="0"/>
              </a:spcAft>
              <a:defRPr sz="2000">
                <a:solidFill>
                  <a:schemeClr val="tx1"/>
                </a:solidFill>
                <a:latin typeface="Arial" pitchFamily="34" charset="0"/>
              </a:defRPr>
            </a:lvl8pPr>
            <a:lvl9pPr marL="3886200" indent="-228600" defTabSz="893763" eaLnBrk="0" fontAlgn="base" hangingPunct="0">
              <a:spcBef>
                <a:spcPct val="0"/>
              </a:spcBef>
              <a:spcAft>
                <a:spcPct val="0"/>
              </a:spcAft>
              <a:defRPr sz="2000">
                <a:solidFill>
                  <a:schemeClr val="tx1"/>
                </a:solidFill>
                <a:latin typeface="Arial" pitchFamily="34" charset="0"/>
              </a:defRPr>
            </a:lvl9pPr>
          </a:lstStyle>
          <a:p>
            <a:pPr fontAlgn="base">
              <a:spcBef>
                <a:spcPct val="0"/>
              </a:spcBef>
              <a:spcAft>
                <a:spcPct val="0"/>
              </a:spcAft>
              <a:defRPr/>
            </a:pPr>
            <a:r>
              <a:rPr lang="es-AR" sz="4800" dirty="0">
                <a:solidFill>
                  <a:prstClr val="black"/>
                </a:solidFill>
                <a:effectLst>
                  <a:outerShdw blurRad="38100" dist="38100" dir="2700000" algn="tl">
                    <a:srgbClr val="000000"/>
                  </a:outerShdw>
                </a:effectLst>
              </a:rPr>
              <a:t>Muchas </a:t>
            </a:r>
          </a:p>
          <a:p>
            <a:pPr fontAlgn="base">
              <a:spcBef>
                <a:spcPct val="0"/>
              </a:spcBef>
              <a:spcAft>
                <a:spcPct val="0"/>
              </a:spcAft>
              <a:defRPr/>
            </a:pPr>
            <a:r>
              <a:rPr lang="es-AR" sz="4800" dirty="0">
                <a:solidFill>
                  <a:prstClr val="black"/>
                </a:solidFill>
                <a:effectLst>
                  <a:outerShdw blurRad="38100" dist="38100" dir="2700000" algn="tl">
                    <a:srgbClr val="000000"/>
                  </a:outerShdw>
                </a:effectLst>
              </a:rPr>
              <a:t>Gracias !!!</a:t>
            </a:r>
            <a:endParaRPr lang="es-ES" sz="4800" dirty="0">
              <a:solidFill>
                <a:prstClr val="black"/>
              </a:solidFill>
              <a:effectLst>
                <a:outerShdw blurRad="38100" dist="38100" dir="2700000" algn="tl">
                  <a:srgbClr val="000000"/>
                </a:outerShdw>
              </a:effectLst>
            </a:endParaRPr>
          </a:p>
        </p:txBody>
      </p:sp>
      <p:pic>
        <p:nvPicPr>
          <p:cNvPr id="165892"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9552" y="123480"/>
            <a:ext cx="4104456" cy="4680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4" name="Picture 4" descr="logo22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227716" y="3759976"/>
            <a:ext cx="864096" cy="769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22677319"/>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show="0">
  <p:cSld>
    <p:spTree>
      <p:nvGrpSpPr>
        <p:cNvPr id="1" name="Shape 454"/>
        <p:cNvGrpSpPr/>
        <p:nvPr/>
      </p:nvGrpSpPr>
      <p:grpSpPr>
        <a:xfrm>
          <a:off x="0" y="0"/>
          <a:ext cx="0" cy="0"/>
          <a:chOff x="0" y="0"/>
          <a:chExt cx="0" cy="0"/>
        </a:xfrm>
      </p:grpSpPr>
      <p:sp>
        <p:nvSpPr>
          <p:cNvPr id="455" name="Google Shape;455;p14"/>
          <p:cNvSpPr txBox="1">
            <a:spLocks noGrp="1"/>
          </p:cNvSpPr>
          <p:nvPr>
            <p:ph type="title"/>
          </p:nvPr>
        </p:nvSpPr>
        <p:spPr>
          <a:xfrm>
            <a:off x="628650" y="273843"/>
            <a:ext cx="7886700" cy="994172"/>
          </a:xfrm>
          <a:prstGeom prst="rect">
            <a:avLst/>
          </a:prstGeom>
          <a:noFill/>
          <a:ln>
            <a:noFill/>
          </a:ln>
        </p:spPr>
        <p:txBody>
          <a:bodyPr spcFirstLastPara="1" wrap="square" lIns="68561" tIns="34274" rIns="68561" bIns="34274" anchor="ctr" anchorCtr="0">
            <a:noAutofit/>
          </a:bodyPr>
          <a:lstStyle/>
          <a:p>
            <a:pPr algn="l">
              <a:lnSpc>
                <a:spcPct val="90000"/>
              </a:lnSpc>
              <a:spcBef>
                <a:spcPts val="0"/>
              </a:spcBef>
              <a:spcAft>
                <a:spcPts val="0"/>
              </a:spcAft>
              <a:buSzPts val="1400"/>
            </a:pPr>
            <a:endParaRPr/>
          </a:p>
        </p:txBody>
      </p:sp>
      <p:sp>
        <p:nvSpPr>
          <p:cNvPr id="456" name="Google Shape;456;p14"/>
          <p:cNvSpPr txBox="1">
            <a:spLocks noGrp="1"/>
          </p:cNvSpPr>
          <p:nvPr>
            <p:ph type="body" idx="1"/>
          </p:nvPr>
        </p:nvSpPr>
        <p:spPr>
          <a:xfrm>
            <a:off x="628650" y="1369224"/>
            <a:ext cx="7886700" cy="3263503"/>
          </a:xfrm>
          <a:prstGeom prst="rect">
            <a:avLst/>
          </a:prstGeom>
          <a:noFill/>
          <a:ln>
            <a:noFill/>
          </a:ln>
        </p:spPr>
        <p:txBody>
          <a:bodyPr spcFirstLastPara="1" wrap="square" lIns="68561" tIns="34274" rIns="68561" bIns="34274" anchor="t" anchorCtr="0">
            <a:noAutofit/>
          </a:bodyPr>
          <a:lstStyle/>
          <a:p>
            <a:pPr marL="342857" indent="-171430">
              <a:lnSpc>
                <a:spcPct val="90000"/>
              </a:lnSpc>
              <a:spcBef>
                <a:spcPts val="750"/>
              </a:spcBef>
              <a:spcAft>
                <a:spcPts val="0"/>
              </a:spcAft>
              <a:buClr>
                <a:schemeClr val="dk1"/>
              </a:buClr>
              <a:buSzPts val="1800"/>
              <a:buNone/>
            </a:pPr>
            <a:endParaRPr/>
          </a:p>
        </p:txBody>
      </p:sp>
      <p:pic>
        <p:nvPicPr>
          <p:cNvPr id="457" name="Google Shape;457;p14"/>
          <p:cNvPicPr preferRelativeResize="0"/>
          <p:nvPr/>
        </p:nvPicPr>
        <p:blipFill rotWithShape="1">
          <a:blip r:embed="rId3">
            <a:alphaModFix/>
          </a:blip>
          <a:srcRect/>
          <a:stretch/>
        </p:blipFill>
        <p:spPr>
          <a:xfrm>
            <a:off x="0" y="0"/>
            <a:ext cx="9144000" cy="5143500"/>
          </a:xfrm>
          <a:prstGeom prst="rect">
            <a:avLst/>
          </a:prstGeom>
          <a:noFill/>
          <a:ln>
            <a:noFill/>
          </a:ln>
        </p:spPr>
      </p:pic>
      <p:sp>
        <p:nvSpPr>
          <p:cNvPr id="458" name="Google Shape;458;p14"/>
          <p:cNvSpPr txBox="1"/>
          <p:nvPr/>
        </p:nvSpPr>
        <p:spPr>
          <a:xfrm>
            <a:off x="283369" y="789384"/>
            <a:ext cx="2249090" cy="311598"/>
          </a:xfrm>
          <a:prstGeom prst="rect">
            <a:avLst/>
          </a:prstGeom>
          <a:noFill/>
          <a:ln>
            <a:noFill/>
          </a:ln>
        </p:spPr>
        <p:txBody>
          <a:bodyPr spcFirstLastPara="1" wrap="square" lIns="68561" tIns="68561" rIns="68561" bIns="68561" anchor="t" anchorCtr="0">
            <a:spAutoFit/>
          </a:bodyPr>
          <a:lstStyle/>
          <a:p>
            <a:pPr defTabSz="912690">
              <a:buClr>
                <a:srgbClr val="000000"/>
              </a:buClr>
              <a:buSzPts val="1400"/>
            </a:pPr>
            <a:endParaRPr sz="1100">
              <a:solidFill>
                <a:srgbClr val="000000"/>
              </a:solidFill>
              <a:latin typeface="Arial"/>
              <a:ea typeface="Arial"/>
              <a:cs typeface="Arial"/>
              <a:sym typeface="Arial"/>
            </a:endParaRPr>
          </a:p>
        </p:txBody>
      </p:sp>
      <p:sp>
        <p:nvSpPr>
          <p:cNvPr id="459" name="Google Shape;459;p14"/>
          <p:cNvSpPr txBox="1"/>
          <p:nvPr/>
        </p:nvSpPr>
        <p:spPr>
          <a:xfrm>
            <a:off x="2532462" y="1133480"/>
            <a:ext cx="6030515" cy="691753"/>
          </a:xfrm>
          <a:prstGeom prst="rect">
            <a:avLst/>
          </a:prstGeom>
          <a:noFill/>
          <a:ln>
            <a:noFill/>
          </a:ln>
        </p:spPr>
        <p:txBody>
          <a:bodyPr spcFirstLastPara="1" wrap="square" lIns="68561" tIns="68561" rIns="68561" bIns="68561" anchor="t" anchorCtr="0">
            <a:spAutoFit/>
          </a:bodyPr>
          <a:lstStyle/>
          <a:p>
            <a:pPr defTabSz="912690">
              <a:buClr>
                <a:srgbClr val="000000"/>
              </a:buClr>
              <a:buSzPts val="2400"/>
            </a:pPr>
            <a:r>
              <a:rPr lang="en-US" b="1">
                <a:solidFill>
                  <a:srgbClr val="000000"/>
                </a:solidFill>
                <a:ea typeface="Calibri"/>
                <a:cs typeface="Calibri"/>
                <a:sym typeface="Calibri"/>
              </a:rPr>
              <a:t>Reunión del Grupo de Asesoramiento Estratégico sobre</a:t>
            </a:r>
            <a:endParaRPr sz="1100">
              <a:solidFill>
                <a:srgbClr val="000000"/>
              </a:solidFill>
              <a:latin typeface="Arial"/>
              <a:ea typeface="Arial"/>
              <a:cs typeface="Arial"/>
              <a:sym typeface="Arial"/>
            </a:endParaRPr>
          </a:p>
          <a:p>
            <a:pPr defTabSz="912690">
              <a:buClr>
                <a:srgbClr val="000000"/>
              </a:buClr>
              <a:buSzPts val="2400"/>
            </a:pPr>
            <a:r>
              <a:rPr lang="en-US" b="1">
                <a:solidFill>
                  <a:srgbClr val="000000"/>
                </a:solidFill>
                <a:ea typeface="Calibri"/>
                <a:cs typeface="Calibri"/>
                <a:sym typeface="Calibri"/>
              </a:rPr>
              <a:t>Inmunización SAGE) - 25 a 29 de Septiembre de 2023</a:t>
            </a:r>
            <a:endParaRPr sz="1100">
              <a:solidFill>
                <a:srgbClr val="000000"/>
              </a:solidFill>
              <a:latin typeface="Arial"/>
              <a:ea typeface="Arial"/>
              <a:cs typeface="Arial"/>
              <a:sym typeface="Arial"/>
            </a:endParaRPr>
          </a:p>
        </p:txBody>
      </p:sp>
      <p:sp>
        <p:nvSpPr>
          <p:cNvPr id="460" name="Google Shape;460;p14"/>
          <p:cNvSpPr txBox="1"/>
          <p:nvPr/>
        </p:nvSpPr>
        <p:spPr>
          <a:xfrm>
            <a:off x="88688" y="1832026"/>
            <a:ext cx="5402025" cy="2793050"/>
          </a:xfrm>
          <a:prstGeom prst="rect">
            <a:avLst/>
          </a:prstGeom>
          <a:noFill/>
          <a:ln>
            <a:noFill/>
          </a:ln>
        </p:spPr>
        <p:txBody>
          <a:bodyPr spcFirstLastPara="1" wrap="square" lIns="68561" tIns="68561" rIns="68561" bIns="68561" anchor="t" anchorCtr="0">
            <a:spAutoFit/>
          </a:bodyPr>
          <a:lstStyle/>
          <a:p>
            <a:pPr algn="just" defTabSz="912690">
              <a:lnSpc>
                <a:spcPct val="115000"/>
              </a:lnSpc>
              <a:buClr>
                <a:srgbClr val="000000"/>
              </a:buClr>
              <a:buSzPts val="1700"/>
            </a:pPr>
            <a:r>
              <a:rPr lang="en-US" sz="1300" dirty="0" err="1">
                <a:solidFill>
                  <a:prstClr val="black"/>
                </a:solidFill>
                <a:ea typeface="Calibri"/>
                <a:cs typeface="Calibri"/>
                <a:sym typeface="Calibri"/>
              </a:rPr>
              <a:t>Recomendaciones</a:t>
            </a:r>
            <a:r>
              <a:rPr lang="en-US" sz="1300" dirty="0">
                <a:solidFill>
                  <a:prstClr val="black"/>
                </a:solidFill>
                <a:ea typeface="Calibri"/>
                <a:cs typeface="Calibri"/>
                <a:sym typeface="Calibri"/>
              </a:rPr>
              <a:t> </a:t>
            </a:r>
            <a:r>
              <a:rPr lang="en-US" sz="1300" dirty="0" err="1">
                <a:solidFill>
                  <a:prstClr val="black"/>
                </a:solidFill>
                <a:ea typeface="Calibri"/>
                <a:cs typeface="Calibri"/>
                <a:sym typeface="Calibri"/>
              </a:rPr>
              <a:t>sobre</a:t>
            </a:r>
            <a:r>
              <a:rPr lang="en-US" sz="1300" dirty="0">
                <a:solidFill>
                  <a:prstClr val="black"/>
                </a:solidFill>
                <a:ea typeface="Calibri"/>
                <a:cs typeface="Calibri"/>
                <a:sym typeface="Calibri"/>
              </a:rPr>
              <a:t> QDENGA</a:t>
            </a:r>
            <a:r>
              <a:rPr lang="en-US" sz="1300" b="1" dirty="0">
                <a:solidFill>
                  <a:prstClr val="black"/>
                </a:solidFill>
                <a:ea typeface="Calibri"/>
                <a:cs typeface="Calibri"/>
                <a:sym typeface="Calibri"/>
              </a:rPr>
              <a:t>®</a:t>
            </a:r>
            <a:r>
              <a:rPr lang="en-US" sz="1300" dirty="0">
                <a:solidFill>
                  <a:prstClr val="black"/>
                </a:solidFill>
                <a:ea typeface="Calibri"/>
                <a:cs typeface="Calibri"/>
                <a:sym typeface="Calibri"/>
              </a:rPr>
              <a:t>: </a:t>
            </a:r>
            <a:endParaRPr sz="1300" dirty="0">
              <a:solidFill>
                <a:prstClr val="black"/>
              </a:solidFill>
              <a:ea typeface="Calibri"/>
              <a:cs typeface="Calibri"/>
              <a:sym typeface="Calibri"/>
            </a:endParaRPr>
          </a:p>
          <a:p>
            <a:pPr algn="just" defTabSz="912690">
              <a:lnSpc>
                <a:spcPct val="115000"/>
              </a:lnSpc>
              <a:buClr>
                <a:srgbClr val="000000"/>
              </a:buClr>
              <a:buSzPts val="900"/>
            </a:pPr>
            <a:endParaRPr sz="700" dirty="0">
              <a:solidFill>
                <a:prstClr val="black"/>
              </a:solidFill>
              <a:ea typeface="Calibri"/>
              <a:cs typeface="Calibri"/>
              <a:sym typeface="Calibri"/>
            </a:endParaRPr>
          </a:p>
          <a:p>
            <a:pPr marL="342857" indent="-252383" algn="just" defTabSz="912690">
              <a:lnSpc>
                <a:spcPct val="115000"/>
              </a:lnSpc>
              <a:buClr>
                <a:prstClr val="black"/>
              </a:buClr>
              <a:buSzPts val="1700"/>
              <a:buFont typeface="Calibri"/>
              <a:buChar char="-"/>
            </a:pPr>
            <a:r>
              <a:rPr lang="en-US" sz="1300" dirty="0" err="1">
                <a:solidFill>
                  <a:prstClr val="black"/>
                </a:solidFill>
                <a:ea typeface="Calibri"/>
                <a:cs typeface="Calibri"/>
                <a:sym typeface="Calibri"/>
              </a:rPr>
              <a:t>Considerar</a:t>
            </a:r>
            <a:r>
              <a:rPr lang="en-US" sz="1300" dirty="0">
                <a:solidFill>
                  <a:prstClr val="black"/>
                </a:solidFill>
                <a:ea typeface="Calibri"/>
                <a:cs typeface="Calibri"/>
                <a:sym typeface="Calibri"/>
              </a:rPr>
              <a:t> </a:t>
            </a:r>
            <a:r>
              <a:rPr lang="en-US" sz="1300" dirty="0" err="1">
                <a:solidFill>
                  <a:prstClr val="black"/>
                </a:solidFill>
                <a:ea typeface="Calibri"/>
                <a:cs typeface="Calibri"/>
                <a:sym typeface="Calibri"/>
              </a:rPr>
              <a:t>su</a:t>
            </a:r>
            <a:r>
              <a:rPr lang="en-US" sz="1300" dirty="0">
                <a:solidFill>
                  <a:prstClr val="black"/>
                </a:solidFill>
                <a:ea typeface="Calibri"/>
                <a:cs typeface="Calibri"/>
                <a:sym typeface="Calibri"/>
              </a:rPr>
              <a:t> </a:t>
            </a:r>
            <a:r>
              <a:rPr lang="en-US" sz="1300" dirty="0" err="1">
                <a:solidFill>
                  <a:prstClr val="black"/>
                </a:solidFill>
                <a:ea typeface="Calibri"/>
                <a:cs typeface="Calibri"/>
                <a:sym typeface="Calibri"/>
              </a:rPr>
              <a:t>introducción</a:t>
            </a:r>
            <a:r>
              <a:rPr lang="en-US" sz="1300" dirty="0">
                <a:solidFill>
                  <a:prstClr val="black"/>
                </a:solidFill>
                <a:ea typeface="Calibri"/>
                <a:cs typeface="Calibri"/>
                <a:sym typeface="Calibri"/>
              </a:rPr>
              <a:t> en </a:t>
            </a:r>
            <a:r>
              <a:rPr lang="en-US" sz="1300" dirty="0" err="1">
                <a:solidFill>
                  <a:prstClr val="black"/>
                </a:solidFill>
                <a:ea typeface="Calibri"/>
                <a:cs typeface="Calibri"/>
                <a:sym typeface="Calibri"/>
              </a:rPr>
              <a:t>entornos</a:t>
            </a:r>
            <a:r>
              <a:rPr lang="en-US" sz="1300" dirty="0">
                <a:solidFill>
                  <a:prstClr val="black"/>
                </a:solidFill>
                <a:ea typeface="Calibri"/>
                <a:cs typeface="Calibri"/>
                <a:sym typeface="Calibri"/>
              </a:rPr>
              <a:t> con </a:t>
            </a:r>
            <a:r>
              <a:rPr lang="en-US" sz="1300" dirty="0" err="1">
                <a:solidFill>
                  <a:prstClr val="black"/>
                </a:solidFill>
                <a:ea typeface="Calibri"/>
                <a:cs typeface="Calibri"/>
                <a:sym typeface="Calibri"/>
              </a:rPr>
              <a:t>una</a:t>
            </a:r>
            <a:r>
              <a:rPr lang="en-US" sz="1300" dirty="0">
                <a:solidFill>
                  <a:prstClr val="black"/>
                </a:solidFill>
                <a:ea typeface="Calibri"/>
                <a:cs typeface="Calibri"/>
                <a:sym typeface="Calibri"/>
              </a:rPr>
              <a:t> </a:t>
            </a:r>
            <a:r>
              <a:rPr lang="en-US" sz="1300" b="1" dirty="0" err="1">
                <a:solidFill>
                  <a:prstClr val="black"/>
                </a:solidFill>
                <a:ea typeface="Calibri"/>
                <a:cs typeface="Calibri"/>
                <a:sym typeface="Calibri"/>
              </a:rPr>
              <a:t>alta</a:t>
            </a:r>
            <a:r>
              <a:rPr lang="en-US" sz="1300" b="1" dirty="0">
                <a:solidFill>
                  <a:prstClr val="black"/>
                </a:solidFill>
                <a:ea typeface="Calibri"/>
                <a:cs typeface="Calibri"/>
                <a:sym typeface="Calibri"/>
              </a:rPr>
              <a:t> </a:t>
            </a:r>
            <a:r>
              <a:rPr lang="en-US" sz="1300" b="1" dirty="0" err="1">
                <a:solidFill>
                  <a:prstClr val="black"/>
                </a:solidFill>
                <a:ea typeface="Calibri"/>
                <a:cs typeface="Calibri"/>
                <a:sym typeface="Calibri"/>
              </a:rPr>
              <a:t>carga</a:t>
            </a:r>
            <a:r>
              <a:rPr lang="en-US" sz="1300" b="1" dirty="0">
                <a:solidFill>
                  <a:prstClr val="black"/>
                </a:solidFill>
                <a:ea typeface="Calibri"/>
                <a:cs typeface="Calibri"/>
                <a:sym typeface="Calibri"/>
              </a:rPr>
              <a:t> de </a:t>
            </a:r>
            <a:r>
              <a:rPr lang="en-US" sz="1300" b="1" dirty="0" err="1">
                <a:solidFill>
                  <a:prstClr val="black"/>
                </a:solidFill>
                <a:ea typeface="Calibri"/>
                <a:cs typeface="Calibri"/>
                <a:sym typeface="Calibri"/>
              </a:rPr>
              <a:t>enfermedad</a:t>
            </a:r>
            <a:r>
              <a:rPr lang="en-US" sz="1300" b="1" dirty="0">
                <a:solidFill>
                  <a:prstClr val="black"/>
                </a:solidFill>
                <a:ea typeface="Calibri"/>
                <a:cs typeface="Calibri"/>
                <a:sym typeface="Calibri"/>
              </a:rPr>
              <a:t> de dengue</a:t>
            </a:r>
            <a:r>
              <a:rPr lang="en-US" sz="1300" dirty="0">
                <a:solidFill>
                  <a:prstClr val="black"/>
                </a:solidFill>
                <a:ea typeface="Calibri"/>
                <a:cs typeface="Calibri"/>
                <a:sym typeface="Calibri"/>
              </a:rPr>
              <a:t> y un alto </a:t>
            </a:r>
            <a:r>
              <a:rPr lang="en-US" sz="1300" dirty="0" err="1">
                <a:solidFill>
                  <a:prstClr val="black"/>
                </a:solidFill>
                <a:ea typeface="Calibri"/>
                <a:cs typeface="Calibri"/>
                <a:sym typeface="Calibri"/>
              </a:rPr>
              <a:t>índice</a:t>
            </a:r>
            <a:r>
              <a:rPr lang="en-US" sz="1300" dirty="0">
                <a:solidFill>
                  <a:prstClr val="black"/>
                </a:solidFill>
                <a:ea typeface="Calibri"/>
                <a:cs typeface="Calibri"/>
                <a:sym typeface="Calibri"/>
              </a:rPr>
              <a:t> de </a:t>
            </a:r>
            <a:r>
              <a:rPr lang="en-US" sz="1300" dirty="0" err="1">
                <a:solidFill>
                  <a:prstClr val="black"/>
                </a:solidFill>
                <a:ea typeface="Calibri"/>
                <a:cs typeface="Calibri"/>
                <a:sym typeface="Calibri"/>
              </a:rPr>
              <a:t>transmisión</a:t>
            </a:r>
            <a:r>
              <a:rPr lang="en-US" sz="1300" dirty="0">
                <a:solidFill>
                  <a:prstClr val="black"/>
                </a:solidFill>
                <a:ea typeface="Calibri"/>
                <a:cs typeface="Calibri"/>
                <a:sym typeface="Calibri"/>
              </a:rPr>
              <a:t> </a:t>
            </a:r>
            <a:r>
              <a:rPr lang="en-US" sz="1300" dirty="0" err="1">
                <a:solidFill>
                  <a:prstClr val="black"/>
                </a:solidFill>
                <a:ea typeface="Calibri"/>
                <a:cs typeface="Calibri"/>
                <a:sym typeface="Calibri"/>
              </a:rPr>
              <a:t>para</a:t>
            </a:r>
            <a:r>
              <a:rPr lang="en-US" sz="1300" dirty="0">
                <a:solidFill>
                  <a:prstClr val="black"/>
                </a:solidFill>
                <a:ea typeface="Calibri"/>
                <a:cs typeface="Calibri"/>
                <a:sym typeface="Calibri"/>
              </a:rPr>
              <a:t> </a:t>
            </a:r>
            <a:r>
              <a:rPr lang="en-US" sz="1300" dirty="0" err="1">
                <a:solidFill>
                  <a:prstClr val="black"/>
                </a:solidFill>
                <a:ea typeface="Calibri"/>
                <a:cs typeface="Calibri"/>
                <a:sym typeface="Calibri"/>
              </a:rPr>
              <a:t>maximizar</a:t>
            </a:r>
            <a:r>
              <a:rPr lang="en-US" sz="1300" dirty="0">
                <a:solidFill>
                  <a:prstClr val="black"/>
                </a:solidFill>
                <a:ea typeface="Calibri"/>
                <a:cs typeface="Calibri"/>
                <a:sym typeface="Calibri"/>
              </a:rPr>
              <a:t> el </a:t>
            </a:r>
            <a:r>
              <a:rPr lang="en-US" sz="1300" dirty="0" err="1">
                <a:solidFill>
                  <a:prstClr val="black"/>
                </a:solidFill>
                <a:ea typeface="Calibri"/>
                <a:cs typeface="Calibri"/>
                <a:sym typeface="Calibri"/>
              </a:rPr>
              <a:t>impacto</a:t>
            </a:r>
            <a:r>
              <a:rPr lang="en-US" sz="1300" dirty="0">
                <a:solidFill>
                  <a:prstClr val="black"/>
                </a:solidFill>
                <a:ea typeface="Calibri"/>
                <a:cs typeface="Calibri"/>
                <a:sym typeface="Calibri"/>
              </a:rPr>
              <a:t> en la </a:t>
            </a:r>
            <a:r>
              <a:rPr lang="en-US" sz="1300" dirty="0" err="1">
                <a:solidFill>
                  <a:prstClr val="black"/>
                </a:solidFill>
                <a:ea typeface="Calibri"/>
                <a:cs typeface="Calibri"/>
                <a:sym typeface="Calibri"/>
              </a:rPr>
              <a:t>salud</a:t>
            </a:r>
            <a:r>
              <a:rPr lang="en-US" sz="1300" dirty="0">
                <a:solidFill>
                  <a:prstClr val="black"/>
                </a:solidFill>
                <a:ea typeface="Calibri"/>
                <a:cs typeface="Calibri"/>
                <a:sym typeface="Calibri"/>
              </a:rPr>
              <a:t> </a:t>
            </a:r>
            <a:r>
              <a:rPr lang="en-US" sz="1300" dirty="0" err="1">
                <a:solidFill>
                  <a:prstClr val="black"/>
                </a:solidFill>
                <a:ea typeface="Calibri"/>
                <a:cs typeface="Calibri"/>
                <a:sym typeface="Calibri"/>
              </a:rPr>
              <a:t>pública</a:t>
            </a:r>
            <a:r>
              <a:rPr lang="en-US" sz="1300" dirty="0">
                <a:solidFill>
                  <a:prstClr val="black"/>
                </a:solidFill>
                <a:ea typeface="Calibri"/>
                <a:cs typeface="Calibri"/>
                <a:sym typeface="Calibri"/>
              </a:rPr>
              <a:t> y </a:t>
            </a:r>
            <a:r>
              <a:rPr lang="en-US" sz="1300" b="1" dirty="0" err="1">
                <a:solidFill>
                  <a:prstClr val="black"/>
                </a:solidFill>
                <a:highlight>
                  <a:srgbClr val="EEECE1"/>
                </a:highlight>
                <a:ea typeface="Calibri"/>
                <a:cs typeface="Calibri"/>
                <a:sym typeface="Calibri"/>
              </a:rPr>
              <a:t>minimizar</a:t>
            </a:r>
            <a:r>
              <a:rPr lang="en-US" sz="1300" b="1" dirty="0">
                <a:solidFill>
                  <a:prstClr val="black"/>
                </a:solidFill>
                <a:highlight>
                  <a:srgbClr val="EEECE1"/>
                </a:highlight>
                <a:ea typeface="Calibri"/>
                <a:cs typeface="Calibri"/>
                <a:sym typeface="Calibri"/>
              </a:rPr>
              <a:t> </a:t>
            </a:r>
            <a:r>
              <a:rPr lang="en-US" sz="1300" b="1" dirty="0" err="1">
                <a:solidFill>
                  <a:prstClr val="black"/>
                </a:solidFill>
                <a:highlight>
                  <a:srgbClr val="EEECE1"/>
                </a:highlight>
                <a:ea typeface="Calibri"/>
                <a:cs typeface="Calibri"/>
                <a:sym typeface="Calibri"/>
              </a:rPr>
              <a:t>cualquier</a:t>
            </a:r>
            <a:r>
              <a:rPr lang="en-US" sz="1300" b="1" dirty="0">
                <a:solidFill>
                  <a:prstClr val="black"/>
                </a:solidFill>
                <a:highlight>
                  <a:srgbClr val="EEECE1"/>
                </a:highlight>
                <a:ea typeface="Calibri"/>
                <a:cs typeface="Calibri"/>
                <a:sym typeface="Calibri"/>
              </a:rPr>
              <a:t> </a:t>
            </a:r>
            <a:r>
              <a:rPr lang="en-US" sz="1300" b="1" dirty="0" err="1">
                <a:solidFill>
                  <a:prstClr val="black"/>
                </a:solidFill>
                <a:highlight>
                  <a:srgbClr val="EEECE1"/>
                </a:highlight>
                <a:ea typeface="Calibri"/>
                <a:cs typeface="Calibri"/>
                <a:sym typeface="Calibri"/>
              </a:rPr>
              <a:t>riesgo</a:t>
            </a:r>
            <a:r>
              <a:rPr lang="en-US" sz="1300" b="1" dirty="0">
                <a:solidFill>
                  <a:prstClr val="black"/>
                </a:solidFill>
                <a:highlight>
                  <a:srgbClr val="EEECE1"/>
                </a:highlight>
                <a:ea typeface="Calibri"/>
                <a:cs typeface="Calibri"/>
                <a:sym typeface="Calibri"/>
              </a:rPr>
              <a:t> </a:t>
            </a:r>
            <a:r>
              <a:rPr lang="en-US" sz="1300" b="1" dirty="0" err="1">
                <a:solidFill>
                  <a:prstClr val="black"/>
                </a:solidFill>
                <a:highlight>
                  <a:srgbClr val="EEECE1"/>
                </a:highlight>
                <a:ea typeface="Calibri"/>
                <a:cs typeface="Calibri"/>
                <a:sym typeface="Calibri"/>
              </a:rPr>
              <a:t>potencial</a:t>
            </a:r>
            <a:r>
              <a:rPr lang="en-US" sz="1300" b="1" dirty="0">
                <a:solidFill>
                  <a:prstClr val="black"/>
                </a:solidFill>
                <a:highlight>
                  <a:srgbClr val="EEECE1"/>
                </a:highlight>
                <a:ea typeface="Calibri"/>
                <a:cs typeface="Calibri"/>
                <a:sym typeface="Calibri"/>
              </a:rPr>
              <a:t> en personas </a:t>
            </a:r>
            <a:r>
              <a:rPr lang="en-US" sz="1300" b="1" dirty="0" err="1">
                <a:solidFill>
                  <a:prstClr val="black"/>
                </a:solidFill>
                <a:highlight>
                  <a:srgbClr val="EEECE1"/>
                </a:highlight>
                <a:ea typeface="Calibri"/>
                <a:cs typeface="Calibri"/>
                <a:sym typeface="Calibri"/>
              </a:rPr>
              <a:t>seronegativas</a:t>
            </a:r>
            <a:r>
              <a:rPr lang="en-US" sz="1300" dirty="0">
                <a:solidFill>
                  <a:prstClr val="black"/>
                </a:solidFill>
                <a:highlight>
                  <a:srgbClr val="EEECE1"/>
                </a:highlight>
                <a:ea typeface="Calibri"/>
                <a:cs typeface="Calibri"/>
                <a:sym typeface="Calibri"/>
              </a:rPr>
              <a:t>. </a:t>
            </a:r>
            <a:endParaRPr sz="1300" dirty="0">
              <a:solidFill>
                <a:prstClr val="black"/>
              </a:solidFill>
              <a:highlight>
                <a:srgbClr val="EEECE1"/>
              </a:highlight>
              <a:ea typeface="Calibri"/>
              <a:cs typeface="Calibri"/>
              <a:sym typeface="Calibri"/>
            </a:endParaRPr>
          </a:p>
          <a:p>
            <a:pPr marL="342857" algn="just" defTabSz="912690">
              <a:lnSpc>
                <a:spcPct val="115000"/>
              </a:lnSpc>
              <a:buClr>
                <a:srgbClr val="000000"/>
              </a:buClr>
              <a:buSzPts val="1700"/>
            </a:pPr>
            <a:endParaRPr sz="1300" dirty="0">
              <a:solidFill>
                <a:prstClr val="black"/>
              </a:solidFill>
              <a:ea typeface="Calibri"/>
              <a:cs typeface="Calibri"/>
              <a:sym typeface="Calibri"/>
            </a:endParaRPr>
          </a:p>
          <a:p>
            <a:pPr marL="342857" indent="-252383" algn="just" defTabSz="912690">
              <a:lnSpc>
                <a:spcPct val="115000"/>
              </a:lnSpc>
              <a:buClr>
                <a:prstClr val="black"/>
              </a:buClr>
              <a:buSzPts val="1700"/>
              <a:buFont typeface="Calibri"/>
              <a:buChar char="-"/>
            </a:pPr>
            <a:r>
              <a:rPr lang="en-US" sz="1300" dirty="0">
                <a:solidFill>
                  <a:prstClr val="black"/>
                </a:solidFill>
                <a:ea typeface="Calibri"/>
                <a:cs typeface="Calibri"/>
                <a:sym typeface="Calibri"/>
              </a:rPr>
              <a:t>En </a:t>
            </a:r>
            <a:r>
              <a:rPr lang="en-US" sz="1300" b="1" dirty="0">
                <a:solidFill>
                  <a:prstClr val="black"/>
                </a:solidFill>
                <a:highlight>
                  <a:srgbClr val="F4CCCC"/>
                </a:highlight>
                <a:ea typeface="Calibri"/>
                <a:cs typeface="Calibri"/>
                <a:sym typeface="Calibri"/>
              </a:rPr>
              <a:t>personas de 6 a 16 </a:t>
            </a:r>
            <a:r>
              <a:rPr lang="en-US" sz="1300" b="1" dirty="0" err="1">
                <a:solidFill>
                  <a:prstClr val="black"/>
                </a:solidFill>
                <a:highlight>
                  <a:srgbClr val="F4CCCC"/>
                </a:highlight>
                <a:ea typeface="Calibri"/>
                <a:cs typeface="Calibri"/>
                <a:sym typeface="Calibri"/>
              </a:rPr>
              <a:t>años</a:t>
            </a:r>
            <a:r>
              <a:rPr lang="en-US" sz="1300" dirty="0">
                <a:solidFill>
                  <a:prstClr val="black"/>
                </a:solidFill>
                <a:ea typeface="Calibri"/>
                <a:cs typeface="Calibri"/>
                <a:sym typeface="Calibri"/>
              </a:rPr>
              <a:t>, </a:t>
            </a:r>
            <a:r>
              <a:rPr lang="en-US" sz="1300" dirty="0" err="1">
                <a:solidFill>
                  <a:prstClr val="black"/>
                </a:solidFill>
                <a:ea typeface="Calibri"/>
                <a:cs typeface="Calibri"/>
                <a:sym typeface="Calibri"/>
              </a:rPr>
              <a:t>aproximadamente</a:t>
            </a:r>
            <a:r>
              <a:rPr lang="en-US" sz="1300" dirty="0">
                <a:solidFill>
                  <a:prstClr val="black"/>
                </a:solidFill>
                <a:ea typeface="Calibri"/>
                <a:cs typeface="Calibri"/>
                <a:sym typeface="Calibri"/>
              </a:rPr>
              <a:t> </a:t>
            </a:r>
            <a:r>
              <a:rPr lang="en-US" sz="1300" b="1" dirty="0">
                <a:solidFill>
                  <a:prstClr val="black"/>
                </a:solidFill>
                <a:highlight>
                  <a:srgbClr val="F4CCCC"/>
                </a:highlight>
                <a:ea typeface="Calibri"/>
                <a:cs typeface="Calibri"/>
                <a:sym typeface="Calibri"/>
              </a:rPr>
              <a:t>1 o 2 </a:t>
            </a:r>
            <a:r>
              <a:rPr lang="en-US" sz="1300" b="1" dirty="0" err="1">
                <a:solidFill>
                  <a:prstClr val="black"/>
                </a:solidFill>
                <a:highlight>
                  <a:srgbClr val="F4CCCC"/>
                </a:highlight>
                <a:ea typeface="Calibri"/>
                <a:cs typeface="Calibri"/>
                <a:sym typeface="Calibri"/>
              </a:rPr>
              <a:t>años</a:t>
            </a:r>
            <a:r>
              <a:rPr lang="en-US" sz="1300" b="1" dirty="0">
                <a:solidFill>
                  <a:prstClr val="black"/>
                </a:solidFill>
                <a:highlight>
                  <a:srgbClr val="F4CCCC"/>
                </a:highlight>
                <a:ea typeface="Calibri"/>
                <a:cs typeface="Calibri"/>
                <a:sym typeface="Calibri"/>
              </a:rPr>
              <a:t> antes de la </a:t>
            </a:r>
            <a:r>
              <a:rPr lang="en-US" sz="1300" b="1" dirty="0" err="1">
                <a:solidFill>
                  <a:prstClr val="black"/>
                </a:solidFill>
                <a:highlight>
                  <a:srgbClr val="F4CCCC"/>
                </a:highlight>
                <a:ea typeface="Calibri"/>
                <a:cs typeface="Calibri"/>
                <a:sym typeface="Calibri"/>
              </a:rPr>
              <a:t>edad</a:t>
            </a:r>
            <a:r>
              <a:rPr lang="en-US" sz="1300" b="1" dirty="0">
                <a:solidFill>
                  <a:prstClr val="black"/>
                </a:solidFill>
                <a:highlight>
                  <a:srgbClr val="F4CCCC"/>
                </a:highlight>
                <a:ea typeface="Calibri"/>
                <a:cs typeface="Calibri"/>
                <a:sym typeface="Calibri"/>
              </a:rPr>
              <a:t> </a:t>
            </a:r>
            <a:r>
              <a:rPr lang="en-US" sz="1300" b="1" dirty="0" err="1">
                <a:solidFill>
                  <a:prstClr val="black"/>
                </a:solidFill>
                <a:highlight>
                  <a:srgbClr val="F4CCCC"/>
                </a:highlight>
                <a:ea typeface="Calibri"/>
                <a:cs typeface="Calibri"/>
                <a:sym typeface="Calibri"/>
              </a:rPr>
              <a:t>pico</a:t>
            </a:r>
            <a:r>
              <a:rPr lang="en-US" sz="1300" b="1" dirty="0">
                <a:solidFill>
                  <a:prstClr val="black"/>
                </a:solidFill>
                <a:highlight>
                  <a:srgbClr val="F4CCCC"/>
                </a:highlight>
                <a:ea typeface="Calibri"/>
                <a:cs typeface="Calibri"/>
                <a:sym typeface="Calibri"/>
              </a:rPr>
              <a:t> de </a:t>
            </a:r>
            <a:r>
              <a:rPr lang="en-US" sz="1300" b="1" dirty="0" err="1">
                <a:solidFill>
                  <a:prstClr val="black"/>
                </a:solidFill>
                <a:highlight>
                  <a:srgbClr val="F4CCCC"/>
                </a:highlight>
                <a:ea typeface="Calibri"/>
                <a:cs typeface="Calibri"/>
                <a:sym typeface="Calibri"/>
              </a:rPr>
              <a:t>incidencia</a:t>
            </a:r>
            <a:r>
              <a:rPr lang="en-US" sz="1300" b="1" dirty="0">
                <a:solidFill>
                  <a:prstClr val="black"/>
                </a:solidFill>
                <a:highlight>
                  <a:srgbClr val="F4CCCC"/>
                </a:highlight>
                <a:ea typeface="Calibri"/>
                <a:cs typeface="Calibri"/>
                <a:sym typeface="Calibri"/>
              </a:rPr>
              <a:t> de </a:t>
            </a:r>
            <a:r>
              <a:rPr lang="en-US" sz="1300" b="1" dirty="0" err="1">
                <a:solidFill>
                  <a:prstClr val="black"/>
                </a:solidFill>
                <a:highlight>
                  <a:srgbClr val="F4CCCC"/>
                </a:highlight>
                <a:ea typeface="Calibri"/>
                <a:cs typeface="Calibri"/>
                <a:sym typeface="Calibri"/>
              </a:rPr>
              <a:t>hospitalizaciones</a:t>
            </a:r>
            <a:r>
              <a:rPr lang="en-US" sz="1300" b="1" dirty="0">
                <a:solidFill>
                  <a:prstClr val="black"/>
                </a:solidFill>
                <a:highlight>
                  <a:srgbClr val="F4CCCC"/>
                </a:highlight>
                <a:ea typeface="Calibri"/>
                <a:cs typeface="Calibri"/>
                <a:sym typeface="Calibri"/>
              </a:rPr>
              <a:t> </a:t>
            </a:r>
            <a:r>
              <a:rPr lang="en-US" sz="1300" b="1" dirty="0" err="1">
                <a:solidFill>
                  <a:prstClr val="black"/>
                </a:solidFill>
                <a:highlight>
                  <a:srgbClr val="F4CCCC"/>
                </a:highlight>
                <a:ea typeface="Calibri"/>
                <a:cs typeface="Calibri"/>
                <a:sym typeface="Calibri"/>
              </a:rPr>
              <a:t>relacionadas</a:t>
            </a:r>
            <a:r>
              <a:rPr lang="en-US" sz="1300" b="1" dirty="0">
                <a:solidFill>
                  <a:prstClr val="black"/>
                </a:solidFill>
                <a:highlight>
                  <a:srgbClr val="F4CCCC"/>
                </a:highlight>
                <a:ea typeface="Calibri"/>
                <a:cs typeface="Calibri"/>
                <a:sym typeface="Calibri"/>
              </a:rPr>
              <a:t> con el dengue</a:t>
            </a:r>
            <a:r>
              <a:rPr lang="en-US" sz="1300" dirty="0">
                <a:solidFill>
                  <a:prstClr val="black"/>
                </a:solidFill>
                <a:highlight>
                  <a:srgbClr val="F4CCCC"/>
                </a:highlight>
                <a:ea typeface="Calibri"/>
                <a:cs typeface="Calibri"/>
                <a:sym typeface="Calibri"/>
              </a:rPr>
              <a:t>.</a:t>
            </a:r>
            <a:r>
              <a:rPr lang="en-US" sz="1300" dirty="0">
                <a:solidFill>
                  <a:prstClr val="black"/>
                </a:solidFill>
                <a:ea typeface="Calibri"/>
                <a:cs typeface="Calibri"/>
                <a:sym typeface="Calibri"/>
              </a:rPr>
              <a:t> </a:t>
            </a:r>
            <a:r>
              <a:rPr lang="en-US" sz="1300" dirty="0" err="1">
                <a:solidFill>
                  <a:prstClr val="black"/>
                </a:solidFill>
                <a:ea typeface="Calibri"/>
                <a:cs typeface="Calibri"/>
                <a:sym typeface="Calibri"/>
              </a:rPr>
              <a:t>Esquema</a:t>
            </a:r>
            <a:r>
              <a:rPr lang="en-US" sz="1300" dirty="0">
                <a:solidFill>
                  <a:prstClr val="black"/>
                </a:solidFill>
                <a:ea typeface="Calibri"/>
                <a:cs typeface="Calibri"/>
                <a:sym typeface="Calibri"/>
              </a:rPr>
              <a:t> de 2 </a:t>
            </a:r>
            <a:r>
              <a:rPr lang="en-US" sz="1300" dirty="0" err="1">
                <a:solidFill>
                  <a:prstClr val="black"/>
                </a:solidFill>
                <a:ea typeface="Calibri"/>
                <a:cs typeface="Calibri"/>
                <a:sym typeface="Calibri"/>
              </a:rPr>
              <a:t>dosis</a:t>
            </a:r>
            <a:r>
              <a:rPr lang="en-US" sz="1300" dirty="0">
                <a:solidFill>
                  <a:prstClr val="black"/>
                </a:solidFill>
                <a:ea typeface="Calibri"/>
                <a:cs typeface="Calibri"/>
                <a:sym typeface="Calibri"/>
              </a:rPr>
              <a:t> con un </a:t>
            </a:r>
            <a:r>
              <a:rPr lang="en-US" sz="1300" dirty="0" err="1">
                <a:solidFill>
                  <a:prstClr val="black"/>
                </a:solidFill>
                <a:ea typeface="Calibri"/>
                <a:cs typeface="Calibri"/>
                <a:sym typeface="Calibri"/>
              </a:rPr>
              <a:t>intervalo</a:t>
            </a:r>
            <a:r>
              <a:rPr lang="en-US" sz="1300" dirty="0">
                <a:solidFill>
                  <a:prstClr val="black"/>
                </a:solidFill>
                <a:ea typeface="Calibri"/>
                <a:cs typeface="Calibri"/>
                <a:sym typeface="Calibri"/>
              </a:rPr>
              <a:t> de 3 </a:t>
            </a:r>
            <a:r>
              <a:rPr lang="en-US" sz="1300" dirty="0" err="1">
                <a:solidFill>
                  <a:prstClr val="black"/>
                </a:solidFill>
                <a:ea typeface="Calibri"/>
                <a:cs typeface="Calibri"/>
                <a:sym typeface="Calibri"/>
              </a:rPr>
              <a:t>meses</a:t>
            </a:r>
            <a:r>
              <a:rPr lang="en-US" sz="1300" dirty="0">
                <a:solidFill>
                  <a:prstClr val="black"/>
                </a:solidFill>
                <a:ea typeface="Calibri"/>
                <a:cs typeface="Calibri"/>
                <a:sym typeface="Calibri"/>
              </a:rPr>
              <a:t>. </a:t>
            </a:r>
            <a:r>
              <a:rPr lang="en-US" sz="1300" dirty="0" err="1">
                <a:solidFill>
                  <a:prstClr val="black"/>
                </a:solidFill>
                <a:ea typeface="Calibri"/>
                <a:cs typeface="Calibri"/>
                <a:sym typeface="Calibri"/>
              </a:rPr>
              <a:t>Introducción</a:t>
            </a:r>
            <a:r>
              <a:rPr lang="en-US" sz="1300" dirty="0">
                <a:solidFill>
                  <a:prstClr val="black"/>
                </a:solidFill>
                <a:ea typeface="Calibri"/>
                <a:cs typeface="Calibri"/>
                <a:sym typeface="Calibri"/>
              </a:rPr>
              <a:t> </a:t>
            </a:r>
            <a:r>
              <a:rPr lang="en-US" sz="1300" dirty="0" err="1">
                <a:solidFill>
                  <a:prstClr val="black"/>
                </a:solidFill>
                <a:ea typeface="Calibri"/>
                <a:cs typeface="Calibri"/>
                <a:sym typeface="Calibri"/>
              </a:rPr>
              <a:t>acompañada</a:t>
            </a:r>
            <a:r>
              <a:rPr lang="en-US" sz="1300" dirty="0">
                <a:solidFill>
                  <a:prstClr val="black"/>
                </a:solidFill>
                <a:ea typeface="Calibri"/>
                <a:cs typeface="Calibri"/>
                <a:sym typeface="Calibri"/>
              </a:rPr>
              <a:t> de un plan </a:t>
            </a:r>
            <a:r>
              <a:rPr lang="en-US" sz="1300" dirty="0" err="1">
                <a:solidFill>
                  <a:prstClr val="black"/>
                </a:solidFill>
                <a:ea typeface="Calibri"/>
                <a:cs typeface="Calibri"/>
                <a:sym typeface="Calibri"/>
              </a:rPr>
              <a:t>bien</a:t>
            </a:r>
            <a:r>
              <a:rPr lang="en-US" sz="1300" dirty="0">
                <a:solidFill>
                  <a:prstClr val="black"/>
                </a:solidFill>
                <a:ea typeface="Calibri"/>
                <a:cs typeface="Calibri"/>
                <a:sym typeface="Calibri"/>
              </a:rPr>
              <a:t> </a:t>
            </a:r>
            <a:r>
              <a:rPr lang="en-US" sz="1300" dirty="0" err="1">
                <a:solidFill>
                  <a:prstClr val="black"/>
                </a:solidFill>
                <a:ea typeface="Calibri"/>
                <a:cs typeface="Calibri"/>
                <a:sym typeface="Calibri"/>
              </a:rPr>
              <a:t>diseñado</a:t>
            </a:r>
            <a:r>
              <a:rPr lang="en-US" sz="1300" dirty="0">
                <a:solidFill>
                  <a:prstClr val="black"/>
                </a:solidFill>
                <a:ea typeface="Calibri"/>
                <a:cs typeface="Calibri"/>
                <a:sym typeface="Calibri"/>
              </a:rPr>
              <a:t> de </a:t>
            </a:r>
            <a:r>
              <a:rPr lang="en-US" sz="1300" dirty="0" err="1">
                <a:solidFill>
                  <a:prstClr val="black"/>
                </a:solidFill>
                <a:ea typeface="Calibri"/>
                <a:cs typeface="Calibri"/>
                <a:sym typeface="Calibri"/>
              </a:rPr>
              <a:t>estrategia</a:t>
            </a:r>
            <a:r>
              <a:rPr lang="en-US" sz="1300" dirty="0">
                <a:solidFill>
                  <a:prstClr val="black"/>
                </a:solidFill>
                <a:ea typeface="Calibri"/>
                <a:cs typeface="Calibri"/>
                <a:sym typeface="Calibri"/>
              </a:rPr>
              <a:t> de </a:t>
            </a:r>
            <a:r>
              <a:rPr lang="en-US" sz="1300" dirty="0" err="1">
                <a:solidFill>
                  <a:prstClr val="black"/>
                </a:solidFill>
                <a:ea typeface="Calibri"/>
                <a:cs typeface="Calibri"/>
                <a:sym typeface="Calibri"/>
              </a:rPr>
              <a:t>comunicación</a:t>
            </a:r>
            <a:r>
              <a:rPr lang="en-US" sz="1300" dirty="0">
                <a:solidFill>
                  <a:prstClr val="black"/>
                </a:solidFill>
                <a:ea typeface="Calibri"/>
                <a:cs typeface="Calibri"/>
                <a:sym typeface="Calibri"/>
              </a:rPr>
              <a:t> y </a:t>
            </a:r>
            <a:r>
              <a:rPr lang="en-US" sz="1300" dirty="0" err="1">
                <a:solidFill>
                  <a:prstClr val="black"/>
                </a:solidFill>
                <a:ea typeface="Calibri"/>
                <a:cs typeface="Calibri"/>
                <a:sym typeface="Calibri"/>
              </a:rPr>
              <a:t>participación</a:t>
            </a:r>
            <a:r>
              <a:rPr lang="en-US" sz="1300" dirty="0">
                <a:solidFill>
                  <a:prstClr val="black"/>
                </a:solidFill>
                <a:ea typeface="Calibri"/>
                <a:cs typeface="Calibri"/>
                <a:sym typeface="Calibri"/>
              </a:rPr>
              <a:t> </a:t>
            </a:r>
            <a:r>
              <a:rPr lang="en-US" sz="1300" dirty="0" err="1">
                <a:solidFill>
                  <a:prstClr val="black"/>
                </a:solidFill>
                <a:ea typeface="Calibri"/>
                <a:cs typeface="Calibri"/>
                <a:sym typeface="Calibri"/>
              </a:rPr>
              <a:t>comunitaria</a:t>
            </a:r>
            <a:r>
              <a:rPr lang="en-US" sz="1300" dirty="0">
                <a:solidFill>
                  <a:prstClr val="black"/>
                </a:solidFill>
                <a:ea typeface="Calibri"/>
                <a:cs typeface="Calibri"/>
                <a:sym typeface="Calibri"/>
              </a:rPr>
              <a:t>.</a:t>
            </a:r>
            <a:endParaRPr sz="1500" b="1" dirty="0">
              <a:solidFill>
                <a:srgbClr val="000000"/>
              </a:solidFill>
              <a:ea typeface="Calibri"/>
              <a:cs typeface="Calibri"/>
              <a:sym typeface="Calibri"/>
            </a:endParaRPr>
          </a:p>
        </p:txBody>
      </p:sp>
      <p:pic>
        <p:nvPicPr>
          <p:cNvPr id="461" name="Google Shape;461;p14"/>
          <p:cNvPicPr preferRelativeResize="0"/>
          <p:nvPr/>
        </p:nvPicPr>
        <p:blipFill rotWithShape="1">
          <a:blip r:embed="rId4">
            <a:alphaModFix/>
          </a:blip>
          <a:srcRect/>
          <a:stretch/>
        </p:blipFill>
        <p:spPr>
          <a:xfrm>
            <a:off x="376239" y="962027"/>
            <a:ext cx="1841897" cy="1034653"/>
          </a:xfrm>
          <a:prstGeom prst="rect">
            <a:avLst/>
          </a:prstGeom>
          <a:noFill/>
          <a:ln>
            <a:noFill/>
          </a:ln>
        </p:spPr>
      </p:pic>
      <p:sp>
        <p:nvSpPr>
          <p:cNvPr id="462" name="Google Shape;462;p14"/>
          <p:cNvSpPr txBox="1"/>
          <p:nvPr/>
        </p:nvSpPr>
        <p:spPr>
          <a:xfrm>
            <a:off x="36910" y="4533904"/>
            <a:ext cx="6382940" cy="630904"/>
          </a:xfrm>
          <a:prstGeom prst="rect">
            <a:avLst/>
          </a:prstGeom>
          <a:noFill/>
          <a:ln>
            <a:noFill/>
          </a:ln>
        </p:spPr>
        <p:txBody>
          <a:bodyPr spcFirstLastPara="1" wrap="square" lIns="68561" tIns="68561" rIns="68561" bIns="68561" anchor="t" anchorCtr="0">
            <a:spAutoFit/>
          </a:bodyPr>
          <a:lstStyle/>
          <a:p>
            <a:pPr defTabSz="912690">
              <a:buClr>
                <a:srgbClr val="000000"/>
              </a:buClr>
              <a:buSzPts val="1100"/>
            </a:pPr>
            <a:r>
              <a:rPr lang="en-US" sz="800">
                <a:solidFill>
                  <a:srgbClr val="000000"/>
                </a:solidFill>
                <a:ea typeface="Calibri"/>
                <a:cs typeface="Calibri"/>
                <a:sym typeface="Calibri"/>
              </a:rPr>
              <a:t>FUENTE:</a:t>
            </a:r>
            <a:r>
              <a:rPr lang="en-US" sz="800" u="sng">
                <a:solidFill>
                  <a:srgbClr val="0000FF"/>
                </a:solidFill>
                <a:latin typeface="Arial"/>
                <a:ea typeface="Arial"/>
                <a:cs typeface="Arial"/>
                <a:sym typeface="Arial"/>
                <a:hlinkClick r:id="rId5"/>
              </a:rPr>
              <a:t>https://www.takeda.com/newsroom/newsreleases/2023/Takeda-Dengue-Vaccine-Recommended-by-World-Health-Organization-Advisory-Group-for-Introduction-in-High-Dengue-Burden-and-Transmission-Areas-in-Children-Ages-Six-to-16-Years/</a:t>
            </a:r>
            <a:endParaRPr sz="800">
              <a:solidFill>
                <a:srgbClr val="000000"/>
              </a:solidFill>
              <a:ea typeface="Calibri"/>
              <a:cs typeface="Calibri"/>
              <a:sym typeface="Calibri"/>
            </a:endParaRPr>
          </a:p>
          <a:p>
            <a:pPr defTabSz="912690">
              <a:buClr>
                <a:srgbClr val="0000FF"/>
              </a:buClr>
              <a:buSzPts val="1000"/>
            </a:pPr>
            <a:r>
              <a:rPr lang="en-US" sz="800" u="sng">
                <a:solidFill>
                  <a:srgbClr val="0000FF"/>
                </a:solidFill>
                <a:latin typeface="Arial"/>
                <a:ea typeface="Arial"/>
                <a:cs typeface="Arial"/>
                <a:sym typeface="Arial"/>
                <a:hlinkClick r:id="rId6"/>
              </a:rPr>
              <a:t>https://www.who.int/news/item/05-10-2023-message-by-the-director-of-the-department-of-immunization--vaccines-and-biologicals-at-who---september-2023#:~:text=The%20SAGE%20meeting%20also%20recommended,a%20significant%20public%20health%20menace</a:t>
            </a:r>
            <a:r>
              <a:rPr lang="en-US" sz="800">
                <a:solidFill>
                  <a:srgbClr val="000000"/>
                </a:solidFill>
                <a:ea typeface="Calibri"/>
                <a:cs typeface="Calibri"/>
                <a:sym typeface="Calibri"/>
              </a:rPr>
              <a:t>. </a:t>
            </a:r>
            <a:endParaRPr sz="1100">
              <a:solidFill>
                <a:srgbClr val="000000"/>
              </a:solidFill>
              <a:latin typeface="Arial"/>
              <a:ea typeface="Arial"/>
              <a:cs typeface="Arial"/>
              <a:sym typeface="Arial"/>
            </a:endParaRPr>
          </a:p>
        </p:txBody>
      </p:sp>
      <p:sp>
        <p:nvSpPr>
          <p:cNvPr id="463" name="Google Shape;463;p14"/>
          <p:cNvSpPr txBox="1"/>
          <p:nvPr/>
        </p:nvSpPr>
        <p:spPr>
          <a:xfrm>
            <a:off x="552453" y="425054"/>
            <a:ext cx="8547497" cy="485775"/>
          </a:xfrm>
          <a:prstGeom prst="rect">
            <a:avLst/>
          </a:prstGeom>
          <a:solidFill>
            <a:srgbClr val="898989"/>
          </a:solidFill>
          <a:ln>
            <a:noFill/>
          </a:ln>
        </p:spPr>
        <p:txBody>
          <a:bodyPr spcFirstLastPara="1" wrap="square" lIns="68543" tIns="34238" rIns="68543" bIns="34238" anchor="ctr" anchorCtr="0">
            <a:noAutofit/>
          </a:bodyPr>
          <a:lstStyle/>
          <a:p>
            <a:pPr defTabSz="912690">
              <a:buClr>
                <a:srgbClr val="FFFFFF"/>
              </a:buClr>
              <a:buSzPts val="3200"/>
            </a:pPr>
            <a:r>
              <a:rPr lang="en-US" sz="2400" b="1" dirty="0" err="1">
                <a:solidFill>
                  <a:srgbClr val="FFFFFF"/>
                </a:solidFill>
                <a:ea typeface="Calibri"/>
                <a:cs typeface="Calibri"/>
                <a:sym typeface="Calibri"/>
              </a:rPr>
              <a:t>Vacuna</a:t>
            </a:r>
            <a:r>
              <a:rPr lang="en-US" sz="2400" b="1" dirty="0">
                <a:solidFill>
                  <a:srgbClr val="FFFFFF"/>
                </a:solidFill>
                <a:ea typeface="Calibri"/>
                <a:cs typeface="Calibri"/>
                <a:sym typeface="Calibri"/>
              </a:rPr>
              <a:t> </a:t>
            </a:r>
            <a:r>
              <a:rPr lang="en-US" sz="2400" b="1" dirty="0" err="1">
                <a:solidFill>
                  <a:srgbClr val="FFFFFF"/>
                </a:solidFill>
                <a:ea typeface="Calibri"/>
                <a:cs typeface="Calibri"/>
                <a:sym typeface="Calibri"/>
              </a:rPr>
              <a:t>tetravalente</a:t>
            </a:r>
            <a:r>
              <a:rPr lang="en-US" sz="2400" b="1" dirty="0">
                <a:solidFill>
                  <a:srgbClr val="FFFFFF"/>
                </a:solidFill>
                <a:ea typeface="Calibri"/>
                <a:cs typeface="Calibri"/>
                <a:sym typeface="Calibri"/>
              </a:rPr>
              <a:t> contra el dengue QDENGA® de Takeda</a:t>
            </a:r>
            <a:endParaRPr sz="1100" dirty="0">
              <a:solidFill>
                <a:srgbClr val="000000"/>
              </a:solidFill>
              <a:latin typeface="Arial"/>
              <a:ea typeface="Arial"/>
              <a:cs typeface="Arial"/>
              <a:sym typeface="Arial"/>
            </a:endParaRPr>
          </a:p>
        </p:txBody>
      </p:sp>
      <p:pic>
        <p:nvPicPr>
          <p:cNvPr id="464" name="Google Shape;464;p14"/>
          <p:cNvPicPr preferRelativeResize="0"/>
          <p:nvPr/>
        </p:nvPicPr>
        <p:blipFill rotWithShape="1">
          <a:blip r:embed="rId7">
            <a:alphaModFix/>
          </a:blip>
          <a:srcRect/>
          <a:stretch/>
        </p:blipFill>
        <p:spPr>
          <a:xfrm>
            <a:off x="152406" y="425054"/>
            <a:ext cx="277415" cy="485775"/>
          </a:xfrm>
          <a:prstGeom prst="rect">
            <a:avLst/>
          </a:prstGeom>
          <a:noFill/>
          <a:ln>
            <a:noFill/>
          </a:ln>
        </p:spPr>
      </p:pic>
      <p:sp>
        <p:nvSpPr>
          <p:cNvPr id="465" name="Google Shape;465;p14"/>
          <p:cNvSpPr txBox="1"/>
          <p:nvPr/>
        </p:nvSpPr>
        <p:spPr>
          <a:xfrm>
            <a:off x="5427038" y="3398968"/>
            <a:ext cx="3413025" cy="1058729"/>
          </a:xfrm>
          <a:prstGeom prst="rect">
            <a:avLst/>
          </a:prstGeom>
          <a:noFill/>
          <a:ln>
            <a:noFill/>
          </a:ln>
        </p:spPr>
        <p:txBody>
          <a:bodyPr spcFirstLastPara="1" wrap="square" lIns="68561" tIns="68561" rIns="68561" bIns="68561" anchor="t" anchorCtr="0">
            <a:spAutoFit/>
          </a:bodyPr>
          <a:lstStyle/>
          <a:p>
            <a:pPr marL="342857" indent="-252383" algn="just" defTabSz="912690">
              <a:lnSpc>
                <a:spcPct val="115000"/>
              </a:lnSpc>
              <a:buClr>
                <a:prstClr val="black"/>
              </a:buClr>
              <a:buSzPts val="1700"/>
              <a:buFont typeface="Calibri"/>
              <a:buChar char="-"/>
            </a:pPr>
            <a:r>
              <a:rPr lang="en-US" sz="1300">
                <a:solidFill>
                  <a:prstClr val="black"/>
                </a:solidFill>
                <a:ea typeface="Calibri"/>
                <a:cs typeface="Calibri"/>
                <a:sym typeface="Calibri"/>
              </a:rPr>
              <a:t>Que los países implementen </a:t>
            </a:r>
            <a:r>
              <a:rPr lang="en-US" sz="1300" b="1">
                <a:solidFill>
                  <a:prstClr val="black"/>
                </a:solidFill>
                <a:ea typeface="Calibri"/>
                <a:cs typeface="Calibri"/>
                <a:sym typeface="Calibri"/>
              </a:rPr>
              <a:t>estudios post-autorización</a:t>
            </a:r>
            <a:r>
              <a:rPr lang="en-US" sz="1300">
                <a:solidFill>
                  <a:prstClr val="black"/>
                </a:solidFill>
                <a:ea typeface="Calibri"/>
                <a:cs typeface="Calibri"/>
                <a:sym typeface="Calibri"/>
              </a:rPr>
              <a:t> para evaluar la </a:t>
            </a:r>
            <a:r>
              <a:rPr lang="en-US" sz="1300" b="1">
                <a:solidFill>
                  <a:prstClr val="black"/>
                </a:solidFill>
                <a:highlight>
                  <a:srgbClr val="EEECE1"/>
                </a:highlight>
                <a:ea typeface="Calibri"/>
                <a:cs typeface="Calibri"/>
                <a:sym typeface="Calibri"/>
              </a:rPr>
              <a:t>efectividad </a:t>
            </a:r>
            <a:r>
              <a:rPr lang="en-US" sz="1300" b="1">
                <a:solidFill>
                  <a:prstClr val="black"/>
                </a:solidFill>
                <a:ea typeface="Calibri"/>
                <a:cs typeface="Calibri"/>
                <a:sym typeface="Calibri"/>
              </a:rPr>
              <a:t>y monitorizar la </a:t>
            </a:r>
            <a:r>
              <a:rPr lang="en-US" sz="1300" b="1">
                <a:solidFill>
                  <a:prstClr val="black"/>
                </a:solidFill>
                <a:highlight>
                  <a:srgbClr val="EEECE1"/>
                </a:highlight>
                <a:ea typeface="Calibri"/>
                <a:cs typeface="Calibri"/>
                <a:sym typeface="Calibri"/>
              </a:rPr>
              <a:t>seguridad de la vacuna para los serotipos 3 y 4.</a:t>
            </a:r>
            <a:endParaRPr sz="1300" b="1">
              <a:solidFill>
                <a:prstClr val="black"/>
              </a:solidFill>
              <a:highlight>
                <a:srgbClr val="EEECE1"/>
              </a:highlight>
              <a:ea typeface="Calibri"/>
              <a:cs typeface="Calibri"/>
              <a:sym typeface="Calibri"/>
            </a:endParaRPr>
          </a:p>
        </p:txBody>
      </p:sp>
      <p:sp>
        <p:nvSpPr>
          <p:cNvPr id="466" name="Google Shape;466;p14"/>
          <p:cNvSpPr txBox="1"/>
          <p:nvPr/>
        </p:nvSpPr>
        <p:spPr>
          <a:xfrm>
            <a:off x="5445517" y="2124807"/>
            <a:ext cx="3394575" cy="1288792"/>
          </a:xfrm>
          <a:prstGeom prst="rect">
            <a:avLst/>
          </a:prstGeom>
          <a:noFill/>
          <a:ln>
            <a:noFill/>
          </a:ln>
        </p:spPr>
        <p:txBody>
          <a:bodyPr spcFirstLastPara="1" wrap="square" lIns="68561" tIns="68561" rIns="68561" bIns="68561" anchor="t" anchorCtr="0">
            <a:spAutoFit/>
          </a:bodyPr>
          <a:lstStyle/>
          <a:p>
            <a:pPr marL="342857" indent="-252383" algn="just" defTabSz="912690">
              <a:lnSpc>
                <a:spcPct val="115000"/>
              </a:lnSpc>
              <a:buClr>
                <a:prstClr val="black"/>
              </a:buClr>
              <a:buSzPts val="1700"/>
              <a:buFont typeface="Calibri"/>
              <a:buChar char="-"/>
            </a:pPr>
            <a:r>
              <a:rPr lang="en-US" sz="1300" dirty="0">
                <a:solidFill>
                  <a:prstClr val="black"/>
                </a:solidFill>
                <a:ea typeface="Calibri"/>
                <a:cs typeface="Calibri"/>
                <a:sym typeface="Calibri"/>
              </a:rPr>
              <a:t>No </a:t>
            </a:r>
            <a:r>
              <a:rPr lang="en-US" sz="1300" dirty="0" err="1">
                <a:solidFill>
                  <a:prstClr val="black"/>
                </a:solidFill>
                <a:ea typeface="Calibri"/>
                <a:cs typeface="Calibri"/>
                <a:sym typeface="Calibri"/>
              </a:rPr>
              <a:t>puede</a:t>
            </a:r>
            <a:r>
              <a:rPr lang="en-US" sz="1300" dirty="0">
                <a:solidFill>
                  <a:prstClr val="black"/>
                </a:solidFill>
                <a:ea typeface="Calibri"/>
                <a:cs typeface="Calibri"/>
                <a:sym typeface="Calibri"/>
              </a:rPr>
              <a:t> </a:t>
            </a:r>
            <a:r>
              <a:rPr lang="en-US" sz="1300" dirty="0" err="1">
                <a:solidFill>
                  <a:prstClr val="black"/>
                </a:solidFill>
                <a:ea typeface="Calibri"/>
                <a:cs typeface="Calibri"/>
                <a:sym typeface="Calibri"/>
              </a:rPr>
              <a:t>descartarse</a:t>
            </a:r>
            <a:r>
              <a:rPr lang="en-US" sz="1300" dirty="0">
                <a:solidFill>
                  <a:prstClr val="black"/>
                </a:solidFill>
                <a:ea typeface="Calibri"/>
                <a:cs typeface="Calibri"/>
                <a:sym typeface="Calibri"/>
              </a:rPr>
              <a:t> el </a:t>
            </a:r>
            <a:r>
              <a:rPr lang="en-US" sz="1300" dirty="0" err="1">
                <a:solidFill>
                  <a:prstClr val="black"/>
                </a:solidFill>
                <a:ea typeface="Calibri"/>
                <a:cs typeface="Calibri"/>
                <a:sym typeface="Calibri"/>
              </a:rPr>
              <a:t>riesgo</a:t>
            </a:r>
            <a:r>
              <a:rPr lang="en-US" sz="1300" dirty="0">
                <a:solidFill>
                  <a:prstClr val="black"/>
                </a:solidFill>
                <a:ea typeface="Calibri"/>
                <a:cs typeface="Calibri"/>
                <a:sym typeface="Calibri"/>
              </a:rPr>
              <a:t> de </a:t>
            </a:r>
            <a:r>
              <a:rPr lang="en-US" sz="1300" dirty="0" err="1">
                <a:solidFill>
                  <a:prstClr val="black"/>
                </a:solidFill>
                <a:ea typeface="Calibri"/>
                <a:cs typeface="Calibri"/>
                <a:sym typeface="Calibri"/>
              </a:rPr>
              <a:t>presentación</a:t>
            </a:r>
            <a:r>
              <a:rPr lang="en-US" sz="1300" dirty="0">
                <a:solidFill>
                  <a:prstClr val="black"/>
                </a:solidFill>
                <a:ea typeface="Calibri"/>
                <a:cs typeface="Calibri"/>
                <a:sym typeface="Calibri"/>
              </a:rPr>
              <a:t> de </a:t>
            </a:r>
            <a:r>
              <a:rPr lang="en-US" sz="1300" b="1" dirty="0" err="1">
                <a:solidFill>
                  <a:prstClr val="black"/>
                </a:solidFill>
                <a:highlight>
                  <a:srgbClr val="FFF2CC"/>
                </a:highlight>
                <a:ea typeface="Calibri"/>
                <a:cs typeface="Calibri"/>
                <a:sym typeface="Calibri"/>
              </a:rPr>
              <a:t>casos</a:t>
            </a:r>
            <a:r>
              <a:rPr lang="en-US" sz="1300" b="1" dirty="0">
                <a:solidFill>
                  <a:prstClr val="black"/>
                </a:solidFill>
                <a:highlight>
                  <a:srgbClr val="FFF2CC"/>
                </a:highlight>
                <a:ea typeface="Calibri"/>
                <a:cs typeface="Calibri"/>
                <a:sym typeface="Calibri"/>
              </a:rPr>
              <a:t> de </a:t>
            </a:r>
            <a:r>
              <a:rPr lang="en-US" sz="1300" b="1" dirty="0" err="1">
                <a:solidFill>
                  <a:prstClr val="black"/>
                </a:solidFill>
                <a:highlight>
                  <a:srgbClr val="FFF2CC"/>
                </a:highlight>
                <a:ea typeface="Calibri"/>
                <a:cs typeface="Calibri"/>
                <a:sym typeface="Calibri"/>
              </a:rPr>
              <a:t>enfermedad</a:t>
            </a:r>
            <a:r>
              <a:rPr lang="en-US" sz="1300" b="1" dirty="0">
                <a:solidFill>
                  <a:prstClr val="black"/>
                </a:solidFill>
                <a:highlight>
                  <a:srgbClr val="FFF2CC"/>
                </a:highlight>
                <a:ea typeface="Calibri"/>
                <a:cs typeface="Calibri"/>
                <a:sym typeface="Calibri"/>
              </a:rPr>
              <a:t> </a:t>
            </a:r>
            <a:r>
              <a:rPr lang="en-US" sz="1300" b="1" dirty="0" err="1">
                <a:solidFill>
                  <a:prstClr val="black"/>
                </a:solidFill>
                <a:highlight>
                  <a:srgbClr val="FFF2CC"/>
                </a:highlight>
                <a:ea typeface="Calibri"/>
                <a:cs typeface="Calibri"/>
                <a:sym typeface="Calibri"/>
              </a:rPr>
              <a:t>potenciada</a:t>
            </a:r>
            <a:r>
              <a:rPr lang="en-US" sz="1300" b="1" dirty="0">
                <a:solidFill>
                  <a:prstClr val="black"/>
                </a:solidFill>
                <a:highlight>
                  <a:srgbClr val="FFF2CC"/>
                </a:highlight>
                <a:ea typeface="Calibri"/>
                <a:cs typeface="Calibri"/>
                <a:sym typeface="Calibri"/>
              </a:rPr>
              <a:t> de dengue </a:t>
            </a:r>
            <a:r>
              <a:rPr lang="en-US" sz="1300" b="1" dirty="0" err="1">
                <a:solidFill>
                  <a:prstClr val="black"/>
                </a:solidFill>
                <a:highlight>
                  <a:srgbClr val="FFF2CC"/>
                </a:highlight>
                <a:ea typeface="Calibri"/>
                <a:cs typeface="Calibri"/>
                <a:sym typeface="Calibri"/>
              </a:rPr>
              <a:t>por</a:t>
            </a:r>
            <a:r>
              <a:rPr lang="en-US" sz="1300" b="1" dirty="0">
                <a:solidFill>
                  <a:prstClr val="black"/>
                </a:solidFill>
                <a:highlight>
                  <a:srgbClr val="FFF2CC"/>
                </a:highlight>
                <a:ea typeface="Calibri"/>
                <a:cs typeface="Calibri"/>
                <a:sym typeface="Calibri"/>
              </a:rPr>
              <a:t> </a:t>
            </a:r>
            <a:r>
              <a:rPr lang="en-US" sz="1300" b="1" dirty="0" err="1">
                <a:solidFill>
                  <a:prstClr val="black"/>
                </a:solidFill>
                <a:highlight>
                  <a:srgbClr val="FFF2CC"/>
                </a:highlight>
                <a:ea typeface="Calibri"/>
                <a:cs typeface="Calibri"/>
                <a:sym typeface="Calibri"/>
              </a:rPr>
              <a:t>serotipos</a:t>
            </a:r>
            <a:r>
              <a:rPr lang="en-US" sz="1300" b="1" dirty="0">
                <a:solidFill>
                  <a:prstClr val="black"/>
                </a:solidFill>
                <a:highlight>
                  <a:srgbClr val="FFF2CC"/>
                </a:highlight>
                <a:ea typeface="Calibri"/>
                <a:cs typeface="Calibri"/>
                <a:sym typeface="Calibri"/>
              </a:rPr>
              <a:t> 3 y 4 </a:t>
            </a:r>
            <a:r>
              <a:rPr lang="en-US" sz="1300" b="1" dirty="0" err="1">
                <a:solidFill>
                  <a:prstClr val="black"/>
                </a:solidFill>
                <a:highlight>
                  <a:srgbClr val="FFF2CC"/>
                </a:highlight>
                <a:ea typeface="Calibri"/>
                <a:cs typeface="Calibri"/>
                <a:sym typeface="Calibri"/>
              </a:rPr>
              <a:t>asociada</a:t>
            </a:r>
            <a:r>
              <a:rPr lang="en-US" sz="1300" b="1" dirty="0">
                <a:solidFill>
                  <a:prstClr val="black"/>
                </a:solidFill>
                <a:highlight>
                  <a:srgbClr val="FFF2CC"/>
                </a:highlight>
                <a:ea typeface="Calibri"/>
                <a:cs typeface="Calibri"/>
                <a:sym typeface="Calibri"/>
              </a:rPr>
              <a:t> a la </a:t>
            </a:r>
            <a:r>
              <a:rPr lang="en-US" sz="1300" b="1" dirty="0" err="1">
                <a:solidFill>
                  <a:prstClr val="black"/>
                </a:solidFill>
                <a:highlight>
                  <a:srgbClr val="FFF2CC"/>
                </a:highlight>
                <a:ea typeface="Calibri"/>
                <a:cs typeface="Calibri"/>
                <a:sym typeface="Calibri"/>
              </a:rPr>
              <a:t>vacuna</a:t>
            </a:r>
            <a:r>
              <a:rPr lang="en-US" sz="1300" dirty="0">
                <a:solidFill>
                  <a:prstClr val="black"/>
                </a:solidFill>
                <a:ea typeface="Calibri"/>
                <a:cs typeface="Calibri"/>
                <a:sym typeface="Calibri"/>
              </a:rPr>
              <a:t>, en personas </a:t>
            </a:r>
            <a:r>
              <a:rPr lang="en-US" sz="1300" dirty="0" err="1">
                <a:solidFill>
                  <a:prstClr val="black"/>
                </a:solidFill>
                <a:ea typeface="Calibri"/>
                <a:cs typeface="Calibri"/>
                <a:sym typeface="Calibri"/>
              </a:rPr>
              <a:t>previamente</a:t>
            </a:r>
            <a:r>
              <a:rPr lang="en-US" sz="1300" dirty="0">
                <a:solidFill>
                  <a:prstClr val="black"/>
                </a:solidFill>
                <a:ea typeface="Calibri"/>
                <a:cs typeface="Calibri"/>
                <a:sym typeface="Calibri"/>
              </a:rPr>
              <a:t> </a:t>
            </a:r>
            <a:r>
              <a:rPr lang="en-US" sz="1300" dirty="0" err="1">
                <a:solidFill>
                  <a:prstClr val="black"/>
                </a:solidFill>
                <a:ea typeface="Calibri"/>
                <a:cs typeface="Calibri"/>
                <a:sym typeface="Calibri"/>
              </a:rPr>
              <a:t>seronegativas</a:t>
            </a:r>
            <a:r>
              <a:rPr lang="en-US" sz="1300" dirty="0">
                <a:solidFill>
                  <a:prstClr val="black"/>
                </a:solidFill>
                <a:ea typeface="Calibri"/>
                <a:cs typeface="Calibri"/>
                <a:sym typeface="Calibri"/>
              </a:rPr>
              <a:t>.</a:t>
            </a:r>
            <a:endParaRPr sz="1500" b="1" dirty="0">
              <a:solidFill>
                <a:prstClr val="black"/>
              </a:solidFill>
              <a:highlight>
                <a:srgbClr val="EEECE1"/>
              </a:highlight>
              <a:ea typeface="Calibri"/>
              <a:cs typeface="Calibri"/>
              <a:sym typeface="Calibri"/>
            </a:endParaRPr>
          </a:p>
        </p:txBody>
      </p:sp>
    </p:spTree>
    <p:extLst>
      <p:ext uri="{BB962C8B-B14F-4D97-AF65-F5344CB8AC3E}">
        <p14:creationId xmlns:p14="http://schemas.microsoft.com/office/powerpoint/2010/main" val="9119149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endParaRPr lang="es-ES"/>
          </a:p>
        </p:txBody>
      </p:sp>
      <p:pic>
        <p:nvPicPr>
          <p:cNvPr id="348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4328" y="0"/>
            <a:ext cx="8258970" cy="3927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481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42738" y="3927402"/>
            <a:ext cx="5849059" cy="11905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947914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2" name="Text Placeholder 71">
            <a:extLst>
              <a:ext uri="{FF2B5EF4-FFF2-40B4-BE49-F238E27FC236}">
                <a16:creationId xmlns="" xmlns:a16="http://schemas.microsoft.com/office/drawing/2014/main" id="{750AC588-8C6C-FF95-3287-89F733C0A7C8}"/>
              </a:ext>
            </a:extLst>
          </p:cNvPr>
          <p:cNvSpPr>
            <a:spLocks noGrp="1"/>
          </p:cNvSpPr>
          <p:nvPr>
            <p:ph type="body" sz="quarter" idx="14"/>
          </p:nvPr>
        </p:nvSpPr>
        <p:spPr>
          <a:xfrm>
            <a:off x="395289" y="4431371"/>
            <a:ext cx="7529513" cy="340727"/>
          </a:xfrm>
        </p:spPr>
        <p:txBody>
          <a:bodyPr/>
          <a:lstStyle/>
          <a:p>
            <a:r>
              <a:rPr lang="es" dirty="0"/>
              <a:t>Figura adaptada de Thomas SJ. </a:t>
            </a:r>
            <a:r>
              <a:rPr lang="es" i="1" dirty="0"/>
              <a:t>Sci Trans Med </a:t>
            </a:r>
            <a:r>
              <a:rPr lang="es" dirty="0"/>
              <a:t>2015;7:304.</a:t>
            </a:r>
          </a:p>
          <a:p>
            <a:r>
              <a:rPr lang="es" dirty="0"/>
              <a:t>DENV: virus del dengue; NS1: proteína no estructural 1; sNS1, NS1 soluble; TLR4: receptor tipo toll 4.</a:t>
            </a:r>
            <a:r>
              <a:rPr lang="en-US" dirty="0"/>
              <a:t/>
            </a:r>
            <a:br>
              <a:rPr lang="en-US" dirty="0"/>
            </a:br>
            <a:r>
              <a:rPr lang="es" dirty="0"/>
              <a:t>1. Wilken L y Rimmelzwaan GF. </a:t>
            </a:r>
            <a:r>
              <a:rPr lang="en-US" i="1" dirty="0"/>
              <a:t>Pathogens</a:t>
            </a:r>
            <a:r>
              <a:rPr lang="es" dirty="0"/>
              <a:t> 2020; 9:470</a:t>
            </a:r>
          </a:p>
        </p:txBody>
      </p:sp>
      <p:sp>
        <p:nvSpPr>
          <p:cNvPr id="22" name="Slide Number Placeholder 21">
            <a:extLst>
              <a:ext uri="{FF2B5EF4-FFF2-40B4-BE49-F238E27FC236}">
                <a16:creationId xmlns="" xmlns:a16="http://schemas.microsoft.com/office/drawing/2014/main" id="{A416E58A-226B-49DA-8A24-9D7D69C490A3}"/>
              </a:ext>
            </a:extLst>
          </p:cNvPr>
          <p:cNvSpPr>
            <a:spLocks noGrp="1"/>
          </p:cNvSpPr>
          <p:nvPr>
            <p:ph type="sldNum" sz="quarter" idx="16"/>
          </p:nvPr>
        </p:nvSpPr>
        <p:spPr/>
        <p:txBody>
          <a:bodyPr/>
          <a:lstStyle/>
          <a:p>
            <a:pPr>
              <a:defRPr/>
            </a:pPr>
            <a:fld id="{E9B57936-92EF-4126-AE48-1D9D36D15E98}" type="slidenum">
              <a:rPr kumimoji="1" lang="en-US" altLang="ja-JP">
                <a:solidFill>
                  <a:srgbClr val="A1A4AC"/>
                </a:solidFill>
              </a:rPr>
              <a:pPr>
                <a:defRPr/>
              </a:pPr>
              <a:t>77</a:t>
            </a:fld>
            <a:endParaRPr kumimoji="1" lang="en-US" altLang="ja-JP">
              <a:solidFill>
                <a:srgbClr val="A1A4AC"/>
              </a:solidFill>
            </a:endParaRPr>
          </a:p>
        </p:txBody>
      </p:sp>
      <p:sp>
        <p:nvSpPr>
          <p:cNvPr id="5" name="Title 1">
            <a:extLst>
              <a:ext uri="{FF2B5EF4-FFF2-40B4-BE49-F238E27FC236}">
                <a16:creationId xmlns="" xmlns:a16="http://schemas.microsoft.com/office/drawing/2014/main" id="{397EE7DD-1232-44F8-A549-1B2641651FDA}"/>
              </a:ext>
            </a:extLst>
          </p:cNvPr>
          <p:cNvSpPr>
            <a:spLocks noGrp="1"/>
          </p:cNvSpPr>
          <p:nvPr>
            <p:ph type="title"/>
          </p:nvPr>
        </p:nvSpPr>
        <p:spPr/>
        <p:txBody>
          <a:bodyPr anchor="ctr"/>
          <a:lstStyle/>
          <a:p>
            <a:r>
              <a:rPr lang="es"/>
              <a:t>La proteína NS1 y su papel en la enfermedad grave</a:t>
            </a:r>
            <a:endParaRPr lang="en-US"/>
          </a:p>
        </p:txBody>
      </p:sp>
      <p:pic>
        <p:nvPicPr>
          <p:cNvPr id="38" name="Picture 37">
            <a:extLst>
              <a:ext uri="{FF2B5EF4-FFF2-40B4-BE49-F238E27FC236}">
                <a16:creationId xmlns="" xmlns:a16="http://schemas.microsoft.com/office/drawing/2014/main" id="{B9FBAFF8-E30B-4770-8F25-AF6E7EE0AC43}"/>
              </a:ext>
            </a:extLst>
          </p:cNvPr>
          <p:cNvPicPr>
            <a:picLocks noChangeAspect="1"/>
          </p:cNvPicPr>
          <p:nvPr/>
        </p:nvPicPr>
        <p:blipFill rotWithShape="1">
          <a:blip r:embed="rId3"/>
          <a:srcRect t="150"/>
          <a:stretch/>
        </p:blipFill>
        <p:spPr>
          <a:xfrm>
            <a:off x="3053430" y="1138013"/>
            <a:ext cx="5907941" cy="3186451"/>
          </a:xfrm>
          <a:prstGeom prst="rect">
            <a:avLst/>
          </a:prstGeom>
        </p:spPr>
      </p:pic>
      <p:sp>
        <p:nvSpPr>
          <p:cNvPr id="2" name="Rectángulo 1">
            <a:extLst>
              <a:ext uri="{FF2B5EF4-FFF2-40B4-BE49-F238E27FC236}">
                <a16:creationId xmlns="" xmlns:a16="http://schemas.microsoft.com/office/drawing/2014/main" id="{C2889B7D-EB71-8A95-464F-BAEB4E799ACF}"/>
              </a:ext>
            </a:extLst>
          </p:cNvPr>
          <p:cNvSpPr/>
          <p:nvPr/>
        </p:nvSpPr>
        <p:spPr>
          <a:xfrm>
            <a:off x="462527" y="4840472"/>
            <a:ext cx="5494375" cy="11961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290">
              <a:defRPr/>
            </a:pPr>
            <a:endParaRPr kumimoji="1" lang="es-AR" sz="900">
              <a:solidFill>
                <a:srgbClr val="FFFFFF"/>
              </a:solidFill>
            </a:endParaRPr>
          </a:p>
        </p:txBody>
      </p:sp>
      <p:sp>
        <p:nvSpPr>
          <p:cNvPr id="4" name="CuadroTexto 3">
            <a:extLst>
              <a:ext uri="{FF2B5EF4-FFF2-40B4-BE49-F238E27FC236}">
                <a16:creationId xmlns="" xmlns:a16="http://schemas.microsoft.com/office/drawing/2014/main" id="{7A6EF1F2-F5C5-4111-DB8E-80DBC6C0CB08}"/>
              </a:ext>
            </a:extLst>
          </p:cNvPr>
          <p:cNvSpPr txBox="1"/>
          <p:nvPr/>
        </p:nvSpPr>
        <p:spPr>
          <a:xfrm>
            <a:off x="101673" y="982825"/>
            <a:ext cx="2808989" cy="3150091"/>
          </a:xfrm>
          <a:prstGeom prst="rect">
            <a:avLst/>
          </a:prstGeom>
          <a:noFill/>
        </p:spPr>
        <p:txBody>
          <a:bodyPr wrap="square" lIns="68535" tIns="34289" rIns="68535" bIns="34289">
            <a:spAutoFit/>
          </a:bodyPr>
          <a:lstStyle/>
          <a:p>
            <a:pPr marL="214163" indent="-214163" defTabSz="685290">
              <a:lnSpc>
                <a:spcPct val="110000"/>
              </a:lnSpc>
              <a:buFont typeface="Arial" panose="020B0604020202020204" pitchFamily="34" charset="0"/>
              <a:buChar char="•"/>
              <a:defRPr/>
            </a:pPr>
            <a:r>
              <a:rPr kumimoji="1" lang="es-ES" sz="1400" kern="0" dirty="0">
                <a:solidFill>
                  <a:srgbClr val="000000"/>
                </a:solidFill>
              </a:rPr>
              <a:t>La proteína NS1 del dengue es </a:t>
            </a:r>
            <a:r>
              <a:rPr kumimoji="1" lang="es-ES" sz="1400" kern="0" dirty="0">
                <a:solidFill>
                  <a:srgbClr val="FF0000"/>
                </a:solidFill>
              </a:rPr>
              <a:t>una toxina producida durante la infección.</a:t>
            </a:r>
          </a:p>
          <a:p>
            <a:pPr marL="214163" indent="-214163" defTabSz="685290">
              <a:lnSpc>
                <a:spcPct val="110000"/>
              </a:lnSpc>
              <a:buFont typeface="Arial" panose="020B0604020202020204" pitchFamily="34" charset="0"/>
              <a:buChar char="•"/>
              <a:defRPr/>
            </a:pPr>
            <a:r>
              <a:rPr kumimoji="1" lang="es-ES" sz="1400" kern="0" dirty="0">
                <a:solidFill>
                  <a:srgbClr val="000000"/>
                </a:solidFill>
              </a:rPr>
              <a:t>NS1 induce disfunción endotelial y </a:t>
            </a:r>
            <a:r>
              <a:rPr kumimoji="1" lang="es-ES" sz="1400" kern="0" dirty="0">
                <a:solidFill>
                  <a:srgbClr val="FF0000"/>
                </a:solidFill>
              </a:rPr>
              <a:t>contribuye a la extravasación de plasma asociada al dengue grave.  </a:t>
            </a:r>
          </a:p>
          <a:p>
            <a:pPr marL="214163" indent="-214163" defTabSz="685290">
              <a:lnSpc>
                <a:spcPct val="110000"/>
              </a:lnSpc>
              <a:buFont typeface="Arial" panose="020B0604020202020204" pitchFamily="34" charset="0"/>
              <a:buChar char="•"/>
              <a:defRPr/>
            </a:pPr>
            <a:r>
              <a:rPr kumimoji="1" lang="es-ES" sz="1400" kern="0" dirty="0">
                <a:solidFill>
                  <a:srgbClr val="000000"/>
                </a:solidFill>
              </a:rPr>
              <a:t>La infección natural por dengue provoca anticuerpos específicos contra NS1</a:t>
            </a:r>
            <a:r>
              <a:rPr kumimoji="1" lang="es-ES" sz="1400" kern="0" baseline="30000" dirty="0">
                <a:solidFill>
                  <a:srgbClr val="000000"/>
                </a:solidFill>
              </a:rPr>
              <a:t>1</a:t>
            </a:r>
            <a:r>
              <a:rPr kumimoji="1" lang="es-ES" sz="1400" kern="0" dirty="0">
                <a:solidFill>
                  <a:srgbClr val="000000"/>
                </a:solidFill>
              </a:rPr>
              <a:t>.
La estimulación de los anticuerpos específicos de NS1 puede desempeñar un papel en la prevención del dengue grave.</a:t>
            </a:r>
            <a:endParaRPr kumimoji="1" lang="en-US" sz="1400" b="1" kern="0" baseline="30000" dirty="0">
              <a:solidFill>
                <a:srgbClr val="000000"/>
              </a:solidFill>
            </a:endParaRPr>
          </a:p>
        </p:txBody>
      </p:sp>
    </p:spTree>
    <p:extLst>
      <p:ext uri="{BB962C8B-B14F-4D97-AF65-F5344CB8AC3E}">
        <p14:creationId xmlns:p14="http://schemas.microsoft.com/office/powerpoint/2010/main" val="30036152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08EAAAAB-BB47-40D9-973B-67A22CB1611E}"/>
              </a:ext>
            </a:extLst>
          </p:cNvPr>
          <p:cNvSpPr>
            <a:spLocks noGrp="1"/>
          </p:cNvSpPr>
          <p:nvPr>
            <p:ph type="sldNum" sz="quarter" idx="16"/>
          </p:nvPr>
        </p:nvSpPr>
        <p:spPr/>
        <p:txBody>
          <a:bodyPr/>
          <a:lstStyle/>
          <a:p>
            <a:pPr defTabSz="913568">
              <a:defRPr/>
            </a:pPr>
            <a:fld id="{E9B57936-92EF-4126-AE48-1D9D36D15E98}" type="slidenum">
              <a:rPr kumimoji="1" lang="en-US" altLang="ja-JP">
                <a:solidFill>
                  <a:srgbClr val="A1A4AC"/>
                </a:solidFill>
              </a:rPr>
              <a:pPr defTabSz="913568">
                <a:defRPr/>
              </a:pPr>
              <a:t>78</a:t>
            </a:fld>
            <a:endParaRPr kumimoji="1" lang="en-US" altLang="ja-JP">
              <a:solidFill>
                <a:srgbClr val="A1A4AC"/>
              </a:solidFill>
            </a:endParaRPr>
          </a:p>
        </p:txBody>
      </p:sp>
      <p:sp>
        <p:nvSpPr>
          <p:cNvPr id="6" name="Title 1">
            <a:extLst>
              <a:ext uri="{FF2B5EF4-FFF2-40B4-BE49-F238E27FC236}">
                <a16:creationId xmlns="" xmlns:a16="http://schemas.microsoft.com/office/drawing/2014/main" id="{AC40DC1A-4D53-45B0-98DE-2E60886E17D9}"/>
              </a:ext>
            </a:extLst>
          </p:cNvPr>
          <p:cNvSpPr>
            <a:spLocks noGrp="1"/>
          </p:cNvSpPr>
          <p:nvPr>
            <p:ph type="title"/>
          </p:nvPr>
        </p:nvSpPr>
        <p:spPr>
          <a:xfrm>
            <a:off x="377966" y="627629"/>
            <a:ext cx="8638179" cy="527957"/>
          </a:xfrm>
        </p:spPr>
        <p:txBody>
          <a:bodyPr/>
          <a:lstStyle/>
          <a:p>
            <a:pPr lvl="0"/>
            <a:r>
              <a:rPr lang="es" b="1" dirty="0">
                <a:solidFill>
                  <a:schemeClr val="tx1"/>
                </a:solidFill>
              </a:rPr>
              <a:t>TAK-003 provoca la producción de IgG anti-NS1 de DENV2 que son de reacción cruzada contra DENV1, DENV3 y DENV4 en niños y </a:t>
            </a:r>
            <a:r>
              <a:rPr lang="es" b="1" dirty="0" smtClean="0">
                <a:solidFill>
                  <a:schemeClr val="tx1"/>
                </a:solidFill>
              </a:rPr>
              <a:t>adultos.</a:t>
            </a:r>
            <a:r>
              <a:rPr lang="es-AR" b="1" dirty="0">
                <a:solidFill>
                  <a:schemeClr val="tx1"/>
                </a:solidFill>
              </a:rPr>
              <a:t> Los anticuerpos anti-NS1 impulsados por la vacuna son funcionales para proteger contra la permeabilidad mediada por NS1 in vitro</a:t>
            </a:r>
            <a:endParaRPr lang="en-US" b="1" dirty="0">
              <a:solidFill>
                <a:schemeClr val="tx1"/>
              </a:solidFill>
            </a:endParaRPr>
          </a:p>
        </p:txBody>
      </p:sp>
      <p:sp>
        <p:nvSpPr>
          <p:cNvPr id="7" name="Footer Placeholder 4">
            <a:extLst>
              <a:ext uri="{FF2B5EF4-FFF2-40B4-BE49-F238E27FC236}">
                <a16:creationId xmlns="" xmlns:a16="http://schemas.microsoft.com/office/drawing/2014/main" id="{9601AF41-B0A4-4DBB-838F-52C33080CD57}"/>
              </a:ext>
            </a:extLst>
          </p:cNvPr>
          <p:cNvSpPr txBox="1">
            <a:spLocks/>
          </p:cNvSpPr>
          <p:nvPr/>
        </p:nvSpPr>
        <p:spPr>
          <a:xfrm>
            <a:off x="2643319" y="4863810"/>
            <a:ext cx="6267318" cy="158488"/>
          </a:xfrm>
          <a:prstGeom prst="rect">
            <a:avLst/>
          </a:prstGeom>
        </p:spPr>
        <p:txBody>
          <a:bodyPr vert="horz" lIns="0" tIns="0" rIns="0" bIns="0" rtlCol="0" anchor="b" anchorCtr="0"/>
          <a:lstStyle>
            <a:defPPr>
              <a:defRPr lang="en-US"/>
            </a:defPPr>
            <a:lvl1pPr algn="r" defTabSz="1218987">
              <a:defRPr sz="600" b="0" spc="75" baseline="0"/>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3700">
              <a:defRPr/>
            </a:pPr>
            <a:endParaRPr kumimoji="1" lang="en-US">
              <a:solidFill>
                <a:srgbClr val="000000"/>
              </a:solidFill>
            </a:endParaRPr>
          </a:p>
        </p:txBody>
      </p:sp>
      <p:sp>
        <p:nvSpPr>
          <p:cNvPr id="5" name="Text Placeholder 4">
            <a:extLst>
              <a:ext uri="{FF2B5EF4-FFF2-40B4-BE49-F238E27FC236}">
                <a16:creationId xmlns="" xmlns:a16="http://schemas.microsoft.com/office/drawing/2014/main" id="{38304C1A-42A3-7D72-93C7-70FFDF273BBD}"/>
              </a:ext>
            </a:extLst>
          </p:cNvPr>
          <p:cNvSpPr>
            <a:spLocks noGrp="1"/>
          </p:cNvSpPr>
          <p:nvPr>
            <p:ph type="body" sz="quarter" idx="14"/>
          </p:nvPr>
        </p:nvSpPr>
        <p:spPr/>
        <p:txBody>
          <a:bodyPr/>
          <a:lstStyle/>
          <a:p>
            <a:endParaRPr lang="en-US"/>
          </a:p>
        </p:txBody>
      </p:sp>
      <p:pic>
        <p:nvPicPr>
          <p:cNvPr id="8" name="Picture 1" descr="P3.png">
            <a:extLst>
              <a:ext uri="{FF2B5EF4-FFF2-40B4-BE49-F238E27FC236}">
                <a16:creationId xmlns="" xmlns:a16="http://schemas.microsoft.com/office/drawing/2014/main" id="{5749C03D-4602-2E63-513F-B03BCB762A64}"/>
              </a:ext>
            </a:extLst>
          </p:cNvPr>
          <p:cNvPicPr>
            <a:picLocks noGrp="1" noChangeAspect="1"/>
          </p:cNvPicPr>
          <p:nvPr/>
        </p:nvPicPr>
        <p:blipFill rotWithShape="1">
          <a:blip r:embed="rId3"/>
          <a:srcRect l="3804" t="25427" r="18505" b="5026"/>
          <a:stretch/>
        </p:blipFill>
        <p:spPr bwMode="auto">
          <a:xfrm>
            <a:off x="571280" y="1735912"/>
            <a:ext cx="4144077" cy="2782256"/>
          </a:xfrm>
          <a:prstGeom prst="rect">
            <a:avLst/>
          </a:prstGeom>
          <a:noFill/>
          <a:ln w="9525">
            <a:noFill/>
            <a:headEnd/>
            <a:tailEnd/>
          </a:ln>
        </p:spPr>
      </p:pic>
      <p:grpSp>
        <p:nvGrpSpPr>
          <p:cNvPr id="9" name="Group 8">
            <a:extLst>
              <a:ext uri="{FF2B5EF4-FFF2-40B4-BE49-F238E27FC236}">
                <a16:creationId xmlns="" xmlns:a16="http://schemas.microsoft.com/office/drawing/2014/main" id="{545D97F6-CB79-8F10-2C22-B4BEB533678B}"/>
              </a:ext>
            </a:extLst>
          </p:cNvPr>
          <p:cNvGrpSpPr/>
          <p:nvPr/>
        </p:nvGrpSpPr>
        <p:grpSpPr>
          <a:xfrm>
            <a:off x="337269" y="1371411"/>
            <a:ext cx="4356096" cy="2973891"/>
            <a:chOff x="640939" y="1695346"/>
            <a:chExt cx="5808135" cy="3965188"/>
          </a:xfrm>
        </p:grpSpPr>
        <p:sp>
          <p:nvSpPr>
            <p:cNvPr id="10" name="TextBox 9">
              <a:extLst>
                <a:ext uri="{FF2B5EF4-FFF2-40B4-BE49-F238E27FC236}">
                  <a16:creationId xmlns="" xmlns:a16="http://schemas.microsoft.com/office/drawing/2014/main" id="{8310A055-6A9B-29FA-B18B-28A90A8ED8A6}"/>
                </a:ext>
              </a:extLst>
            </p:cNvPr>
            <p:cNvSpPr txBox="1"/>
            <p:nvPr/>
          </p:nvSpPr>
          <p:spPr>
            <a:xfrm rot="16200000">
              <a:off x="-1187767" y="3524052"/>
              <a:ext cx="3965188" cy="307776"/>
            </a:xfrm>
            <a:prstGeom prst="rect">
              <a:avLst/>
            </a:prstGeom>
            <a:noFill/>
          </p:spPr>
          <p:txBody>
            <a:bodyPr wrap="none" rtlCol="0">
              <a:spAutoFit/>
            </a:bodyPr>
            <a:lstStyle/>
            <a:p>
              <a:pPr defTabSz="685392">
                <a:defRPr/>
              </a:pPr>
              <a:r>
                <a:rPr kumimoji="1" lang="es" sz="900" b="1">
                  <a:solidFill>
                    <a:srgbClr val="34373F"/>
                  </a:solidFill>
                </a:rPr>
                <a:t>Concentración de IgG Log10 contra el dengue NS1 (RU/ml)</a:t>
              </a:r>
            </a:p>
          </p:txBody>
        </p:sp>
        <p:sp>
          <p:nvSpPr>
            <p:cNvPr id="11" name="TextBox 10">
              <a:extLst>
                <a:ext uri="{FF2B5EF4-FFF2-40B4-BE49-F238E27FC236}">
                  <a16:creationId xmlns="" xmlns:a16="http://schemas.microsoft.com/office/drawing/2014/main" id="{31034D19-F976-64C4-036A-5B3DA114DBD2}"/>
                </a:ext>
              </a:extLst>
            </p:cNvPr>
            <p:cNvSpPr txBox="1"/>
            <p:nvPr/>
          </p:nvSpPr>
          <p:spPr>
            <a:xfrm>
              <a:off x="1487745" y="1738921"/>
              <a:ext cx="1725261" cy="348813"/>
            </a:xfrm>
            <a:prstGeom prst="rect">
              <a:avLst/>
            </a:prstGeom>
            <a:noFill/>
          </p:spPr>
          <p:txBody>
            <a:bodyPr wrap="none" rtlCol="0">
              <a:spAutoFit/>
            </a:bodyPr>
            <a:lstStyle/>
            <a:p>
              <a:pPr defTabSz="685392">
                <a:defRPr/>
              </a:pPr>
              <a:r>
                <a:rPr kumimoji="1" lang="es" sz="1100" b="1" dirty="0">
                  <a:solidFill>
                    <a:srgbClr val="34373F"/>
                  </a:solidFill>
                </a:rPr>
                <a:t>Seronegativo basal</a:t>
              </a:r>
            </a:p>
          </p:txBody>
        </p:sp>
        <p:sp>
          <p:nvSpPr>
            <p:cNvPr id="12" name="TextBox 11">
              <a:extLst>
                <a:ext uri="{FF2B5EF4-FFF2-40B4-BE49-F238E27FC236}">
                  <a16:creationId xmlns="" xmlns:a16="http://schemas.microsoft.com/office/drawing/2014/main" id="{BE86A4C8-92A9-22EF-E7FD-09F55979F3CF}"/>
                </a:ext>
              </a:extLst>
            </p:cNvPr>
            <p:cNvSpPr txBox="1"/>
            <p:nvPr/>
          </p:nvSpPr>
          <p:spPr>
            <a:xfrm>
              <a:off x="4412254" y="1737729"/>
              <a:ext cx="1671827" cy="348813"/>
            </a:xfrm>
            <a:prstGeom prst="rect">
              <a:avLst/>
            </a:prstGeom>
            <a:noFill/>
          </p:spPr>
          <p:txBody>
            <a:bodyPr wrap="none" rtlCol="0">
              <a:spAutoFit/>
            </a:bodyPr>
            <a:lstStyle/>
            <a:p>
              <a:pPr defTabSz="685392">
                <a:defRPr/>
              </a:pPr>
              <a:r>
                <a:rPr kumimoji="1" lang="es" sz="1100" b="1">
                  <a:solidFill>
                    <a:srgbClr val="34373F"/>
                  </a:solidFill>
                </a:rPr>
                <a:t>Seropositivo basal</a:t>
              </a:r>
            </a:p>
          </p:txBody>
        </p:sp>
        <p:pic>
          <p:nvPicPr>
            <p:cNvPr id="13" name="Picture 12">
              <a:extLst>
                <a:ext uri="{FF2B5EF4-FFF2-40B4-BE49-F238E27FC236}">
                  <a16:creationId xmlns="" xmlns:a16="http://schemas.microsoft.com/office/drawing/2014/main" id="{1F9050BB-EE8B-3D94-356F-E30DD2939BA4}"/>
                </a:ext>
              </a:extLst>
            </p:cNvPr>
            <p:cNvPicPr>
              <a:picLocks noChangeAspect="1"/>
            </p:cNvPicPr>
            <p:nvPr/>
          </p:nvPicPr>
          <p:blipFill>
            <a:blip r:embed="rId4"/>
            <a:stretch>
              <a:fillRect/>
            </a:stretch>
          </p:blipFill>
          <p:spPr>
            <a:xfrm>
              <a:off x="5454721" y="3391869"/>
              <a:ext cx="994353" cy="1295671"/>
            </a:xfrm>
            <a:prstGeom prst="rect">
              <a:avLst/>
            </a:prstGeom>
            <a:solidFill>
              <a:schemeClr val="bg1"/>
            </a:solidFill>
          </p:spPr>
        </p:pic>
      </p:grpSp>
      <p:pic>
        <p:nvPicPr>
          <p:cNvPr id="294" name="Picture 293">
            <a:extLst>
              <a:ext uri="{FF2B5EF4-FFF2-40B4-BE49-F238E27FC236}">
                <a16:creationId xmlns="" xmlns:a16="http://schemas.microsoft.com/office/drawing/2014/main" id="{A1B1FD1E-5589-F84A-702E-E8766BFE0442}"/>
              </a:ext>
            </a:extLst>
          </p:cNvPr>
          <p:cNvPicPr>
            <a:picLocks noChangeAspect="1"/>
          </p:cNvPicPr>
          <p:nvPr/>
        </p:nvPicPr>
        <p:blipFill rotWithShape="1">
          <a:blip r:embed="rId5"/>
          <a:srcRect r="52286"/>
          <a:stretch/>
        </p:blipFill>
        <p:spPr>
          <a:xfrm>
            <a:off x="5291257" y="1231785"/>
            <a:ext cx="3619382" cy="3790517"/>
          </a:xfrm>
          <a:prstGeom prst="rect">
            <a:avLst/>
          </a:prstGeom>
        </p:spPr>
      </p:pic>
      <p:sp>
        <p:nvSpPr>
          <p:cNvPr id="2" name="Rectángulo 1">
            <a:extLst>
              <a:ext uri="{FF2B5EF4-FFF2-40B4-BE49-F238E27FC236}">
                <a16:creationId xmlns="" xmlns:a16="http://schemas.microsoft.com/office/drawing/2014/main" id="{4DC112C3-E543-1235-92BF-32083C47641B}"/>
              </a:ext>
            </a:extLst>
          </p:cNvPr>
          <p:cNvSpPr/>
          <p:nvPr/>
        </p:nvSpPr>
        <p:spPr>
          <a:xfrm>
            <a:off x="462527" y="4840472"/>
            <a:ext cx="5494375" cy="11961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392">
              <a:defRPr/>
            </a:pPr>
            <a:endParaRPr kumimoji="1" lang="es-AR" sz="900">
              <a:solidFill>
                <a:srgbClr val="FFFFFF"/>
              </a:solidFill>
            </a:endParaRPr>
          </a:p>
        </p:txBody>
      </p:sp>
    </p:spTree>
    <p:extLst>
      <p:ext uri="{BB962C8B-B14F-4D97-AF65-F5344CB8AC3E}">
        <p14:creationId xmlns:p14="http://schemas.microsoft.com/office/powerpoint/2010/main" val="15082544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show="0">
  <p:cSld>
    <p:spTree>
      <p:nvGrpSpPr>
        <p:cNvPr id="1" name="Shape 310"/>
        <p:cNvGrpSpPr/>
        <p:nvPr/>
      </p:nvGrpSpPr>
      <p:grpSpPr>
        <a:xfrm>
          <a:off x="0" y="0"/>
          <a:ext cx="0" cy="0"/>
          <a:chOff x="0" y="0"/>
          <a:chExt cx="0" cy="0"/>
        </a:xfrm>
      </p:grpSpPr>
      <p:pic>
        <p:nvPicPr>
          <p:cNvPr id="311" name="Google Shape;311;p13"/>
          <p:cNvPicPr preferRelativeResize="0"/>
          <p:nvPr/>
        </p:nvPicPr>
        <p:blipFill rotWithShape="1">
          <a:blip r:embed="rId3">
            <a:alphaModFix/>
          </a:blip>
          <a:srcRect/>
          <a:stretch/>
        </p:blipFill>
        <p:spPr>
          <a:xfrm>
            <a:off x="424680" y="257260"/>
            <a:ext cx="3864129" cy="854819"/>
          </a:xfrm>
          <a:prstGeom prst="rect">
            <a:avLst/>
          </a:prstGeom>
          <a:noFill/>
          <a:ln>
            <a:noFill/>
          </a:ln>
        </p:spPr>
      </p:pic>
      <p:pic>
        <p:nvPicPr>
          <p:cNvPr id="312" name="Google Shape;312;p13"/>
          <p:cNvPicPr preferRelativeResize="0"/>
          <p:nvPr/>
        </p:nvPicPr>
        <p:blipFill rotWithShape="1">
          <a:blip r:embed="rId4">
            <a:alphaModFix/>
          </a:blip>
          <a:srcRect/>
          <a:stretch/>
        </p:blipFill>
        <p:spPr>
          <a:xfrm>
            <a:off x="4274415" y="307588"/>
            <a:ext cx="1279478" cy="754163"/>
          </a:xfrm>
          <a:prstGeom prst="rect">
            <a:avLst/>
          </a:prstGeom>
          <a:noFill/>
          <a:ln>
            <a:noFill/>
          </a:ln>
        </p:spPr>
      </p:pic>
      <p:pic>
        <p:nvPicPr>
          <p:cNvPr id="313" name="Google Shape;313;p13"/>
          <p:cNvPicPr preferRelativeResize="0"/>
          <p:nvPr/>
        </p:nvPicPr>
        <p:blipFill rotWithShape="1">
          <a:blip r:embed="rId5">
            <a:alphaModFix/>
          </a:blip>
          <a:srcRect/>
          <a:stretch/>
        </p:blipFill>
        <p:spPr>
          <a:xfrm>
            <a:off x="424681" y="2905305"/>
            <a:ext cx="4038137" cy="1932234"/>
          </a:xfrm>
          <a:prstGeom prst="rect">
            <a:avLst/>
          </a:prstGeom>
          <a:noFill/>
          <a:ln>
            <a:noFill/>
          </a:ln>
        </p:spPr>
      </p:pic>
      <p:pic>
        <p:nvPicPr>
          <p:cNvPr id="314" name="Google Shape;314;p13"/>
          <p:cNvPicPr preferRelativeResize="0"/>
          <p:nvPr/>
        </p:nvPicPr>
        <p:blipFill rotWithShape="1">
          <a:blip r:embed="rId6">
            <a:alphaModFix/>
          </a:blip>
          <a:srcRect/>
          <a:stretch/>
        </p:blipFill>
        <p:spPr>
          <a:xfrm>
            <a:off x="530210" y="1221013"/>
            <a:ext cx="3932608" cy="1684292"/>
          </a:xfrm>
          <a:prstGeom prst="rect">
            <a:avLst/>
          </a:prstGeom>
          <a:noFill/>
          <a:ln>
            <a:noFill/>
          </a:ln>
        </p:spPr>
      </p:pic>
      <p:pic>
        <p:nvPicPr>
          <p:cNvPr id="315" name="Google Shape;315;p13"/>
          <p:cNvPicPr preferRelativeResize="0"/>
          <p:nvPr/>
        </p:nvPicPr>
        <p:blipFill rotWithShape="1">
          <a:blip r:embed="rId7">
            <a:alphaModFix/>
          </a:blip>
          <a:srcRect/>
          <a:stretch/>
        </p:blipFill>
        <p:spPr>
          <a:xfrm>
            <a:off x="5696022" y="228999"/>
            <a:ext cx="3366092" cy="883080"/>
          </a:xfrm>
          <a:prstGeom prst="rect">
            <a:avLst/>
          </a:prstGeom>
          <a:noFill/>
          <a:ln>
            <a:noFill/>
          </a:ln>
        </p:spPr>
      </p:pic>
      <p:pic>
        <p:nvPicPr>
          <p:cNvPr id="316" name="Google Shape;316;p13"/>
          <p:cNvPicPr preferRelativeResize="0"/>
          <p:nvPr/>
        </p:nvPicPr>
        <p:blipFill rotWithShape="1">
          <a:blip r:embed="rId8">
            <a:alphaModFix/>
          </a:blip>
          <a:srcRect/>
          <a:stretch/>
        </p:blipFill>
        <p:spPr>
          <a:xfrm>
            <a:off x="4914154" y="1235288"/>
            <a:ext cx="4011482" cy="2364473"/>
          </a:xfrm>
          <a:prstGeom prst="rect">
            <a:avLst/>
          </a:prstGeom>
          <a:noFill/>
          <a:ln w="9525" cap="flat" cmpd="sng">
            <a:solidFill>
              <a:srgbClr val="2E75B5"/>
            </a:solidFill>
            <a:prstDash val="solid"/>
            <a:round/>
            <a:headEnd type="none" w="sm" len="sm"/>
            <a:tailEnd type="none" w="sm" len="sm"/>
          </a:ln>
        </p:spPr>
      </p:pic>
      <p:sp>
        <p:nvSpPr>
          <p:cNvPr id="317" name="Google Shape;317;p13"/>
          <p:cNvSpPr txBox="1"/>
          <p:nvPr/>
        </p:nvSpPr>
        <p:spPr>
          <a:xfrm>
            <a:off x="4914154" y="3775579"/>
            <a:ext cx="4011482" cy="1146437"/>
          </a:xfrm>
          <a:prstGeom prst="rect">
            <a:avLst/>
          </a:prstGeom>
          <a:solidFill>
            <a:srgbClr val="FEE599"/>
          </a:solidFill>
          <a:ln>
            <a:noFill/>
          </a:ln>
        </p:spPr>
        <p:txBody>
          <a:bodyPr spcFirstLastPara="1" wrap="square" lIns="68569" tIns="34275" rIns="68569" bIns="34275" anchor="t" anchorCtr="0">
            <a:spAutoFit/>
          </a:bodyPr>
          <a:lstStyle/>
          <a:p>
            <a:pPr defTabSz="912690"/>
            <a:r>
              <a:rPr lang="es-MX" sz="1400">
                <a:solidFill>
                  <a:prstClr val="black"/>
                </a:solidFill>
                <a:ea typeface="Calibri"/>
                <a:cs typeface="Calibri"/>
                <a:sym typeface="Calibri"/>
              </a:rPr>
              <a:t>El estudio de Takeda estaría planteando limitaciones para el uso de la serología IgM/ IgG como herramienta  de diagnóstico para pacientes con antecedente de vacunación  y no afectación para la aplicación de la detección de antígeno NS1 </a:t>
            </a:r>
            <a:endParaRPr sz="1400">
              <a:solidFill>
                <a:prstClr val="black"/>
              </a:solidFill>
              <a:ea typeface="Calibri"/>
              <a:cs typeface="Calibri"/>
              <a:sym typeface="Calibri"/>
            </a:endParaRPr>
          </a:p>
        </p:txBody>
      </p:sp>
    </p:spTree>
    <p:extLst>
      <p:ext uri="{BB962C8B-B14F-4D97-AF65-F5344CB8AC3E}">
        <p14:creationId xmlns:p14="http://schemas.microsoft.com/office/powerpoint/2010/main" val="5179006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Rectangle 2"/>
          <p:cNvSpPr>
            <a:spLocks noGrp="1" noChangeArrowheads="1"/>
          </p:cNvSpPr>
          <p:nvPr>
            <p:ph type="title"/>
          </p:nvPr>
        </p:nvSpPr>
        <p:spPr>
          <a:xfrm>
            <a:off x="-1077986" y="130478"/>
            <a:ext cx="8229600" cy="857250"/>
          </a:xfrm>
        </p:spPr>
        <p:txBody>
          <a:bodyPr anchor="t"/>
          <a:lstStyle/>
          <a:p>
            <a:r>
              <a:rPr lang="es-ES_tradnl" sz="3200" b="1" dirty="0" smtClean="0"/>
              <a:t>Características epidemiológicas</a:t>
            </a:r>
            <a:endParaRPr lang="es-ES" sz="3200" b="1" dirty="0" smtClean="0"/>
          </a:p>
        </p:txBody>
      </p:sp>
      <p:sp>
        <p:nvSpPr>
          <p:cNvPr id="44034" name="Rectangle 3"/>
          <p:cNvSpPr>
            <a:spLocks noGrp="1" noChangeArrowheads="1"/>
          </p:cNvSpPr>
          <p:nvPr>
            <p:ph type="body" idx="1"/>
          </p:nvPr>
        </p:nvSpPr>
        <p:spPr>
          <a:xfrm>
            <a:off x="146386" y="824055"/>
            <a:ext cx="8515131" cy="3838575"/>
          </a:xfrm>
        </p:spPr>
        <p:txBody>
          <a:bodyPr/>
          <a:lstStyle/>
          <a:p>
            <a:pPr>
              <a:spcBef>
                <a:spcPts val="0"/>
              </a:spcBef>
              <a:spcAft>
                <a:spcPts val="600"/>
              </a:spcAft>
            </a:pPr>
            <a:r>
              <a:rPr lang="es-ES" sz="2000" b="1" dirty="0" smtClean="0"/>
              <a:t>Trasmisión: </a:t>
            </a:r>
            <a:r>
              <a:rPr lang="es-ES" sz="2000" dirty="0" smtClean="0"/>
              <a:t>Los enfermos son infectantes para los mosquitos desde el </a:t>
            </a:r>
            <a:r>
              <a:rPr lang="es-ES" sz="2000" b="1" dirty="0" smtClean="0"/>
              <a:t>día previo al inicio de los síntomas hasta el 5º de la enfermedad. </a:t>
            </a:r>
            <a:r>
              <a:rPr lang="es-AR" sz="2000" dirty="0" smtClean="0"/>
              <a:t>El </a:t>
            </a:r>
            <a:r>
              <a:rPr lang="es-AR" sz="2000" b="1" dirty="0" smtClean="0"/>
              <a:t>mosquito </a:t>
            </a:r>
            <a:r>
              <a:rPr lang="es-AR" sz="2000" b="1" dirty="0"/>
              <a:t>se vuelve infectante (período de incubación extrínseco) entre 7 y 14 días después de alimentarse con sangre </a:t>
            </a:r>
            <a:r>
              <a:rPr lang="es-AR" sz="2000" b="1" dirty="0" err="1"/>
              <a:t>virémica</a:t>
            </a:r>
            <a:r>
              <a:rPr lang="es-AR" sz="2000" b="1" dirty="0"/>
              <a:t> y lo sigue siendo toda su vida. </a:t>
            </a:r>
            <a:endParaRPr lang="es-ES" sz="2000" b="1" dirty="0" smtClean="0"/>
          </a:p>
          <a:p>
            <a:pPr>
              <a:spcBef>
                <a:spcPts val="0"/>
              </a:spcBef>
              <a:spcAft>
                <a:spcPts val="600"/>
              </a:spcAft>
            </a:pPr>
            <a:r>
              <a:rPr lang="es-ES" sz="2000" dirty="0" smtClean="0"/>
              <a:t>Existen además algunas evidencias de la transmisión del virus dengue </a:t>
            </a:r>
            <a:r>
              <a:rPr lang="es-ES" sz="2000" b="1" dirty="0" smtClean="0"/>
              <a:t>entre generaciones de mosquitos </a:t>
            </a:r>
            <a:r>
              <a:rPr lang="es-ES" sz="2000" dirty="0" smtClean="0"/>
              <a:t>a partir del desarrollo de huevos infectados por transmisión vertical en los vectores (transmisión </a:t>
            </a:r>
            <a:r>
              <a:rPr lang="es-ES" sz="2000" dirty="0" err="1" smtClean="0"/>
              <a:t>transovárica</a:t>
            </a:r>
            <a:r>
              <a:rPr lang="es-ES" sz="2000" dirty="0" smtClean="0"/>
              <a:t>). </a:t>
            </a:r>
          </a:p>
          <a:p>
            <a:pPr>
              <a:spcBef>
                <a:spcPts val="0"/>
              </a:spcBef>
              <a:spcAft>
                <a:spcPts val="600"/>
              </a:spcAft>
            </a:pPr>
            <a:r>
              <a:rPr lang="es-ES" sz="2000" dirty="0" smtClean="0"/>
              <a:t>Es infrecuente, pero también están descriptas la transmisión </a:t>
            </a:r>
            <a:r>
              <a:rPr lang="es-ES" sz="2000" b="1" dirty="0" smtClean="0"/>
              <a:t>durante el embarazo y la vía transfusional</a:t>
            </a:r>
            <a:r>
              <a:rPr lang="es-ES" sz="2000" dirty="0" smtClean="0"/>
              <a:t>.</a:t>
            </a:r>
          </a:p>
        </p:txBody>
      </p:sp>
      <p:sp>
        <p:nvSpPr>
          <p:cNvPr id="4" name="2 Rectángulo"/>
          <p:cNvSpPr/>
          <p:nvPr/>
        </p:nvSpPr>
        <p:spPr>
          <a:xfrm>
            <a:off x="1220593" y="4943894"/>
            <a:ext cx="6645772" cy="189347"/>
          </a:xfrm>
          <a:prstGeom prst="rect">
            <a:avLst/>
          </a:prstGeom>
        </p:spPr>
        <p:txBody>
          <a:bodyPr wrap="square">
            <a:spAutoFit/>
          </a:bodyPr>
          <a:lstStyle/>
          <a:p>
            <a:pPr>
              <a:lnSpc>
                <a:spcPct val="80000"/>
              </a:lnSpc>
            </a:pPr>
            <a:r>
              <a:rPr lang="es-AR" sz="788" dirty="0">
                <a:solidFill>
                  <a:prstClr val="black">
                    <a:lumMod val="50000"/>
                    <a:lumOff val="50000"/>
                  </a:prstClr>
                </a:solidFill>
                <a:hlinkClick r:id="rId3"/>
              </a:rPr>
              <a:t>http://www.msal.gob.ar/images/stories/bes/graficos/0000001045cnt-2013-09_participacion-social-prevencion-dengue.pdf</a:t>
            </a:r>
            <a:endParaRPr lang="es-ES" sz="788" dirty="0">
              <a:solidFill>
                <a:prstClr val="black">
                  <a:lumMod val="50000"/>
                  <a:lumOff val="50000"/>
                </a:prstClr>
              </a:solidFill>
            </a:endParaRPr>
          </a:p>
        </p:txBody>
      </p:sp>
      <p:sp>
        <p:nvSpPr>
          <p:cNvPr id="2" name="Rectángulo 1"/>
          <p:cNvSpPr/>
          <p:nvPr/>
        </p:nvSpPr>
        <p:spPr>
          <a:xfrm>
            <a:off x="1928223" y="3821839"/>
            <a:ext cx="4572000" cy="981423"/>
          </a:xfrm>
          <a:prstGeom prst="rect">
            <a:avLst/>
          </a:prstGeom>
          <a:solidFill>
            <a:schemeClr val="bg2">
              <a:lumMod val="90000"/>
            </a:schemeClr>
          </a:solidFill>
        </p:spPr>
        <p:txBody>
          <a:bodyPr>
            <a:spAutoFit/>
          </a:bodyPr>
          <a:lstStyle/>
          <a:p>
            <a:pPr algn="ctr">
              <a:lnSpc>
                <a:spcPct val="107000"/>
              </a:lnSpc>
              <a:spcAft>
                <a:spcPts val="800"/>
              </a:spcAft>
            </a:pPr>
            <a:r>
              <a:rPr lang="es-AR" dirty="0">
                <a:latin typeface="Arial" panose="020B0604020202020204" pitchFamily="34" charset="0"/>
                <a:ea typeface="Calibri" panose="020F0502020204030204" pitchFamily="34" charset="0"/>
                <a:cs typeface="Times New Roman" panose="02020603050405020304" pitchFamily="18" charset="0"/>
              </a:rPr>
              <a:t>El hombre infectado es el principal portador y multiplicador del virus. No se transmite de persona a persona.</a:t>
            </a:r>
            <a:endParaRPr lang="es-AR"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040724964"/>
      </p:ext>
    </p:extLst>
  </p:cSld>
  <p:clrMapOvr>
    <a:masterClrMapping/>
  </p:clrMapOvr>
  <p:transition spd="slow"/>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9" name="Rectangle 2"/>
          <p:cNvSpPr>
            <a:spLocks noGrp="1" noChangeArrowheads="1"/>
          </p:cNvSpPr>
          <p:nvPr>
            <p:ph type="title"/>
          </p:nvPr>
        </p:nvSpPr>
        <p:spPr>
          <a:xfrm>
            <a:off x="-2915174" y="0"/>
            <a:ext cx="8229600" cy="857250"/>
          </a:xfrm>
        </p:spPr>
        <p:txBody>
          <a:bodyPr/>
          <a:lstStyle/>
          <a:p>
            <a:r>
              <a:rPr lang="es-ES_tradnl" sz="4000" dirty="0" smtClean="0">
                <a:cs typeface="Arial" charset="0"/>
              </a:rPr>
              <a:t>Vectores</a:t>
            </a:r>
          </a:p>
        </p:txBody>
      </p:sp>
      <p:sp>
        <p:nvSpPr>
          <p:cNvPr id="8195" name="Rectangle 3"/>
          <p:cNvSpPr>
            <a:spLocks noGrp="1" noChangeArrowheads="1"/>
          </p:cNvSpPr>
          <p:nvPr>
            <p:ph type="body" idx="1"/>
          </p:nvPr>
        </p:nvSpPr>
        <p:spPr>
          <a:xfrm>
            <a:off x="71307" y="990432"/>
            <a:ext cx="5020810" cy="3394472"/>
          </a:xfrm>
        </p:spPr>
        <p:txBody>
          <a:bodyPr rtlCol="0">
            <a:normAutofit/>
          </a:bodyPr>
          <a:lstStyle/>
          <a:p>
            <a:pPr fontAlgn="auto">
              <a:spcAft>
                <a:spcPts val="0"/>
              </a:spcAft>
              <a:defRPr/>
            </a:pPr>
            <a:r>
              <a:rPr lang="es-ES_tradnl" sz="2400" dirty="0" smtClean="0">
                <a:latin typeface="+mj-lt"/>
                <a:cs typeface="Arial" pitchFamily="34" charset="0"/>
              </a:rPr>
              <a:t>Vector principal: </a:t>
            </a:r>
            <a:r>
              <a:rPr lang="es-ES_tradnl" sz="2400" i="1" dirty="0" smtClean="0">
                <a:latin typeface="+mj-lt"/>
              </a:rPr>
              <a:t>Aedes </a:t>
            </a:r>
            <a:r>
              <a:rPr lang="es-ES_tradnl" sz="2400" i="1" dirty="0" err="1" smtClean="0">
                <a:latin typeface="+mj-lt"/>
              </a:rPr>
              <a:t>aegypti</a:t>
            </a:r>
            <a:r>
              <a:rPr lang="es-ES_tradnl" sz="2400" i="1" dirty="0" smtClean="0">
                <a:latin typeface="+mj-lt"/>
              </a:rPr>
              <a:t> </a:t>
            </a:r>
          </a:p>
          <a:p>
            <a:pPr lvl="1" fontAlgn="auto">
              <a:spcAft>
                <a:spcPts val="0"/>
              </a:spcAft>
              <a:defRPr/>
            </a:pPr>
            <a:r>
              <a:rPr lang="es-ES_tradnl" sz="2000" i="1" dirty="0" smtClean="0">
                <a:latin typeface="+mj-lt"/>
              </a:rPr>
              <a:t>A. a. </a:t>
            </a:r>
            <a:r>
              <a:rPr lang="es-ES_tradnl" sz="2000" i="1" dirty="0" err="1" smtClean="0">
                <a:latin typeface="+mj-lt"/>
              </a:rPr>
              <a:t>queenslandensis</a:t>
            </a:r>
            <a:r>
              <a:rPr lang="es-ES_tradnl" sz="2000" dirty="0" smtClean="0">
                <a:latin typeface="+mj-lt"/>
              </a:rPr>
              <a:t> (forma urbana)</a:t>
            </a:r>
          </a:p>
          <a:p>
            <a:pPr lvl="1" fontAlgn="auto">
              <a:spcAft>
                <a:spcPts val="0"/>
              </a:spcAft>
              <a:defRPr/>
            </a:pPr>
            <a:r>
              <a:rPr lang="es-ES_tradnl" sz="2000" i="1" dirty="0" smtClean="0">
                <a:latin typeface="+mj-lt"/>
              </a:rPr>
              <a:t>A. a. </a:t>
            </a:r>
            <a:r>
              <a:rPr lang="es-ES_tradnl" sz="2000" i="1" dirty="0" err="1" smtClean="0">
                <a:latin typeface="+mj-lt"/>
              </a:rPr>
              <a:t>formosus</a:t>
            </a:r>
            <a:r>
              <a:rPr lang="es-ES_tradnl" sz="2000" dirty="0" smtClean="0">
                <a:latin typeface="+mj-lt"/>
              </a:rPr>
              <a:t> (forma selvática)</a:t>
            </a:r>
          </a:p>
          <a:p>
            <a:pPr marL="448569" lvl="1" indent="0" fontAlgn="auto">
              <a:spcAft>
                <a:spcPts val="0"/>
              </a:spcAft>
              <a:buNone/>
              <a:defRPr/>
            </a:pPr>
            <a:endParaRPr lang="es-ES_tradnl" sz="2000" dirty="0" smtClean="0">
              <a:latin typeface="+mj-lt"/>
            </a:endParaRPr>
          </a:p>
          <a:p>
            <a:pPr fontAlgn="auto">
              <a:spcAft>
                <a:spcPts val="0"/>
              </a:spcAft>
              <a:defRPr/>
            </a:pPr>
            <a:r>
              <a:rPr lang="es-ES_tradnl" sz="2400" dirty="0" smtClean="0">
                <a:latin typeface="+mj-lt"/>
                <a:cs typeface="Arial" pitchFamily="34" charset="0"/>
              </a:rPr>
              <a:t>Vector secundario: </a:t>
            </a:r>
            <a:r>
              <a:rPr lang="es-ES_tradnl" sz="2400" i="1" dirty="0" smtClean="0">
                <a:latin typeface="+mj-lt"/>
              </a:rPr>
              <a:t>Aedes </a:t>
            </a:r>
            <a:r>
              <a:rPr lang="es-ES_tradnl" sz="2400" i="1" dirty="0" err="1" smtClean="0">
                <a:latin typeface="+mj-lt"/>
              </a:rPr>
              <a:t>albopictus</a:t>
            </a:r>
            <a:r>
              <a:rPr lang="es-ES_tradnl" sz="2400" dirty="0" smtClean="0">
                <a:latin typeface="+mj-lt"/>
              </a:rPr>
              <a:t> (“mosquito tigre”)</a:t>
            </a:r>
          </a:p>
          <a:p>
            <a:pPr fontAlgn="auto">
              <a:spcAft>
                <a:spcPts val="0"/>
              </a:spcAft>
              <a:buFontTx/>
              <a:buNone/>
              <a:defRPr/>
            </a:pPr>
            <a:endParaRPr lang="es-ES_tradnl" sz="2800" b="1" dirty="0" smtClean="0">
              <a:solidFill>
                <a:schemeClr val="tx2"/>
              </a:solidFill>
              <a:latin typeface="+mj-lt"/>
            </a:endParaRPr>
          </a:p>
        </p:txBody>
      </p:sp>
      <p:pic>
        <p:nvPicPr>
          <p:cNvPr id="2" name="Imagen 1"/>
          <p:cNvPicPr>
            <a:picLocks noChangeAspect="1"/>
          </p:cNvPicPr>
          <p:nvPr/>
        </p:nvPicPr>
        <p:blipFill>
          <a:blip r:embed="rId3"/>
          <a:stretch>
            <a:fillRect/>
          </a:stretch>
        </p:blipFill>
        <p:spPr>
          <a:xfrm>
            <a:off x="5092117" y="990432"/>
            <a:ext cx="3799149" cy="2534494"/>
          </a:xfrm>
          <a:prstGeom prst="rect">
            <a:avLst/>
          </a:prstGeom>
        </p:spPr>
      </p:pic>
      <p:sp>
        <p:nvSpPr>
          <p:cNvPr id="3" name="Rectángulo 2"/>
          <p:cNvSpPr/>
          <p:nvPr/>
        </p:nvSpPr>
        <p:spPr>
          <a:xfrm>
            <a:off x="71307" y="4168561"/>
            <a:ext cx="9164972" cy="646331"/>
          </a:xfrm>
          <a:prstGeom prst="rect">
            <a:avLst/>
          </a:prstGeom>
        </p:spPr>
        <p:txBody>
          <a:bodyPr wrap="square">
            <a:spAutoFit/>
          </a:bodyPr>
          <a:lstStyle/>
          <a:p>
            <a:pPr marL="214313" indent="-214313">
              <a:buFont typeface="Wingdings" charset="2"/>
              <a:buChar char="Ø"/>
            </a:pPr>
            <a:r>
              <a:rPr lang="es-ES_tradnl" dirty="0">
                <a:solidFill>
                  <a:prstClr val="black"/>
                </a:solidFill>
              </a:rPr>
              <a:t>En América solamente ha sido demostrada la transmisión del dengue a través de mosquitos </a:t>
            </a:r>
            <a:r>
              <a:rPr lang="es-ES_tradnl" i="1" dirty="0">
                <a:solidFill>
                  <a:prstClr val="black"/>
                </a:solidFill>
              </a:rPr>
              <a:t>Aedes </a:t>
            </a:r>
            <a:r>
              <a:rPr lang="es-ES_tradnl" i="1" dirty="0" err="1">
                <a:solidFill>
                  <a:prstClr val="black"/>
                </a:solidFill>
              </a:rPr>
              <a:t>aegypti</a:t>
            </a:r>
            <a:r>
              <a:rPr lang="es-ES_tradnl" i="1" dirty="0">
                <a:solidFill>
                  <a:prstClr val="black"/>
                </a:solidFill>
              </a:rPr>
              <a:t>. </a:t>
            </a:r>
          </a:p>
        </p:txBody>
      </p:sp>
    </p:spTree>
    <p:extLst>
      <p:ext uri="{BB962C8B-B14F-4D97-AF65-F5344CB8AC3E}">
        <p14:creationId xmlns:p14="http://schemas.microsoft.com/office/powerpoint/2010/main" val="291849278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PRESGUID" val="f6f4b00a-201d-470c-8221-86f0cda903fe"/>
</p:tagLst>
</file>

<file path=ppt/tags/tag10.xml><?xml version="1.0" encoding="utf-8"?>
<p:tagLst xmlns:a="http://schemas.openxmlformats.org/drawingml/2006/main" xmlns:r="http://schemas.openxmlformats.org/officeDocument/2006/relationships" xmlns:p="http://schemas.openxmlformats.org/presentationml/2006/main">
  <p:tag name="ANGLE" val="5"/>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11.xml><?xml version="1.0" encoding="utf-8"?>
<p:tagLst xmlns:a="http://schemas.openxmlformats.org/drawingml/2006/main" xmlns:r="http://schemas.openxmlformats.org/officeDocument/2006/relationships" xmlns:p="http://schemas.openxmlformats.org/presentationml/2006/main">
  <p:tag name="ANGLE" val="4"/>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2.xml><?xml version="1.0" encoding="utf-8"?>
<p:tagLst xmlns:a="http://schemas.openxmlformats.org/drawingml/2006/main" xmlns:r="http://schemas.openxmlformats.org/officeDocument/2006/relationships" xmlns:p="http://schemas.openxmlformats.org/presentationml/2006/main">
  <p:tag name="ANGLE" val="4"/>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13.xml><?xml version="1.0" encoding="utf-8"?>
<p:tagLst xmlns:a="http://schemas.openxmlformats.org/drawingml/2006/main" xmlns:r="http://schemas.openxmlformats.org/officeDocument/2006/relationships" xmlns:p="http://schemas.openxmlformats.org/presentationml/2006/main">
  <p:tag name="ANGLE" val="3"/>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14.xml><?xml version="1.0" encoding="utf-8"?>
<p:tagLst xmlns:a="http://schemas.openxmlformats.org/drawingml/2006/main" xmlns:r="http://schemas.openxmlformats.org/officeDocument/2006/relationships" xmlns:p="http://schemas.openxmlformats.org/presentationml/2006/main">
  <p:tag name="ANGLE" val="3"/>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15.xml><?xml version="1.0" encoding="utf-8"?>
<p:tagLst xmlns:a="http://schemas.openxmlformats.org/drawingml/2006/main" xmlns:r="http://schemas.openxmlformats.org/officeDocument/2006/relationships" xmlns:p="http://schemas.openxmlformats.org/presentationml/2006/main">
  <p:tag name="ANGLE" val="2"/>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16.xml><?xml version="1.0" encoding="utf-8"?>
<p:tagLst xmlns:a="http://schemas.openxmlformats.org/drawingml/2006/main" xmlns:r="http://schemas.openxmlformats.org/officeDocument/2006/relationships" xmlns:p="http://schemas.openxmlformats.org/presentationml/2006/main">
  <p:tag name="ANGLE" val="2"/>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17.xml><?xml version="1.0" encoding="utf-8"?>
<p:tagLst xmlns:a="http://schemas.openxmlformats.org/drawingml/2006/main" xmlns:r="http://schemas.openxmlformats.org/officeDocument/2006/relationships" xmlns:p="http://schemas.openxmlformats.org/presentationml/2006/main">
  <p:tag name="ANGLE" val="1"/>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18.xml><?xml version="1.0" encoding="utf-8"?>
<p:tagLst xmlns:a="http://schemas.openxmlformats.org/drawingml/2006/main" xmlns:r="http://schemas.openxmlformats.org/officeDocument/2006/relationships" xmlns:p="http://schemas.openxmlformats.org/presentationml/2006/main">
  <p:tag name="ANGLE" val="1"/>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19.xml><?xml version="1.0" encoding="utf-8"?>
<p:tagLst xmlns:a="http://schemas.openxmlformats.org/drawingml/2006/main" xmlns:r="http://schemas.openxmlformats.org/officeDocument/2006/relationships" xmlns:p="http://schemas.openxmlformats.org/presentationml/2006/main">
  <p:tag name="NAME" val="Moon"/>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2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2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2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2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2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3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3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wPL4k1zJ_AffYKiaVombC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gfoDWjogkDwwg8yi5bsDz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ryrp4FilcRKrG7R7kjC8Dg"/>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4.xml><?xml version="1.0" encoding="utf-8"?>
<p:tagLst xmlns:a="http://schemas.openxmlformats.org/drawingml/2006/main" xmlns:r="http://schemas.openxmlformats.org/officeDocument/2006/relationships" xmlns:p="http://schemas.openxmlformats.org/presentationml/2006/main">
  <p:tag name="NAME" val="Quater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LQdvrVm4h6O31v3uz1HtkA"/>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yIPwyM0va6HGHlY1HTO.iA"/>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MY4LcwXubW2g5QMfUkFV2A"/>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4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zex9vKedLNUO5QBWpY.g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xml><?xml version="1.0" encoding="utf-8"?>
<p:tagLst xmlns:a="http://schemas.openxmlformats.org/drawingml/2006/main" xmlns:r="http://schemas.openxmlformats.org/officeDocument/2006/relationships" xmlns:p="http://schemas.openxmlformats.org/presentationml/2006/main">
  <p:tag name="NAME" val="HalfMoon"/>
</p:tagLst>
</file>

<file path=ppt/tags/tag50.xml><?xml version="1.0" encoding="utf-8"?>
<p:tagLst xmlns:a="http://schemas.openxmlformats.org/drawingml/2006/main" xmlns:r="http://schemas.openxmlformats.org/officeDocument/2006/relationships" xmlns:p="http://schemas.openxmlformats.org/presentationml/2006/main">
  <p:tag name="SHAPENAME" val="5. Source"/>
</p:tagLst>
</file>

<file path=ppt/tags/tag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TTtSxjDLtgfriS2muE96W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5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xml><?xml version="1.0" encoding="utf-8"?>
<p:tagLst xmlns:a="http://schemas.openxmlformats.org/drawingml/2006/main" xmlns:r="http://schemas.openxmlformats.org/officeDocument/2006/relationships" xmlns:p="http://schemas.openxmlformats.org/presentationml/2006/main">
  <p:tag name="NAME" val="3QuaterMoon"/>
</p:tagLst>
</file>

<file path=ppt/tags/tag6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6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6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63.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5.xml><?xml version="1.0" encoding="utf-8"?>
<p:tagLst xmlns:a="http://schemas.openxmlformats.org/drawingml/2006/main" xmlns:r="http://schemas.openxmlformats.org/officeDocument/2006/relationships" xmlns:p="http://schemas.openxmlformats.org/presentationml/2006/main">
  <p:tag name="SHAPENAME" val="3. Subtitle"/>
</p:tagLst>
</file>

<file path=ppt/tags/tag66.xml><?xml version="1.0" encoding="utf-8"?>
<p:tagLst xmlns:a="http://schemas.openxmlformats.org/drawingml/2006/main" xmlns:r="http://schemas.openxmlformats.org/officeDocument/2006/relationships" xmlns:p="http://schemas.openxmlformats.org/presentationml/2006/main">
  <p:tag name="SHAPENAME" val="5. Source"/>
</p:tagLst>
</file>

<file path=ppt/tags/tag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7.xml><?xml version="1.0" encoding="utf-8"?>
<p:tagLst xmlns:a="http://schemas.openxmlformats.org/drawingml/2006/main" xmlns:r="http://schemas.openxmlformats.org/officeDocument/2006/relationships" xmlns:p="http://schemas.openxmlformats.org/presentationml/2006/main">
  <p:tag name="NAME" val="FullMoon"/>
</p:tagLst>
</file>

<file path=ppt/tags/tag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xml><?xml version="1.0" encoding="utf-8"?>
<p:tagLst xmlns:a="http://schemas.openxmlformats.org/drawingml/2006/main" xmlns:r="http://schemas.openxmlformats.org/officeDocument/2006/relationships" xmlns:p="http://schemas.openxmlformats.org/presentationml/2006/main">
  <p:tag name="SHAPENAME" val="5. Source"/>
</p:tagLst>
</file>

<file path=ppt/tags/tag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gfoDWjogkDwwg8yi5bsDz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9sm4QldE0fBH0c.iDouS0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SHAPENAME" val="5. Sourc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91s2wmrLno._6pCV7LnEi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91s2wmrLno._6pCV7LnEi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91s2wmrLno._6pCV7LnEi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91s2wmrLno._6pCV7LnEi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91s2wmrLno._6pCV7LnEig"/>
</p:tagLst>
</file>

<file path=ppt/tags/tag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NGLE" val="5"/>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9sm4QldE0fBH0c.iDouS0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9sm4QldE0fBH0c.iDouS0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9sm4QldE0fBH0c.iDouS0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heme/_rels/theme12.xml.rels><?xml version="1.0" encoding="UTF-8" standalone="yes"?>
<Relationships xmlns="http://schemas.openxmlformats.org/package/2006/relationships"><Relationship Id="rId1" Type="http://schemas.openxmlformats.org/officeDocument/2006/relationships/image" Target="../media/image27.jpeg"/></Relationships>
</file>

<file path=ppt/theme/_rels/theme13.xml.rels><?xml version="1.0" encoding="UTF-8" standalone="yes"?>
<Relationships xmlns="http://schemas.openxmlformats.org/package/2006/relationships"><Relationship Id="rId1" Type="http://schemas.openxmlformats.org/officeDocument/2006/relationships/image" Target="../media/image27.jpeg"/></Relationships>
</file>

<file path=ppt/theme/theme1.xml><?xml version="1.0" encoding="utf-8"?>
<a:theme xmlns:a="http://schemas.openxmlformats.org/drawingml/2006/main" name="1_White">
  <a:themeElements>
    <a:clrScheme name="Current">
      <a:dk1>
        <a:srgbClr val="000000"/>
      </a:dk1>
      <a:lt1>
        <a:srgbClr val="FFFFFF"/>
      </a:lt1>
      <a:dk2>
        <a:srgbClr val="00244F"/>
      </a:dk2>
      <a:lt2>
        <a:srgbClr val="FFFFFF"/>
      </a:lt2>
      <a:accent1>
        <a:srgbClr val="BBC5D2"/>
      </a:accent1>
      <a:accent2>
        <a:srgbClr val="798DA7"/>
      </a:accent2>
      <a:accent3>
        <a:srgbClr val="00244F"/>
      </a:accent3>
      <a:accent4>
        <a:srgbClr val="FF5F58"/>
      </a:accent4>
      <a:accent5>
        <a:srgbClr val="FF8F8A"/>
      </a:accent5>
      <a:accent6>
        <a:srgbClr val="808080"/>
      </a:accent6>
      <a:hlink>
        <a:srgbClr val="00244F"/>
      </a:hlink>
      <a:folHlink>
        <a:srgbClr val="FF5F58"/>
      </a:folHlink>
    </a:clrScheme>
    <a:fontScheme name="Custom 2">
      <a:majorFont>
        <a:latin typeface="Arial"/>
        <a:ea typeface=""/>
        <a:cs typeface=""/>
      </a:majorFont>
      <a:minorFont>
        <a:latin typeface="Georgi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244F"/>
        </a:dk2>
        <a:lt2>
          <a:srgbClr val="FFFFFF"/>
        </a:lt2>
        <a:accent1>
          <a:srgbClr val="BBC5D2"/>
        </a:accent1>
        <a:accent2>
          <a:srgbClr val="798DA7"/>
        </a:accent2>
        <a:accent3>
          <a:srgbClr val="00244F"/>
        </a:accent3>
        <a:accent4>
          <a:srgbClr val="FF5F58"/>
        </a:accent4>
        <a:accent5>
          <a:srgbClr val="FF8F8A"/>
        </a:accent5>
        <a:accent6>
          <a:srgbClr val="808080"/>
        </a:accent6>
        <a:hlink>
          <a:srgbClr val="00244F"/>
        </a:hlink>
        <a:folHlink>
          <a:srgbClr val="FF5F58"/>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CEPI_template.potx" id="{9B4F640B-EDAC-4409-8EA7-1917688F65B4}" vid="{4DFEED82-DFCE-473F-AB92-02621024E064}"/>
    </a:ext>
  </a:extLst>
</a:theme>
</file>

<file path=ppt/theme/theme10.xml><?xml version="1.0" encoding="utf-8"?>
<a:theme xmlns:a="http://schemas.openxmlformats.org/drawingml/2006/main" name="7_Takeda Slide Master">
  <a:themeElements>
    <a:clrScheme name="Takeda 2021">
      <a:dk1>
        <a:srgbClr val="34373F"/>
      </a:dk1>
      <a:lt1>
        <a:srgbClr val="FFFFFF"/>
      </a:lt1>
      <a:dk2>
        <a:srgbClr val="34373F"/>
      </a:dk2>
      <a:lt2>
        <a:srgbClr val="FFFFFF"/>
      </a:lt2>
      <a:accent1>
        <a:srgbClr val="E1242A"/>
      </a:accent1>
      <a:accent2>
        <a:srgbClr val="891515"/>
      </a:accent2>
      <a:accent3>
        <a:srgbClr val="34373F"/>
      </a:accent3>
      <a:accent4>
        <a:srgbClr val="A1A4AC"/>
      </a:accent4>
      <a:accent5>
        <a:srgbClr val="EDF2F4"/>
      </a:accent5>
      <a:accent6>
        <a:srgbClr val="FFFFFF"/>
      </a:accent6>
      <a:hlink>
        <a:srgbClr val="34373F"/>
      </a:hlink>
      <a:folHlink>
        <a:srgbClr val="34373F"/>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8575">
          <a:noFill/>
        </a:ln>
      </a:spPr>
      <a:bodyPr wrap="none" rtlCol="0" anchor="ctr"/>
      <a:lstStyle>
        <a:defPPr algn="ctr">
          <a:defRPr kumimoji="1" dirty="0"/>
        </a:defPPr>
      </a:lstStyle>
      <a:style>
        <a:lnRef idx="1">
          <a:schemeClr val="accent1"/>
        </a:lnRef>
        <a:fillRef idx="0">
          <a:schemeClr val="accent1"/>
        </a:fillRef>
        <a:effectRef idx="0">
          <a:schemeClr val="accent1"/>
        </a:effectRef>
        <a:fontRef idx="minor">
          <a:schemeClr val="tx1"/>
        </a:fontRef>
      </a:style>
    </a:spDef>
  </a:objectDefaults>
  <a:extraClrSchemeLst/>
  <a:extLst>
    <a:ext uri="{05A4C25C-085E-4340-85A3-A5531E510DB2}">
      <thm15:themeFamily xmlns:thm15="http://schemas.microsoft.com/office/thememl/2012/main" name="Takeda_Slide_Template_EN" id="{3188348F-D58F-EF47-8B7F-AAF6EE1EACA1}" vid="{EBAFB57F-7362-DE41-A925-7E39E2FA1A8B}"/>
    </a:ext>
  </a:extLst>
</a:theme>
</file>

<file path=ppt/theme/theme11.xml><?xml version="1.0" encoding="utf-8"?>
<a:theme xmlns:a="http://schemas.openxmlformats.org/drawingml/2006/main" name="2_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17_Urbano">
  <a:themeElements>
    <a:clrScheme name="Urbano">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Urbano">
      <a:majorFont>
        <a:latin typeface="Trebuchet MS"/>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eorgia"/>
        <a:ea typeface=""/>
        <a:cs typeface=""/>
        <a:font script="Jpan" typeface="HG明朝B"/>
        <a:font script="Hang" typeface="맑은 고딕"/>
        <a:font script="Hans" typeface="宋体"/>
        <a:font script="Hant" typeface="新細明體"/>
        <a:font script="Arab" typeface="Arial"/>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Urbano">
      <a:fillStyleLst>
        <a:solidFill>
          <a:schemeClr val="phClr"/>
        </a:solidFill>
        <a:gradFill rotWithShape="1">
          <a:gsLst>
            <a:gs pos="0">
              <a:schemeClr val="phClr">
                <a:tint val="1000"/>
                <a:satMod val="255000"/>
              </a:schemeClr>
            </a:gs>
            <a:gs pos="55000">
              <a:schemeClr val="phClr">
                <a:tint val="12000"/>
                <a:satMod val="255000"/>
              </a:schemeClr>
            </a:gs>
            <a:gs pos="100000">
              <a:schemeClr val="phClr">
                <a:tint val="45000"/>
                <a:satMod val="250000"/>
              </a:schemeClr>
            </a:gs>
          </a:gsLst>
          <a:path path="circle">
            <a:fillToRect l="-40000" t="-90000" r="140000" b="190000"/>
          </a:path>
        </a:gradFill>
        <a:gradFill rotWithShape="1">
          <a:gsLst>
            <a:gs pos="0">
              <a:schemeClr val="phClr">
                <a:tint val="43000"/>
                <a:satMod val="165000"/>
              </a:schemeClr>
            </a:gs>
            <a:gs pos="55000">
              <a:schemeClr val="phClr">
                <a:tint val="83000"/>
                <a:satMod val="155000"/>
              </a:schemeClr>
            </a:gs>
            <a:gs pos="100000">
              <a:schemeClr val="phClr">
                <a:shade val="85000"/>
              </a:schemeClr>
            </a:gs>
          </a:gsLst>
          <a:path path="circle">
            <a:fillToRect l="-40000" t="-90000" r="140000" b="190000"/>
          </a:path>
        </a:gradFill>
      </a:fillStyleLst>
      <a:lnStyleLst>
        <a:ln w="9525" cap="flat" cmpd="sng" algn="ctr">
          <a:solidFill>
            <a:schemeClr val="phClr"/>
          </a:solidFill>
          <a:prstDash val="solid"/>
        </a:ln>
        <a:ln w="19050" cap="flat" cmpd="sng" algn="ctr">
          <a:solidFill>
            <a:schemeClr val="phClr"/>
          </a:solidFill>
          <a:prstDash val="solid"/>
        </a:ln>
        <a:ln w="31750" cap="flat" cmpd="sng" algn="ctr">
          <a:solidFill>
            <a:schemeClr val="phClr"/>
          </a:solidFill>
          <a:prstDash val="solid"/>
        </a:ln>
      </a:lnStyleLst>
      <a:effectStyleLst>
        <a:effectStyle>
          <a:effectLst>
            <a:outerShdw blurRad="51500" dist="25400" dir="5400000" rotWithShape="0">
              <a:srgbClr val="000000">
                <a:alpha val="40000"/>
              </a:srgbClr>
            </a:outerShdw>
          </a:effectLst>
        </a:effectStyle>
        <a:effectStyle>
          <a:effectLst>
            <a:outerShdw blurRad="50800" dist="25400" dir="5400000" rotWithShape="0">
              <a:srgbClr val="000000">
                <a:alpha val="4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flat" dir="t">
              <a:rot lat="0" lon="0" rev="20040000"/>
            </a:lightRig>
          </a:scene3d>
          <a:sp3d contourW="12700" prstMaterial="dkEdge">
            <a:bevelT w="25400" h="38100" prst="convex"/>
            <a:contourClr>
              <a:schemeClr val="phClr">
                <a:satMod val="115000"/>
              </a:schemeClr>
            </a:contourClr>
          </a:sp3d>
        </a:effectStyle>
      </a:effectStyleLst>
      <a:bgFillStyleLst>
        <a:solidFill>
          <a:schemeClr val="phClr"/>
        </a:solidFill>
        <a:gradFill rotWithShape="1">
          <a:gsLst>
            <a:gs pos="100000">
              <a:schemeClr val="phClr">
                <a:tint val="80000"/>
                <a:satMod val="250000"/>
              </a:schemeClr>
            </a:gs>
            <a:gs pos="60000">
              <a:schemeClr val="phClr">
                <a:shade val="38000"/>
                <a:satMod val="175000"/>
              </a:schemeClr>
            </a:gs>
            <a:gs pos="0">
              <a:schemeClr val="phClr">
                <a:shade val="30000"/>
                <a:satMod val="175000"/>
              </a:schemeClr>
            </a:gs>
          </a:gsLst>
          <a:lin ang="5400000" scaled="0"/>
        </a:gradFill>
        <a:blipFill>
          <a:blip xmlns:r="http://schemas.openxmlformats.org/officeDocument/2006/relationships" r:embed="rId1">
            <a:duotone>
              <a:schemeClr val="phClr">
                <a:shade val="48000"/>
              </a:schemeClr>
              <a:schemeClr val="phClr">
                <a:tint val="96000"/>
                <a:satMod val="150000"/>
              </a:schemeClr>
            </a:duotone>
          </a:blip>
          <a:tile tx="0" ty="0" sx="80000" sy="80000" flip="none" algn="tl"/>
        </a:blipFill>
      </a:bgFillStyleLst>
    </a:fmtScheme>
  </a:themeElements>
  <a:objectDefaults/>
  <a:extraClrSchemeLst/>
</a:theme>
</file>

<file path=ppt/theme/theme13.xml><?xml version="1.0" encoding="utf-8"?>
<a:theme xmlns:a="http://schemas.openxmlformats.org/drawingml/2006/main" name="18_Urbano">
  <a:themeElements>
    <a:clrScheme name="Urbano">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Urbano">
      <a:majorFont>
        <a:latin typeface="Trebuchet MS"/>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eorgia"/>
        <a:ea typeface=""/>
        <a:cs typeface=""/>
        <a:font script="Jpan" typeface="HG明朝B"/>
        <a:font script="Hang" typeface="맑은 고딕"/>
        <a:font script="Hans" typeface="宋体"/>
        <a:font script="Hant" typeface="新細明體"/>
        <a:font script="Arab" typeface="Arial"/>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Urbano">
      <a:fillStyleLst>
        <a:solidFill>
          <a:schemeClr val="phClr"/>
        </a:solidFill>
        <a:gradFill rotWithShape="1">
          <a:gsLst>
            <a:gs pos="0">
              <a:schemeClr val="phClr">
                <a:tint val="1000"/>
                <a:satMod val="255000"/>
              </a:schemeClr>
            </a:gs>
            <a:gs pos="55000">
              <a:schemeClr val="phClr">
                <a:tint val="12000"/>
                <a:satMod val="255000"/>
              </a:schemeClr>
            </a:gs>
            <a:gs pos="100000">
              <a:schemeClr val="phClr">
                <a:tint val="45000"/>
                <a:satMod val="250000"/>
              </a:schemeClr>
            </a:gs>
          </a:gsLst>
          <a:path path="circle">
            <a:fillToRect l="-40000" t="-90000" r="140000" b="190000"/>
          </a:path>
        </a:gradFill>
        <a:gradFill rotWithShape="1">
          <a:gsLst>
            <a:gs pos="0">
              <a:schemeClr val="phClr">
                <a:tint val="43000"/>
                <a:satMod val="165000"/>
              </a:schemeClr>
            </a:gs>
            <a:gs pos="55000">
              <a:schemeClr val="phClr">
                <a:tint val="83000"/>
                <a:satMod val="155000"/>
              </a:schemeClr>
            </a:gs>
            <a:gs pos="100000">
              <a:schemeClr val="phClr">
                <a:shade val="85000"/>
              </a:schemeClr>
            </a:gs>
          </a:gsLst>
          <a:path path="circle">
            <a:fillToRect l="-40000" t="-90000" r="140000" b="190000"/>
          </a:path>
        </a:gradFill>
      </a:fillStyleLst>
      <a:lnStyleLst>
        <a:ln w="9525" cap="flat" cmpd="sng" algn="ctr">
          <a:solidFill>
            <a:schemeClr val="phClr"/>
          </a:solidFill>
          <a:prstDash val="solid"/>
        </a:ln>
        <a:ln w="19050" cap="flat" cmpd="sng" algn="ctr">
          <a:solidFill>
            <a:schemeClr val="phClr"/>
          </a:solidFill>
          <a:prstDash val="solid"/>
        </a:ln>
        <a:ln w="31750" cap="flat" cmpd="sng" algn="ctr">
          <a:solidFill>
            <a:schemeClr val="phClr"/>
          </a:solidFill>
          <a:prstDash val="solid"/>
        </a:ln>
      </a:lnStyleLst>
      <a:effectStyleLst>
        <a:effectStyle>
          <a:effectLst>
            <a:outerShdw blurRad="51500" dist="25400" dir="5400000" rotWithShape="0">
              <a:srgbClr val="000000">
                <a:alpha val="40000"/>
              </a:srgbClr>
            </a:outerShdw>
          </a:effectLst>
        </a:effectStyle>
        <a:effectStyle>
          <a:effectLst>
            <a:outerShdw blurRad="50800" dist="25400" dir="5400000" rotWithShape="0">
              <a:srgbClr val="000000">
                <a:alpha val="4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flat" dir="t">
              <a:rot lat="0" lon="0" rev="20040000"/>
            </a:lightRig>
          </a:scene3d>
          <a:sp3d contourW="12700" prstMaterial="dkEdge">
            <a:bevelT w="25400" h="38100" prst="convex"/>
            <a:contourClr>
              <a:schemeClr val="phClr">
                <a:satMod val="115000"/>
              </a:schemeClr>
            </a:contourClr>
          </a:sp3d>
        </a:effectStyle>
      </a:effectStyleLst>
      <a:bgFillStyleLst>
        <a:solidFill>
          <a:schemeClr val="phClr"/>
        </a:solidFill>
        <a:gradFill rotWithShape="1">
          <a:gsLst>
            <a:gs pos="100000">
              <a:schemeClr val="phClr">
                <a:tint val="80000"/>
                <a:satMod val="250000"/>
              </a:schemeClr>
            </a:gs>
            <a:gs pos="60000">
              <a:schemeClr val="phClr">
                <a:shade val="38000"/>
                <a:satMod val="175000"/>
              </a:schemeClr>
            </a:gs>
            <a:gs pos="0">
              <a:schemeClr val="phClr">
                <a:shade val="30000"/>
                <a:satMod val="175000"/>
              </a:schemeClr>
            </a:gs>
          </a:gsLst>
          <a:lin ang="5400000" scaled="0"/>
        </a:gradFill>
        <a:blipFill>
          <a:blip xmlns:r="http://schemas.openxmlformats.org/officeDocument/2006/relationships" r:embed="rId1">
            <a:duotone>
              <a:schemeClr val="phClr">
                <a:shade val="48000"/>
              </a:schemeClr>
              <a:schemeClr val="phClr">
                <a:tint val="96000"/>
                <a:satMod val="150000"/>
              </a:schemeClr>
            </a:duotone>
          </a:blip>
          <a:tile tx="0" ty="0" sx="80000" sy="80000" flip="none" algn="tl"/>
        </a:blipFill>
      </a:bgFillStyleLst>
    </a:fmtScheme>
  </a:themeElements>
  <a:objectDefaults/>
  <a:extraClrSchemeLst/>
</a:theme>
</file>

<file path=ppt/theme/theme14.xml><?xml version="1.0" encoding="utf-8"?>
<a:theme xmlns:a="http://schemas.openxmlformats.org/drawingml/2006/main" name="1_Takeda_ppt_uroko_tpc_akanered">
  <a:themeElements>
    <a:clrScheme name="Custom 22">
      <a:dk1>
        <a:srgbClr val="000000"/>
      </a:dk1>
      <a:lt1>
        <a:srgbClr val="FFFFFF"/>
      </a:lt1>
      <a:dk2>
        <a:srgbClr val="34373F"/>
      </a:dk2>
      <a:lt2>
        <a:srgbClr val="EDF2F4"/>
      </a:lt2>
      <a:accent1>
        <a:srgbClr val="E1242A"/>
      </a:accent1>
      <a:accent2>
        <a:srgbClr val="891515"/>
      </a:accent2>
      <a:accent3>
        <a:srgbClr val="A1A4AC"/>
      </a:accent3>
      <a:accent4>
        <a:srgbClr val="F78C85"/>
      </a:accent4>
      <a:accent5>
        <a:srgbClr val="BD120A"/>
      </a:accent5>
      <a:accent6>
        <a:srgbClr val="450A0A"/>
      </a:accent6>
      <a:hlink>
        <a:srgbClr val="000000"/>
      </a:hlink>
      <a:folHlink>
        <a:srgbClr val="000000"/>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lIns="0" tIns="0" rIns="0" bIns="0" rtlCol="0" anchor="ctr"/>
      <a:lstStyle>
        <a:defPPr algn="ctr">
          <a:defRPr sz="1200"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15.xml><?xml version="1.0" encoding="utf-8"?>
<a:theme xmlns:a="http://schemas.openxmlformats.org/drawingml/2006/main" name="3_Takeda Slide Master">
  <a:themeElements>
    <a:clrScheme name="Takeda 2021">
      <a:dk1>
        <a:srgbClr val="34373F"/>
      </a:dk1>
      <a:lt1>
        <a:srgbClr val="FFFFFF"/>
      </a:lt1>
      <a:dk2>
        <a:srgbClr val="34373F"/>
      </a:dk2>
      <a:lt2>
        <a:srgbClr val="FFFFFF"/>
      </a:lt2>
      <a:accent1>
        <a:srgbClr val="E1242A"/>
      </a:accent1>
      <a:accent2>
        <a:srgbClr val="891515"/>
      </a:accent2>
      <a:accent3>
        <a:srgbClr val="34373F"/>
      </a:accent3>
      <a:accent4>
        <a:srgbClr val="A1A4AC"/>
      </a:accent4>
      <a:accent5>
        <a:srgbClr val="EDF2F4"/>
      </a:accent5>
      <a:accent6>
        <a:srgbClr val="FFFFFF"/>
      </a:accent6>
      <a:hlink>
        <a:srgbClr val="34373F"/>
      </a:hlink>
      <a:folHlink>
        <a:srgbClr val="34373F"/>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8575">
          <a:noFill/>
        </a:ln>
      </a:spPr>
      <a:bodyPr wrap="none" rtlCol="0" anchor="ctr"/>
      <a:lstStyle>
        <a:defPPr algn="ctr">
          <a:defRPr kumimoji="1" dirty="0"/>
        </a:defPPr>
      </a:lstStyle>
      <a:style>
        <a:lnRef idx="1">
          <a:schemeClr val="accent1"/>
        </a:lnRef>
        <a:fillRef idx="0">
          <a:schemeClr val="accent1"/>
        </a:fillRef>
        <a:effectRef idx="0">
          <a:schemeClr val="accent1"/>
        </a:effectRef>
        <a:fontRef idx="minor">
          <a:schemeClr val="tx1"/>
        </a:fontRef>
      </a:style>
    </a:spDef>
  </a:objectDefaults>
  <a:extraClrSchemeLst/>
  <a:extLst>
    <a:ext uri="{05A4C25C-085E-4340-85A3-A5531E510DB2}">
      <thm15:themeFamily xmlns:thm15="http://schemas.microsoft.com/office/thememl/2012/main" name="Presentation1" id="{CC671639-4675-498F-8406-CC38EFAC0128}" vid="{D2ECA16B-CEDF-4EB1-A5E5-09346E461B18}"/>
    </a:ext>
  </a:extLst>
</a:theme>
</file>

<file path=ppt/theme/theme16.xml><?xml version="1.0" encoding="utf-8"?>
<a:theme xmlns:a="http://schemas.openxmlformats.org/drawingml/2006/main" name="5_Takeda Slide Master">
  <a:themeElements>
    <a:clrScheme name="Takeda 2021">
      <a:dk1>
        <a:srgbClr val="34373F"/>
      </a:dk1>
      <a:lt1>
        <a:srgbClr val="FFFFFF"/>
      </a:lt1>
      <a:dk2>
        <a:srgbClr val="34373F"/>
      </a:dk2>
      <a:lt2>
        <a:srgbClr val="FFFFFF"/>
      </a:lt2>
      <a:accent1>
        <a:srgbClr val="E1242A"/>
      </a:accent1>
      <a:accent2>
        <a:srgbClr val="891515"/>
      </a:accent2>
      <a:accent3>
        <a:srgbClr val="34373F"/>
      </a:accent3>
      <a:accent4>
        <a:srgbClr val="A1A4AC"/>
      </a:accent4>
      <a:accent5>
        <a:srgbClr val="EDF2F4"/>
      </a:accent5>
      <a:accent6>
        <a:srgbClr val="FFFFFF"/>
      </a:accent6>
      <a:hlink>
        <a:srgbClr val="34373F"/>
      </a:hlink>
      <a:folHlink>
        <a:srgbClr val="34373F"/>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8575">
          <a:noFill/>
        </a:ln>
      </a:spPr>
      <a:bodyPr wrap="none" rtlCol="0" anchor="ctr"/>
      <a:lstStyle>
        <a:defPPr algn="ctr">
          <a:defRPr kumimoji="1" dirty="0"/>
        </a:defPPr>
      </a:lstStyle>
      <a:style>
        <a:lnRef idx="1">
          <a:schemeClr val="accent1"/>
        </a:lnRef>
        <a:fillRef idx="0">
          <a:schemeClr val="accent1"/>
        </a:fillRef>
        <a:effectRef idx="0">
          <a:schemeClr val="accent1"/>
        </a:effectRef>
        <a:fontRef idx="minor">
          <a:schemeClr val="tx1"/>
        </a:fontRef>
      </a:style>
    </a:spDef>
  </a:objectDefaults>
  <a:extraClrSchemeLst/>
  <a:extLst>
    <a:ext uri="{05A4C25C-085E-4340-85A3-A5531E510DB2}">
      <thm15:themeFamily xmlns:thm15="http://schemas.microsoft.com/office/thememl/2012/main" name="Presentation1" id="{CC671639-4675-498F-8406-CC38EFAC0128}" vid="{D2ECA16B-CEDF-4EB1-A5E5-09346E461B18}"/>
    </a:ext>
  </a:extLst>
</a:theme>
</file>

<file path=ppt/theme/theme17.xml><?xml version="1.0" encoding="utf-8"?>
<a:theme xmlns:a="http://schemas.openxmlformats.org/drawingml/2006/main" name="6_Takeda Slide Master">
  <a:themeElements>
    <a:clrScheme name="Takeda 2021">
      <a:dk1>
        <a:srgbClr val="34373F"/>
      </a:dk1>
      <a:lt1>
        <a:srgbClr val="FFFFFF"/>
      </a:lt1>
      <a:dk2>
        <a:srgbClr val="34373F"/>
      </a:dk2>
      <a:lt2>
        <a:srgbClr val="FFFFFF"/>
      </a:lt2>
      <a:accent1>
        <a:srgbClr val="E1242A"/>
      </a:accent1>
      <a:accent2>
        <a:srgbClr val="891515"/>
      </a:accent2>
      <a:accent3>
        <a:srgbClr val="34373F"/>
      </a:accent3>
      <a:accent4>
        <a:srgbClr val="A1A4AC"/>
      </a:accent4>
      <a:accent5>
        <a:srgbClr val="EDF2F4"/>
      </a:accent5>
      <a:accent6>
        <a:srgbClr val="FFFFFF"/>
      </a:accent6>
      <a:hlink>
        <a:srgbClr val="34373F"/>
      </a:hlink>
      <a:folHlink>
        <a:srgbClr val="34373F"/>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8575">
          <a:noFill/>
        </a:ln>
      </a:spPr>
      <a:bodyPr wrap="none" rtlCol="0" anchor="ctr"/>
      <a:lstStyle>
        <a:defPPr algn="ctr">
          <a:defRPr kumimoji="1" dirty="0"/>
        </a:defPPr>
      </a:lstStyle>
      <a:style>
        <a:lnRef idx="1">
          <a:schemeClr val="accent1"/>
        </a:lnRef>
        <a:fillRef idx="0">
          <a:schemeClr val="accent1"/>
        </a:fillRef>
        <a:effectRef idx="0">
          <a:schemeClr val="accent1"/>
        </a:effectRef>
        <a:fontRef idx="minor">
          <a:schemeClr val="tx1"/>
        </a:fontRef>
      </a:style>
    </a:spDef>
  </a:objectDefaults>
  <a:extraClrSchemeLst/>
  <a:extLst>
    <a:ext uri="{05A4C25C-085E-4340-85A3-A5531E510DB2}">
      <thm15:themeFamily xmlns:thm15="http://schemas.microsoft.com/office/thememl/2012/main" name="Presentation1" id="{CC671639-4675-498F-8406-CC38EFAC0128}" vid="{D2ECA16B-CEDF-4EB1-A5E5-09346E461B18}"/>
    </a:ext>
  </a:extLst>
</a:theme>
</file>

<file path=ppt/theme/theme18.xml><?xml version="1.0" encoding="utf-8"?>
<a:theme xmlns:a="http://schemas.openxmlformats.org/drawingml/2006/main" name="4_Takeda_ppt_uroko_tpc_akanered">
  <a:themeElements>
    <a:clrScheme name="Custom 22">
      <a:dk1>
        <a:srgbClr val="000000"/>
      </a:dk1>
      <a:lt1>
        <a:srgbClr val="FFFFFF"/>
      </a:lt1>
      <a:dk2>
        <a:srgbClr val="34373F"/>
      </a:dk2>
      <a:lt2>
        <a:srgbClr val="EDF2F4"/>
      </a:lt2>
      <a:accent1>
        <a:srgbClr val="E1242A"/>
      </a:accent1>
      <a:accent2>
        <a:srgbClr val="891515"/>
      </a:accent2>
      <a:accent3>
        <a:srgbClr val="A1A4AC"/>
      </a:accent3>
      <a:accent4>
        <a:srgbClr val="F78C85"/>
      </a:accent4>
      <a:accent5>
        <a:srgbClr val="BD120A"/>
      </a:accent5>
      <a:accent6>
        <a:srgbClr val="450A0A"/>
      </a:accent6>
      <a:hlink>
        <a:srgbClr val="000000"/>
      </a:hlink>
      <a:folHlink>
        <a:srgbClr val="000000"/>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lIns="0" tIns="0" rIns="0" bIns="0" rtlCol="0" anchor="ctr"/>
      <a:lstStyle>
        <a:defPPr algn="ctr">
          <a:defRPr sz="1200"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19.xml><?xml version="1.0" encoding="utf-8"?>
<a:theme xmlns:a="http://schemas.openxmlformats.org/drawingml/2006/main" name="17_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6_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3_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1.xml><?xml version="1.0" encoding="utf-8"?>
<a:theme xmlns:a="http://schemas.openxmlformats.org/drawingml/2006/main" name="18_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2.xml><?xml version="1.0" encoding="utf-8"?>
<a:theme xmlns:a="http://schemas.openxmlformats.org/drawingml/2006/main" name="19_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3.xml><?xml version="1.0" encoding="utf-8"?>
<a:theme xmlns:a="http://schemas.openxmlformats.org/drawingml/2006/main" name="4_Tema de Office">
  <a:themeElements>
    <a:clrScheme name="Elemental">
      <a:dk1>
        <a:sysClr val="windowText" lastClr="000000"/>
      </a:dk1>
      <a:lt1>
        <a:sysClr val="window" lastClr="FFFFFF"/>
      </a:lt1>
      <a:dk2>
        <a:srgbClr val="242852"/>
      </a:dk2>
      <a:lt2>
        <a:srgbClr val="ACCBF9"/>
      </a:lt2>
      <a:accent1>
        <a:srgbClr val="629DD1"/>
      </a:accent1>
      <a:accent2>
        <a:srgbClr val="297FD5"/>
      </a:accent2>
      <a:accent3>
        <a:srgbClr val="7F8FA9"/>
      </a:accent3>
      <a:accent4>
        <a:srgbClr val="4A66AC"/>
      </a:accent4>
      <a:accent5>
        <a:srgbClr val="5AA2AE"/>
      </a:accent5>
      <a:accent6>
        <a:srgbClr val="9D90A0"/>
      </a:accent6>
      <a:hlink>
        <a:srgbClr val="9454C3"/>
      </a:hlink>
      <a:folHlink>
        <a:srgbClr val="3EBBF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4.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4_GSK ">
  <a:themeElements>
    <a:clrScheme name="GSK Colour palette">
      <a:dk1>
        <a:srgbClr val="635A54"/>
      </a:dk1>
      <a:lt1>
        <a:srgbClr val="FFFFFF"/>
      </a:lt1>
      <a:dk2>
        <a:srgbClr val="9A8B7D"/>
      </a:dk2>
      <a:lt2>
        <a:srgbClr val="FF6600"/>
      </a:lt2>
      <a:accent1>
        <a:srgbClr val="FF6600"/>
      </a:accent1>
      <a:accent2>
        <a:srgbClr val="635A54"/>
      </a:accent2>
      <a:accent3>
        <a:srgbClr val="9A8B7D"/>
      </a:accent3>
      <a:accent4>
        <a:srgbClr val="00B6C9"/>
      </a:accent4>
      <a:accent5>
        <a:srgbClr val="BE0077"/>
      </a:accent5>
      <a:accent6>
        <a:srgbClr val="4A8322"/>
      </a:accent6>
      <a:hlink>
        <a:srgbClr val="FF6600"/>
      </a:hlink>
      <a:folHlink>
        <a:srgbClr val="9A8B7D"/>
      </a:folHlink>
    </a:clrScheme>
    <a:fontScheme name="GS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headEnd/>
          <a:tailEnd/>
        </a:ln>
        <a:effectLst/>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marL="180975" indent="-180975" eaLnBrk="0" fontAlgn="auto" hangingPunct="0">
          <a:spcBef>
            <a:spcPts val="0"/>
          </a:spcBef>
          <a:spcAft>
            <a:spcPts val="0"/>
          </a:spcAft>
          <a:buClr>
            <a:schemeClr val="bg1"/>
          </a:buClr>
          <a:buFont typeface="Arial" pitchFamily="34" charset="0"/>
          <a:buChar char="–"/>
          <a:defRPr sz="1200" b="1" kern="0" dirty="0" err="1" smtClean="0">
            <a:solidFill>
              <a:srgbClr val="FFFFFF"/>
            </a:solidFill>
            <a:latin typeface="Arial"/>
          </a:defRPr>
        </a:defPPr>
      </a:lstStyle>
      <a:style>
        <a:lnRef idx="1">
          <a:schemeClr val="accent1"/>
        </a:lnRef>
        <a:fillRef idx="3">
          <a:schemeClr val="accent1"/>
        </a:fillRef>
        <a:effectRef idx="2">
          <a:schemeClr val="accent1"/>
        </a:effectRef>
        <a:fontRef idx="minor">
          <a:schemeClr val="lt1"/>
        </a:fontRef>
      </a:style>
    </a:spDef>
    <a:txDef>
      <a:spPr>
        <a:noFill/>
      </a:spPr>
      <a:bodyPr wrap="square" rtlCol="0">
        <a:spAutoFit/>
      </a:bodyPr>
      <a:lstStyle>
        <a:defPPr marL="171450" indent="-171450">
          <a:buClr>
            <a:schemeClr val="tx1"/>
          </a:buClr>
          <a:buFont typeface="Arial" pitchFamily="34" charset="0"/>
          <a:buChar char="–"/>
          <a:defRPr sz="1200" dirty="0" err="1" smtClean="0"/>
        </a:defPPr>
      </a:lstStyle>
    </a:txDef>
  </a:objectDefaults>
  <a:extraClrSchemeLst/>
</a:theme>
</file>

<file path=ppt/theme/theme4.xml><?xml version="1.0" encoding="utf-8"?>
<a:theme xmlns:a="http://schemas.openxmlformats.org/drawingml/2006/main" name="GSK ">
  <a:themeElements>
    <a:clrScheme name="GSK 2017 3">
      <a:dk1>
        <a:srgbClr val="544F40"/>
      </a:dk1>
      <a:lt1>
        <a:srgbClr val="FFFFFF"/>
      </a:lt1>
      <a:dk2>
        <a:srgbClr val="15717D"/>
      </a:dk2>
      <a:lt2>
        <a:srgbClr val="F36633"/>
      </a:lt2>
      <a:accent1>
        <a:srgbClr val="F36633"/>
      </a:accent1>
      <a:accent2>
        <a:srgbClr val="544F40"/>
      </a:accent2>
      <a:accent3>
        <a:srgbClr val="008A00"/>
      </a:accent3>
      <a:accent4>
        <a:srgbClr val="BC1077"/>
      </a:accent4>
      <a:accent5>
        <a:srgbClr val="40488D"/>
      </a:accent5>
      <a:accent6>
        <a:srgbClr val="ED003C"/>
      </a:accent6>
      <a:hlink>
        <a:srgbClr val="F36633"/>
      </a:hlink>
      <a:folHlink>
        <a:srgbClr val="F36633"/>
      </a:folHlink>
    </a:clrScheme>
    <a:fontScheme name="GS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a:tailEnd/>
        </a:ln>
        <a:effectLst/>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ctr" eaLnBrk="0" fontAlgn="auto" hangingPunct="0">
          <a:spcBef>
            <a:spcPts val="0"/>
          </a:spcBef>
          <a:spcAft>
            <a:spcPts val="0"/>
          </a:spcAft>
          <a:buClr>
            <a:schemeClr val="bg1"/>
          </a:buClr>
          <a:defRPr sz="1200" kern="0" dirty="0" err="1" smtClean="0">
            <a:solidFill>
              <a:srgbClr val="FFFFFF"/>
            </a:solidFill>
            <a:latin typeface="Arial"/>
          </a:defRPr>
        </a:defPPr>
      </a:lstStyle>
      <a:style>
        <a:lnRef idx="1">
          <a:schemeClr val="accent1"/>
        </a:lnRef>
        <a:fillRef idx="3">
          <a:schemeClr val="accent1"/>
        </a:fillRef>
        <a:effectRef idx="2">
          <a:schemeClr val="accent1"/>
        </a:effectRef>
        <a:fontRef idx="minor">
          <a:schemeClr val="lt1"/>
        </a:fontRef>
      </a:style>
    </a:spDef>
    <a:txDef>
      <a:spPr>
        <a:noFill/>
      </a:spPr>
      <a:bodyPr wrap="square" rtlCol="0">
        <a:noAutofit/>
      </a:bodyPr>
      <a:lstStyle>
        <a:defPPr>
          <a:buClr>
            <a:schemeClr val="tx1"/>
          </a:buClr>
          <a:defRPr sz="1200" dirty="0" err="1"/>
        </a:defPPr>
      </a:lstStyle>
    </a:txDef>
  </a:objectDefaults>
  <a:extraClrSchemeLst/>
  <a:extLst>
    <a:ext uri="{05A4C25C-085E-4340-85A3-A5531E510DB2}">
      <thm15:themeFamily xmlns:thm15="http://schemas.microsoft.com/office/thememl/2012/main" name="Presentation1" id="{968F2734-73BA-49A5-9E69-ED03CB0202EA}" vid="{A4ACC25D-5F18-4D46-A72B-C74866216F45}"/>
    </a:ext>
  </a:extLst>
</a:theme>
</file>

<file path=ppt/theme/theme5.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Retrospección">
  <a:themeElements>
    <a:clrScheme name="Verde">
      <a:dk1>
        <a:sysClr val="windowText" lastClr="000000"/>
      </a:dk1>
      <a:lt1>
        <a:sysClr val="window" lastClr="FFFFFF"/>
      </a:lt1>
      <a:dk2>
        <a:srgbClr val="455F51"/>
      </a:dk2>
      <a:lt2>
        <a:srgbClr val="E3DED1"/>
      </a:lt2>
      <a:accent1>
        <a:srgbClr val="549E39"/>
      </a:accent1>
      <a:accent2>
        <a:srgbClr val="8AB833"/>
      </a:accent2>
      <a:accent3>
        <a:srgbClr val="C0CF3A"/>
      </a:accent3>
      <a:accent4>
        <a:srgbClr val="029676"/>
      </a:accent4>
      <a:accent5>
        <a:srgbClr val="4AB5C4"/>
      </a:accent5>
      <a:accent6>
        <a:srgbClr val="0989B1"/>
      </a:accent6>
      <a:hlink>
        <a:srgbClr val="6B9F25"/>
      </a:hlink>
      <a:folHlink>
        <a:srgbClr val="BA6906"/>
      </a:folHlink>
    </a:clrScheme>
    <a:fontScheme name="Retrospección">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ción">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D26EA377-59BD-4C9C-9D94-EE8416EE4C79}"/>
    </a:ext>
  </a:extLst>
</a:theme>
</file>

<file path=ppt/theme/theme7.xml><?xml version="1.0" encoding="utf-8"?>
<a:theme xmlns:a="http://schemas.openxmlformats.org/drawingml/2006/main" name="1_Tema de Office">
  <a:themeElements>
    <a:clrScheme name="Elemental">
      <a:dk1>
        <a:sysClr val="windowText" lastClr="000000"/>
      </a:dk1>
      <a:lt1>
        <a:sysClr val="window" lastClr="FFFFFF"/>
      </a:lt1>
      <a:dk2>
        <a:srgbClr val="242852"/>
      </a:dk2>
      <a:lt2>
        <a:srgbClr val="ACCBF9"/>
      </a:lt2>
      <a:accent1>
        <a:srgbClr val="629DD1"/>
      </a:accent1>
      <a:accent2>
        <a:srgbClr val="297FD5"/>
      </a:accent2>
      <a:accent3>
        <a:srgbClr val="7F8FA9"/>
      </a:accent3>
      <a:accent4>
        <a:srgbClr val="4A66AC"/>
      </a:accent4>
      <a:accent5>
        <a:srgbClr val="5AA2AE"/>
      </a:accent5>
      <a:accent6>
        <a:srgbClr val="9D90A0"/>
      </a:accent6>
      <a:hlink>
        <a:srgbClr val="9454C3"/>
      </a:hlink>
      <a:folHlink>
        <a:srgbClr val="3EBBF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Takeda_ppt_uroko_tpc_akanered">
  <a:themeElements>
    <a:clrScheme name="Custom 22">
      <a:dk1>
        <a:srgbClr val="000000"/>
      </a:dk1>
      <a:lt1>
        <a:srgbClr val="FFFFFF"/>
      </a:lt1>
      <a:dk2>
        <a:srgbClr val="34373F"/>
      </a:dk2>
      <a:lt2>
        <a:srgbClr val="EDF2F4"/>
      </a:lt2>
      <a:accent1>
        <a:srgbClr val="E1242A"/>
      </a:accent1>
      <a:accent2>
        <a:srgbClr val="891515"/>
      </a:accent2>
      <a:accent3>
        <a:srgbClr val="A1A4AC"/>
      </a:accent3>
      <a:accent4>
        <a:srgbClr val="F78C85"/>
      </a:accent4>
      <a:accent5>
        <a:srgbClr val="BD120A"/>
      </a:accent5>
      <a:accent6>
        <a:srgbClr val="450A0A"/>
      </a:accent6>
      <a:hlink>
        <a:srgbClr val="000000"/>
      </a:hlink>
      <a:folHlink>
        <a:srgbClr val="000000"/>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lIns="0" tIns="0" rIns="0" bIns="0" rtlCol="0" anchor="ctr"/>
      <a:lstStyle>
        <a:defPPr algn="ctr">
          <a:defRPr sz="1200"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9.xml><?xml version="1.0" encoding="utf-8"?>
<a:theme xmlns:a="http://schemas.openxmlformats.org/drawingml/2006/main" name="4_Takeda Slide Master">
  <a:themeElements>
    <a:clrScheme name="Takeda 2021">
      <a:dk1>
        <a:srgbClr val="34373F"/>
      </a:dk1>
      <a:lt1>
        <a:srgbClr val="FFFFFF"/>
      </a:lt1>
      <a:dk2>
        <a:srgbClr val="34373F"/>
      </a:dk2>
      <a:lt2>
        <a:srgbClr val="FFFFFF"/>
      </a:lt2>
      <a:accent1>
        <a:srgbClr val="E1242A"/>
      </a:accent1>
      <a:accent2>
        <a:srgbClr val="891515"/>
      </a:accent2>
      <a:accent3>
        <a:srgbClr val="34373F"/>
      </a:accent3>
      <a:accent4>
        <a:srgbClr val="A1A4AC"/>
      </a:accent4>
      <a:accent5>
        <a:srgbClr val="EDF2F4"/>
      </a:accent5>
      <a:accent6>
        <a:srgbClr val="FFFFFF"/>
      </a:accent6>
      <a:hlink>
        <a:srgbClr val="34373F"/>
      </a:hlink>
      <a:folHlink>
        <a:srgbClr val="34373F"/>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8575">
          <a:noFill/>
        </a:ln>
      </a:spPr>
      <a:bodyPr wrap="none" rtlCol="0" anchor="ctr"/>
      <a:lstStyle>
        <a:defPPr algn="ctr">
          <a:defRPr kumimoji="1" dirty="0"/>
        </a:defPPr>
      </a:lstStyle>
      <a:style>
        <a:lnRef idx="1">
          <a:schemeClr val="accent1"/>
        </a:lnRef>
        <a:fillRef idx="0">
          <a:schemeClr val="accent1"/>
        </a:fillRef>
        <a:effectRef idx="0">
          <a:schemeClr val="accent1"/>
        </a:effectRef>
        <a:fontRef idx="minor">
          <a:schemeClr val="tx1"/>
        </a:fontRef>
      </a:style>
    </a:spDef>
  </a:objectDefaults>
  <a:extraClrSchemeLst/>
  <a:extLst>
    <a:ext uri="{05A4C25C-085E-4340-85A3-A5531E510DB2}">
      <thm15:themeFamily xmlns:thm15="http://schemas.microsoft.com/office/thememl/2012/main" name="Takeda_Slide_Template_EN" id="{3188348F-D58F-EF47-8B7F-AAF6EE1EACA1}" vid="{EBAFB57F-7362-DE41-A925-7E39E2FA1A8B}"/>
    </a:ext>
  </a:extLst>
</a:theme>
</file>

<file path=ppt/theme/themeOverride1.xml><?xml version="1.0" encoding="utf-8"?>
<a:themeOverride xmlns:a="http://schemas.openxmlformats.org/drawingml/2006/main">
  <a:clrScheme name="Personalizado 8">
    <a:dk1>
      <a:srgbClr val="105964"/>
    </a:dk1>
    <a:lt1>
      <a:srgbClr val="105964"/>
    </a:lt1>
    <a:dk2>
      <a:srgbClr val="105964"/>
    </a:dk2>
    <a:lt2>
      <a:srgbClr val="105964"/>
    </a:lt2>
    <a:accent1>
      <a:srgbClr val="105964"/>
    </a:accent1>
    <a:accent2>
      <a:srgbClr val="105964"/>
    </a:accent2>
    <a:accent3>
      <a:srgbClr val="105964"/>
    </a:accent3>
    <a:accent4>
      <a:srgbClr val="105964"/>
    </a:accent4>
    <a:accent5>
      <a:srgbClr val="105964"/>
    </a:accent5>
    <a:accent6>
      <a:srgbClr val="105964"/>
    </a:accent6>
    <a:hlink>
      <a:srgbClr val="105964"/>
    </a:hlink>
    <a:folHlink>
      <a:srgbClr val="105964"/>
    </a:folHlink>
  </a:clrScheme>
</a:themeOverride>
</file>

<file path=ppt/theme/themeOverride2.xml><?xml version="1.0" encoding="utf-8"?>
<a:themeOverride xmlns:a="http://schemas.openxmlformats.org/drawingml/2006/main">
  <a:clrScheme name="Personalizado 8">
    <a:dk1>
      <a:srgbClr val="105964"/>
    </a:dk1>
    <a:lt1>
      <a:srgbClr val="105964"/>
    </a:lt1>
    <a:dk2>
      <a:srgbClr val="105964"/>
    </a:dk2>
    <a:lt2>
      <a:srgbClr val="105964"/>
    </a:lt2>
    <a:accent1>
      <a:srgbClr val="105964"/>
    </a:accent1>
    <a:accent2>
      <a:srgbClr val="105964"/>
    </a:accent2>
    <a:accent3>
      <a:srgbClr val="105964"/>
    </a:accent3>
    <a:accent4>
      <a:srgbClr val="105964"/>
    </a:accent4>
    <a:accent5>
      <a:srgbClr val="105964"/>
    </a:accent5>
    <a:accent6>
      <a:srgbClr val="105964"/>
    </a:accent6>
    <a:hlink>
      <a:srgbClr val="105964"/>
    </a:hlink>
    <a:folHlink>
      <a:srgbClr val="105964"/>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ECA4CF1614FBF4B84981B5DDEB393EF" ma:contentTypeVersion="13" ma:contentTypeDescription="Create a new document." ma:contentTypeScope="" ma:versionID="128971f96c28015c7603debab0dc89a0">
  <xsd:schema xmlns:xsd="http://www.w3.org/2001/XMLSchema" xmlns:xs="http://www.w3.org/2001/XMLSchema" xmlns:p="http://schemas.microsoft.com/office/2006/metadata/properties" xmlns:ns3="228a0102-7ef2-473e-b922-7230e3f3be10" xmlns:ns4="a926ea38-136d-4b59-b4d7-cc83ff4bf08b" targetNamespace="http://schemas.microsoft.com/office/2006/metadata/properties" ma:root="true" ma:fieldsID="9d65afb6de81f1eff0e656690747aa49" ns3:_="" ns4:_="">
    <xsd:import namespace="228a0102-7ef2-473e-b922-7230e3f3be10"/>
    <xsd:import namespace="a926ea38-136d-4b59-b4d7-cc83ff4bf08b"/>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4:SharedWithUsers" minOccurs="0"/>
                <xsd:element ref="ns4:SharedWithDetails" minOccurs="0"/>
                <xsd:element ref="ns4:SharingHintHash" minOccurs="0"/>
                <xsd:element ref="ns3:MediaServiceOCR" minOccurs="0"/>
                <xsd:element ref="ns3:MediaServiceEventHashCode" minOccurs="0"/>
                <xsd:element ref="ns3:MediaServiceGenerationTime" minOccurs="0"/>
                <xsd:element ref="ns3:MediaServiceAutoKeyPoints" minOccurs="0"/>
                <xsd:element ref="ns3:MediaServiceKeyPoints"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28a0102-7ef2-473e-b922-7230e3f3be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926ea38-136d-4b59-b4d7-cc83ff4bf08b"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C61747D-E363-4F63-B5C5-EB9A9F10244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28a0102-7ef2-473e-b922-7230e3f3be10"/>
    <ds:schemaRef ds:uri="a926ea38-136d-4b59-b4d7-cc83ff4bf08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3CCC6C2-C559-4896-86C3-E85898FECB29}">
  <ds:schemaRefs>
    <ds:schemaRef ds:uri="228a0102-7ef2-473e-b922-7230e3f3be10"/>
    <ds:schemaRef ds:uri="http://www.w3.org/XML/1998/namespace"/>
    <ds:schemaRef ds:uri="http://purl.org/dc/dcmitype/"/>
    <ds:schemaRef ds:uri="http://schemas.microsoft.com/office/infopath/2007/PartnerControls"/>
    <ds:schemaRef ds:uri="http://schemas.microsoft.com/office/2006/metadata/properties"/>
    <ds:schemaRef ds:uri="http://schemas.microsoft.com/office/2006/documentManagement/types"/>
    <ds:schemaRef ds:uri="a926ea38-136d-4b59-b4d7-cc83ff4bf08b"/>
    <ds:schemaRef ds:uri="http://schemas.openxmlformats.org/package/2006/metadata/core-properties"/>
    <ds:schemaRef ds:uri="http://purl.org/dc/terms/"/>
    <ds:schemaRef ds:uri="http://purl.org/dc/elements/1.1/"/>
  </ds:schemaRefs>
</ds:datastoreItem>
</file>

<file path=customXml/itemProps3.xml><?xml version="1.0" encoding="utf-8"?>
<ds:datastoreItem xmlns:ds="http://schemas.openxmlformats.org/officeDocument/2006/customXml" ds:itemID="{5EAE74CE-1100-481E-96C1-52972807EB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oncourse</Template>
  <TotalTime>749</TotalTime>
  <Words>8438</Words>
  <Application>Microsoft Office PowerPoint</Application>
  <PresentationFormat>Presentación en pantalla (16:9)</PresentationFormat>
  <Paragraphs>993</Paragraphs>
  <Slides>79</Slides>
  <Notes>32</Notes>
  <HiddenSlides>8</HiddenSlides>
  <MMClips>0</MMClips>
  <ScaleCrop>false</ScaleCrop>
  <HeadingPairs>
    <vt:vector size="8" baseType="variant">
      <vt:variant>
        <vt:lpstr>Fuentes usadas</vt:lpstr>
      </vt:variant>
      <vt:variant>
        <vt:i4>26</vt:i4>
      </vt:variant>
      <vt:variant>
        <vt:lpstr>Tema</vt:lpstr>
      </vt:variant>
      <vt:variant>
        <vt:i4>23</vt:i4>
      </vt:variant>
      <vt:variant>
        <vt:lpstr>Servidores OLE incrustados</vt:lpstr>
      </vt:variant>
      <vt:variant>
        <vt:i4>3</vt:i4>
      </vt:variant>
      <vt:variant>
        <vt:lpstr>Títulos de diapositiva</vt:lpstr>
      </vt:variant>
      <vt:variant>
        <vt:i4>79</vt:i4>
      </vt:variant>
    </vt:vector>
  </HeadingPairs>
  <TitlesOfParts>
    <vt:vector size="131" baseType="lpstr">
      <vt:lpstr>Arial Unicode MS</vt:lpstr>
      <vt:lpstr>MS PGothic</vt:lpstr>
      <vt:lpstr>MS PGothic</vt:lpstr>
      <vt:lpstr>游ゴシック</vt:lpstr>
      <vt:lpstr>-apple-system</vt:lpstr>
      <vt:lpstr>Archivo</vt:lpstr>
      <vt:lpstr>Arial</vt:lpstr>
      <vt:lpstr>Arial Bold</vt:lpstr>
      <vt:lpstr>Arial-BoldMT</vt:lpstr>
      <vt:lpstr>Calibri</vt:lpstr>
      <vt:lpstr>Calibri Light</vt:lpstr>
      <vt:lpstr>Cordia New</vt:lpstr>
      <vt:lpstr>Euclid CEPI Medium</vt:lpstr>
      <vt:lpstr>Franklin Gothic Book</vt:lpstr>
      <vt:lpstr>Franklin Gothic Medium</vt:lpstr>
      <vt:lpstr>Georgia</vt:lpstr>
      <vt:lpstr>Georgia Regular</vt:lpstr>
      <vt:lpstr>メイリオ</vt:lpstr>
      <vt:lpstr>Merriweather</vt:lpstr>
      <vt:lpstr>Monotype Sorts</vt:lpstr>
      <vt:lpstr>Roboto</vt:lpstr>
      <vt:lpstr>Segoe UI</vt:lpstr>
      <vt:lpstr>Times New Roman</vt:lpstr>
      <vt:lpstr>Trebuchet MS</vt:lpstr>
      <vt:lpstr>Wingdings</vt:lpstr>
      <vt:lpstr>Wingdings 2</vt:lpstr>
      <vt:lpstr>1_White</vt:lpstr>
      <vt:lpstr>16_Tema de Office</vt:lpstr>
      <vt:lpstr>4_GSK </vt:lpstr>
      <vt:lpstr>GSK </vt:lpstr>
      <vt:lpstr>Tema de Office</vt:lpstr>
      <vt:lpstr>Retrospección</vt:lpstr>
      <vt:lpstr>1_Tema de Office</vt:lpstr>
      <vt:lpstr>Takeda_ppt_uroko_tpc_akanered</vt:lpstr>
      <vt:lpstr>4_Takeda Slide Master</vt:lpstr>
      <vt:lpstr>7_Takeda Slide Master</vt:lpstr>
      <vt:lpstr>2_Tema de Office</vt:lpstr>
      <vt:lpstr>17_Urbano</vt:lpstr>
      <vt:lpstr>18_Urbano</vt:lpstr>
      <vt:lpstr>1_Takeda_ppt_uroko_tpc_akanered</vt:lpstr>
      <vt:lpstr>3_Takeda Slide Master</vt:lpstr>
      <vt:lpstr>5_Takeda Slide Master</vt:lpstr>
      <vt:lpstr>6_Takeda Slide Master</vt:lpstr>
      <vt:lpstr>4_Takeda_ppt_uroko_tpc_akanered</vt:lpstr>
      <vt:lpstr>17_Tema de Office</vt:lpstr>
      <vt:lpstr>3_Tema de Office</vt:lpstr>
      <vt:lpstr>18_Tema de Office</vt:lpstr>
      <vt:lpstr>19_Tema de Office</vt:lpstr>
      <vt:lpstr>4_Tema de Office</vt:lpstr>
      <vt:lpstr>think-cell Slide</vt:lpstr>
      <vt:lpstr>Diapositiva de think-cell</vt:lpstr>
      <vt:lpstr>Slide do think-cell</vt:lpstr>
      <vt:lpstr>Presentación de PowerPoint</vt:lpstr>
      <vt:lpstr>Presentación de PowerPoint</vt:lpstr>
      <vt:lpstr>Características del virus</vt:lpstr>
      <vt:lpstr>Características de la enfermedad</vt:lpstr>
      <vt:lpstr>Dengue: cadena de transmisión</vt:lpstr>
      <vt:lpstr>Trasmisión del dengue a través del mosquito infectado</vt:lpstr>
      <vt:lpstr>Trasmisión: presencia simultanea de tres elementos </vt:lpstr>
      <vt:lpstr>Características epidemiológicas</vt:lpstr>
      <vt:lpstr>Vectores</vt:lpstr>
      <vt:lpstr>Dengue, enfermedad urbana: Aedes aegypti</vt:lpstr>
      <vt:lpstr>Aedes aegypti </vt:lpstr>
      <vt:lpstr>Presentación de PowerPoint</vt:lpstr>
      <vt:lpstr>Aedes aegypti: vida en el entorno domiciliario</vt:lpstr>
      <vt:lpstr>El Aedes requiere de lugares sombríos y húmedos:  Microambientes </vt:lpstr>
      <vt:lpstr>Rol de la temperatura en la distribución geográfica del Aedes</vt:lpstr>
      <vt:lpstr>Escenarios de riesgo: Rol de la temperatura </vt:lpstr>
      <vt:lpstr>Vigilancia epidemiológica</vt:lpstr>
      <vt:lpstr>Vigilancia de Síndrome  febril agudo inespecífico (SFAI)</vt:lpstr>
      <vt:lpstr>Presentación de PowerPoint</vt:lpstr>
      <vt:lpstr>Presentación de PowerPoint</vt:lpstr>
      <vt:lpstr>Presentación de PowerPoint</vt:lpstr>
      <vt:lpstr>Presentación de PowerPoint</vt:lpstr>
      <vt:lpstr>Presentación de PowerPoint</vt:lpstr>
      <vt:lpstr>Situación epidemiológica en Las Américas</vt:lpstr>
      <vt:lpstr>Situación epidemiológica en Argentina</vt:lpstr>
      <vt:lpstr>Situación epidemiológica en Argentina</vt:lpstr>
      <vt:lpstr>Situación epidemiológica en Argentina</vt:lpstr>
      <vt:lpstr>Presentación de PowerPoint</vt:lpstr>
      <vt:lpstr>Presentación de PowerPoint</vt:lpstr>
      <vt:lpstr>Vacuna para dengue TAK003 (Qdenga)</vt:lpstr>
      <vt:lpstr>Presentación de PowerPoint</vt:lpstr>
      <vt:lpstr>Presentación de PowerPoint</vt:lpstr>
      <vt:lpstr>TAK-003 contiene elementos de los cuatro serotipos de DENV en una columna vertebral atenuada de DENV-2</vt:lpstr>
      <vt:lpstr>El programa TAK-003 incluyó  países endémicos y no endémicos</vt:lpstr>
      <vt:lpstr> Produce respuesta de Ac. Neutralizantes contra los cuatro serotipos de Dengue en niños y adolescentes de 2 a 17 años, independientemente de la exposición previa.   </vt:lpstr>
      <vt:lpstr>TDV: Seguridad </vt:lpstr>
      <vt:lpstr>Ensayo Fase 3 TIDES (DEN-301)</vt:lpstr>
      <vt:lpstr>Ensayo Fase 3 TIDES (DEN-301)</vt:lpstr>
      <vt:lpstr>Los casos de dengue  en el grupo placebo tienen una distribución de serotipo diferente en América Latina frente a Asia Pacífico</vt:lpstr>
      <vt:lpstr>Presentación de PowerPoint</vt:lpstr>
      <vt:lpstr>TAK-003 demostró eficacia contra DVC sintomático y hospitalización  causada por dengue, independientemente del estado serológico basal hasta los 18 meses 1*</vt:lpstr>
      <vt:lpstr>Análisis exploratorio - Eficacia global frente a Dengue virologicamente confirmado sintomático a los 4,5 años según estado serologico basal.</vt:lpstr>
      <vt:lpstr>Análisis exploratorio - Eficacia global contra la hospitalización causada por dengue a los 4,5 años 1,a</vt:lpstr>
      <vt:lpstr>La EV contra DVC varió según el serotipo y el estado serológico hasta 54 meses después de la 2ª dosis</vt:lpstr>
      <vt:lpstr>La EV contra VCD hospitalizada varió según el serotipo y el estado serológico hasta 54 meses después de la 2ª dosis </vt:lpstr>
      <vt:lpstr>Eficacia contra formas de dengue grave1 Hasta 57 meses después de la primera dosis (Conjunto de Seguridad)</vt:lpstr>
      <vt:lpstr>Las tasas de Eventos adversos graves durante la Parte 3 del estudio fueron similares en los grupos placebo y TAK-003, independientemente del estado serológico basal.</vt:lpstr>
      <vt:lpstr>Estudios de inmunopuente </vt:lpstr>
      <vt:lpstr>Presentación de PowerPoint</vt:lpstr>
      <vt:lpstr>Presentación de PowerPoint</vt:lpstr>
      <vt:lpstr>Presentación de PowerPoint</vt:lpstr>
      <vt:lpstr>Seguridad</vt:lpstr>
      <vt:lpstr>Efectos adversos</vt:lpstr>
      <vt:lpstr>Viremia de la vacuna </vt:lpstr>
      <vt:lpstr>QDENGA® VACUNA TETRAVALENTE CONTRA EL DENGUE</vt:lpstr>
      <vt:lpstr>Aspectos programáticos</vt:lpstr>
      <vt:lpstr>TAK-003 (Qdenga): aspectos programáticos </vt:lpstr>
      <vt:lpstr>Modo de administración</vt:lpstr>
      <vt:lpstr>Modo de administración</vt:lpstr>
      <vt:lpstr>Modo de administración</vt:lpstr>
      <vt:lpstr>TAK-003 (Qdenga): aspectos programáticos </vt:lpstr>
      <vt:lpstr>ADVERTENCIAS Y PRECAUCIONES</vt:lpstr>
      <vt:lpstr>ADVERTENCIAS Y PRECAUCIONES</vt:lpstr>
      <vt:lpstr>Preguntas previas a la aplicación de esta vacuna </vt:lpstr>
      <vt:lpstr>Conclusiones</vt:lpstr>
      <vt:lpstr>Preguntas finales de repaso</vt:lpstr>
      <vt:lpstr>Preguntas finales de repaso</vt:lpstr>
      <vt:lpstr>Preguntas finales de repaso</vt:lpstr>
      <vt:lpstr>Preguntas finales de repaso</vt:lpstr>
      <vt:lpstr>Preguntas finales de repaso</vt:lpstr>
      <vt:lpstr>Preguntas finales de repaso</vt:lpstr>
      <vt:lpstr>Preguntas finales de repaso</vt:lpstr>
      <vt:lpstr>Preguntas finales de repaso</vt:lpstr>
      <vt:lpstr>Presentación de PowerPoint</vt:lpstr>
      <vt:lpstr>Presentación de PowerPoint</vt:lpstr>
      <vt:lpstr>Presentación de PowerPoint</vt:lpstr>
      <vt:lpstr>La proteína NS1 y su papel en la enfermedad grave</vt:lpstr>
      <vt:lpstr>TAK-003 provoca la producción de IgG anti-NS1 de DENV2 que son de reacción cruzada contra DENV1, DENV3 y DENV4 en niños y adultos. Los anticuerpos anti-NS1 impulsados por la vacuna son funcionales para proteger contra la permeabilidad mediada por NS1 in vitro</vt:lpstr>
      <vt:lpstr>Presentación de PowerPoint</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a 1</dc:title>
  <dc:creator>hebe</dc:creator>
  <cp:lastModifiedBy>Cuenta Microsoft</cp:lastModifiedBy>
  <cp:revision>232</cp:revision>
  <dcterms:created xsi:type="dcterms:W3CDTF">2019-09-04T20:54:32Z</dcterms:created>
  <dcterms:modified xsi:type="dcterms:W3CDTF">2024-08-08T00:59: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ECA4CF1614FBF4B84981B5DDEB393EF</vt:lpwstr>
  </property>
</Properties>
</file>